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Override1.xml" ContentType="application/vnd.openxmlformats-officedocument.themeOverr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notesSlides/notesSlide4.xml" ContentType="application/vnd.openxmlformats-officedocument.presentationml.notesSlid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notesSlides/notesSlide5.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6.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notesSlides/notesSlide7.xml" ContentType="application/vnd.openxmlformats-officedocument.presentationml.notesSlid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notesSlides/notesSlide8.xml" ContentType="application/vnd.openxmlformats-officedocument.presentationml.notesSlid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notesSlides/notesSlide9.xml" ContentType="application/vnd.openxmlformats-officedocument.presentationml.notesSlide+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notesSlides/notesSlide10.xml" ContentType="application/vnd.openxmlformats-officedocument.presentationml.notesSlide+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notesSlides/notesSlide11.xml" ContentType="application/vnd.openxmlformats-officedocument.presentationml.notesSlide+xml"/>
  <Override PartName="/ppt/tags/tag297.xml" ContentType="application/vnd.openxmlformats-officedocument.presentationml.tags+xml"/>
  <Override PartName="/ppt/notesSlides/notesSlide12.xml" ContentType="application/vnd.openxmlformats-officedocument.presentationml.notesSlide+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notesSlides/notesSlide13.xml" ContentType="application/vnd.openxmlformats-officedocument.presentationml.notesSlide+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notesSlides/notesSlide14.xml" ContentType="application/vnd.openxmlformats-officedocument.presentationml.notesSlide+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notesSlides/notesSlide15.xml" ContentType="application/vnd.openxmlformats-officedocument.presentationml.notesSlide+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notesSlides/notesSlide16.xml" ContentType="application/vnd.openxmlformats-officedocument.presentationml.notesSlide+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notesSlides/notesSlide1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3" r:id="rId4"/>
  </p:sldMasterIdLst>
  <p:notesMasterIdLst>
    <p:notesMasterId r:id="rId67"/>
  </p:notesMasterIdLst>
  <p:sldIdLst>
    <p:sldId id="273" r:id="rId5"/>
    <p:sldId id="2147483641" r:id="rId6"/>
    <p:sldId id="2147483642" r:id="rId7"/>
    <p:sldId id="2147378556" r:id="rId8"/>
    <p:sldId id="2147483647" r:id="rId9"/>
    <p:sldId id="2147478170" r:id="rId10"/>
    <p:sldId id="256" r:id="rId11"/>
    <p:sldId id="257" r:id="rId12"/>
    <p:sldId id="2147483638" r:id="rId13"/>
    <p:sldId id="2147483490" r:id="rId14"/>
    <p:sldId id="2147483434" r:id="rId15"/>
    <p:sldId id="258" r:id="rId16"/>
    <p:sldId id="259" r:id="rId17"/>
    <p:sldId id="260" r:id="rId18"/>
    <p:sldId id="261" r:id="rId19"/>
    <p:sldId id="2147483643" r:id="rId20"/>
    <p:sldId id="2145707002" r:id="rId21"/>
    <p:sldId id="2147378596" r:id="rId22"/>
    <p:sldId id="2147378558" r:id="rId23"/>
    <p:sldId id="2147378559" r:id="rId24"/>
    <p:sldId id="2147378546" r:id="rId25"/>
    <p:sldId id="2147378548" r:id="rId26"/>
    <p:sldId id="2147378549" r:id="rId27"/>
    <p:sldId id="2147378619" r:id="rId28"/>
    <p:sldId id="2147378607" r:id="rId29"/>
    <p:sldId id="2147483634" r:id="rId30"/>
    <p:sldId id="2145707007" r:id="rId31"/>
    <p:sldId id="2147378489" r:id="rId32"/>
    <p:sldId id="2147483644" r:id="rId33"/>
    <p:sldId id="2147378557" r:id="rId34"/>
    <p:sldId id="2147378560" r:id="rId35"/>
    <p:sldId id="2147378551" r:id="rId36"/>
    <p:sldId id="2147378515" r:id="rId37"/>
    <p:sldId id="2147378516" r:id="rId38"/>
    <p:sldId id="2147378536" r:id="rId39"/>
    <p:sldId id="2147378527" r:id="rId40"/>
    <p:sldId id="2147378561" r:id="rId41"/>
    <p:sldId id="2147378519" r:id="rId42"/>
    <p:sldId id="2147378586" r:id="rId43"/>
    <p:sldId id="2147378592" r:id="rId44"/>
    <p:sldId id="2147483645" r:id="rId45"/>
    <p:sldId id="2147378562" r:id="rId46"/>
    <p:sldId id="2147378563" r:id="rId47"/>
    <p:sldId id="2147378554" r:id="rId48"/>
    <p:sldId id="2147378575" r:id="rId49"/>
    <p:sldId id="2147378577" r:id="rId50"/>
    <p:sldId id="2147378582" r:id="rId51"/>
    <p:sldId id="2147378583" r:id="rId52"/>
    <p:sldId id="2147378584" r:id="rId53"/>
    <p:sldId id="2147378576" r:id="rId54"/>
    <p:sldId id="2147483637" r:id="rId55"/>
    <p:sldId id="2147378564" r:id="rId56"/>
    <p:sldId id="2147378612" r:id="rId57"/>
    <p:sldId id="2147483646" r:id="rId58"/>
    <p:sldId id="2147378566" r:id="rId59"/>
    <p:sldId id="2147378605" r:id="rId60"/>
    <p:sldId id="2147378591" r:id="rId61"/>
    <p:sldId id="2147378604" r:id="rId62"/>
    <p:sldId id="2147378609" r:id="rId63"/>
    <p:sldId id="2147378589" r:id="rId64"/>
    <p:sldId id="2145706808" r:id="rId65"/>
    <p:sldId id="321" r:id="rId66"/>
  </p:sldIdLst>
  <p:sldSz cx="11176000" cy="6286500"/>
  <p:notesSz cx="9866313" cy="14295438"/>
  <p:custDataLst>
    <p:tags r:id="rId68"/>
  </p:custDataLst>
  <p:defaultTextStyle>
    <a:defPPr>
      <a:defRPr lang="de-DE"/>
    </a:defPPr>
    <a:lvl1pPr marL="0" algn="l" defTabSz="914342" rtl="0" eaLnBrk="1" latinLnBrk="0" hangingPunct="1">
      <a:defRPr sz="1837" kern="1200">
        <a:solidFill>
          <a:schemeClr val="tx1"/>
        </a:solidFill>
        <a:latin typeface="+mn-lt"/>
        <a:ea typeface="+mn-ea"/>
        <a:cs typeface="+mn-cs"/>
      </a:defRPr>
    </a:lvl1pPr>
    <a:lvl2pPr marL="457171" algn="l" defTabSz="914342" rtl="0" eaLnBrk="1" latinLnBrk="0" hangingPunct="1">
      <a:defRPr sz="1837" kern="1200">
        <a:solidFill>
          <a:schemeClr val="tx1"/>
        </a:solidFill>
        <a:latin typeface="+mn-lt"/>
        <a:ea typeface="+mn-ea"/>
        <a:cs typeface="+mn-cs"/>
      </a:defRPr>
    </a:lvl2pPr>
    <a:lvl3pPr marL="914342" algn="l" defTabSz="914342" rtl="0" eaLnBrk="1" latinLnBrk="0" hangingPunct="1">
      <a:defRPr sz="1837" kern="1200">
        <a:solidFill>
          <a:schemeClr val="tx1"/>
        </a:solidFill>
        <a:latin typeface="+mn-lt"/>
        <a:ea typeface="+mn-ea"/>
        <a:cs typeface="+mn-cs"/>
      </a:defRPr>
    </a:lvl3pPr>
    <a:lvl4pPr marL="1371513" algn="l" defTabSz="914342" rtl="0" eaLnBrk="1" latinLnBrk="0" hangingPunct="1">
      <a:defRPr sz="1837" kern="1200">
        <a:solidFill>
          <a:schemeClr val="tx1"/>
        </a:solidFill>
        <a:latin typeface="+mn-lt"/>
        <a:ea typeface="+mn-ea"/>
        <a:cs typeface="+mn-cs"/>
      </a:defRPr>
    </a:lvl4pPr>
    <a:lvl5pPr marL="1828684" algn="l" defTabSz="914342" rtl="0" eaLnBrk="1" latinLnBrk="0" hangingPunct="1">
      <a:defRPr sz="1837" kern="1200">
        <a:solidFill>
          <a:schemeClr val="tx1"/>
        </a:solidFill>
        <a:latin typeface="+mn-lt"/>
        <a:ea typeface="+mn-ea"/>
        <a:cs typeface="+mn-cs"/>
      </a:defRPr>
    </a:lvl5pPr>
    <a:lvl6pPr marL="2285855" algn="l" defTabSz="914342" rtl="0" eaLnBrk="1" latinLnBrk="0" hangingPunct="1">
      <a:defRPr sz="1837" kern="1200">
        <a:solidFill>
          <a:schemeClr val="tx1"/>
        </a:solidFill>
        <a:latin typeface="+mn-lt"/>
        <a:ea typeface="+mn-ea"/>
        <a:cs typeface="+mn-cs"/>
      </a:defRPr>
    </a:lvl6pPr>
    <a:lvl7pPr marL="2743026" algn="l" defTabSz="914342" rtl="0" eaLnBrk="1" latinLnBrk="0" hangingPunct="1">
      <a:defRPr sz="1837" kern="1200">
        <a:solidFill>
          <a:schemeClr val="tx1"/>
        </a:solidFill>
        <a:latin typeface="+mn-lt"/>
        <a:ea typeface="+mn-ea"/>
        <a:cs typeface="+mn-cs"/>
      </a:defRPr>
    </a:lvl7pPr>
    <a:lvl8pPr marL="3200198" algn="l" defTabSz="914342" rtl="0" eaLnBrk="1" latinLnBrk="0" hangingPunct="1">
      <a:defRPr sz="1837" kern="1200">
        <a:solidFill>
          <a:schemeClr val="tx1"/>
        </a:solidFill>
        <a:latin typeface="+mn-lt"/>
        <a:ea typeface="+mn-ea"/>
        <a:cs typeface="+mn-cs"/>
      </a:defRPr>
    </a:lvl8pPr>
    <a:lvl9pPr marL="3657369" algn="l" defTabSz="914342" rtl="0" eaLnBrk="1" latinLnBrk="0" hangingPunct="1">
      <a:defRPr sz="1837"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678DFBD-9E08-47E9-AE4E-CA0699F6A6B9}">
          <p14:sldIdLst>
            <p14:sldId id="273"/>
            <p14:sldId id="2147483641"/>
            <p14:sldId id="2147483642"/>
          </p14:sldIdLst>
        </p14:section>
        <p14:section name="Einführung in die KWP" id="{CF4566D1-15D3-4D88-8BE2-5436F312474D}">
          <p14:sldIdLst>
            <p14:sldId id="2147378556"/>
            <p14:sldId id="2147483647"/>
            <p14:sldId id="2147478170"/>
            <p14:sldId id="256"/>
            <p14:sldId id="257"/>
            <p14:sldId id="2147483638"/>
            <p14:sldId id="2147483490"/>
            <p14:sldId id="2147483434"/>
            <p14:sldId id="258"/>
            <p14:sldId id="259"/>
            <p14:sldId id="260"/>
            <p14:sldId id="261"/>
            <p14:sldId id="2147483643"/>
            <p14:sldId id="2145707002"/>
            <p14:sldId id="2147378596"/>
            <p14:sldId id="2147378558"/>
          </p14:sldIdLst>
        </p14:section>
        <p14:section name="Phasen und Vorgehensweise" id="{B2814D64-1B57-40F3-80C3-43E56DE8EECF}">
          <p14:sldIdLst>
            <p14:sldId id="2147378559"/>
            <p14:sldId id="2147378546"/>
            <p14:sldId id="2147378548"/>
            <p14:sldId id="2147378549"/>
            <p14:sldId id="2147378619"/>
          </p14:sldIdLst>
        </p14:section>
        <p14:section name="Aktueller Politischer Rahmen" id="{4D67B3C1-B2A6-4D80-A38B-56210CFA06FE}">
          <p14:sldIdLst>
            <p14:sldId id="2147378607"/>
            <p14:sldId id="2147483634"/>
            <p14:sldId id="2145707007"/>
            <p14:sldId id="2147378489"/>
          </p14:sldIdLst>
        </p14:section>
        <p14:section name="Ergebnisse der KWP" id="{A5B74803-D18F-426D-970D-51176A19F304}">
          <p14:sldIdLst>
            <p14:sldId id="2147483644"/>
            <p14:sldId id="2147378557"/>
            <p14:sldId id="2147378560"/>
            <p14:sldId id="2147378551"/>
            <p14:sldId id="2147378515"/>
            <p14:sldId id="2147378516"/>
            <p14:sldId id="2147378536"/>
            <p14:sldId id="2147378527"/>
          </p14:sldIdLst>
        </p14:section>
        <p14:section name="Ergebnisse: Potenzialanalyse" id="{7D94B2AF-633E-4EF5-B3F3-2CBE54289B42}">
          <p14:sldIdLst>
            <p14:sldId id="2147378561"/>
            <p14:sldId id="2147378519"/>
            <p14:sldId id="2147378586"/>
            <p14:sldId id="2147378592"/>
          </p14:sldIdLst>
        </p14:section>
        <p14:section name="Ergebnisse: Zielszenario" id="{2AEA8C0B-68B9-440F-9AE1-9A74F0C0EB59}">
          <p14:sldIdLst>
            <p14:sldId id="2147483645"/>
            <p14:sldId id="2147378562"/>
            <p14:sldId id="2147378563"/>
            <p14:sldId id="2147378554"/>
            <p14:sldId id="2147378575"/>
            <p14:sldId id="2147378577"/>
            <p14:sldId id="2147378582"/>
            <p14:sldId id="2147378583"/>
            <p14:sldId id="2147378584"/>
            <p14:sldId id="2147378576"/>
            <p14:sldId id="2147483637"/>
            <p14:sldId id="2147378564"/>
            <p14:sldId id="2147378612"/>
          </p14:sldIdLst>
        </p14:section>
        <p14:section name="Fazit" id="{BF5F089C-54B7-4448-9FE7-5355457CAF73}">
          <p14:sldIdLst>
            <p14:sldId id="2147483646"/>
            <p14:sldId id="2147378566"/>
            <p14:sldId id="2147378605"/>
            <p14:sldId id="2147378591"/>
            <p14:sldId id="2147378604"/>
            <p14:sldId id="2147378609"/>
            <p14:sldId id="2147378589"/>
          </p14:sldIdLst>
        </p14:section>
        <p14:section name="Projektorganisation" id="{095D7C7A-FC1D-444B-863F-9FC34A68B15F}">
          <p14:sldIdLst>
            <p14:sldId id="2145706808"/>
            <p14:sldId id="321"/>
          </p14:sldIdLst>
        </p14:section>
        <p14:section name="Backup" id="{0D2D361A-D469-44A0-8AB5-AD3C0A673F96}">
          <p14:sldIdLst/>
        </p14:section>
      </p14:sectionLst>
    </p:ext>
    <p:ext uri="{EFAFB233-063F-42B5-8137-9DF3F51BA10A}">
      <p15:sldGuideLst xmlns:p15="http://schemas.microsoft.com/office/powerpoint/2012/main">
        <p15:guide id="1" pos="3066" userDrawn="1">
          <p15:clr>
            <a:srgbClr val="A4A3A4"/>
          </p15:clr>
        </p15:guide>
        <p15:guide id="2" orient="horz" pos="1277" userDrawn="1">
          <p15:clr>
            <a:srgbClr val="A4A3A4"/>
          </p15:clr>
        </p15:guide>
        <p15:guide id="3" pos="5992" userDrawn="1">
          <p15:clr>
            <a:srgbClr val="A4A3A4"/>
          </p15:clr>
        </p15:guide>
        <p15:guide id="4" orient="horz" pos="3386" userDrawn="1">
          <p15:clr>
            <a:srgbClr val="A4A3A4"/>
          </p15:clr>
        </p15:guide>
        <p15:guide id="6" pos="5244" userDrawn="1">
          <p15:clr>
            <a:srgbClr val="A4A3A4"/>
          </p15:clr>
        </p15:guide>
        <p15:guide id="7" pos="4019" userDrawn="1">
          <p15:clr>
            <a:srgbClr val="A4A3A4"/>
          </p15:clr>
        </p15:guide>
        <p15:guide id="8" orient="horz" pos="2887"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0CA721A-3B3E-E991-F913-B67BC676F040}" name="Brodecki, Lukasz" initials="LB" userId="S::Lukasz.Brodecki@d-fine.com::be176e3c-f9ed-473a-b177-5a9e9c515b80" providerId="AD"/>
  <p188:author id="{E7C5366B-BE64-CAC9-C88A-0DC77E825E62}" name="Mester, Leonie" initials="LM" userId="S::leonie.mester@d-fine.com::5a8a0daa-d9d1-46d1-be62-97ded0758c5d" providerId="AD"/>
  <p188:author id="{7077AB74-D0B9-1E53-F8F3-E37C288FA921}" name="Woerner, Patrick" initials="PW" userId="S::Patrick.Woerner@d-fine.com::33eefe62-5f7c-4aaf-b0d6-89eba9f375c4" providerId="AD"/>
  <p188:author id="{69639376-3356-DCAE-A85B-007C6434EB4D}" name="Frenzel, Maximilian" initials="MF" userId="S::maximilian.frenzel@d-fine.com::512a18e8-746d-42e1-87e7-2be810d2f1b7" providerId="AD"/>
  <p188:author id="{A6B36CCF-D7AE-5B22-C9FE-FB97563D3242}" name="Beestermoeller, Robert" initials="RB" userId="S::Robert.Beestermoeller@d-fine.com::db712fcf-4592-4a1e-9383-4ea1a39c32f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9FF"/>
    <a:srgbClr val="F0EEEB"/>
    <a:srgbClr val="FFFFFF"/>
    <a:srgbClr val="60D689"/>
    <a:srgbClr val="EDBE59"/>
    <a:srgbClr val="7BA4E9"/>
    <a:srgbClr val="136B93"/>
    <a:srgbClr val="3AA8DC"/>
    <a:srgbClr val="EFEEEB"/>
    <a:srgbClr val="E0E8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94A0193-B79D-9BA4-DEE3-313D9EBEE8BE}" v="94" dt="2026-04-24T16:36:57.3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8450" autoAdjust="0"/>
  </p:normalViewPr>
  <p:slideViewPr>
    <p:cSldViewPr snapToGrid="0">
      <p:cViewPr varScale="1">
        <p:scale>
          <a:sx n="94" d="100"/>
          <a:sy n="94" d="100"/>
        </p:scale>
        <p:origin x="1494" y="90"/>
      </p:cViewPr>
      <p:guideLst>
        <p:guide pos="3066"/>
        <p:guide orient="horz" pos="1277"/>
        <p:guide pos="5992"/>
        <p:guide orient="horz" pos="3386"/>
        <p:guide pos="5244"/>
        <p:guide pos="4019"/>
        <p:guide orient="horz" pos="2887"/>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tags" Target="tags/tag1.xml"/><Relationship Id="rId7" Type="http://schemas.openxmlformats.org/officeDocument/2006/relationships/slide" Target="slides/slide3.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presProps" Target="presProps.xml"/><Relationship Id="rId75"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275401" cy="714772"/>
          </a:xfrm>
          <a:prstGeom prst="rect">
            <a:avLst/>
          </a:prstGeom>
        </p:spPr>
        <p:txBody>
          <a:bodyPr vert="horz" lIns="134676" tIns="67338" rIns="134676" bIns="67338" rtlCol="0"/>
          <a:lstStyle>
            <a:lvl1pPr algn="l">
              <a:defRPr sz="1700"/>
            </a:lvl1pPr>
          </a:lstStyle>
          <a:p>
            <a:endParaRPr lang="de-DE"/>
          </a:p>
        </p:txBody>
      </p:sp>
      <p:sp>
        <p:nvSpPr>
          <p:cNvPr id="3" name="Datumsplatzhalter 2"/>
          <p:cNvSpPr>
            <a:spLocks noGrp="1"/>
          </p:cNvSpPr>
          <p:nvPr>
            <p:ph type="dt" idx="1"/>
          </p:nvPr>
        </p:nvSpPr>
        <p:spPr>
          <a:xfrm>
            <a:off x="5588630" y="0"/>
            <a:ext cx="4275401" cy="714772"/>
          </a:xfrm>
          <a:prstGeom prst="rect">
            <a:avLst/>
          </a:prstGeom>
        </p:spPr>
        <p:txBody>
          <a:bodyPr vert="horz" lIns="134676" tIns="67338" rIns="134676" bIns="67338" rtlCol="0"/>
          <a:lstStyle>
            <a:lvl1pPr algn="r">
              <a:defRPr sz="1700"/>
            </a:lvl1pPr>
          </a:lstStyle>
          <a:p>
            <a:fld id="{4283D6D7-F8DE-40A0-B4C1-6D1380D80BB2}" type="datetimeFigureOut">
              <a:rPr lang="de-DE" smtClean="0"/>
              <a:t>04.05.2026</a:t>
            </a:fld>
            <a:endParaRPr lang="de-DE"/>
          </a:p>
        </p:txBody>
      </p:sp>
      <p:sp>
        <p:nvSpPr>
          <p:cNvPr id="4" name="Folienbildplatzhalter 3"/>
          <p:cNvSpPr>
            <a:spLocks noGrp="1" noRot="1" noChangeAspect="1"/>
          </p:cNvSpPr>
          <p:nvPr>
            <p:ph type="sldImg" idx="2"/>
          </p:nvPr>
        </p:nvSpPr>
        <p:spPr>
          <a:xfrm>
            <a:off x="168275" y="1074738"/>
            <a:ext cx="9529763" cy="5360987"/>
          </a:xfrm>
          <a:prstGeom prst="rect">
            <a:avLst/>
          </a:prstGeom>
          <a:noFill/>
          <a:ln w="12700">
            <a:solidFill>
              <a:prstClr val="black"/>
            </a:solidFill>
          </a:ln>
        </p:spPr>
        <p:txBody>
          <a:bodyPr vert="horz" lIns="134676" tIns="67338" rIns="134676" bIns="67338" rtlCol="0" anchor="ctr"/>
          <a:lstStyle/>
          <a:p>
            <a:endParaRPr lang="de-DE"/>
          </a:p>
        </p:txBody>
      </p:sp>
      <p:sp>
        <p:nvSpPr>
          <p:cNvPr id="5" name="Notizenplatzhalter 4"/>
          <p:cNvSpPr>
            <a:spLocks noGrp="1"/>
          </p:cNvSpPr>
          <p:nvPr>
            <p:ph type="body" sz="quarter" idx="3"/>
          </p:nvPr>
        </p:nvSpPr>
        <p:spPr>
          <a:xfrm>
            <a:off x="986634" y="6790334"/>
            <a:ext cx="7893050" cy="6432947"/>
          </a:xfrm>
          <a:prstGeom prst="rect">
            <a:avLst/>
          </a:prstGeom>
        </p:spPr>
        <p:txBody>
          <a:bodyPr vert="horz" lIns="134676" tIns="67338" rIns="134676" bIns="67338"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3578187"/>
            <a:ext cx="4275401" cy="714772"/>
          </a:xfrm>
          <a:prstGeom prst="rect">
            <a:avLst/>
          </a:prstGeom>
        </p:spPr>
        <p:txBody>
          <a:bodyPr vert="horz" lIns="134676" tIns="67338" rIns="134676" bIns="67338" rtlCol="0" anchor="b"/>
          <a:lstStyle>
            <a:lvl1pPr algn="l">
              <a:defRPr sz="1700"/>
            </a:lvl1pPr>
          </a:lstStyle>
          <a:p>
            <a:endParaRPr lang="de-DE"/>
          </a:p>
        </p:txBody>
      </p:sp>
      <p:sp>
        <p:nvSpPr>
          <p:cNvPr id="7" name="Foliennummernplatzhalter 6"/>
          <p:cNvSpPr>
            <a:spLocks noGrp="1"/>
          </p:cNvSpPr>
          <p:nvPr>
            <p:ph type="sldNum" sz="quarter" idx="5"/>
          </p:nvPr>
        </p:nvSpPr>
        <p:spPr>
          <a:xfrm>
            <a:off x="5588630" y="13578187"/>
            <a:ext cx="4275401" cy="714772"/>
          </a:xfrm>
          <a:prstGeom prst="rect">
            <a:avLst/>
          </a:prstGeom>
        </p:spPr>
        <p:txBody>
          <a:bodyPr vert="horz" lIns="134676" tIns="67338" rIns="134676" bIns="67338" rtlCol="0" anchor="b"/>
          <a:lstStyle>
            <a:lvl1pPr algn="r">
              <a:defRPr sz="1700"/>
            </a:lvl1pPr>
          </a:lstStyle>
          <a:p>
            <a:fld id="{02881287-4BA2-4746-A238-0B55DACA8C36}" type="slidenum">
              <a:rPr lang="de-DE" smtClean="0"/>
              <a:t>‹Nr.›</a:t>
            </a:fld>
            <a:endParaRPr lang="de-DE"/>
          </a:p>
        </p:txBody>
      </p:sp>
    </p:spTree>
    <p:extLst>
      <p:ext uri="{BB962C8B-B14F-4D97-AF65-F5344CB8AC3E}">
        <p14:creationId xmlns:p14="http://schemas.microsoft.com/office/powerpoint/2010/main" val="750058759"/>
      </p:ext>
    </p:extLst>
  </p:cSld>
  <p:clrMap bg1="lt1" tx1="dk1" bg2="lt2" tx2="dk2" accent1="accent1" accent2="accent2" accent3="accent3" accent4="accent4" accent5="accent5" accent6="accent6" hlink="hlink" folHlink="folHlink"/>
  <p:notesStyle>
    <a:lvl1pPr marL="0" algn="l" defTabSz="914342" rtl="0" eaLnBrk="1" latinLnBrk="0" hangingPunct="1">
      <a:defRPr sz="1194" kern="1200">
        <a:solidFill>
          <a:schemeClr val="tx1"/>
        </a:solidFill>
        <a:latin typeface="+mn-lt"/>
        <a:ea typeface="+mn-ea"/>
        <a:cs typeface="+mn-cs"/>
      </a:defRPr>
    </a:lvl1pPr>
    <a:lvl2pPr marL="457171" algn="l" defTabSz="914342" rtl="0" eaLnBrk="1" latinLnBrk="0" hangingPunct="1">
      <a:defRPr sz="1194" kern="1200">
        <a:solidFill>
          <a:schemeClr val="tx1"/>
        </a:solidFill>
        <a:latin typeface="+mn-lt"/>
        <a:ea typeface="+mn-ea"/>
        <a:cs typeface="+mn-cs"/>
      </a:defRPr>
    </a:lvl2pPr>
    <a:lvl3pPr marL="914342" algn="l" defTabSz="914342" rtl="0" eaLnBrk="1" latinLnBrk="0" hangingPunct="1">
      <a:defRPr sz="1194" kern="1200">
        <a:solidFill>
          <a:schemeClr val="tx1"/>
        </a:solidFill>
        <a:latin typeface="+mn-lt"/>
        <a:ea typeface="+mn-ea"/>
        <a:cs typeface="+mn-cs"/>
      </a:defRPr>
    </a:lvl3pPr>
    <a:lvl4pPr marL="1371513" algn="l" defTabSz="914342" rtl="0" eaLnBrk="1" latinLnBrk="0" hangingPunct="1">
      <a:defRPr sz="1194" kern="1200">
        <a:solidFill>
          <a:schemeClr val="tx1"/>
        </a:solidFill>
        <a:latin typeface="+mn-lt"/>
        <a:ea typeface="+mn-ea"/>
        <a:cs typeface="+mn-cs"/>
      </a:defRPr>
    </a:lvl4pPr>
    <a:lvl5pPr marL="1828684" algn="l" defTabSz="914342" rtl="0" eaLnBrk="1" latinLnBrk="0" hangingPunct="1">
      <a:defRPr sz="1194" kern="1200">
        <a:solidFill>
          <a:schemeClr val="tx1"/>
        </a:solidFill>
        <a:latin typeface="+mn-lt"/>
        <a:ea typeface="+mn-ea"/>
        <a:cs typeface="+mn-cs"/>
      </a:defRPr>
    </a:lvl5pPr>
    <a:lvl6pPr marL="2285855" algn="l" defTabSz="914342" rtl="0" eaLnBrk="1" latinLnBrk="0" hangingPunct="1">
      <a:defRPr sz="1194" kern="1200">
        <a:solidFill>
          <a:schemeClr val="tx1"/>
        </a:solidFill>
        <a:latin typeface="+mn-lt"/>
        <a:ea typeface="+mn-ea"/>
        <a:cs typeface="+mn-cs"/>
      </a:defRPr>
    </a:lvl6pPr>
    <a:lvl7pPr marL="2743026" algn="l" defTabSz="914342" rtl="0" eaLnBrk="1" latinLnBrk="0" hangingPunct="1">
      <a:defRPr sz="1194" kern="1200">
        <a:solidFill>
          <a:schemeClr val="tx1"/>
        </a:solidFill>
        <a:latin typeface="+mn-lt"/>
        <a:ea typeface="+mn-ea"/>
        <a:cs typeface="+mn-cs"/>
      </a:defRPr>
    </a:lvl7pPr>
    <a:lvl8pPr marL="3200198" algn="l" defTabSz="914342" rtl="0" eaLnBrk="1" latinLnBrk="0" hangingPunct="1">
      <a:defRPr sz="1194" kern="1200">
        <a:solidFill>
          <a:schemeClr val="tx1"/>
        </a:solidFill>
        <a:latin typeface="+mn-lt"/>
        <a:ea typeface="+mn-ea"/>
        <a:cs typeface="+mn-cs"/>
      </a:defRPr>
    </a:lvl8pPr>
    <a:lvl9pPr marL="3657369" algn="l" defTabSz="914342" rtl="0" eaLnBrk="1" latinLnBrk="0" hangingPunct="1">
      <a:defRPr sz="119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tagesschau.de/wissen/klima/erneuerbare-energien-gaspreise-oelpreise-100.html" TargetMode="External"/><Relationship Id="rId2" Type="http://schemas.openxmlformats.org/officeDocument/2006/relationships/slide" Target="../slides/slide57.xml"/><Relationship Id="rId1" Type="http://schemas.openxmlformats.org/officeDocument/2006/relationships/notesMaster" Target="../notesMasters/notesMaster1.xml"/><Relationship Id="rId6" Type="http://schemas.openxmlformats.org/officeDocument/2006/relationships/hyperlink" Target="https://www.bundeswirtschaftsministerium.de/Redaktion/DE/Publikationen/Studien/nodale-und-zonale-strompreissysteme-im-vergleich.pdf" TargetMode="External"/><Relationship Id="rId5" Type="http://schemas.openxmlformats.org/officeDocument/2006/relationships/hyperlink" Target="https://www.ise.fraunhofer.de/en/press-media/press-releases/2024/photovoltaic-plants-with-battery-cheaper-than-conventional-power-plants.html" TargetMode="External"/><Relationship Id="rId4" Type="http://schemas.openxmlformats.org/officeDocument/2006/relationships/hyperlink" Target="https://neweconomics.org/2026/03/the-climate-fiscal-timebomb"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02881287-4BA2-4746-A238-0B55DACA8C36}" type="slidenum">
              <a:rPr lang="de-DE" smtClean="0"/>
              <a:t>1</a:t>
            </a:fld>
            <a:endParaRPr lang="de-DE"/>
          </a:p>
        </p:txBody>
      </p:sp>
    </p:spTree>
    <p:extLst>
      <p:ext uri="{BB962C8B-B14F-4D97-AF65-F5344CB8AC3E}">
        <p14:creationId xmlns:p14="http://schemas.microsoft.com/office/powerpoint/2010/main" val="30853362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02881287-4BA2-4746-A238-0B55DACA8C36}" type="slidenum">
              <a:rPr lang="de-DE" smtClean="0"/>
              <a:t>40</a:t>
            </a:fld>
            <a:endParaRPr lang="de-DE"/>
          </a:p>
        </p:txBody>
      </p:sp>
    </p:spTree>
    <p:extLst>
      <p:ext uri="{BB962C8B-B14F-4D97-AF65-F5344CB8AC3E}">
        <p14:creationId xmlns:p14="http://schemas.microsoft.com/office/powerpoint/2010/main" val="7188847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Kein Bestand von Wärmenetzen</a:t>
            </a:r>
          </a:p>
        </p:txBody>
      </p:sp>
      <p:sp>
        <p:nvSpPr>
          <p:cNvPr id="4" name="Slide Number Placeholder 3"/>
          <p:cNvSpPr>
            <a:spLocks noGrp="1"/>
          </p:cNvSpPr>
          <p:nvPr>
            <p:ph type="sldNum" sz="quarter" idx="5"/>
          </p:nvPr>
        </p:nvSpPr>
        <p:spPr/>
        <p:txBody>
          <a:bodyPr/>
          <a:lstStyle/>
          <a:p>
            <a:fld id="{02881287-4BA2-4746-A238-0B55DACA8C36}" type="slidenum">
              <a:rPr lang="de-DE" smtClean="0"/>
              <a:t>45</a:t>
            </a:fld>
            <a:endParaRPr lang="de-DE"/>
          </a:p>
        </p:txBody>
      </p:sp>
    </p:spTree>
    <p:extLst>
      <p:ext uri="{BB962C8B-B14F-4D97-AF65-F5344CB8AC3E}">
        <p14:creationId xmlns:p14="http://schemas.microsoft.com/office/powerpoint/2010/main" val="30316711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74EF9B-BA54-6923-22F9-7695CD75A1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E5550A-82E3-FC30-F294-6844010B90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E2728E-4D3A-6BDD-A7C8-9885C036026D}"/>
              </a:ext>
            </a:extLst>
          </p:cNvPr>
          <p:cNvSpPr>
            <a:spLocks noGrp="1"/>
          </p:cNvSpPr>
          <p:nvPr>
            <p:ph type="body" idx="1"/>
          </p:nvPr>
        </p:nvSpPr>
        <p:spPr/>
        <p:txBody>
          <a:bodyPr/>
          <a:lstStyle/>
          <a:p>
            <a:r>
              <a:rPr lang="de-DE"/>
              <a:t>Prüfgebiet </a:t>
            </a:r>
            <a:r>
              <a:rPr lang="de-DE" err="1"/>
              <a:t>Nordrheda</a:t>
            </a:r>
            <a:r>
              <a:rPr lang="de-DE"/>
              <a:t>-Ems West erhält Score 4 (Prüfgebiet), da Wärmegestehungskosten = 4 (alle anderen Verbrauchsindikatoren = 5)</a:t>
            </a:r>
          </a:p>
        </p:txBody>
      </p:sp>
      <p:sp>
        <p:nvSpPr>
          <p:cNvPr id="4" name="Slide Number Placeholder 3">
            <a:extLst>
              <a:ext uri="{FF2B5EF4-FFF2-40B4-BE49-F238E27FC236}">
                <a16:creationId xmlns:a16="http://schemas.microsoft.com/office/drawing/2014/main" id="{165B8D96-3FD3-B9C1-F6F8-9FB77CD4928B}"/>
              </a:ext>
            </a:extLst>
          </p:cNvPr>
          <p:cNvSpPr>
            <a:spLocks noGrp="1"/>
          </p:cNvSpPr>
          <p:nvPr>
            <p:ph type="sldNum" sz="quarter" idx="5"/>
          </p:nvPr>
        </p:nvSpPr>
        <p:spPr/>
        <p:txBody>
          <a:bodyPr/>
          <a:lstStyle/>
          <a:p>
            <a:pPr defTabSz="1274089">
              <a:defRPr/>
            </a:pPr>
            <a:fld id="{02881287-4BA2-4746-A238-0B55DACA8C36}" type="slidenum">
              <a:rPr lang="de-DE">
                <a:solidFill>
                  <a:prstClr val="black"/>
                </a:solidFill>
                <a:latin typeface="Calibri"/>
              </a:rPr>
              <a:pPr defTabSz="1274089">
                <a:defRPr/>
              </a:pPr>
              <a:t>46</a:t>
            </a:fld>
            <a:endParaRPr lang="de-DE">
              <a:solidFill>
                <a:prstClr val="black"/>
              </a:solidFill>
              <a:latin typeface="Calibri"/>
            </a:endParaRPr>
          </a:p>
        </p:txBody>
      </p:sp>
    </p:spTree>
    <p:extLst>
      <p:ext uri="{BB962C8B-B14F-4D97-AF65-F5344CB8AC3E}">
        <p14:creationId xmlns:p14="http://schemas.microsoft.com/office/powerpoint/2010/main" val="13758857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BB93B7-D104-7B9A-615A-7F2714FAD2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733145-A65C-6C3D-81B2-F8D7F7ED4F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4EBE12-1994-8FD4-B7DC-9E8C7FB494E1}"/>
              </a:ext>
            </a:extLst>
          </p:cNvPr>
          <p:cNvSpPr>
            <a:spLocks noGrp="1"/>
          </p:cNvSpPr>
          <p:nvPr>
            <p:ph type="body" idx="1"/>
          </p:nvPr>
        </p:nvSpPr>
        <p:spPr/>
        <p:txBody>
          <a:bodyPr/>
          <a:lstStyle/>
          <a:p>
            <a:r>
              <a:rPr lang="de-DE"/>
              <a:t>Weitere Anteile: </a:t>
            </a:r>
            <a:br>
              <a:rPr lang="de-DE"/>
            </a:br>
            <a:r>
              <a:rPr lang="de-DE"/>
              <a:t>Strom: 13 %, Biogene Brennstoffe 9 %, Solarthermie 1 %</a:t>
            </a:r>
          </a:p>
        </p:txBody>
      </p:sp>
      <p:sp>
        <p:nvSpPr>
          <p:cNvPr id="4" name="Slide Number Placeholder 3">
            <a:extLst>
              <a:ext uri="{FF2B5EF4-FFF2-40B4-BE49-F238E27FC236}">
                <a16:creationId xmlns:a16="http://schemas.microsoft.com/office/drawing/2014/main" id="{9B258D4C-D29D-A625-8FD4-4769F3C24579}"/>
              </a:ext>
            </a:extLst>
          </p:cNvPr>
          <p:cNvSpPr>
            <a:spLocks noGrp="1"/>
          </p:cNvSpPr>
          <p:nvPr>
            <p:ph type="sldNum" sz="quarter" idx="5"/>
          </p:nvPr>
        </p:nvSpPr>
        <p:spPr/>
        <p:txBody>
          <a:bodyPr/>
          <a:lstStyle/>
          <a:p>
            <a:pPr defTabSz="1274089">
              <a:defRPr/>
            </a:pPr>
            <a:fld id="{02881287-4BA2-4746-A238-0B55DACA8C36}" type="slidenum">
              <a:rPr lang="de-DE">
                <a:solidFill>
                  <a:prstClr val="black"/>
                </a:solidFill>
                <a:latin typeface="Calibri"/>
              </a:rPr>
              <a:pPr defTabSz="1274089">
                <a:defRPr/>
              </a:pPr>
              <a:t>50</a:t>
            </a:fld>
            <a:endParaRPr lang="de-DE">
              <a:solidFill>
                <a:prstClr val="black"/>
              </a:solidFill>
              <a:latin typeface="Calibri"/>
            </a:endParaRPr>
          </a:p>
        </p:txBody>
      </p:sp>
    </p:spTree>
    <p:extLst>
      <p:ext uri="{BB962C8B-B14F-4D97-AF65-F5344CB8AC3E}">
        <p14:creationId xmlns:p14="http://schemas.microsoft.com/office/powerpoint/2010/main" val="17390849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BB275A-2AAE-2CFF-8C70-4DF0E1CA56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85AD4A-97A6-48F8-E570-083EA01E75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BE3904-2047-D520-F5A1-7CA608089D11}"/>
              </a:ext>
            </a:extLst>
          </p:cNvPr>
          <p:cNvSpPr>
            <a:spLocks noGrp="1"/>
          </p:cNvSpPr>
          <p:nvPr>
            <p:ph type="body" idx="1"/>
          </p:nvPr>
        </p:nvSpPr>
        <p:spPr/>
        <p:txBody>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lang="de-DE"/>
              <a:t>Anteile für 2045 in %: </a:t>
            </a:r>
            <a:br>
              <a:rPr lang="de-DE"/>
            </a:br>
            <a:r>
              <a:rPr lang="de-DE" sz="1194" i="0" kern="1200">
                <a:solidFill>
                  <a:schemeClr val="tx1"/>
                </a:solidFill>
                <a:effectLst/>
                <a:latin typeface="+mn-lt"/>
                <a:ea typeface="+mn-ea"/>
                <a:cs typeface="+mn-cs"/>
              </a:rPr>
              <a:t>Biogene Brennstoffe     	11.76</a:t>
            </a:r>
            <a:br>
              <a:rPr lang="de-DE" sz="1194" i="0" kern="1200">
                <a:solidFill>
                  <a:schemeClr val="tx1"/>
                </a:solidFill>
                <a:effectLst/>
                <a:latin typeface="+mn-lt"/>
                <a:ea typeface="+mn-ea"/>
                <a:cs typeface="+mn-cs"/>
              </a:rPr>
            </a:br>
            <a:r>
              <a:rPr lang="de-DE" sz="1194" i="0" kern="1200">
                <a:solidFill>
                  <a:schemeClr val="tx1"/>
                </a:solidFill>
                <a:effectLst/>
                <a:latin typeface="+mn-lt"/>
                <a:ea typeface="+mn-ea"/>
                <a:cs typeface="+mn-cs"/>
              </a:rPr>
              <a:t>Strom                    	18.29</a:t>
            </a:r>
            <a:br>
              <a:rPr lang="de-DE" sz="1194" i="0" kern="1200">
                <a:solidFill>
                  <a:schemeClr val="tx1"/>
                </a:solidFill>
                <a:effectLst/>
                <a:latin typeface="+mn-lt"/>
                <a:ea typeface="+mn-ea"/>
                <a:cs typeface="+mn-cs"/>
              </a:rPr>
            </a:br>
            <a:r>
              <a:rPr lang="de-DE" sz="1194" i="0" kern="1200">
                <a:solidFill>
                  <a:schemeClr val="tx1"/>
                </a:solidFill>
                <a:effectLst/>
                <a:latin typeface="+mn-lt"/>
                <a:ea typeface="+mn-ea"/>
                <a:cs typeface="+mn-cs"/>
              </a:rPr>
              <a:t>Wärmenetze               	32.40</a:t>
            </a:r>
            <a:br>
              <a:rPr lang="de-DE" sz="1194" i="0" kern="1200">
                <a:solidFill>
                  <a:schemeClr val="tx1"/>
                </a:solidFill>
                <a:effectLst/>
                <a:latin typeface="+mn-lt"/>
                <a:ea typeface="+mn-ea"/>
                <a:cs typeface="+mn-cs"/>
              </a:rPr>
            </a:br>
            <a:r>
              <a:rPr lang="de-DE" sz="1194" i="0" kern="1200">
                <a:solidFill>
                  <a:schemeClr val="tx1"/>
                </a:solidFill>
                <a:effectLst/>
                <a:latin typeface="+mn-lt"/>
                <a:ea typeface="+mn-ea"/>
                <a:cs typeface="+mn-cs"/>
              </a:rPr>
              <a:t>Solarthermie             	 0.95</a:t>
            </a:r>
            <a:br>
              <a:rPr lang="de-DE" sz="1194" i="0" kern="1200">
                <a:solidFill>
                  <a:schemeClr val="tx1"/>
                </a:solidFill>
                <a:effectLst/>
                <a:latin typeface="+mn-lt"/>
                <a:ea typeface="+mn-ea"/>
                <a:cs typeface="+mn-cs"/>
              </a:rPr>
            </a:br>
            <a:r>
              <a:rPr lang="de-DE" sz="1194" i="0" kern="1200">
                <a:solidFill>
                  <a:schemeClr val="tx1"/>
                </a:solidFill>
                <a:effectLst/>
                <a:latin typeface="+mn-lt"/>
                <a:ea typeface="+mn-ea"/>
                <a:cs typeface="+mn-cs"/>
              </a:rPr>
              <a:t>Umwelt- und Erdwärme    	36.58</a:t>
            </a:r>
            <a:endParaRPr lang="de-DE"/>
          </a:p>
        </p:txBody>
      </p:sp>
      <p:sp>
        <p:nvSpPr>
          <p:cNvPr id="4" name="Slide Number Placeholder 3">
            <a:extLst>
              <a:ext uri="{FF2B5EF4-FFF2-40B4-BE49-F238E27FC236}">
                <a16:creationId xmlns:a16="http://schemas.microsoft.com/office/drawing/2014/main" id="{5A5B2F1C-0405-9176-64B7-BA5AD4648FC7}"/>
              </a:ext>
            </a:extLst>
          </p:cNvPr>
          <p:cNvSpPr>
            <a:spLocks noGrp="1"/>
          </p:cNvSpPr>
          <p:nvPr>
            <p:ph type="sldNum" sz="quarter" idx="5"/>
          </p:nvPr>
        </p:nvSpPr>
        <p:spPr/>
        <p:txBody>
          <a:bodyPr/>
          <a:lstStyle/>
          <a:p>
            <a:pPr defTabSz="1274089">
              <a:defRPr/>
            </a:pPr>
            <a:fld id="{02881287-4BA2-4746-A238-0B55DACA8C36}" type="slidenum">
              <a:rPr lang="de-DE">
                <a:solidFill>
                  <a:prstClr val="black"/>
                </a:solidFill>
                <a:latin typeface="Calibri"/>
              </a:rPr>
              <a:pPr defTabSz="1274089">
                <a:defRPr/>
              </a:pPr>
              <a:t>51</a:t>
            </a:fld>
            <a:endParaRPr lang="de-DE">
              <a:solidFill>
                <a:prstClr val="black"/>
              </a:solidFill>
              <a:latin typeface="Calibri"/>
            </a:endParaRPr>
          </a:p>
        </p:txBody>
      </p:sp>
    </p:spTree>
    <p:extLst>
      <p:ext uri="{BB962C8B-B14F-4D97-AF65-F5344CB8AC3E}">
        <p14:creationId xmlns:p14="http://schemas.microsoft.com/office/powerpoint/2010/main" val="14846715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AEA422-8353-5B6B-1620-7F41FCE728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ED42CE-3568-6945-D461-7050C4A72F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596970-A83E-B28A-74C1-9BC269B0F13B}"/>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E7F23E70-4D9B-6271-BDD5-838A8DCEA0EE}"/>
              </a:ext>
            </a:extLst>
          </p:cNvPr>
          <p:cNvSpPr>
            <a:spLocks noGrp="1"/>
          </p:cNvSpPr>
          <p:nvPr>
            <p:ph type="sldNum" sz="quarter" idx="5"/>
          </p:nvPr>
        </p:nvSpPr>
        <p:spPr/>
        <p:txBody>
          <a:bodyPr/>
          <a:lstStyle/>
          <a:p>
            <a:fld id="{02881287-4BA2-4746-A238-0B55DACA8C36}" type="slidenum">
              <a:rPr lang="de-DE" smtClean="0"/>
              <a:t>53</a:t>
            </a:fld>
            <a:endParaRPr lang="de-DE"/>
          </a:p>
        </p:txBody>
      </p:sp>
    </p:spTree>
    <p:extLst>
      <p:ext uri="{BB962C8B-B14F-4D97-AF65-F5344CB8AC3E}">
        <p14:creationId xmlns:p14="http://schemas.microsoft.com/office/powerpoint/2010/main" val="35980361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02881287-4BA2-4746-A238-0B55DACA8C36}" type="slidenum">
              <a:rPr lang="de-DE" smtClean="0"/>
              <a:t>56</a:t>
            </a:fld>
            <a:endParaRPr lang="de-DE"/>
          </a:p>
        </p:txBody>
      </p:sp>
    </p:spTree>
    <p:extLst>
      <p:ext uri="{BB962C8B-B14F-4D97-AF65-F5344CB8AC3E}">
        <p14:creationId xmlns:p14="http://schemas.microsoft.com/office/powerpoint/2010/main" val="38706600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Lerneffekt durch Krisen</a:t>
            </a:r>
          </a:p>
          <a:p>
            <a:endParaRPr lang="de-DE"/>
          </a:p>
          <a:p>
            <a:pPr marL="342900" indent="-342900">
              <a:buFont typeface="Wingdings" panose="05000000000000000000" pitchFamily="2" charset="2"/>
              <a:buChar char="§"/>
            </a:pPr>
            <a:r>
              <a:rPr lang="de-DE"/>
              <a:t>Es gibt einen Lerneffekt durch die Krisen, und der kann jetzt auch einen „Turbo“ bekommen</a:t>
            </a:r>
          </a:p>
          <a:p>
            <a:pPr marL="342900" indent="-342900">
              <a:buFont typeface="Wingdings" panose="05000000000000000000" pitchFamily="2" charset="2"/>
              <a:buChar char="§"/>
            </a:pPr>
            <a:endParaRPr lang="de-DE"/>
          </a:p>
          <a:p>
            <a:pPr marL="342900" indent="-342900">
              <a:buFont typeface="Wingdings" panose="05000000000000000000" pitchFamily="2" charset="2"/>
              <a:buChar char="§"/>
            </a:pPr>
            <a:r>
              <a:rPr lang="de-DE">
                <a:sym typeface="Wingdings" panose="05000000000000000000" pitchFamily="2" charset="2"/>
              </a:rPr>
              <a:t> </a:t>
            </a:r>
            <a:r>
              <a:rPr lang="de-DE">
                <a:hlinkClick r:id="rId3"/>
              </a:rPr>
              <a:t>Energiepreise: Vom Iran-Schock zum Energiewende-Motor? | tagesschau.de</a:t>
            </a:r>
            <a:endParaRPr lang="de-DE"/>
          </a:p>
          <a:p>
            <a:pPr marL="342900" indent="-342900">
              <a:buFont typeface="Wingdings" panose="05000000000000000000" pitchFamily="2" charset="2"/>
              <a:buChar char="§"/>
            </a:pPr>
            <a:r>
              <a:rPr lang="de-DE"/>
              <a:t>Auch eine aktuelle </a:t>
            </a:r>
            <a:r>
              <a:rPr lang="de-DE">
                <a:hlinkClick r:id="rId4" tooltip="New Economic Foundation"/>
              </a:rPr>
              <a:t>Studie der New Economics </a:t>
            </a:r>
            <a:r>
              <a:rPr lang="de-DE" err="1">
                <a:hlinkClick r:id="rId4" tooltip="New Economic Foundation"/>
              </a:rPr>
              <a:t>Foundation</a:t>
            </a:r>
            <a:r>
              <a:rPr lang="de-DE"/>
              <a:t> kommt zum Schluss, dass gezielte Investitionen in erneuerbare Energien, den öffentlichen Nahverkehr und Anpassung an extremes Wetter die Wirtschaft eines Landes langfristig stärker und widerstandsfähiger macht. Auch </a:t>
            </a:r>
            <a:r>
              <a:rPr lang="de-DE">
                <a:hlinkClick r:id="rId5" tooltip="ISE"/>
              </a:rPr>
              <a:t>Forschungen</a:t>
            </a:r>
            <a:r>
              <a:rPr lang="de-DE"/>
              <a:t> des Fraunhofer-Instituts für Solare Energiesysteme belegen, dass erneuerbare Energien </a:t>
            </a:r>
            <a:r>
              <a:rPr lang="de-DE">
                <a:hlinkClick r:id="rId5" tooltip="ISE"/>
              </a:rPr>
              <a:t>langfristig effizient</a:t>
            </a:r>
            <a:r>
              <a:rPr lang="de-DE"/>
              <a:t> sind.</a:t>
            </a:r>
          </a:p>
          <a:p>
            <a:pPr marL="342900" indent="-342900">
              <a:buFont typeface="Wingdings" panose="05000000000000000000" pitchFamily="2" charset="2"/>
              <a:buChar char="§"/>
            </a:pPr>
            <a:endParaRPr lang="de-DE"/>
          </a:p>
          <a:p>
            <a:pPr marL="342900" indent="-342900">
              <a:buFont typeface="Wingdings" panose="05000000000000000000" pitchFamily="2" charset="2"/>
              <a:buChar char="§"/>
            </a:pPr>
            <a:r>
              <a:rPr lang="de-DE"/>
              <a:t>Anknüpfende Diskussion: Strompreiszonen in Deutschland</a:t>
            </a:r>
          </a:p>
          <a:p>
            <a:pPr fontAlgn="base"/>
            <a:endParaRPr lang="de-DE" sz="1194" b="0" i="0" kern="1200">
              <a:solidFill>
                <a:schemeClr val="tx1"/>
              </a:solidFill>
              <a:effectLst/>
              <a:latin typeface="+mn-lt"/>
              <a:ea typeface="+mn-ea"/>
              <a:cs typeface="+mn-cs"/>
            </a:endParaRPr>
          </a:p>
          <a:p>
            <a:pPr fontAlgn="base"/>
            <a:endParaRPr lang="de-DE" sz="1194" b="0" i="0" kern="1200">
              <a:solidFill>
                <a:schemeClr val="tx1"/>
              </a:solidFill>
              <a:effectLst/>
              <a:latin typeface="+mn-lt"/>
              <a:ea typeface="+mn-ea"/>
              <a:cs typeface="+mn-cs"/>
            </a:endParaRPr>
          </a:p>
          <a:p>
            <a:pPr fontAlgn="base"/>
            <a:r>
              <a:rPr lang="de-DE" sz="1194" b="0" i="0" kern="1200">
                <a:solidFill>
                  <a:schemeClr val="tx1"/>
                </a:solidFill>
                <a:effectLst/>
                <a:latin typeface="+mn-lt"/>
                <a:ea typeface="+mn-ea"/>
                <a:cs typeface="+mn-cs"/>
              </a:rPr>
              <a:t>Beispiel: Deutschland hat derzeit eine gemeinsame Strompreiszone. Das heißt: Strom wird im ganzen Land zum gleichen Preis gehandelt. Wie Energieexperte Quaschning erklärt, kann deshalb zum Beispiel ein Stromhändler in München Windstrom aus Flensburg kaufen, auch wenn die Leitungen in dem Moment gar nicht genug Strom transportieren können.</a:t>
            </a:r>
          </a:p>
          <a:p>
            <a:pPr fontAlgn="base"/>
            <a:r>
              <a:rPr lang="de-DE" sz="1194" b="0" i="0" kern="1200">
                <a:solidFill>
                  <a:schemeClr val="tx1"/>
                </a:solidFill>
                <a:effectLst/>
                <a:latin typeface="+mn-lt"/>
                <a:ea typeface="+mn-ea"/>
                <a:cs typeface="+mn-cs"/>
              </a:rPr>
              <a:t>Dann müssen Netzbetreiber eingreifen. Dieses Eingreifen ins Stromsystem nennt man </a:t>
            </a:r>
            <a:r>
              <a:rPr lang="de-DE" sz="1194" b="0" i="0" u="none" strike="noStrike" kern="1200">
                <a:solidFill>
                  <a:schemeClr val="tx1"/>
                </a:solidFill>
                <a:effectLst/>
                <a:latin typeface="+mn-lt"/>
                <a:ea typeface="+mn-ea"/>
                <a:cs typeface="+mn-cs"/>
                <a:hlinkClick r:id="rId6" tooltip="Bundeswirtschaftsminsterium"/>
              </a:rPr>
              <a:t>Redispatch</a:t>
            </a:r>
            <a:r>
              <a:rPr lang="de-DE" sz="1194" b="0" i="0" kern="1200">
                <a:solidFill>
                  <a:schemeClr val="tx1"/>
                </a:solidFill>
                <a:effectLst/>
                <a:latin typeface="+mn-lt"/>
                <a:ea typeface="+mn-ea"/>
                <a:cs typeface="+mn-cs"/>
              </a:rPr>
              <a:t> - und es verursacht Kosten. Quaschning plädiert deshalb dafür, Deutschland in mehrere Strompreiszonen aufzuteilen. Dann würde Strom dort günstiger, wo besonders viel erneuerbare Energie produziert wird, und teurer, wo sie knapp ist. Studien zeigen: Das könnte helfen, Netzengpässe zu reduzieren und das Stromsystem effizienter zu machen.</a:t>
            </a:r>
          </a:p>
          <a:p>
            <a:endParaRPr lang="de-DE"/>
          </a:p>
          <a:p>
            <a:endParaRPr lang="en-GB"/>
          </a:p>
        </p:txBody>
      </p:sp>
      <p:sp>
        <p:nvSpPr>
          <p:cNvPr id="4" name="Slide Number Placeholder 3"/>
          <p:cNvSpPr>
            <a:spLocks noGrp="1"/>
          </p:cNvSpPr>
          <p:nvPr>
            <p:ph type="sldNum" sz="quarter" idx="5"/>
          </p:nvPr>
        </p:nvSpPr>
        <p:spPr/>
        <p:txBody>
          <a:bodyPr/>
          <a:lstStyle/>
          <a:p>
            <a:fld id="{02881287-4BA2-4746-A238-0B55DACA8C36}" type="slidenum">
              <a:rPr lang="de-DE" smtClean="0"/>
              <a:t>57</a:t>
            </a:fld>
            <a:endParaRPr lang="de-DE"/>
          </a:p>
        </p:txBody>
      </p:sp>
    </p:spTree>
    <p:extLst>
      <p:ext uri="{BB962C8B-B14F-4D97-AF65-F5344CB8AC3E}">
        <p14:creationId xmlns:p14="http://schemas.microsoft.com/office/powerpoint/2010/main" val="21161543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02881287-4BA2-4746-A238-0B55DACA8C36}" type="slidenum">
              <a:rPr lang="de-DE" smtClean="0"/>
              <a:t>60</a:t>
            </a:fld>
            <a:endParaRPr lang="de-DE"/>
          </a:p>
        </p:txBody>
      </p:sp>
    </p:spTree>
    <p:extLst>
      <p:ext uri="{BB962C8B-B14F-4D97-AF65-F5344CB8AC3E}">
        <p14:creationId xmlns:p14="http://schemas.microsoft.com/office/powerpoint/2010/main" val="27400848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2881287-4BA2-4746-A238-0B55DACA8C36}" type="slidenum">
              <a:rPr lang="de-DE" smtClean="0"/>
              <a:t>61</a:t>
            </a:fld>
            <a:endParaRPr lang="de-DE"/>
          </a:p>
        </p:txBody>
      </p:sp>
    </p:spTree>
    <p:extLst>
      <p:ext uri="{BB962C8B-B14F-4D97-AF65-F5344CB8AC3E}">
        <p14:creationId xmlns:p14="http://schemas.microsoft.com/office/powerpoint/2010/main" val="28432671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AF263AE3-DD5C-4833-A1B0-9AD6BC994EE1}" type="slidenum">
              <a:rPr lang="de-DE" smtClean="0"/>
              <a:t>12</a:t>
            </a:fld>
            <a:endParaRPr lang="de-DE"/>
          </a:p>
        </p:txBody>
      </p:sp>
    </p:spTree>
    <p:extLst>
      <p:ext uri="{BB962C8B-B14F-4D97-AF65-F5344CB8AC3E}">
        <p14:creationId xmlns:p14="http://schemas.microsoft.com/office/powerpoint/2010/main" val="3933118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AF263AE3-DD5C-4833-A1B0-9AD6BC994EE1}" type="slidenum">
              <a:rPr lang="de-DE" smtClean="0"/>
              <a:t>15</a:t>
            </a:fld>
            <a:endParaRPr lang="de-DE"/>
          </a:p>
        </p:txBody>
      </p:sp>
    </p:spTree>
    <p:extLst>
      <p:ext uri="{BB962C8B-B14F-4D97-AF65-F5344CB8AC3E}">
        <p14:creationId xmlns:p14="http://schemas.microsoft.com/office/powerpoint/2010/main" val="3619262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lang="de-DE" sz="1200" b="1" dirty="0">
                <a:solidFill>
                  <a:schemeClr val="accent1"/>
                </a:solidFill>
              </a:rPr>
              <a:t>Partizipation</a:t>
            </a:r>
            <a:r>
              <a:rPr lang="de-DE" sz="1200" dirty="0">
                <a:solidFill>
                  <a:schemeClr val="accent1"/>
                </a:solidFill>
              </a:rPr>
              <a:t> und </a:t>
            </a:r>
            <a:r>
              <a:rPr lang="de-DE" sz="1200" b="1" dirty="0">
                <a:solidFill>
                  <a:schemeClr val="accent1"/>
                </a:solidFill>
              </a:rPr>
              <a:t>Stakeholdermanagement</a:t>
            </a:r>
          </a:p>
          <a:p>
            <a:pPr marL="0" marR="0" lvl="0" indent="0" algn="l" defTabSz="914342" rtl="0" eaLnBrk="1" fontAlgn="auto" latinLnBrk="0" hangingPunct="1">
              <a:lnSpc>
                <a:spcPct val="100000"/>
              </a:lnSpc>
              <a:spcBef>
                <a:spcPts val="0"/>
              </a:spcBef>
              <a:spcAft>
                <a:spcPts val="0"/>
              </a:spcAft>
              <a:buClrTx/>
              <a:buSzTx/>
              <a:buFontTx/>
              <a:buNone/>
              <a:tabLst/>
              <a:defRPr/>
            </a:pPr>
            <a:r>
              <a:rPr lang="de-DE" sz="1200" b="1" dirty="0">
                <a:solidFill>
                  <a:schemeClr val="tx1"/>
                </a:solidFill>
              </a:rPr>
              <a:t>Kommunikation</a:t>
            </a:r>
            <a:r>
              <a:rPr lang="de-DE" sz="1200" dirty="0">
                <a:solidFill>
                  <a:schemeClr val="tx1"/>
                </a:solidFill>
              </a:rPr>
              <a:t> und </a:t>
            </a:r>
            <a:r>
              <a:rPr lang="de-DE" sz="1200" b="1" dirty="0">
                <a:solidFill>
                  <a:schemeClr val="tx1"/>
                </a:solidFill>
              </a:rPr>
              <a:t>Dokumentation</a:t>
            </a:r>
          </a:p>
          <a:p>
            <a:pPr marL="0" marR="0" lvl="0" indent="0" algn="l" defTabSz="914342" rtl="0" eaLnBrk="1" fontAlgn="auto" latinLnBrk="0" hangingPunct="1">
              <a:lnSpc>
                <a:spcPct val="100000"/>
              </a:lnSpc>
              <a:spcBef>
                <a:spcPts val="0"/>
              </a:spcBef>
              <a:spcAft>
                <a:spcPts val="0"/>
              </a:spcAft>
              <a:buClrTx/>
              <a:buSzTx/>
              <a:buFontTx/>
              <a:buNone/>
              <a:tabLst/>
              <a:defRPr/>
            </a:pPr>
            <a:endParaRPr lang="de-DE" sz="1200" b="1" dirty="0">
              <a:solidFill>
                <a:schemeClr val="accent1"/>
              </a:solidFill>
            </a:endParaRPr>
          </a:p>
          <a:p>
            <a:endParaRPr lang="de-DE" dirty="0"/>
          </a:p>
        </p:txBody>
      </p:sp>
      <p:sp>
        <p:nvSpPr>
          <p:cNvPr id="4" name="Slide Number Placeholder 3"/>
          <p:cNvSpPr>
            <a:spLocks noGrp="1"/>
          </p:cNvSpPr>
          <p:nvPr>
            <p:ph type="sldNum" sz="quarter" idx="5"/>
          </p:nvPr>
        </p:nvSpPr>
        <p:spPr/>
        <p:txBody>
          <a:bodyPr/>
          <a:lstStyle/>
          <a:p>
            <a:fld id="{02881287-4BA2-4746-A238-0B55DACA8C36}" type="slidenum">
              <a:rPr lang="de-DE" smtClean="0"/>
              <a:t>24</a:t>
            </a:fld>
            <a:endParaRPr lang="de-DE"/>
          </a:p>
        </p:txBody>
      </p:sp>
    </p:spTree>
    <p:extLst>
      <p:ext uri="{BB962C8B-B14F-4D97-AF65-F5344CB8AC3E}">
        <p14:creationId xmlns:p14="http://schemas.microsoft.com/office/powerpoint/2010/main" val="16352815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3B974-F384-3131-7274-0394A2F5EA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757CAA-BAA1-FEC6-1F27-E7C1DD5B75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D353AE-76D8-8A45-49C3-52F807B5741C}"/>
              </a:ext>
            </a:extLst>
          </p:cNvPr>
          <p:cNvSpPr>
            <a:spLocks noGrp="1"/>
          </p:cNvSpPr>
          <p:nvPr>
            <p:ph type="body" idx="1"/>
          </p:nvPr>
        </p:nvSpPr>
        <p:spPr/>
        <p:txBody>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lang="de-DE" dirty="0"/>
              <a:t>WPG_ </a:t>
            </a:r>
            <a:r>
              <a:rPr lang="de-DE" sz="1100" dirty="0">
                <a:solidFill>
                  <a:srgbClr val="FF0000"/>
                </a:solidFill>
                <a:latin typeface="Roboto" panose="02000000000000000000" pitchFamily="2" charset="0"/>
              </a:rPr>
              <a:t>Am </a:t>
            </a:r>
            <a:r>
              <a:rPr lang="de-DE" sz="1100" b="1" dirty="0">
                <a:solidFill>
                  <a:srgbClr val="FF0000"/>
                </a:solidFill>
                <a:latin typeface="Roboto" panose="02000000000000000000" pitchFamily="2" charset="0"/>
              </a:rPr>
              <a:t>1.1.2024</a:t>
            </a:r>
            <a:r>
              <a:rPr lang="de-DE" sz="1100" dirty="0">
                <a:solidFill>
                  <a:srgbClr val="FF0000"/>
                </a:solidFill>
                <a:latin typeface="Roboto" panose="02000000000000000000" pitchFamily="2" charset="0"/>
              </a:rPr>
              <a:t> in Kraft getreten</a:t>
            </a:r>
          </a:p>
          <a:p>
            <a:pPr marL="180023" indent="-180023">
              <a:lnSpc>
                <a:spcPct val="113000"/>
              </a:lnSpc>
              <a:spcBef>
                <a:spcPts val="600"/>
              </a:spcBef>
              <a:buClr>
                <a:srgbClr val="003C50"/>
              </a:buClr>
              <a:buFont typeface="Wingdings" panose="05000000000000000000" pitchFamily="2" charset="2"/>
              <a:buChar char="§"/>
            </a:pPr>
            <a:r>
              <a:rPr lang="en-GB" sz="1200" dirty="0" err="1">
                <a:solidFill>
                  <a:srgbClr val="003C50"/>
                </a:solidFill>
                <a:latin typeface="Roboto" panose="02000000000000000000" pitchFamily="2" charset="0"/>
              </a:rPr>
              <a:t>Kommunen</a:t>
            </a:r>
            <a:r>
              <a:rPr lang="en-GB" sz="1200" dirty="0">
                <a:solidFill>
                  <a:srgbClr val="003C50"/>
                </a:solidFill>
                <a:latin typeface="Roboto" panose="02000000000000000000" pitchFamily="2" charset="0"/>
              </a:rPr>
              <a:t> </a:t>
            </a:r>
            <a:r>
              <a:rPr lang="en-GB" sz="1200" dirty="0" err="1">
                <a:solidFill>
                  <a:srgbClr val="003C50"/>
                </a:solidFill>
                <a:latin typeface="Roboto" panose="02000000000000000000" pitchFamily="2" charset="0"/>
              </a:rPr>
              <a:t>haben</a:t>
            </a:r>
            <a:r>
              <a:rPr lang="en-GB" sz="1200" dirty="0">
                <a:solidFill>
                  <a:srgbClr val="003C50"/>
                </a:solidFill>
                <a:latin typeface="Roboto" panose="02000000000000000000" pitchFamily="2" charset="0"/>
              </a:rPr>
              <a:t> </a:t>
            </a:r>
            <a:r>
              <a:rPr lang="en-GB" sz="1200" dirty="0" err="1">
                <a:solidFill>
                  <a:srgbClr val="003C50"/>
                </a:solidFill>
                <a:latin typeface="Roboto" panose="02000000000000000000" pitchFamily="2" charset="0"/>
              </a:rPr>
              <a:t>einen</a:t>
            </a:r>
            <a:r>
              <a:rPr lang="en-GB" sz="1200" dirty="0">
                <a:solidFill>
                  <a:srgbClr val="003C50"/>
                </a:solidFill>
                <a:latin typeface="Roboto" panose="02000000000000000000" pitchFamily="2" charset="0"/>
              </a:rPr>
              <a:t> </a:t>
            </a:r>
            <a:r>
              <a:rPr lang="en-GB" sz="1200" b="1" dirty="0" err="1">
                <a:solidFill>
                  <a:srgbClr val="003C50"/>
                </a:solidFill>
                <a:latin typeface="Roboto" panose="02000000000000000000" pitchFamily="2" charset="0"/>
              </a:rPr>
              <a:t>Wärmeplan</a:t>
            </a:r>
            <a:r>
              <a:rPr lang="en-GB" sz="1200" dirty="0">
                <a:solidFill>
                  <a:srgbClr val="003C50"/>
                </a:solidFill>
                <a:latin typeface="Roboto" panose="02000000000000000000" pitchFamily="2" charset="0"/>
              </a:rPr>
              <a:t> </a:t>
            </a:r>
            <a:r>
              <a:rPr lang="en-GB" sz="1200" dirty="0" err="1">
                <a:solidFill>
                  <a:srgbClr val="003C50"/>
                </a:solidFill>
                <a:latin typeface="Roboto" panose="02000000000000000000" pitchFamily="2" charset="0"/>
              </a:rPr>
              <a:t>vorzulegen</a:t>
            </a:r>
            <a:r>
              <a:rPr lang="en-GB" sz="1200" dirty="0">
                <a:solidFill>
                  <a:srgbClr val="003C50"/>
                </a:solidFill>
                <a:latin typeface="Roboto" panose="02000000000000000000" pitchFamily="2" charset="0"/>
              </a:rPr>
              <a:t>:</a:t>
            </a:r>
          </a:p>
          <a:p>
            <a:pPr marL="360045" lvl="1" indent="-180023">
              <a:lnSpc>
                <a:spcPct val="113000"/>
              </a:lnSpc>
              <a:buClr>
                <a:srgbClr val="668A96"/>
              </a:buClr>
              <a:buFont typeface="Wingdings" panose="05000000000000000000" pitchFamily="2" charset="2"/>
              <a:buChar char="§"/>
            </a:pPr>
            <a:r>
              <a:rPr lang="en-GB" sz="1200" dirty="0">
                <a:solidFill>
                  <a:srgbClr val="FF0000"/>
                </a:solidFill>
                <a:latin typeface="Roboto" panose="02000000000000000000" pitchFamily="2" charset="0"/>
              </a:rPr>
              <a:t>&gt; 100.000 </a:t>
            </a:r>
            <a:r>
              <a:rPr lang="en-GB" sz="1200" dirty="0" err="1">
                <a:solidFill>
                  <a:srgbClr val="FF0000"/>
                </a:solidFill>
                <a:latin typeface="Roboto" panose="02000000000000000000" pitchFamily="2" charset="0"/>
              </a:rPr>
              <a:t>Einwohner</a:t>
            </a:r>
            <a:r>
              <a:rPr lang="en-GB" sz="1200" dirty="0">
                <a:solidFill>
                  <a:srgbClr val="FF0000"/>
                </a:solidFill>
                <a:latin typeface="Roboto" panose="02000000000000000000" pitchFamily="2" charset="0"/>
              </a:rPr>
              <a:t> ➜ </a:t>
            </a:r>
            <a:r>
              <a:rPr lang="en-GB" sz="1200" b="1" dirty="0">
                <a:solidFill>
                  <a:srgbClr val="FF0000"/>
                </a:solidFill>
                <a:latin typeface="Roboto" panose="02000000000000000000" pitchFamily="2" charset="0"/>
              </a:rPr>
              <a:t>bis 30.06.2026</a:t>
            </a:r>
          </a:p>
          <a:p>
            <a:pPr marL="360045" lvl="1" indent="-180023">
              <a:lnSpc>
                <a:spcPct val="113000"/>
              </a:lnSpc>
              <a:buClr>
                <a:srgbClr val="668A96"/>
              </a:buClr>
              <a:buFont typeface="Wingdings" panose="05000000000000000000" pitchFamily="2" charset="2"/>
              <a:buChar char="§"/>
            </a:pPr>
            <a:r>
              <a:rPr lang="en-GB" sz="1200" dirty="0">
                <a:solidFill>
                  <a:srgbClr val="FF0000"/>
                </a:solidFill>
                <a:latin typeface="Roboto" panose="02000000000000000000" pitchFamily="2" charset="0"/>
              </a:rPr>
              <a:t>&lt; 100.000 </a:t>
            </a:r>
            <a:r>
              <a:rPr lang="en-GB" sz="1200" dirty="0" err="1">
                <a:solidFill>
                  <a:srgbClr val="FF0000"/>
                </a:solidFill>
                <a:latin typeface="Roboto" panose="02000000000000000000" pitchFamily="2" charset="0"/>
              </a:rPr>
              <a:t>Einwohner</a:t>
            </a:r>
            <a:r>
              <a:rPr lang="en-GB" sz="1200" dirty="0">
                <a:solidFill>
                  <a:srgbClr val="FF0000"/>
                </a:solidFill>
                <a:latin typeface="Roboto" panose="02000000000000000000" pitchFamily="2" charset="0"/>
              </a:rPr>
              <a:t> ➜ </a:t>
            </a:r>
            <a:r>
              <a:rPr lang="en-GB" sz="1200" b="1" dirty="0">
                <a:solidFill>
                  <a:srgbClr val="FF0000"/>
                </a:solidFill>
                <a:latin typeface="Roboto" panose="02000000000000000000" pitchFamily="2" charset="0"/>
              </a:rPr>
              <a:t>bis 30.06.2028</a:t>
            </a:r>
            <a:br>
              <a:rPr lang="de-DE" i="1" dirty="0"/>
            </a:br>
            <a:br>
              <a:rPr lang="de-DE" i="1" dirty="0"/>
            </a:br>
            <a:r>
              <a:rPr lang="de-DE" i="1" dirty="0"/>
              <a:t>LWPG:</a:t>
            </a:r>
            <a:br>
              <a:rPr lang="de-DE" i="1" dirty="0"/>
            </a:br>
            <a:r>
              <a:rPr lang="de-DE" sz="1100" dirty="0">
                <a:solidFill>
                  <a:srgbClr val="FF0000"/>
                </a:solidFill>
                <a:latin typeface="Roboto" panose="02000000000000000000" pitchFamily="2" charset="0"/>
              </a:rPr>
              <a:t>Am </a:t>
            </a:r>
            <a:r>
              <a:rPr lang="de-DE" sz="1100" b="1" dirty="0">
                <a:solidFill>
                  <a:srgbClr val="FF0000"/>
                </a:solidFill>
                <a:latin typeface="Roboto" panose="02000000000000000000" pitchFamily="2" charset="0"/>
              </a:rPr>
              <a:t>19.12.2024</a:t>
            </a:r>
            <a:r>
              <a:rPr lang="de-DE" sz="1100" dirty="0">
                <a:solidFill>
                  <a:srgbClr val="FF0000"/>
                </a:solidFill>
                <a:latin typeface="Roboto" panose="02000000000000000000" pitchFamily="2" charset="0"/>
              </a:rPr>
              <a:t> in Kraft getreten</a:t>
            </a:r>
          </a:p>
          <a:p>
            <a:pPr marL="171450" indent="-171450">
              <a:lnSpc>
                <a:spcPct val="113000"/>
              </a:lnSpc>
              <a:spcBef>
                <a:spcPts val="600"/>
              </a:spcBef>
              <a:buFont typeface="Wingdings" panose="05000000000000000000" pitchFamily="2" charset="2"/>
              <a:buChar char="§"/>
            </a:pPr>
            <a:r>
              <a:rPr lang="de-DE" sz="1100" dirty="0">
                <a:solidFill>
                  <a:srgbClr val="FF0000"/>
                </a:solidFill>
                <a:latin typeface="Roboto" panose="02000000000000000000" pitchFamily="2" charset="0"/>
              </a:rPr>
              <a:t>Planungsverantwortliche Stellen: </a:t>
            </a:r>
            <a:r>
              <a:rPr lang="de-DE" sz="1100" b="1" dirty="0">
                <a:solidFill>
                  <a:srgbClr val="FF0000"/>
                </a:solidFill>
                <a:latin typeface="Roboto" panose="02000000000000000000" pitchFamily="2" charset="0"/>
              </a:rPr>
              <a:t>Kommunen</a:t>
            </a:r>
          </a:p>
          <a:p>
            <a:endParaRPr lang="de-DE" i="1" dirty="0"/>
          </a:p>
        </p:txBody>
      </p:sp>
      <p:sp>
        <p:nvSpPr>
          <p:cNvPr id="4" name="Slide Number Placeholder 3">
            <a:extLst>
              <a:ext uri="{FF2B5EF4-FFF2-40B4-BE49-F238E27FC236}">
                <a16:creationId xmlns:a16="http://schemas.microsoft.com/office/drawing/2014/main" id="{FED24B30-B37F-18D8-F15B-A136745367D7}"/>
              </a:ext>
            </a:extLst>
          </p:cNvPr>
          <p:cNvSpPr>
            <a:spLocks noGrp="1"/>
          </p:cNvSpPr>
          <p:nvPr>
            <p:ph type="sldNum" sz="quarter" idx="5"/>
          </p:nvPr>
        </p:nvSpPr>
        <p:spPr/>
        <p:txBody>
          <a:bodyPr/>
          <a:lstStyle/>
          <a:p>
            <a:fld id="{02881287-4BA2-4746-A238-0B55DACA8C36}" type="slidenum">
              <a:rPr lang="de-DE" smtClean="0"/>
              <a:t>26</a:t>
            </a:fld>
            <a:endParaRPr lang="de-DE"/>
          </a:p>
        </p:txBody>
      </p:sp>
    </p:spTree>
    <p:extLst>
      <p:ext uri="{BB962C8B-B14F-4D97-AF65-F5344CB8AC3E}">
        <p14:creationId xmlns:p14="http://schemas.microsoft.com/office/powerpoint/2010/main" val="10724264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02881287-4BA2-4746-A238-0B55DACA8C36}" type="slidenum">
              <a:rPr lang="de-DE" smtClean="0"/>
              <a:t>27</a:t>
            </a:fld>
            <a:endParaRPr lang="de-DE"/>
          </a:p>
        </p:txBody>
      </p:sp>
    </p:spTree>
    <p:extLst>
      <p:ext uri="{BB962C8B-B14F-4D97-AF65-F5344CB8AC3E}">
        <p14:creationId xmlns:p14="http://schemas.microsoft.com/office/powerpoint/2010/main" val="18200614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02881287-4BA2-4746-A238-0B55DACA8C36}" type="slidenum">
              <a:rPr lang="de-DE" smtClean="0"/>
              <a:t>28</a:t>
            </a:fld>
            <a:endParaRPr lang="de-DE"/>
          </a:p>
        </p:txBody>
      </p:sp>
    </p:spTree>
    <p:extLst>
      <p:ext uri="{BB962C8B-B14F-4D97-AF65-F5344CB8AC3E}">
        <p14:creationId xmlns:p14="http://schemas.microsoft.com/office/powerpoint/2010/main" val="2296288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02881287-4BA2-4746-A238-0B55DACA8C36}" type="slidenum">
              <a:rPr lang="de-DE" smtClean="0"/>
              <a:t>36</a:t>
            </a:fld>
            <a:endParaRPr lang="de-DE"/>
          </a:p>
        </p:txBody>
      </p:sp>
    </p:spTree>
    <p:extLst>
      <p:ext uri="{BB962C8B-B14F-4D97-AF65-F5344CB8AC3E}">
        <p14:creationId xmlns:p14="http://schemas.microsoft.com/office/powerpoint/2010/main" val="8630066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BC5C2-7E1C-9B47-2D89-B029B3E129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861423-3254-2C05-C3D1-654E4C079A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B18E47-F363-FF09-D305-50E804C954B7}"/>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3670EA1F-06D6-A0ED-CA6E-0BBC28AD2047}"/>
              </a:ext>
            </a:extLst>
          </p:cNvPr>
          <p:cNvSpPr>
            <a:spLocks noGrp="1"/>
          </p:cNvSpPr>
          <p:nvPr>
            <p:ph type="sldNum" sz="quarter" idx="5"/>
          </p:nvPr>
        </p:nvSpPr>
        <p:spPr/>
        <p:txBody>
          <a:bodyPr/>
          <a:lstStyle/>
          <a:p>
            <a:fld id="{02881287-4BA2-4746-A238-0B55DACA8C36}" type="slidenum">
              <a:rPr lang="de-DE" smtClean="0"/>
              <a:t>39</a:t>
            </a:fld>
            <a:endParaRPr lang="de-DE"/>
          </a:p>
        </p:txBody>
      </p:sp>
    </p:spTree>
    <p:extLst>
      <p:ext uri="{BB962C8B-B14F-4D97-AF65-F5344CB8AC3E}">
        <p14:creationId xmlns:p14="http://schemas.microsoft.com/office/powerpoint/2010/main" val="95786011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13" Type="http://schemas.openxmlformats.org/officeDocument/2006/relationships/image" Target="../media/image7.emf"/><Relationship Id="rId3" Type="http://schemas.openxmlformats.org/officeDocument/2006/relationships/tags" Target="../tags/tag6.xml"/><Relationship Id="rId7" Type="http://schemas.openxmlformats.org/officeDocument/2006/relationships/image" Target="../media/image1.emf"/><Relationship Id="rId12" Type="http://schemas.openxmlformats.org/officeDocument/2006/relationships/image" Target="../media/image6.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11" Type="http://schemas.openxmlformats.org/officeDocument/2006/relationships/image" Target="../media/image5.emf"/><Relationship Id="rId5" Type="http://schemas.openxmlformats.org/officeDocument/2006/relationships/slideMaster" Target="../slideMasters/slideMaster1.xml"/><Relationship Id="rId10" Type="http://schemas.openxmlformats.org/officeDocument/2006/relationships/image" Target="../media/image4.emf"/><Relationship Id="rId4" Type="http://schemas.openxmlformats.org/officeDocument/2006/relationships/tags" Target="../tags/tag7.xml"/><Relationship Id="rId9"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jpe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jpe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jpe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5.emf"/><Relationship Id="rId13" Type="http://schemas.openxmlformats.org/officeDocument/2006/relationships/image" Target="../media/image13.png"/><Relationship Id="rId3" Type="http://schemas.openxmlformats.org/officeDocument/2006/relationships/image" Target="../media/image6.emf"/><Relationship Id="rId7" Type="http://schemas.openxmlformats.org/officeDocument/2006/relationships/image" Target="../media/image4.emf"/><Relationship Id="rId12" Type="http://schemas.openxmlformats.org/officeDocument/2006/relationships/image" Target="../media/image12.png"/><Relationship Id="rId2" Type="http://schemas.openxmlformats.org/officeDocument/2006/relationships/image" Target="../media/image8.png"/><Relationship Id="rId16" Type="http://schemas.openxmlformats.org/officeDocument/2006/relationships/image" Target="../media/image16.emf"/><Relationship Id="rId1" Type="http://schemas.openxmlformats.org/officeDocument/2006/relationships/slideMaster" Target="../slideMasters/slideMaster1.xml"/><Relationship Id="rId6" Type="http://schemas.openxmlformats.org/officeDocument/2006/relationships/image" Target="../media/image3.emf"/><Relationship Id="rId11" Type="http://schemas.openxmlformats.org/officeDocument/2006/relationships/image" Target="../media/image11.png"/><Relationship Id="rId5" Type="http://schemas.openxmlformats.org/officeDocument/2006/relationships/image" Target="../media/image2.emf"/><Relationship Id="rId15" Type="http://schemas.openxmlformats.org/officeDocument/2006/relationships/image" Target="../media/image15.emf"/><Relationship Id="rId10" Type="http://schemas.openxmlformats.org/officeDocument/2006/relationships/image" Target="../media/image10.emf"/><Relationship Id="rId4" Type="http://schemas.openxmlformats.org/officeDocument/2006/relationships/image" Target="../media/image7.emf"/><Relationship Id="rId9" Type="http://schemas.openxmlformats.org/officeDocument/2006/relationships/image" Target="../media/image9.png"/><Relationship Id="rId14" Type="http://schemas.openxmlformats.org/officeDocument/2006/relationships/image" Target="../media/image14.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emf"/><Relationship Id="rId11" Type="http://schemas.openxmlformats.org/officeDocument/2006/relationships/image" Target="../media/image7.emf"/><Relationship Id="rId5" Type="http://schemas.openxmlformats.org/officeDocument/2006/relationships/image" Target="../media/image1.emf"/><Relationship Id="rId10" Type="http://schemas.openxmlformats.org/officeDocument/2006/relationships/image" Target="../media/image6.emf"/><Relationship Id="rId4" Type="http://schemas.openxmlformats.org/officeDocument/2006/relationships/oleObject" Target="../embeddings/oleObject2.bin"/><Relationship Id="rId9"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extLst>
              <p:ext uri="{D42A27DB-BD31-4B8C-83A1-F6EECF244321}">
                <p14:modId xmlns:p14="http://schemas.microsoft.com/office/powerpoint/2010/main" val="1928012733"/>
              </p:ext>
            </p:extLst>
          </p:nvPr>
        </p:nvGraphicFramePr>
        <p:xfrm>
          <a:off x="1792" y="1467"/>
          <a:ext cx="1793" cy="1456"/>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21" name="Object 20" hidden="1"/>
                      <p:cNvPicPr/>
                      <p:nvPr/>
                    </p:nvPicPr>
                    <p:blipFill>
                      <a:blip r:embed="rId7"/>
                      <a:stretch>
                        <a:fillRect/>
                      </a:stretch>
                    </p:blipFill>
                    <p:spPr>
                      <a:xfrm>
                        <a:off x="1792" y="1467"/>
                        <a:ext cx="1793" cy="1456"/>
                      </a:xfrm>
                      <a:prstGeom prst="rect">
                        <a:avLst/>
                      </a:prstGeom>
                    </p:spPr>
                  </p:pic>
                </p:oleObj>
              </mc:Fallback>
            </mc:AlternateContent>
          </a:graphicData>
        </a:graphic>
      </p:graphicFrame>
      <p:sp>
        <p:nvSpPr>
          <p:cNvPr id="20" name="Rectangle 19" hidden="1"/>
          <p:cNvSpPr/>
          <p:nvPr>
            <p:custDataLst>
              <p:tags r:id="rId2"/>
            </p:custDataLst>
          </p:nvPr>
        </p:nvSpPr>
        <p:spPr bwMode="gray">
          <a:xfrm>
            <a:off x="20" y="22"/>
            <a:ext cx="179103" cy="145521"/>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413" b="0" i="0" baseline="0" err="1">
              <a:solidFill>
                <a:schemeClr val="tx1"/>
              </a:solidFill>
              <a:latin typeface="Roboto" panose="02000000000000000000" pitchFamily="2" charset="0"/>
              <a:ea typeface="+mj-ea"/>
              <a:cs typeface="+mj-cs"/>
              <a:sym typeface="Roboto" panose="02000000000000000000" pitchFamily="2" charset="0"/>
            </a:endParaRPr>
          </a:p>
        </p:txBody>
      </p:sp>
      <p:sp>
        <p:nvSpPr>
          <p:cNvPr id="12" name="background"/>
          <p:cNvSpPr/>
          <p:nvPr/>
        </p:nvSpPr>
        <p:spPr bwMode="gray">
          <a:xfrm>
            <a:off x="0" y="0"/>
            <a:ext cx="11176000" cy="6286500"/>
          </a:xfrm>
          <a:prstGeom prst="rect">
            <a:avLst/>
          </a:prstGeom>
          <a:solidFill>
            <a:schemeClr val="l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202462" rIns="430234" rtlCol="0" anchor="ctr"/>
          <a:lstStyle/>
          <a:p>
            <a:pPr algn="ctr"/>
            <a:endParaRPr lang="de-DE" sz="206">
              <a:solidFill>
                <a:schemeClr val="accent2"/>
              </a:solidFill>
              <a:latin typeface="+mn-lt"/>
            </a:endParaRPr>
          </a:p>
        </p:txBody>
      </p:sp>
      <p:sp>
        <p:nvSpPr>
          <p:cNvPr id="2" name="title_box"/>
          <p:cNvSpPr>
            <a:spLocks noGrp="1"/>
          </p:cNvSpPr>
          <p:nvPr>
            <p:ph type="ctrTitle" hasCustomPrompt="1"/>
          </p:nvPr>
        </p:nvSpPr>
        <p:spPr bwMode="gray">
          <a:xfrm>
            <a:off x="727202" y="1244600"/>
            <a:ext cx="5097600" cy="957593"/>
          </a:xfrm>
          <a:prstGeom prst="rect">
            <a:avLst/>
          </a:prstGeom>
        </p:spPr>
        <p:txBody>
          <a:bodyPr wrap="square" lIns="0" tIns="0" rIns="0" bIns="0" anchor="t" anchorCtr="0">
            <a:noAutofit/>
          </a:bodyPr>
          <a:lstStyle>
            <a:lvl1pPr algn="l">
              <a:defRPr sz="3200" baseline="0">
                <a:latin typeface="+mn-lt"/>
              </a:defRPr>
            </a:lvl1pPr>
          </a:lstStyle>
          <a:p>
            <a:r>
              <a:rPr lang="de-DE" err="1"/>
              <a:t>Presentation</a:t>
            </a:r>
            <a:r>
              <a:rPr lang="de-DE"/>
              <a:t> Title</a:t>
            </a:r>
          </a:p>
        </p:txBody>
      </p:sp>
      <p:sp>
        <p:nvSpPr>
          <p:cNvPr id="3" name="subtitle_box"/>
          <p:cNvSpPr>
            <a:spLocks noGrp="1"/>
          </p:cNvSpPr>
          <p:nvPr>
            <p:ph type="subTitle" idx="1" hasCustomPrompt="1"/>
          </p:nvPr>
        </p:nvSpPr>
        <p:spPr bwMode="gray">
          <a:xfrm>
            <a:off x="727202" y="2293188"/>
            <a:ext cx="4392001" cy="658800"/>
          </a:xfrm>
          <a:prstGeom prst="rect">
            <a:avLst/>
          </a:prstGeom>
        </p:spPr>
        <p:txBody>
          <a:bodyPr wrap="square" lIns="0" tIns="0" rIns="0" bIns="0">
            <a:noAutofit/>
          </a:bodyPr>
          <a:lstStyle>
            <a:lvl1pPr marL="0" indent="0" algn="l">
              <a:spcBef>
                <a:spcPts val="0"/>
              </a:spcBef>
              <a:buNone/>
              <a:defRPr sz="2200" baseline="0">
                <a:solidFill>
                  <a:schemeClr val="tx1"/>
                </a:solidFill>
                <a:latin typeface="Roboto Light" panose="02000000000000000000" pitchFamily="2" charset="0"/>
                <a:ea typeface="Roboto Light" panose="02000000000000000000" pitchFamily="2" charset="0"/>
              </a:defRPr>
            </a:lvl1pPr>
            <a:lvl2pPr marL="58376" indent="0" algn="ctr">
              <a:buNone/>
              <a:defRPr>
                <a:solidFill>
                  <a:schemeClr val="tx1">
                    <a:tint val="75000"/>
                  </a:schemeClr>
                </a:solidFill>
              </a:defRPr>
            </a:lvl2pPr>
            <a:lvl3pPr marL="116754" indent="0" algn="ctr">
              <a:buNone/>
              <a:defRPr>
                <a:solidFill>
                  <a:schemeClr val="tx1">
                    <a:tint val="75000"/>
                  </a:schemeClr>
                </a:solidFill>
              </a:defRPr>
            </a:lvl3pPr>
            <a:lvl4pPr marL="175129" indent="0" algn="ctr">
              <a:buNone/>
              <a:defRPr>
                <a:solidFill>
                  <a:schemeClr val="tx1">
                    <a:tint val="75000"/>
                  </a:schemeClr>
                </a:solidFill>
              </a:defRPr>
            </a:lvl4pPr>
            <a:lvl5pPr marL="233506" indent="0" algn="ctr">
              <a:buNone/>
              <a:defRPr>
                <a:solidFill>
                  <a:schemeClr val="tx1">
                    <a:tint val="75000"/>
                  </a:schemeClr>
                </a:solidFill>
              </a:defRPr>
            </a:lvl5pPr>
            <a:lvl6pPr marL="291883" indent="0" algn="ctr">
              <a:buNone/>
              <a:defRPr>
                <a:solidFill>
                  <a:schemeClr val="tx1">
                    <a:tint val="75000"/>
                  </a:schemeClr>
                </a:solidFill>
              </a:defRPr>
            </a:lvl6pPr>
            <a:lvl7pPr marL="350260" indent="0" algn="ctr">
              <a:buNone/>
              <a:defRPr>
                <a:solidFill>
                  <a:schemeClr val="tx1">
                    <a:tint val="75000"/>
                  </a:schemeClr>
                </a:solidFill>
              </a:defRPr>
            </a:lvl7pPr>
            <a:lvl8pPr marL="408636" indent="0" algn="ctr">
              <a:buNone/>
              <a:defRPr>
                <a:solidFill>
                  <a:schemeClr val="tx1">
                    <a:tint val="75000"/>
                  </a:schemeClr>
                </a:solidFill>
              </a:defRPr>
            </a:lvl8pPr>
            <a:lvl9pPr marL="467012" indent="0" algn="ctr">
              <a:buNone/>
              <a:defRPr>
                <a:solidFill>
                  <a:schemeClr val="tx1">
                    <a:tint val="75000"/>
                  </a:schemeClr>
                </a:solidFill>
              </a:defRPr>
            </a:lvl9pPr>
          </a:lstStyle>
          <a:p>
            <a:r>
              <a:rPr lang="de-DE" err="1"/>
              <a:t>Presentation</a:t>
            </a:r>
            <a:r>
              <a:rPr lang="de-DE"/>
              <a:t> </a:t>
            </a:r>
            <a:r>
              <a:rPr lang="de-DE" err="1"/>
              <a:t>Subtitle</a:t>
            </a:r>
            <a:endParaRPr lang="de-DE"/>
          </a:p>
        </p:txBody>
      </p:sp>
      <p:sp>
        <p:nvSpPr>
          <p:cNvPr id="9" name="orange_bar"/>
          <p:cNvSpPr/>
          <p:nvPr/>
        </p:nvSpPr>
        <p:spPr bwMode="gray">
          <a:xfrm>
            <a:off x="727202" y="925309"/>
            <a:ext cx="447954" cy="612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6">
              <a:latin typeface="+mn-lt"/>
            </a:endParaRPr>
          </a:p>
        </p:txBody>
      </p:sp>
      <p:sp>
        <p:nvSpPr>
          <p:cNvPr id="32" name="triangle_top_right" hidden="1"/>
          <p:cNvSpPr/>
          <p:nvPr/>
        </p:nvSpPr>
        <p:spPr>
          <a:xfrm rot="10800000">
            <a:off x="7146899" y="0"/>
            <a:ext cx="3081680" cy="3081680"/>
          </a:xfrm>
          <a:prstGeom prst="rtTriangl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6"/>
          </a:p>
        </p:txBody>
      </p:sp>
      <p:sp>
        <p:nvSpPr>
          <p:cNvPr id="33" name="triangle_top_left" hidden="1"/>
          <p:cNvSpPr/>
          <p:nvPr/>
        </p:nvSpPr>
        <p:spPr>
          <a:xfrm rot="5400000">
            <a:off x="0" y="0"/>
            <a:ext cx="1169721" cy="1169721"/>
          </a:xfrm>
          <a:prstGeom prst="rtTriangl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6"/>
          </a:p>
        </p:txBody>
      </p:sp>
      <p:sp>
        <p:nvSpPr>
          <p:cNvPr id="31" name="triangle_bottom_left"/>
          <p:cNvSpPr/>
          <p:nvPr/>
        </p:nvSpPr>
        <p:spPr bwMode="gray">
          <a:xfrm>
            <a:off x="0" y="2687955"/>
            <a:ext cx="3600000" cy="3600000"/>
          </a:xfrm>
          <a:prstGeom prst="rtTriangle">
            <a:avLst/>
          </a:prstGeom>
          <a:solidFill>
            <a:schemeClr val="l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6">
              <a:latin typeface="+mn-lt"/>
            </a:endParaRPr>
          </a:p>
        </p:txBody>
      </p:sp>
      <p:sp>
        <p:nvSpPr>
          <p:cNvPr id="29" name="triangle_bottom_right" hidden="1"/>
          <p:cNvSpPr/>
          <p:nvPr/>
        </p:nvSpPr>
        <p:spPr bwMode="gray">
          <a:xfrm flipH="1">
            <a:off x="4874095" y="1397018"/>
            <a:ext cx="6309224" cy="4893761"/>
          </a:xfrm>
          <a:prstGeom prst="rtTriangle">
            <a:avLst/>
          </a:prstGeom>
          <a:solidFill>
            <a:schemeClr val="dk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6">
              <a:latin typeface="+mn-lt"/>
            </a:endParaRPr>
          </a:p>
        </p:txBody>
      </p:sp>
      <p:sp>
        <p:nvSpPr>
          <p:cNvPr id="11" name="place_date"/>
          <p:cNvSpPr>
            <a:spLocks noGrp="1"/>
          </p:cNvSpPr>
          <p:nvPr>
            <p:ph type="body" sz="quarter" idx="11" hasCustomPrompt="1"/>
          </p:nvPr>
        </p:nvSpPr>
        <p:spPr bwMode="white">
          <a:xfrm>
            <a:off x="727202" y="5428742"/>
            <a:ext cx="1620001" cy="327533"/>
          </a:xfrm>
          <a:prstGeom prst="rect">
            <a:avLst/>
          </a:prstGeom>
        </p:spPr>
        <p:txBody>
          <a:bodyPr lIns="0" tIns="0" rIns="0" bIns="0" anchor="b" anchorCtr="0">
            <a:noAutofit/>
          </a:bodyPr>
          <a:lstStyle>
            <a:lvl1pPr>
              <a:defRPr lang="en-US" sz="1000" smtClean="0">
                <a:solidFill>
                  <a:schemeClr val="lt1"/>
                </a:solidFill>
                <a:latin typeface="+mn-lt"/>
              </a:defRPr>
            </a:lvl1pPr>
            <a:lvl2pPr>
              <a:defRPr lang="en-US" sz="235" smtClean="0"/>
            </a:lvl2pPr>
            <a:lvl3pPr>
              <a:defRPr lang="en-US" sz="235" smtClean="0"/>
            </a:lvl3pPr>
            <a:lvl4pPr>
              <a:defRPr lang="en-US" sz="235" smtClean="0"/>
            </a:lvl4pPr>
            <a:lvl5pPr>
              <a:defRPr lang="de-DE" sz="235"/>
            </a:lvl5pPr>
          </a:lstStyle>
          <a:p>
            <a:pPr lvl="0">
              <a:lnSpc>
                <a:spcPts val="164"/>
              </a:lnSpc>
            </a:pPr>
            <a:r>
              <a:rPr lang="en-US"/>
              <a:t>Place, date</a:t>
            </a:r>
          </a:p>
        </p:txBody>
      </p:sp>
      <p:sp>
        <p:nvSpPr>
          <p:cNvPr id="22" name="cut_shape_right"/>
          <p:cNvSpPr/>
          <p:nvPr/>
        </p:nvSpPr>
        <p:spPr bwMode="gray">
          <a:xfrm>
            <a:off x="2001600" y="0"/>
            <a:ext cx="9176399" cy="6286500"/>
          </a:xfrm>
          <a:custGeom>
            <a:avLst/>
            <a:gdLst>
              <a:gd name="connsiteX0" fmla="*/ 5682306 w 8132466"/>
              <a:gd name="connsiteY0" fmla="*/ 0 h 6858001"/>
              <a:gd name="connsiteX1" fmla="*/ 0 w 8132466"/>
              <a:gd name="connsiteY1" fmla="*/ 6858001 h 6858001"/>
              <a:gd name="connsiteX2" fmla="*/ 0 w 8132466"/>
              <a:gd name="connsiteY2" fmla="*/ 6858001 h 6858001"/>
              <a:gd name="connsiteX3" fmla="*/ 0 w 8132466"/>
              <a:gd name="connsiteY3" fmla="*/ 6858001 h 6858001"/>
              <a:gd name="connsiteX4" fmla="*/ 0 w 8132466"/>
              <a:gd name="connsiteY4" fmla="*/ 6858001 h 6858001"/>
              <a:gd name="connsiteX5" fmla="*/ 6858000 w 8132466"/>
              <a:gd name="connsiteY5" fmla="*/ 6858001 h 6858001"/>
              <a:gd name="connsiteX6" fmla="*/ 8132466 w 8132466"/>
              <a:gd name="connsiteY6" fmla="*/ 6858001 h 6858001"/>
              <a:gd name="connsiteX7" fmla="*/ 8132466 w 8132466"/>
              <a:gd name="connsiteY7" fmla="*/ 1 h 6858001"/>
              <a:gd name="connsiteX0" fmla="*/ 6856409 w 8132466"/>
              <a:gd name="connsiteY0" fmla="*/ 0 h 6858001"/>
              <a:gd name="connsiteX1" fmla="*/ 0 w 8132466"/>
              <a:gd name="connsiteY1" fmla="*/ 6858001 h 6858001"/>
              <a:gd name="connsiteX2" fmla="*/ 0 w 8132466"/>
              <a:gd name="connsiteY2" fmla="*/ 6858001 h 6858001"/>
              <a:gd name="connsiteX3" fmla="*/ 0 w 8132466"/>
              <a:gd name="connsiteY3" fmla="*/ 6858001 h 6858001"/>
              <a:gd name="connsiteX4" fmla="*/ 0 w 8132466"/>
              <a:gd name="connsiteY4" fmla="*/ 6858001 h 6858001"/>
              <a:gd name="connsiteX5" fmla="*/ 6858000 w 8132466"/>
              <a:gd name="connsiteY5" fmla="*/ 6858001 h 6858001"/>
              <a:gd name="connsiteX6" fmla="*/ 8132466 w 8132466"/>
              <a:gd name="connsiteY6" fmla="*/ 6858001 h 6858001"/>
              <a:gd name="connsiteX7" fmla="*/ 8132466 w 8132466"/>
              <a:gd name="connsiteY7" fmla="*/ 1 h 6858001"/>
              <a:gd name="connsiteX0" fmla="*/ 5681087 w 8132466"/>
              <a:gd name="connsiteY0" fmla="*/ 0 h 6858001"/>
              <a:gd name="connsiteX1" fmla="*/ 0 w 8132466"/>
              <a:gd name="connsiteY1" fmla="*/ 6858001 h 6858001"/>
              <a:gd name="connsiteX2" fmla="*/ 0 w 8132466"/>
              <a:gd name="connsiteY2" fmla="*/ 6858001 h 6858001"/>
              <a:gd name="connsiteX3" fmla="*/ 0 w 8132466"/>
              <a:gd name="connsiteY3" fmla="*/ 6858001 h 6858001"/>
              <a:gd name="connsiteX4" fmla="*/ 0 w 8132466"/>
              <a:gd name="connsiteY4" fmla="*/ 6858001 h 6858001"/>
              <a:gd name="connsiteX5" fmla="*/ 6858000 w 8132466"/>
              <a:gd name="connsiteY5" fmla="*/ 6858001 h 6858001"/>
              <a:gd name="connsiteX6" fmla="*/ 8132466 w 8132466"/>
              <a:gd name="connsiteY6" fmla="*/ 6858001 h 6858001"/>
              <a:gd name="connsiteX7" fmla="*/ 8132466 w 8132466"/>
              <a:gd name="connsiteY7" fmla="*/ 1 h 6858001"/>
              <a:gd name="connsiteX0" fmla="*/ 5727164 w 8132466"/>
              <a:gd name="connsiteY0" fmla="*/ 0 h 6858002"/>
              <a:gd name="connsiteX1" fmla="*/ 0 w 8132466"/>
              <a:gd name="connsiteY1" fmla="*/ 6858002 h 6858002"/>
              <a:gd name="connsiteX2" fmla="*/ 0 w 8132466"/>
              <a:gd name="connsiteY2" fmla="*/ 6858002 h 6858002"/>
              <a:gd name="connsiteX3" fmla="*/ 0 w 8132466"/>
              <a:gd name="connsiteY3" fmla="*/ 6858002 h 6858002"/>
              <a:gd name="connsiteX4" fmla="*/ 0 w 8132466"/>
              <a:gd name="connsiteY4" fmla="*/ 6858002 h 6858002"/>
              <a:gd name="connsiteX5" fmla="*/ 6858000 w 8132466"/>
              <a:gd name="connsiteY5" fmla="*/ 6858002 h 6858002"/>
              <a:gd name="connsiteX6" fmla="*/ 8132466 w 8132466"/>
              <a:gd name="connsiteY6" fmla="*/ 6858002 h 6858002"/>
              <a:gd name="connsiteX7" fmla="*/ 8132466 w 8132466"/>
              <a:gd name="connsiteY7" fmla="*/ 2 h 6858002"/>
              <a:gd name="connsiteX0" fmla="*/ 5723663 w 8132466"/>
              <a:gd name="connsiteY0" fmla="*/ 0 h 6858003"/>
              <a:gd name="connsiteX1" fmla="*/ 0 w 8132466"/>
              <a:gd name="connsiteY1" fmla="*/ 6858003 h 6858003"/>
              <a:gd name="connsiteX2" fmla="*/ 0 w 8132466"/>
              <a:gd name="connsiteY2" fmla="*/ 6858003 h 6858003"/>
              <a:gd name="connsiteX3" fmla="*/ 0 w 8132466"/>
              <a:gd name="connsiteY3" fmla="*/ 6858003 h 6858003"/>
              <a:gd name="connsiteX4" fmla="*/ 0 w 8132466"/>
              <a:gd name="connsiteY4" fmla="*/ 6858003 h 6858003"/>
              <a:gd name="connsiteX5" fmla="*/ 6858000 w 8132466"/>
              <a:gd name="connsiteY5" fmla="*/ 6858003 h 6858003"/>
              <a:gd name="connsiteX6" fmla="*/ 8132466 w 8132466"/>
              <a:gd name="connsiteY6" fmla="*/ 6858003 h 6858003"/>
              <a:gd name="connsiteX7" fmla="*/ 8132466 w 8132466"/>
              <a:gd name="connsiteY7" fmla="*/ 3 h 6858003"/>
              <a:gd name="connsiteX0" fmla="*/ 5727164 w 8132466"/>
              <a:gd name="connsiteY0" fmla="*/ 0 h 6858004"/>
              <a:gd name="connsiteX1" fmla="*/ 0 w 8132466"/>
              <a:gd name="connsiteY1" fmla="*/ 6858004 h 6858004"/>
              <a:gd name="connsiteX2" fmla="*/ 0 w 8132466"/>
              <a:gd name="connsiteY2" fmla="*/ 6858004 h 6858004"/>
              <a:gd name="connsiteX3" fmla="*/ 0 w 8132466"/>
              <a:gd name="connsiteY3" fmla="*/ 6858004 h 6858004"/>
              <a:gd name="connsiteX4" fmla="*/ 0 w 8132466"/>
              <a:gd name="connsiteY4" fmla="*/ 6858004 h 6858004"/>
              <a:gd name="connsiteX5" fmla="*/ 6858000 w 8132466"/>
              <a:gd name="connsiteY5" fmla="*/ 6858004 h 6858004"/>
              <a:gd name="connsiteX6" fmla="*/ 8132466 w 8132466"/>
              <a:gd name="connsiteY6" fmla="*/ 6858004 h 6858004"/>
              <a:gd name="connsiteX7" fmla="*/ 8132466 w 8132466"/>
              <a:gd name="connsiteY7" fmla="*/ 4 h 6858004"/>
              <a:gd name="connsiteX0" fmla="*/ 5723663 w 8132466"/>
              <a:gd name="connsiteY0" fmla="*/ 0 h 6858005"/>
              <a:gd name="connsiteX1" fmla="*/ 0 w 8132466"/>
              <a:gd name="connsiteY1" fmla="*/ 6858005 h 6858005"/>
              <a:gd name="connsiteX2" fmla="*/ 0 w 8132466"/>
              <a:gd name="connsiteY2" fmla="*/ 6858005 h 6858005"/>
              <a:gd name="connsiteX3" fmla="*/ 0 w 8132466"/>
              <a:gd name="connsiteY3" fmla="*/ 6858005 h 6858005"/>
              <a:gd name="connsiteX4" fmla="*/ 0 w 8132466"/>
              <a:gd name="connsiteY4" fmla="*/ 6858005 h 6858005"/>
              <a:gd name="connsiteX5" fmla="*/ 6858000 w 8132466"/>
              <a:gd name="connsiteY5" fmla="*/ 6858005 h 6858005"/>
              <a:gd name="connsiteX6" fmla="*/ 8132466 w 8132466"/>
              <a:gd name="connsiteY6" fmla="*/ 6858005 h 6858005"/>
              <a:gd name="connsiteX7" fmla="*/ 8132466 w 8132466"/>
              <a:gd name="connsiteY7" fmla="*/ 5 h 6858005"/>
              <a:gd name="connsiteX0" fmla="*/ 5727164 w 8132466"/>
              <a:gd name="connsiteY0" fmla="*/ 0 h 6858006"/>
              <a:gd name="connsiteX1" fmla="*/ 0 w 8132466"/>
              <a:gd name="connsiteY1" fmla="*/ 6858006 h 6858006"/>
              <a:gd name="connsiteX2" fmla="*/ 0 w 8132466"/>
              <a:gd name="connsiteY2" fmla="*/ 6858006 h 6858006"/>
              <a:gd name="connsiteX3" fmla="*/ 0 w 8132466"/>
              <a:gd name="connsiteY3" fmla="*/ 6858006 h 6858006"/>
              <a:gd name="connsiteX4" fmla="*/ 0 w 8132466"/>
              <a:gd name="connsiteY4" fmla="*/ 6858006 h 6858006"/>
              <a:gd name="connsiteX5" fmla="*/ 6858000 w 8132466"/>
              <a:gd name="connsiteY5" fmla="*/ 6858006 h 6858006"/>
              <a:gd name="connsiteX6" fmla="*/ 8132466 w 8132466"/>
              <a:gd name="connsiteY6" fmla="*/ 6858006 h 6858006"/>
              <a:gd name="connsiteX7" fmla="*/ 8132466 w 8132466"/>
              <a:gd name="connsiteY7" fmla="*/ 6 h 6858006"/>
              <a:gd name="connsiteX0" fmla="*/ 5723663 w 8132466"/>
              <a:gd name="connsiteY0" fmla="*/ 0 h 6858007"/>
              <a:gd name="connsiteX1" fmla="*/ 0 w 8132466"/>
              <a:gd name="connsiteY1" fmla="*/ 6858007 h 6858007"/>
              <a:gd name="connsiteX2" fmla="*/ 0 w 8132466"/>
              <a:gd name="connsiteY2" fmla="*/ 6858007 h 6858007"/>
              <a:gd name="connsiteX3" fmla="*/ 0 w 8132466"/>
              <a:gd name="connsiteY3" fmla="*/ 6858007 h 6858007"/>
              <a:gd name="connsiteX4" fmla="*/ 0 w 8132466"/>
              <a:gd name="connsiteY4" fmla="*/ 6858007 h 6858007"/>
              <a:gd name="connsiteX5" fmla="*/ 6858000 w 8132466"/>
              <a:gd name="connsiteY5" fmla="*/ 6858007 h 6858007"/>
              <a:gd name="connsiteX6" fmla="*/ 8132466 w 8132466"/>
              <a:gd name="connsiteY6" fmla="*/ 6858007 h 6858007"/>
              <a:gd name="connsiteX7" fmla="*/ 8132466 w 8132466"/>
              <a:gd name="connsiteY7" fmla="*/ 7 h 6858007"/>
              <a:gd name="connsiteX0" fmla="*/ 5727164 w 8132466"/>
              <a:gd name="connsiteY0" fmla="*/ 0 h 6858008"/>
              <a:gd name="connsiteX1" fmla="*/ 0 w 8132466"/>
              <a:gd name="connsiteY1" fmla="*/ 6858008 h 6858008"/>
              <a:gd name="connsiteX2" fmla="*/ 0 w 8132466"/>
              <a:gd name="connsiteY2" fmla="*/ 6858008 h 6858008"/>
              <a:gd name="connsiteX3" fmla="*/ 0 w 8132466"/>
              <a:gd name="connsiteY3" fmla="*/ 6858008 h 6858008"/>
              <a:gd name="connsiteX4" fmla="*/ 0 w 8132466"/>
              <a:gd name="connsiteY4" fmla="*/ 6858008 h 6858008"/>
              <a:gd name="connsiteX5" fmla="*/ 6858000 w 8132466"/>
              <a:gd name="connsiteY5" fmla="*/ 6858008 h 6858008"/>
              <a:gd name="connsiteX6" fmla="*/ 8132466 w 8132466"/>
              <a:gd name="connsiteY6" fmla="*/ 6858008 h 6858008"/>
              <a:gd name="connsiteX7" fmla="*/ 8132466 w 8132466"/>
              <a:gd name="connsiteY7" fmla="*/ 8 h 6858008"/>
              <a:gd name="connsiteX0" fmla="*/ 5723663 w 8132466"/>
              <a:gd name="connsiteY0" fmla="*/ 0 h 6858009"/>
              <a:gd name="connsiteX1" fmla="*/ 0 w 8132466"/>
              <a:gd name="connsiteY1" fmla="*/ 6858009 h 6858009"/>
              <a:gd name="connsiteX2" fmla="*/ 0 w 8132466"/>
              <a:gd name="connsiteY2" fmla="*/ 6858009 h 6858009"/>
              <a:gd name="connsiteX3" fmla="*/ 0 w 8132466"/>
              <a:gd name="connsiteY3" fmla="*/ 6858009 h 6858009"/>
              <a:gd name="connsiteX4" fmla="*/ 0 w 8132466"/>
              <a:gd name="connsiteY4" fmla="*/ 6858009 h 6858009"/>
              <a:gd name="connsiteX5" fmla="*/ 6858000 w 8132466"/>
              <a:gd name="connsiteY5" fmla="*/ 6858009 h 6858009"/>
              <a:gd name="connsiteX6" fmla="*/ 8132466 w 8132466"/>
              <a:gd name="connsiteY6" fmla="*/ 6858009 h 6858009"/>
              <a:gd name="connsiteX7" fmla="*/ 8132466 w 8132466"/>
              <a:gd name="connsiteY7" fmla="*/ 9 h 6858009"/>
              <a:gd name="connsiteX0" fmla="*/ 5727164 w 8132466"/>
              <a:gd name="connsiteY0" fmla="*/ 0 h 6858010"/>
              <a:gd name="connsiteX1" fmla="*/ 0 w 8132466"/>
              <a:gd name="connsiteY1" fmla="*/ 6858010 h 6858010"/>
              <a:gd name="connsiteX2" fmla="*/ 0 w 8132466"/>
              <a:gd name="connsiteY2" fmla="*/ 6858010 h 6858010"/>
              <a:gd name="connsiteX3" fmla="*/ 0 w 8132466"/>
              <a:gd name="connsiteY3" fmla="*/ 6858010 h 6858010"/>
              <a:gd name="connsiteX4" fmla="*/ 0 w 8132466"/>
              <a:gd name="connsiteY4" fmla="*/ 6858010 h 6858010"/>
              <a:gd name="connsiteX5" fmla="*/ 6858000 w 8132466"/>
              <a:gd name="connsiteY5" fmla="*/ 6858010 h 6858010"/>
              <a:gd name="connsiteX6" fmla="*/ 8132466 w 8132466"/>
              <a:gd name="connsiteY6" fmla="*/ 6858010 h 6858010"/>
              <a:gd name="connsiteX7" fmla="*/ 8132466 w 8132466"/>
              <a:gd name="connsiteY7" fmla="*/ 10 h 6858010"/>
              <a:gd name="connsiteX0" fmla="*/ 5723663 w 8132466"/>
              <a:gd name="connsiteY0" fmla="*/ 0 h 6858011"/>
              <a:gd name="connsiteX1" fmla="*/ 0 w 8132466"/>
              <a:gd name="connsiteY1" fmla="*/ 6858011 h 6858011"/>
              <a:gd name="connsiteX2" fmla="*/ 0 w 8132466"/>
              <a:gd name="connsiteY2" fmla="*/ 6858011 h 6858011"/>
              <a:gd name="connsiteX3" fmla="*/ 0 w 8132466"/>
              <a:gd name="connsiteY3" fmla="*/ 6858011 h 6858011"/>
              <a:gd name="connsiteX4" fmla="*/ 0 w 8132466"/>
              <a:gd name="connsiteY4" fmla="*/ 6858011 h 6858011"/>
              <a:gd name="connsiteX5" fmla="*/ 6858000 w 8132466"/>
              <a:gd name="connsiteY5" fmla="*/ 6858011 h 6858011"/>
              <a:gd name="connsiteX6" fmla="*/ 8132466 w 8132466"/>
              <a:gd name="connsiteY6" fmla="*/ 6858011 h 6858011"/>
              <a:gd name="connsiteX7" fmla="*/ 8132466 w 8132466"/>
              <a:gd name="connsiteY7" fmla="*/ 11 h 6858011"/>
              <a:gd name="connsiteX0" fmla="*/ 5727164 w 8132466"/>
              <a:gd name="connsiteY0" fmla="*/ 0 h 6858012"/>
              <a:gd name="connsiteX1" fmla="*/ 0 w 8132466"/>
              <a:gd name="connsiteY1" fmla="*/ 6858012 h 6858012"/>
              <a:gd name="connsiteX2" fmla="*/ 0 w 8132466"/>
              <a:gd name="connsiteY2" fmla="*/ 6858012 h 6858012"/>
              <a:gd name="connsiteX3" fmla="*/ 0 w 8132466"/>
              <a:gd name="connsiteY3" fmla="*/ 6858012 h 6858012"/>
              <a:gd name="connsiteX4" fmla="*/ 0 w 8132466"/>
              <a:gd name="connsiteY4" fmla="*/ 6858012 h 6858012"/>
              <a:gd name="connsiteX5" fmla="*/ 6858000 w 8132466"/>
              <a:gd name="connsiteY5" fmla="*/ 6858012 h 6858012"/>
              <a:gd name="connsiteX6" fmla="*/ 8132466 w 8132466"/>
              <a:gd name="connsiteY6" fmla="*/ 6858012 h 6858012"/>
              <a:gd name="connsiteX7" fmla="*/ 8132466 w 8132466"/>
              <a:gd name="connsiteY7" fmla="*/ 12 h 6858012"/>
              <a:gd name="connsiteX0" fmla="*/ 6878264 w 8132466"/>
              <a:gd name="connsiteY0" fmla="*/ 0 h 6858013"/>
              <a:gd name="connsiteX1" fmla="*/ 0 w 8132466"/>
              <a:gd name="connsiteY1" fmla="*/ 6858013 h 6858013"/>
              <a:gd name="connsiteX2" fmla="*/ 0 w 8132466"/>
              <a:gd name="connsiteY2" fmla="*/ 6858013 h 6858013"/>
              <a:gd name="connsiteX3" fmla="*/ 0 w 8132466"/>
              <a:gd name="connsiteY3" fmla="*/ 6858013 h 6858013"/>
              <a:gd name="connsiteX4" fmla="*/ 0 w 8132466"/>
              <a:gd name="connsiteY4" fmla="*/ 6858013 h 6858013"/>
              <a:gd name="connsiteX5" fmla="*/ 6858000 w 8132466"/>
              <a:gd name="connsiteY5" fmla="*/ 6858013 h 6858013"/>
              <a:gd name="connsiteX6" fmla="*/ 8132466 w 8132466"/>
              <a:gd name="connsiteY6" fmla="*/ 6858013 h 6858013"/>
              <a:gd name="connsiteX7" fmla="*/ 8132466 w 8132466"/>
              <a:gd name="connsiteY7" fmla="*/ 13 h 6858013"/>
              <a:gd name="connsiteX0" fmla="*/ 5681087 w 8132466"/>
              <a:gd name="connsiteY0" fmla="*/ 0 h 6858013"/>
              <a:gd name="connsiteX1" fmla="*/ 0 w 8132466"/>
              <a:gd name="connsiteY1" fmla="*/ 6858013 h 6858013"/>
              <a:gd name="connsiteX2" fmla="*/ 0 w 8132466"/>
              <a:gd name="connsiteY2" fmla="*/ 6858013 h 6858013"/>
              <a:gd name="connsiteX3" fmla="*/ 0 w 8132466"/>
              <a:gd name="connsiteY3" fmla="*/ 6858013 h 6858013"/>
              <a:gd name="connsiteX4" fmla="*/ 0 w 8132466"/>
              <a:gd name="connsiteY4" fmla="*/ 6858013 h 6858013"/>
              <a:gd name="connsiteX5" fmla="*/ 6858000 w 8132466"/>
              <a:gd name="connsiteY5" fmla="*/ 6858013 h 6858013"/>
              <a:gd name="connsiteX6" fmla="*/ 8132466 w 8132466"/>
              <a:gd name="connsiteY6" fmla="*/ 6858013 h 6858013"/>
              <a:gd name="connsiteX7" fmla="*/ 8132466 w 8132466"/>
              <a:gd name="connsiteY7" fmla="*/ 13 h 6858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32466" h="6858013">
                <a:moveTo>
                  <a:pt x="5681087" y="0"/>
                </a:moveTo>
                <a:lnTo>
                  <a:pt x="0" y="6858013"/>
                </a:lnTo>
                <a:lnTo>
                  <a:pt x="0" y="6858013"/>
                </a:lnTo>
                <a:lnTo>
                  <a:pt x="0" y="6858013"/>
                </a:lnTo>
                <a:lnTo>
                  <a:pt x="0" y="6858013"/>
                </a:lnTo>
                <a:lnTo>
                  <a:pt x="6858000" y="6858013"/>
                </a:lnTo>
                <a:lnTo>
                  <a:pt x="8132466" y="6858013"/>
                </a:lnTo>
                <a:lnTo>
                  <a:pt x="8132466" y="13"/>
                </a:lnTo>
                <a:close/>
              </a:path>
            </a:pathLst>
          </a:custGeom>
          <a:solidFill>
            <a:schemeClr val="dk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51" tIns="4651" rIns="4651" bIns="4651" numCol="1" spcCol="0" rtlCol="0" fromWordArt="0" anchor="b" anchorCtr="0" forceAA="0" compatLnSpc="1">
            <a:prstTxWarp prst="textNoShape">
              <a:avLst/>
            </a:prstTxWarp>
            <a:noAutofit/>
          </a:bodyPr>
          <a:lstStyle/>
          <a:p>
            <a:pPr lvl="0" algn="r"/>
            <a:endParaRPr lang="de-DE" sz="181" err="1">
              <a:solidFill>
                <a:schemeClr val="tx1"/>
              </a:solidFill>
            </a:endParaRPr>
          </a:p>
        </p:txBody>
      </p:sp>
      <p:pic>
        <p:nvPicPr>
          <p:cNvPr id="13" name="d-fine_dark_English" hidden="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88800" y="4906800"/>
            <a:ext cx="1958645" cy="849706"/>
          </a:xfrm>
          <a:prstGeom prst="rect">
            <a:avLst/>
          </a:prstGeom>
          <a:solidFill>
            <a:schemeClr val="accent4"/>
          </a:solidFill>
        </p:spPr>
      </p:pic>
      <p:pic>
        <p:nvPicPr>
          <p:cNvPr id="7" name="d-fine_light_English"/>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488800" y="4906800"/>
            <a:ext cx="1958645" cy="849706"/>
          </a:xfrm>
          <a:prstGeom prst="rect">
            <a:avLst/>
          </a:prstGeom>
          <a:noFill/>
          <a:extLst>
            <a:ext uri="{909E8E84-426E-40DD-AFC4-6F175D3DCCD1}">
              <a14:hiddenFill xmlns:a14="http://schemas.microsoft.com/office/drawing/2010/main">
                <a:solidFill>
                  <a:schemeClr val="tx1"/>
                </a:solidFill>
              </a14:hiddenFill>
            </a:ext>
          </a:extLst>
        </p:spPr>
      </p:pic>
      <p:pic>
        <p:nvPicPr>
          <p:cNvPr id="8" name="d-fine_dark_German" hidden="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934400" y="4906800"/>
            <a:ext cx="2513114" cy="849706"/>
          </a:xfrm>
          <a:prstGeom prst="rect">
            <a:avLst/>
          </a:prstGeom>
          <a:solidFill>
            <a:schemeClr val="accent4"/>
          </a:solidFill>
        </p:spPr>
      </p:pic>
      <p:pic>
        <p:nvPicPr>
          <p:cNvPr id="6" name="d-fine_light_German" hidden="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934400" y="4906800"/>
            <a:ext cx="2513114" cy="849706"/>
          </a:xfrm>
          <a:prstGeom prst="rect">
            <a:avLst/>
          </a:prstGeom>
          <a:solidFill>
            <a:schemeClr val="tx1"/>
          </a:solidFill>
        </p:spPr>
      </p:pic>
      <p:pic>
        <p:nvPicPr>
          <p:cNvPr id="18" name="d-fine_dark_Italian" hidden="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074278" y="4906800"/>
            <a:ext cx="2373236" cy="849706"/>
          </a:xfrm>
          <a:prstGeom prst="rect">
            <a:avLst/>
          </a:prstGeom>
        </p:spPr>
      </p:pic>
      <p:pic>
        <p:nvPicPr>
          <p:cNvPr id="4" name="d-fine_light_Italian" hidden="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074278" y="4906800"/>
            <a:ext cx="2373236" cy="849706"/>
          </a:xfrm>
          <a:prstGeom prst="rect">
            <a:avLst/>
          </a:prstGeom>
        </p:spPr>
      </p:pic>
      <p:graphicFrame>
        <p:nvGraphicFramePr>
          <p:cNvPr id="5" name="Object 4" hidden="1">
            <a:extLst>
              <a:ext uri="{FF2B5EF4-FFF2-40B4-BE49-F238E27FC236}">
                <a16:creationId xmlns:a16="http://schemas.microsoft.com/office/drawing/2014/main" id="{29616681-8BA8-F212-9093-B0B5B7FB2955}"/>
              </a:ext>
            </a:extLst>
          </p:cNvPr>
          <p:cNvGraphicFramePr>
            <a:graphicFrameLocks noChangeAspect="1"/>
          </p:cNvGraphicFramePr>
          <p:nvPr userDrawn="1">
            <p:custDataLst>
              <p:tags r:id="rId3"/>
            </p:custDataLst>
            <p:extLst>
              <p:ext uri="{D42A27DB-BD31-4B8C-83A1-F6EECF244321}">
                <p14:modId xmlns:p14="http://schemas.microsoft.com/office/powerpoint/2010/main" val="1928012733"/>
              </p:ext>
            </p:extLst>
          </p:nvPr>
        </p:nvGraphicFramePr>
        <p:xfrm>
          <a:off x="1792" y="1467"/>
          <a:ext cx="1793" cy="1456"/>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5" name="Object 4" hidden="1">
                        <a:extLst>
                          <a:ext uri="{FF2B5EF4-FFF2-40B4-BE49-F238E27FC236}">
                            <a16:creationId xmlns:a16="http://schemas.microsoft.com/office/drawing/2014/main" id="{29616681-8BA8-F212-9093-B0B5B7FB2955}"/>
                          </a:ext>
                        </a:extLst>
                      </p:cNvPr>
                      <p:cNvPicPr/>
                      <p:nvPr/>
                    </p:nvPicPr>
                    <p:blipFill>
                      <a:blip r:embed="rId7"/>
                      <a:stretch>
                        <a:fillRect/>
                      </a:stretch>
                    </p:blipFill>
                    <p:spPr>
                      <a:xfrm>
                        <a:off x="1792" y="1467"/>
                        <a:ext cx="1793" cy="1456"/>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BB14D2B6-4F5A-B907-0BFE-9E0D6A7A27D4}"/>
              </a:ext>
            </a:extLst>
          </p:cNvPr>
          <p:cNvSpPr/>
          <p:nvPr userDrawn="1">
            <p:custDataLst>
              <p:tags r:id="rId4"/>
            </p:custDataLst>
          </p:nvPr>
        </p:nvSpPr>
        <p:spPr bwMode="gray">
          <a:xfrm>
            <a:off x="20" y="22"/>
            <a:ext cx="179103" cy="145521"/>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413" b="0" i="0" baseline="0" err="1">
              <a:solidFill>
                <a:schemeClr val="tx1"/>
              </a:solidFill>
              <a:latin typeface="Roboto" panose="02000000000000000000" pitchFamily="2" charset="0"/>
              <a:ea typeface="+mj-ea"/>
              <a:cs typeface="+mj-cs"/>
              <a:sym typeface="Roboto" panose="02000000000000000000" pitchFamily="2" charset="0"/>
            </a:endParaRPr>
          </a:p>
        </p:txBody>
      </p:sp>
      <p:sp>
        <p:nvSpPr>
          <p:cNvPr id="14" name="background">
            <a:extLst>
              <a:ext uri="{FF2B5EF4-FFF2-40B4-BE49-F238E27FC236}">
                <a16:creationId xmlns:a16="http://schemas.microsoft.com/office/drawing/2014/main" id="{A013326F-3E41-B34F-3950-A9025E592185}"/>
              </a:ext>
            </a:extLst>
          </p:cNvPr>
          <p:cNvSpPr/>
          <p:nvPr userDrawn="1"/>
        </p:nvSpPr>
        <p:spPr bwMode="gray">
          <a:xfrm>
            <a:off x="0" y="0"/>
            <a:ext cx="11176000" cy="6286500"/>
          </a:xfrm>
          <a:prstGeom prst="rect">
            <a:avLst/>
          </a:prstGeom>
          <a:solidFill>
            <a:schemeClr val="l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202462" rIns="430234" rtlCol="0" anchor="ctr"/>
          <a:lstStyle/>
          <a:p>
            <a:pPr algn="ctr"/>
            <a:endParaRPr lang="de-DE" sz="206">
              <a:solidFill>
                <a:schemeClr val="accent2"/>
              </a:solidFill>
              <a:latin typeface="+mn-lt"/>
            </a:endParaRPr>
          </a:p>
        </p:txBody>
      </p:sp>
      <p:sp>
        <p:nvSpPr>
          <p:cNvPr id="15" name="title_box">
            <a:extLst>
              <a:ext uri="{FF2B5EF4-FFF2-40B4-BE49-F238E27FC236}">
                <a16:creationId xmlns:a16="http://schemas.microsoft.com/office/drawing/2014/main" id="{0CA1BC35-7308-4449-E747-D8F51A11DE47}"/>
              </a:ext>
            </a:extLst>
          </p:cNvPr>
          <p:cNvSpPr>
            <a:spLocks noGrp="1"/>
          </p:cNvSpPr>
          <p:nvPr>
            <p:ph type="ctrTitle" hasCustomPrompt="1"/>
          </p:nvPr>
        </p:nvSpPr>
        <p:spPr bwMode="gray">
          <a:xfrm>
            <a:off x="687754" y="1140885"/>
            <a:ext cx="5845908" cy="902811"/>
          </a:xfrm>
          <a:prstGeom prst="rect">
            <a:avLst/>
          </a:prstGeom>
        </p:spPr>
        <p:txBody>
          <a:bodyPr wrap="square" lIns="0" tIns="0" rIns="0" bIns="0" anchor="t" anchorCtr="0">
            <a:noAutofit/>
          </a:bodyPr>
          <a:lstStyle>
            <a:lvl1pPr algn="l">
              <a:defRPr sz="2933" baseline="0">
                <a:latin typeface="+mn-lt"/>
              </a:defRPr>
            </a:lvl1pPr>
          </a:lstStyle>
          <a:p>
            <a:r>
              <a:rPr lang="de-DE" err="1"/>
              <a:t>Presentation</a:t>
            </a:r>
            <a:r>
              <a:rPr lang="de-DE"/>
              <a:t> Title</a:t>
            </a:r>
          </a:p>
        </p:txBody>
      </p:sp>
      <p:sp>
        <p:nvSpPr>
          <p:cNvPr id="16" name="subtitle_box">
            <a:extLst>
              <a:ext uri="{FF2B5EF4-FFF2-40B4-BE49-F238E27FC236}">
                <a16:creationId xmlns:a16="http://schemas.microsoft.com/office/drawing/2014/main" id="{F5CD347F-66C5-145D-48E4-6DBA674351ED}"/>
              </a:ext>
            </a:extLst>
          </p:cNvPr>
          <p:cNvSpPr>
            <a:spLocks noGrp="1"/>
          </p:cNvSpPr>
          <p:nvPr>
            <p:ph type="subTitle" idx="1" hasCustomPrompt="1"/>
          </p:nvPr>
        </p:nvSpPr>
        <p:spPr bwMode="gray">
          <a:xfrm>
            <a:off x="687754" y="2165351"/>
            <a:ext cx="5043528" cy="620675"/>
          </a:xfrm>
          <a:prstGeom prst="rect">
            <a:avLst/>
          </a:prstGeom>
        </p:spPr>
        <p:txBody>
          <a:bodyPr wrap="square" lIns="0" tIns="0" rIns="0" bIns="0">
            <a:noAutofit/>
          </a:bodyPr>
          <a:lstStyle>
            <a:lvl1pPr marL="0" indent="0" algn="l">
              <a:spcBef>
                <a:spcPts val="0"/>
              </a:spcBef>
              <a:buNone/>
              <a:defRPr sz="2017" baseline="0">
                <a:solidFill>
                  <a:schemeClr val="tx1"/>
                </a:solidFill>
                <a:latin typeface="Roboto Light" panose="02000000000000000000" pitchFamily="2" charset="0"/>
                <a:ea typeface="Roboto Light" panose="02000000000000000000" pitchFamily="2" charset="0"/>
              </a:defRPr>
            </a:lvl1pPr>
            <a:lvl2pPr marL="58376" indent="0" algn="ctr">
              <a:buNone/>
              <a:defRPr>
                <a:solidFill>
                  <a:schemeClr val="tx1">
                    <a:tint val="75000"/>
                  </a:schemeClr>
                </a:solidFill>
              </a:defRPr>
            </a:lvl2pPr>
            <a:lvl3pPr marL="116754" indent="0" algn="ctr">
              <a:buNone/>
              <a:defRPr>
                <a:solidFill>
                  <a:schemeClr val="tx1">
                    <a:tint val="75000"/>
                  </a:schemeClr>
                </a:solidFill>
              </a:defRPr>
            </a:lvl3pPr>
            <a:lvl4pPr marL="175129" indent="0" algn="ctr">
              <a:buNone/>
              <a:defRPr>
                <a:solidFill>
                  <a:schemeClr val="tx1">
                    <a:tint val="75000"/>
                  </a:schemeClr>
                </a:solidFill>
              </a:defRPr>
            </a:lvl4pPr>
            <a:lvl5pPr marL="233506" indent="0" algn="ctr">
              <a:buNone/>
              <a:defRPr>
                <a:solidFill>
                  <a:schemeClr val="tx1">
                    <a:tint val="75000"/>
                  </a:schemeClr>
                </a:solidFill>
              </a:defRPr>
            </a:lvl5pPr>
            <a:lvl6pPr marL="291883" indent="0" algn="ctr">
              <a:buNone/>
              <a:defRPr>
                <a:solidFill>
                  <a:schemeClr val="tx1">
                    <a:tint val="75000"/>
                  </a:schemeClr>
                </a:solidFill>
              </a:defRPr>
            </a:lvl6pPr>
            <a:lvl7pPr marL="350260" indent="0" algn="ctr">
              <a:buNone/>
              <a:defRPr>
                <a:solidFill>
                  <a:schemeClr val="tx1">
                    <a:tint val="75000"/>
                  </a:schemeClr>
                </a:solidFill>
              </a:defRPr>
            </a:lvl7pPr>
            <a:lvl8pPr marL="408636" indent="0" algn="ctr">
              <a:buNone/>
              <a:defRPr>
                <a:solidFill>
                  <a:schemeClr val="tx1">
                    <a:tint val="75000"/>
                  </a:schemeClr>
                </a:solidFill>
              </a:defRPr>
            </a:lvl8pPr>
            <a:lvl9pPr marL="467012" indent="0" algn="ctr">
              <a:buNone/>
              <a:defRPr>
                <a:solidFill>
                  <a:schemeClr val="tx1">
                    <a:tint val="75000"/>
                  </a:schemeClr>
                </a:solidFill>
              </a:defRPr>
            </a:lvl9pPr>
          </a:lstStyle>
          <a:p>
            <a:r>
              <a:rPr lang="de-DE" err="1"/>
              <a:t>Presentation</a:t>
            </a:r>
            <a:r>
              <a:rPr lang="de-DE"/>
              <a:t> </a:t>
            </a:r>
            <a:r>
              <a:rPr lang="de-DE" err="1"/>
              <a:t>Subtitle</a:t>
            </a:r>
            <a:endParaRPr lang="de-DE"/>
          </a:p>
        </p:txBody>
      </p:sp>
      <p:sp>
        <p:nvSpPr>
          <p:cNvPr id="17" name="orange_bar">
            <a:extLst>
              <a:ext uri="{FF2B5EF4-FFF2-40B4-BE49-F238E27FC236}">
                <a16:creationId xmlns:a16="http://schemas.microsoft.com/office/drawing/2014/main" id="{8246A62F-6B66-E890-ABBE-E433BD4E3B62}"/>
              </a:ext>
            </a:extLst>
          </p:cNvPr>
          <p:cNvSpPr/>
          <p:nvPr userDrawn="1"/>
        </p:nvSpPr>
        <p:spPr bwMode="gray">
          <a:xfrm>
            <a:off x="687754" y="874500"/>
            <a:ext cx="458954" cy="59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6">
              <a:latin typeface="+mn-lt"/>
            </a:endParaRPr>
          </a:p>
        </p:txBody>
      </p:sp>
      <p:sp>
        <p:nvSpPr>
          <p:cNvPr id="19" name="triangle_top_right" hidden="1">
            <a:extLst>
              <a:ext uri="{FF2B5EF4-FFF2-40B4-BE49-F238E27FC236}">
                <a16:creationId xmlns:a16="http://schemas.microsoft.com/office/drawing/2014/main" id="{495EB9D6-3A67-4B29-A7AE-4538ADB8C6B6}"/>
              </a:ext>
            </a:extLst>
          </p:cNvPr>
          <p:cNvSpPr/>
          <p:nvPr userDrawn="1"/>
        </p:nvSpPr>
        <p:spPr>
          <a:xfrm rot="10800000">
            <a:off x="8063168" y="1"/>
            <a:ext cx="3476767" cy="2824873"/>
          </a:xfrm>
          <a:prstGeom prst="rtTriangl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6"/>
          </a:p>
        </p:txBody>
      </p:sp>
      <p:sp>
        <p:nvSpPr>
          <p:cNvPr id="23" name="triangle_top_left" hidden="1">
            <a:extLst>
              <a:ext uri="{FF2B5EF4-FFF2-40B4-BE49-F238E27FC236}">
                <a16:creationId xmlns:a16="http://schemas.microsoft.com/office/drawing/2014/main" id="{5EF988E2-108F-2E51-F166-34DF632B9A13}"/>
              </a:ext>
            </a:extLst>
          </p:cNvPr>
          <p:cNvSpPr/>
          <p:nvPr userDrawn="1"/>
        </p:nvSpPr>
        <p:spPr>
          <a:xfrm rot="5400000">
            <a:off x="123721" y="-123720"/>
            <a:ext cx="1072244" cy="1319685"/>
          </a:xfrm>
          <a:prstGeom prst="rtTriangl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6"/>
          </a:p>
        </p:txBody>
      </p:sp>
      <p:sp>
        <p:nvSpPr>
          <p:cNvPr id="24" name="triangle_bottom_left">
            <a:extLst>
              <a:ext uri="{FF2B5EF4-FFF2-40B4-BE49-F238E27FC236}">
                <a16:creationId xmlns:a16="http://schemas.microsoft.com/office/drawing/2014/main" id="{BFA9E5DC-AEFA-25C3-A797-AE99165BEED1}"/>
              </a:ext>
            </a:extLst>
          </p:cNvPr>
          <p:cNvSpPr/>
          <p:nvPr userDrawn="1"/>
        </p:nvSpPr>
        <p:spPr bwMode="gray">
          <a:xfrm>
            <a:off x="0" y="3461700"/>
            <a:ext cx="3476677" cy="2824800"/>
          </a:xfrm>
          <a:prstGeom prst="rtTriangle">
            <a:avLst/>
          </a:prstGeom>
          <a:solidFill>
            <a:schemeClr val="l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6">
              <a:latin typeface="+mn-lt"/>
            </a:endParaRPr>
          </a:p>
        </p:txBody>
      </p:sp>
      <p:sp>
        <p:nvSpPr>
          <p:cNvPr id="25" name="triangle_bottom_right" hidden="1">
            <a:extLst>
              <a:ext uri="{FF2B5EF4-FFF2-40B4-BE49-F238E27FC236}">
                <a16:creationId xmlns:a16="http://schemas.microsoft.com/office/drawing/2014/main" id="{67939597-AD7D-569A-952D-305B9EDB1768}"/>
              </a:ext>
            </a:extLst>
          </p:cNvPr>
          <p:cNvSpPr/>
          <p:nvPr userDrawn="1"/>
        </p:nvSpPr>
        <p:spPr bwMode="gray">
          <a:xfrm flipH="1">
            <a:off x="4874095" y="1397018"/>
            <a:ext cx="6309224" cy="4893761"/>
          </a:xfrm>
          <a:prstGeom prst="rtTriangle">
            <a:avLst/>
          </a:prstGeom>
          <a:solidFill>
            <a:schemeClr val="dk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6">
              <a:latin typeface="+mn-lt"/>
            </a:endParaRPr>
          </a:p>
        </p:txBody>
      </p:sp>
      <p:sp>
        <p:nvSpPr>
          <p:cNvPr id="26" name="place_date">
            <a:extLst>
              <a:ext uri="{FF2B5EF4-FFF2-40B4-BE49-F238E27FC236}">
                <a16:creationId xmlns:a16="http://schemas.microsoft.com/office/drawing/2014/main" id="{2959B4AA-4299-70F9-A78E-370B555B446C}"/>
              </a:ext>
            </a:extLst>
          </p:cNvPr>
          <p:cNvSpPr>
            <a:spLocks noGrp="1"/>
          </p:cNvSpPr>
          <p:nvPr>
            <p:ph type="body" sz="quarter" idx="11" hasCustomPrompt="1"/>
          </p:nvPr>
        </p:nvSpPr>
        <p:spPr bwMode="white">
          <a:xfrm>
            <a:off x="687754" y="5375553"/>
            <a:ext cx="2005949" cy="308283"/>
          </a:xfrm>
          <a:prstGeom prst="rect">
            <a:avLst/>
          </a:prstGeom>
        </p:spPr>
        <p:txBody>
          <a:bodyPr lIns="0" tIns="0" rIns="0" bIns="0" anchor="b" anchorCtr="0">
            <a:noAutofit/>
          </a:bodyPr>
          <a:lstStyle>
            <a:lvl1pPr>
              <a:defRPr lang="en-US" sz="917" smtClean="0">
                <a:solidFill>
                  <a:schemeClr val="lt1"/>
                </a:solidFill>
                <a:latin typeface="+mn-lt"/>
              </a:defRPr>
            </a:lvl1pPr>
            <a:lvl2pPr>
              <a:defRPr lang="en-US" sz="235" smtClean="0"/>
            </a:lvl2pPr>
            <a:lvl3pPr>
              <a:defRPr lang="en-US" sz="235" smtClean="0"/>
            </a:lvl3pPr>
            <a:lvl4pPr>
              <a:defRPr lang="en-US" sz="235" smtClean="0"/>
            </a:lvl4pPr>
            <a:lvl5pPr>
              <a:defRPr lang="de-DE" sz="235"/>
            </a:lvl5pPr>
          </a:lstStyle>
          <a:p>
            <a:pPr lvl="0">
              <a:lnSpc>
                <a:spcPts val="164"/>
              </a:lnSpc>
            </a:pPr>
            <a:r>
              <a:rPr lang="en-US"/>
              <a:t>Place, date</a:t>
            </a:r>
          </a:p>
        </p:txBody>
      </p:sp>
      <p:sp>
        <p:nvSpPr>
          <p:cNvPr id="27" name="cut_shape_right">
            <a:extLst>
              <a:ext uri="{FF2B5EF4-FFF2-40B4-BE49-F238E27FC236}">
                <a16:creationId xmlns:a16="http://schemas.microsoft.com/office/drawing/2014/main" id="{3BB34637-E771-6F32-F9D9-C1E2F6FD6510}"/>
              </a:ext>
            </a:extLst>
          </p:cNvPr>
          <p:cNvSpPr/>
          <p:nvPr userDrawn="1"/>
        </p:nvSpPr>
        <p:spPr bwMode="gray">
          <a:xfrm>
            <a:off x="2002340" y="0"/>
            <a:ext cx="9175014" cy="6286500"/>
          </a:xfrm>
          <a:custGeom>
            <a:avLst/>
            <a:gdLst>
              <a:gd name="connsiteX0" fmla="*/ 5682306 w 8132466"/>
              <a:gd name="connsiteY0" fmla="*/ 0 h 6858001"/>
              <a:gd name="connsiteX1" fmla="*/ 0 w 8132466"/>
              <a:gd name="connsiteY1" fmla="*/ 6858001 h 6858001"/>
              <a:gd name="connsiteX2" fmla="*/ 0 w 8132466"/>
              <a:gd name="connsiteY2" fmla="*/ 6858001 h 6858001"/>
              <a:gd name="connsiteX3" fmla="*/ 0 w 8132466"/>
              <a:gd name="connsiteY3" fmla="*/ 6858001 h 6858001"/>
              <a:gd name="connsiteX4" fmla="*/ 0 w 8132466"/>
              <a:gd name="connsiteY4" fmla="*/ 6858001 h 6858001"/>
              <a:gd name="connsiteX5" fmla="*/ 6858000 w 8132466"/>
              <a:gd name="connsiteY5" fmla="*/ 6858001 h 6858001"/>
              <a:gd name="connsiteX6" fmla="*/ 8132466 w 8132466"/>
              <a:gd name="connsiteY6" fmla="*/ 6858001 h 6858001"/>
              <a:gd name="connsiteX7" fmla="*/ 8132466 w 8132466"/>
              <a:gd name="connsiteY7" fmla="*/ 1 h 6858001"/>
              <a:gd name="connsiteX0" fmla="*/ 6856409 w 8132466"/>
              <a:gd name="connsiteY0" fmla="*/ 0 h 6858001"/>
              <a:gd name="connsiteX1" fmla="*/ 0 w 8132466"/>
              <a:gd name="connsiteY1" fmla="*/ 6858001 h 6858001"/>
              <a:gd name="connsiteX2" fmla="*/ 0 w 8132466"/>
              <a:gd name="connsiteY2" fmla="*/ 6858001 h 6858001"/>
              <a:gd name="connsiteX3" fmla="*/ 0 w 8132466"/>
              <a:gd name="connsiteY3" fmla="*/ 6858001 h 6858001"/>
              <a:gd name="connsiteX4" fmla="*/ 0 w 8132466"/>
              <a:gd name="connsiteY4" fmla="*/ 6858001 h 6858001"/>
              <a:gd name="connsiteX5" fmla="*/ 6858000 w 8132466"/>
              <a:gd name="connsiteY5" fmla="*/ 6858001 h 6858001"/>
              <a:gd name="connsiteX6" fmla="*/ 8132466 w 8132466"/>
              <a:gd name="connsiteY6" fmla="*/ 6858001 h 6858001"/>
              <a:gd name="connsiteX7" fmla="*/ 8132466 w 8132466"/>
              <a:gd name="connsiteY7" fmla="*/ 1 h 6858001"/>
              <a:gd name="connsiteX0" fmla="*/ 5681087 w 8132466"/>
              <a:gd name="connsiteY0" fmla="*/ 0 h 6858001"/>
              <a:gd name="connsiteX1" fmla="*/ 0 w 8132466"/>
              <a:gd name="connsiteY1" fmla="*/ 6858001 h 6858001"/>
              <a:gd name="connsiteX2" fmla="*/ 0 w 8132466"/>
              <a:gd name="connsiteY2" fmla="*/ 6858001 h 6858001"/>
              <a:gd name="connsiteX3" fmla="*/ 0 w 8132466"/>
              <a:gd name="connsiteY3" fmla="*/ 6858001 h 6858001"/>
              <a:gd name="connsiteX4" fmla="*/ 0 w 8132466"/>
              <a:gd name="connsiteY4" fmla="*/ 6858001 h 6858001"/>
              <a:gd name="connsiteX5" fmla="*/ 6858000 w 8132466"/>
              <a:gd name="connsiteY5" fmla="*/ 6858001 h 6858001"/>
              <a:gd name="connsiteX6" fmla="*/ 8132466 w 8132466"/>
              <a:gd name="connsiteY6" fmla="*/ 6858001 h 6858001"/>
              <a:gd name="connsiteX7" fmla="*/ 8132466 w 8132466"/>
              <a:gd name="connsiteY7" fmla="*/ 1 h 6858001"/>
              <a:gd name="connsiteX0" fmla="*/ 5727164 w 8132466"/>
              <a:gd name="connsiteY0" fmla="*/ 0 h 6858002"/>
              <a:gd name="connsiteX1" fmla="*/ 0 w 8132466"/>
              <a:gd name="connsiteY1" fmla="*/ 6858002 h 6858002"/>
              <a:gd name="connsiteX2" fmla="*/ 0 w 8132466"/>
              <a:gd name="connsiteY2" fmla="*/ 6858002 h 6858002"/>
              <a:gd name="connsiteX3" fmla="*/ 0 w 8132466"/>
              <a:gd name="connsiteY3" fmla="*/ 6858002 h 6858002"/>
              <a:gd name="connsiteX4" fmla="*/ 0 w 8132466"/>
              <a:gd name="connsiteY4" fmla="*/ 6858002 h 6858002"/>
              <a:gd name="connsiteX5" fmla="*/ 6858000 w 8132466"/>
              <a:gd name="connsiteY5" fmla="*/ 6858002 h 6858002"/>
              <a:gd name="connsiteX6" fmla="*/ 8132466 w 8132466"/>
              <a:gd name="connsiteY6" fmla="*/ 6858002 h 6858002"/>
              <a:gd name="connsiteX7" fmla="*/ 8132466 w 8132466"/>
              <a:gd name="connsiteY7" fmla="*/ 2 h 6858002"/>
              <a:gd name="connsiteX0" fmla="*/ 5723663 w 8132466"/>
              <a:gd name="connsiteY0" fmla="*/ 0 h 6858003"/>
              <a:gd name="connsiteX1" fmla="*/ 0 w 8132466"/>
              <a:gd name="connsiteY1" fmla="*/ 6858003 h 6858003"/>
              <a:gd name="connsiteX2" fmla="*/ 0 w 8132466"/>
              <a:gd name="connsiteY2" fmla="*/ 6858003 h 6858003"/>
              <a:gd name="connsiteX3" fmla="*/ 0 w 8132466"/>
              <a:gd name="connsiteY3" fmla="*/ 6858003 h 6858003"/>
              <a:gd name="connsiteX4" fmla="*/ 0 w 8132466"/>
              <a:gd name="connsiteY4" fmla="*/ 6858003 h 6858003"/>
              <a:gd name="connsiteX5" fmla="*/ 6858000 w 8132466"/>
              <a:gd name="connsiteY5" fmla="*/ 6858003 h 6858003"/>
              <a:gd name="connsiteX6" fmla="*/ 8132466 w 8132466"/>
              <a:gd name="connsiteY6" fmla="*/ 6858003 h 6858003"/>
              <a:gd name="connsiteX7" fmla="*/ 8132466 w 8132466"/>
              <a:gd name="connsiteY7" fmla="*/ 3 h 6858003"/>
              <a:gd name="connsiteX0" fmla="*/ 5727164 w 8132466"/>
              <a:gd name="connsiteY0" fmla="*/ 0 h 6858004"/>
              <a:gd name="connsiteX1" fmla="*/ 0 w 8132466"/>
              <a:gd name="connsiteY1" fmla="*/ 6858004 h 6858004"/>
              <a:gd name="connsiteX2" fmla="*/ 0 w 8132466"/>
              <a:gd name="connsiteY2" fmla="*/ 6858004 h 6858004"/>
              <a:gd name="connsiteX3" fmla="*/ 0 w 8132466"/>
              <a:gd name="connsiteY3" fmla="*/ 6858004 h 6858004"/>
              <a:gd name="connsiteX4" fmla="*/ 0 w 8132466"/>
              <a:gd name="connsiteY4" fmla="*/ 6858004 h 6858004"/>
              <a:gd name="connsiteX5" fmla="*/ 6858000 w 8132466"/>
              <a:gd name="connsiteY5" fmla="*/ 6858004 h 6858004"/>
              <a:gd name="connsiteX6" fmla="*/ 8132466 w 8132466"/>
              <a:gd name="connsiteY6" fmla="*/ 6858004 h 6858004"/>
              <a:gd name="connsiteX7" fmla="*/ 8132466 w 8132466"/>
              <a:gd name="connsiteY7" fmla="*/ 4 h 6858004"/>
              <a:gd name="connsiteX0" fmla="*/ 5723663 w 8132466"/>
              <a:gd name="connsiteY0" fmla="*/ 0 h 6858005"/>
              <a:gd name="connsiteX1" fmla="*/ 0 w 8132466"/>
              <a:gd name="connsiteY1" fmla="*/ 6858005 h 6858005"/>
              <a:gd name="connsiteX2" fmla="*/ 0 w 8132466"/>
              <a:gd name="connsiteY2" fmla="*/ 6858005 h 6858005"/>
              <a:gd name="connsiteX3" fmla="*/ 0 w 8132466"/>
              <a:gd name="connsiteY3" fmla="*/ 6858005 h 6858005"/>
              <a:gd name="connsiteX4" fmla="*/ 0 w 8132466"/>
              <a:gd name="connsiteY4" fmla="*/ 6858005 h 6858005"/>
              <a:gd name="connsiteX5" fmla="*/ 6858000 w 8132466"/>
              <a:gd name="connsiteY5" fmla="*/ 6858005 h 6858005"/>
              <a:gd name="connsiteX6" fmla="*/ 8132466 w 8132466"/>
              <a:gd name="connsiteY6" fmla="*/ 6858005 h 6858005"/>
              <a:gd name="connsiteX7" fmla="*/ 8132466 w 8132466"/>
              <a:gd name="connsiteY7" fmla="*/ 5 h 6858005"/>
              <a:gd name="connsiteX0" fmla="*/ 5727164 w 8132466"/>
              <a:gd name="connsiteY0" fmla="*/ 0 h 6858006"/>
              <a:gd name="connsiteX1" fmla="*/ 0 w 8132466"/>
              <a:gd name="connsiteY1" fmla="*/ 6858006 h 6858006"/>
              <a:gd name="connsiteX2" fmla="*/ 0 w 8132466"/>
              <a:gd name="connsiteY2" fmla="*/ 6858006 h 6858006"/>
              <a:gd name="connsiteX3" fmla="*/ 0 w 8132466"/>
              <a:gd name="connsiteY3" fmla="*/ 6858006 h 6858006"/>
              <a:gd name="connsiteX4" fmla="*/ 0 w 8132466"/>
              <a:gd name="connsiteY4" fmla="*/ 6858006 h 6858006"/>
              <a:gd name="connsiteX5" fmla="*/ 6858000 w 8132466"/>
              <a:gd name="connsiteY5" fmla="*/ 6858006 h 6858006"/>
              <a:gd name="connsiteX6" fmla="*/ 8132466 w 8132466"/>
              <a:gd name="connsiteY6" fmla="*/ 6858006 h 6858006"/>
              <a:gd name="connsiteX7" fmla="*/ 8132466 w 8132466"/>
              <a:gd name="connsiteY7" fmla="*/ 6 h 6858006"/>
              <a:gd name="connsiteX0" fmla="*/ 5723663 w 8132466"/>
              <a:gd name="connsiteY0" fmla="*/ 0 h 6858007"/>
              <a:gd name="connsiteX1" fmla="*/ 0 w 8132466"/>
              <a:gd name="connsiteY1" fmla="*/ 6858007 h 6858007"/>
              <a:gd name="connsiteX2" fmla="*/ 0 w 8132466"/>
              <a:gd name="connsiteY2" fmla="*/ 6858007 h 6858007"/>
              <a:gd name="connsiteX3" fmla="*/ 0 w 8132466"/>
              <a:gd name="connsiteY3" fmla="*/ 6858007 h 6858007"/>
              <a:gd name="connsiteX4" fmla="*/ 0 w 8132466"/>
              <a:gd name="connsiteY4" fmla="*/ 6858007 h 6858007"/>
              <a:gd name="connsiteX5" fmla="*/ 6858000 w 8132466"/>
              <a:gd name="connsiteY5" fmla="*/ 6858007 h 6858007"/>
              <a:gd name="connsiteX6" fmla="*/ 8132466 w 8132466"/>
              <a:gd name="connsiteY6" fmla="*/ 6858007 h 6858007"/>
              <a:gd name="connsiteX7" fmla="*/ 8132466 w 8132466"/>
              <a:gd name="connsiteY7" fmla="*/ 7 h 6858007"/>
              <a:gd name="connsiteX0" fmla="*/ 5727164 w 8132466"/>
              <a:gd name="connsiteY0" fmla="*/ 0 h 6858008"/>
              <a:gd name="connsiteX1" fmla="*/ 0 w 8132466"/>
              <a:gd name="connsiteY1" fmla="*/ 6858008 h 6858008"/>
              <a:gd name="connsiteX2" fmla="*/ 0 w 8132466"/>
              <a:gd name="connsiteY2" fmla="*/ 6858008 h 6858008"/>
              <a:gd name="connsiteX3" fmla="*/ 0 w 8132466"/>
              <a:gd name="connsiteY3" fmla="*/ 6858008 h 6858008"/>
              <a:gd name="connsiteX4" fmla="*/ 0 w 8132466"/>
              <a:gd name="connsiteY4" fmla="*/ 6858008 h 6858008"/>
              <a:gd name="connsiteX5" fmla="*/ 6858000 w 8132466"/>
              <a:gd name="connsiteY5" fmla="*/ 6858008 h 6858008"/>
              <a:gd name="connsiteX6" fmla="*/ 8132466 w 8132466"/>
              <a:gd name="connsiteY6" fmla="*/ 6858008 h 6858008"/>
              <a:gd name="connsiteX7" fmla="*/ 8132466 w 8132466"/>
              <a:gd name="connsiteY7" fmla="*/ 8 h 6858008"/>
              <a:gd name="connsiteX0" fmla="*/ 5723663 w 8132466"/>
              <a:gd name="connsiteY0" fmla="*/ 0 h 6858009"/>
              <a:gd name="connsiteX1" fmla="*/ 0 w 8132466"/>
              <a:gd name="connsiteY1" fmla="*/ 6858009 h 6858009"/>
              <a:gd name="connsiteX2" fmla="*/ 0 w 8132466"/>
              <a:gd name="connsiteY2" fmla="*/ 6858009 h 6858009"/>
              <a:gd name="connsiteX3" fmla="*/ 0 w 8132466"/>
              <a:gd name="connsiteY3" fmla="*/ 6858009 h 6858009"/>
              <a:gd name="connsiteX4" fmla="*/ 0 w 8132466"/>
              <a:gd name="connsiteY4" fmla="*/ 6858009 h 6858009"/>
              <a:gd name="connsiteX5" fmla="*/ 6858000 w 8132466"/>
              <a:gd name="connsiteY5" fmla="*/ 6858009 h 6858009"/>
              <a:gd name="connsiteX6" fmla="*/ 8132466 w 8132466"/>
              <a:gd name="connsiteY6" fmla="*/ 6858009 h 6858009"/>
              <a:gd name="connsiteX7" fmla="*/ 8132466 w 8132466"/>
              <a:gd name="connsiteY7" fmla="*/ 9 h 6858009"/>
              <a:gd name="connsiteX0" fmla="*/ 5727164 w 8132466"/>
              <a:gd name="connsiteY0" fmla="*/ 0 h 6858010"/>
              <a:gd name="connsiteX1" fmla="*/ 0 w 8132466"/>
              <a:gd name="connsiteY1" fmla="*/ 6858010 h 6858010"/>
              <a:gd name="connsiteX2" fmla="*/ 0 w 8132466"/>
              <a:gd name="connsiteY2" fmla="*/ 6858010 h 6858010"/>
              <a:gd name="connsiteX3" fmla="*/ 0 w 8132466"/>
              <a:gd name="connsiteY3" fmla="*/ 6858010 h 6858010"/>
              <a:gd name="connsiteX4" fmla="*/ 0 w 8132466"/>
              <a:gd name="connsiteY4" fmla="*/ 6858010 h 6858010"/>
              <a:gd name="connsiteX5" fmla="*/ 6858000 w 8132466"/>
              <a:gd name="connsiteY5" fmla="*/ 6858010 h 6858010"/>
              <a:gd name="connsiteX6" fmla="*/ 8132466 w 8132466"/>
              <a:gd name="connsiteY6" fmla="*/ 6858010 h 6858010"/>
              <a:gd name="connsiteX7" fmla="*/ 8132466 w 8132466"/>
              <a:gd name="connsiteY7" fmla="*/ 10 h 6858010"/>
              <a:gd name="connsiteX0" fmla="*/ 5723663 w 8132466"/>
              <a:gd name="connsiteY0" fmla="*/ 0 h 6858011"/>
              <a:gd name="connsiteX1" fmla="*/ 0 w 8132466"/>
              <a:gd name="connsiteY1" fmla="*/ 6858011 h 6858011"/>
              <a:gd name="connsiteX2" fmla="*/ 0 w 8132466"/>
              <a:gd name="connsiteY2" fmla="*/ 6858011 h 6858011"/>
              <a:gd name="connsiteX3" fmla="*/ 0 w 8132466"/>
              <a:gd name="connsiteY3" fmla="*/ 6858011 h 6858011"/>
              <a:gd name="connsiteX4" fmla="*/ 0 w 8132466"/>
              <a:gd name="connsiteY4" fmla="*/ 6858011 h 6858011"/>
              <a:gd name="connsiteX5" fmla="*/ 6858000 w 8132466"/>
              <a:gd name="connsiteY5" fmla="*/ 6858011 h 6858011"/>
              <a:gd name="connsiteX6" fmla="*/ 8132466 w 8132466"/>
              <a:gd name="connsiteY6" fmla="*/ 6858011 h 6858011"/>
              <a:gd name="connsiteX7" fmla="*/ 8132466 w 8132466"/>
              <a:gd name="connsiteY7" fmla="*/ 11 h 6858011"/>
              <a:gd name="connsiteX0" fmla="*/ 5727164 w 8132466"/>
              <a:gd name="connsiteY0" fmla="*/ 0 h 6858012"/>
              <a:gd name="connsiteX1" fmla="*/ 0 w 8132466"/>
              <a:gd name="connsiteY1" fmla="*/ 6858012 h 6858012"/>
              <a:gd name="connsiteX2" fmla="*/ 0 w 8132466"/>
              <a:gd name="connsiteY2" fmla="*/ 6858012 h 6858012"/>
              <a:gd name="connsiteX3" fmla="*/ 0 w 8132466"/>
              <a:gd name="connsiteY3" fmla="*/ 6858012 h 6858012"/>
              <a:gd name="connsiteX4" fmla="*/ 0 w 8132466"/>
              <a:gd name="connsiteY4" fmla="*/ 6858012 h 6858012"/>
              <a:gd name="connsiteX5" fmla="*/ 6858000 w 8132466"/>
              <a:gd name="connsiteY5" fmla="*/ 6858012 h 6858012"/>
              <a:gd name="connsiteX6" fmla="*/ 8132466 w 8132466"/>
              <a:gd name="connsiteY6" fmla="*/ 6858012 h 6858012"/>
              <a:gd name="connsiteX7" fmla="*/ 8132466 w 8132466"/>
              <a:gd name="connsiteY7" fmla="*/ 12 h 6858012"/>
              <a:gd name="connsiteX0" fmla="*/ 6878264 w 8132466"/>
              <a:gd name="connsiteY0" fmla="*/ 0 h 6858013"/>
              <a:gd name="connsiteX1" fmla="*/ 0 w 8132466"/>
              <a:gd name="connsiteY1" fmla="*/ 6858013 h 6858013"/>
              <a:gd name="connsiteX2" fmla="*/ 0 w 8132466"/>
              <a:gd name="connsiteY2" fmla="*/ 6858013 h 6858013"/>
              <a:gd name="connsiteX3" fmla="*/ 0 w 8132466"/>
              <a:gd name="connsiteY3" fmla="*/ 6858013 h 6858013"/>
              <a:gd name="connsiteX4" fmla="*/ 0 w 8132466"/>
              <a:gd name="connsiteY4" fmla="*/ 6858013 h 6858013"/>
              <a:gd name="connsiteX5" fmla="*/ 6858000 w 8132466"/>
              <a:gd name="connsiteY5" fmla="*/ 6858013 h 6858013"/>
              <a:gd name="connsiteX6" fmla="*/ 8132466 w 8132466"/>
              <a:gd name="connsiteY6" fmla="*/ 6858013 h 6858013"/>
              <a:gd name="connsiteX7" fmla="*/ 8132466 w 8132466"/>
              <a:gd name="connsiteY7" fmla="*/ 13 h 6858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32466" h="6858013">
                <a:moveTo>
                  <a:pt x="6878264" y="0"/>
                </a:moveTo>
                <a:lnTo>
                  <a:pt x="0" y="6858013"/>
                </a:lnTo>
                <a:lnTo>
                  <a:pt x="0" y="6858013"/>
                </a:lnTo>
                <a:lnTo>
                  <a:pt x="0" y="6858013"/>
                </a:lnTo>
                <a:lnTo>
                  <a:pt x="0" y="6858013"/>
                </a:lnTo>
                <a:lnTo>
                  <a:pt x="6858000" y="6858013"/>
                </a:lnTo>
                <a:lnTo>
                  <a:pt x="8132466" y="6858013"/>
                </a:lnTo>
                <a:lnTo>
                  <a:pt x="8132466" y="13"/>
                </a:lnTo>
                <a:close/>
              </a:path>
            </a:pathLst>
          </a:custGeom>
          <a:solidFill>
            <a:schemeClr val="dk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51" tIns="4651" rIns="4651" bIns="4651" numCol="1" spcCol="0" rtlCol="0" fromWordArt="0" anchor="b" anchorCtr="0" forceAA="0" compatLnSpc="1">
            <a:prstTxWarp prst="textNoShape">
              <a:avLst/>
            </a:prstTxWarp>
            <a:noAutofit/>
          </a:bodyPr>
          <a:lstStyle/>
          <a:p>
            <a:pPr lvl="0" algn="r"/>
            <a:endParaRPr lang="de-DE" sz="181" err="1">
              <a:solidFill>
                <a:schemeClr val="tx1"/>
              </a:solidFill>
            </a:endParaRPr>
          </a:p>
        </p:txBody>
      </p:sp>
      <p:pic>
        <p:nvPicPr>
          <p:cNvPr id="28" name="d-fine_dark_English" hidden="1">
            <a:extLst>
              <a:ext uri="{FF2B5EF4-FFF2-40B4-BE49-F238E27FC236}">
                <a16:creationId xmlns:a16="http://schemas.microsoft.com/office/drawing/2014/main" id="{15A58339-9D2A-2080-B053-A9D596F96B6F}"/>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277414" y="4907100"/>
            <a:ext cx="2209477" cy="778800"/>
          </a:xfrm>
          <a:prstGeom prst="rect">
            <a:avLst/>
          </a:prstGeom>
          <a:solidFill>
            <a:schemeClr val="accent4"/>
          </a:solidFill>
        </p:spPr>
      </p:pic>
      <p:pic>
        <p:nvPicPr>
          <p:cNvPr id="30" name="d-fine_light_English">
            <a:extLst>
              <a:ext uri="{FF2B5EF4-FFF2-40B4-BE49-F238E27FC236}">
                <a16:creationId xmlns:a16="http://schemas.microsoft.com/office/drawing/2014/main" id="{5296EBAF-66DF-9A60-31F8-6AF463696C6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8277414" y="4907100"/>
            <a:ext cx="2209477" cy="778800"/>
          </a:xfrm>
          <a:prstGeom prst="rect">
            <a:avLst/>
          </a:prstGeom>
          <a:solidFill>
            <a:schemeClr val="tx1"/>
          </a:solidFill>
        </p:spPr>
      </p:pic>
      <p:pic>
        <p:nvPicPr>
          <p:cNvPr id="34" name="d-fine_dark_German" hidden="1">
            <a:extLst>
              <a:ext uri="{FF2B5EF4-FFF2-40B4-BE49-F238E27FC236}">
                <a16:creationId xmlns:a16="http://schemas.microsoft.com/office/drawing/2014/main" id="{9BFA551E-D402-1D17-898C-8D21900F9BE2}"/>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656000" y="4907100"/>
            <a:ext cx="2834954" cy="778800"/>
          </a:xfrm>
          <a:prstGeom prst="rect">
            <a:avLst/>
          </a:prstGeom>
          <a:solidFill>
            <a:schemeClr val="accent4"/>
          </a:solidFill>
        </p:spPr>
      </p:pic>
      <p:pic>
        <p:nvPicPr>
          <p:cNvPr id="35" name="d-fine_light_German" hidden="1">
            <a:extLst>
              <a:ext uri="{FF2B5EF4-FFF2-40B4-BE49-F238E27FC236}">
                <a16:creationId xmlns:a16="http://schemas.microsoft.com/office/drawing/2014/main" id="{F058D8D6-49BD-2B10-8262-481DE3322634}"/>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7656000" y="4907100"/>
            <a:ext cx="2834954" cy="778800"/>
          </a:xfrm>
          <a:prstGeom prst="rect">
            <a:avLst/>
          </a:prstGeom>
          <a:solidFill>
            <a:schemeClr val="tx1"/>
          </a:solidFill>
        </p:spPr>
      </p:pic>
      <p:pic>
        <p:nvPicPr>
          <p:cNvPr id="36" name="d-fine_dark_Italian" hidden="1">
            <a:extLst>
              <a:ext uri="{FF2B5EF4-FFF2-40B4-BE49-F238E27FC236}">
                <a16:creationId xmlns:a16="http://schemas.microsoft.com/office/drawing/2014/main" id="{A128A116-87C1-5196-E028-ABF85B63DEA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812930" y="4907100"/>
            <a:ext cx="2673962" cy="778800"/>
          </a:xfrm>
          <a:prstGeom prst="rect">
            <a:avLst/>
          </a:prstGeom>
        </p:spPr>
      </p:pic>
      <p:pic>
        <p:nvPicPr>
          <p:cNvPr id="37" name="d-fine_light_Italian" hidden="1">
            <a:extLst>
              <a:ext uri="{FF2B5EF4-FFF2-40B4-BE49-F238E27FC236}">
                <a16:creationId xmlns:a16="http://schemas.microsoft.com/office/drawing/2014/main" id="{F03D081E-56C6-8B4E-D4E1-4EFB5DF8ABD5}"/>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7809394" y="4907100"/>
            <a:ext cx="2677497" cy="778800"/>
          </a:xfrm>
          <a:prstGeom prst="rect">
            <a:avLst/>
          </a:prstGeom>
        </p:spPr>
      </p:pic>
    </p:spTree>
    <p:extLst>
      <p:ext uri="{BB962C8B-B14F-4D97-AF65-F5344CB8AC3E}">
        <p14:creationId xmlns:p14="http://schemas.microsoft.com/office/powerpoint/2010/main" val="27816514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Erg">
    <p:spTree>
      <p:nvGrpSpPr>
        <p:cNvPr id="1" name=""/>
        <p:cNvGrpSpPr/>
        <p:nvPr/>
      </p:nvGrpSpPr>
      <p:grpSpPr>
        <a:xfrm>
          <a:off x="0" y="0"/>
          <a:ext cx="0" cy="0"/>
          <a:chOff x="0" y="0"/>
          <a:chExt cx="0" cy="0"/>
        </a:xfrm>
      </p:grpSpPr>
      <p:cxnSp>
        <p:nvCxnSpPr>
          <p:cNvPr id="10" name="top_line"/>
          <p:cNvCxnSpPr/>
          <p:nvPr userDrawn="1"/>
        </p:nvCxnSpPr>
        <p:spPr bwMode="gray">
          <a:xfrm>
            <a:off x="208026" y="905002"/>
            <a:ext cx="9372600"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cxnSp>
        <p:nvCxnSpPr>
          <p:cNvPr id="13" name="bottom_line"/>
          <p:cNvCxnSpPr/>
          <p:nvPr userDrawn="1"/>
        </p:nvCxnSpPr>
        <p:spPr bwMode="gray">
          <a:xfrm>
            <a:off x="208026" y="6079109"/>
            <a:ext cx="9372600"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grpSp>
        <p:nvGrpSpPr>
          <p:cNvPr id="16" name="CA_marker_top_left"/>
          <p:cNvGrpSpPr/>
          <p:nvPr userDrawn="1"/>
        </p:nvGrpSpPr>
        <p:grpSpPr bwMode="gray">
          <a:xfrm>
            <a:off x="208800" y="-356400"/>
            <a:ext cx="964800" cy="262800"/>
            <a:chOff x="266700" y="-387424"/>
            <a:chExt cx="812096" cy="288032"/>
          </a:xfrm>
        </p:grpSpPr>
        <p:cxnSp>
          <p:nvCxnSpPr>
            <p:cNvPr id="5" name="Straight Connector 4"/>
            <p:cNvCxnSpPr/>
            <p:nvPr userDrawn="1"/>
          </p:nvCxnSpPr>
          <p:spPr bwMode="gray">
            <a:xfrm flipH="1" flipV="1">
              <a:off x="266700"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bwMode="gray">
            <a:xfrm>
              <a:off x="526604" y="-320401"/>
              <a:ext cx="552192"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21" name="CA_marker_bottom_left"/>
          <p:cNvGrpSpPr/>
          <p:nvPr userDrawn="1"/>
        </p:nvGrpSpPr>
        <p:grpSpPr bwMode="gray">
          <a:xfrm>
            <a:off x="208800" y="6379200"/>
            <a:ext cx="964800" cy="262800"/>
            <a:chOff x="266699" y="-387424"/>
            <a:chExt cx="812100" cy="288032"/>
          </a:xfrm>
        </p:grpSpPr>
        <p:cxnSp>
          <p:nvCxnSpPr>
            <p:cNvPr id="22" name="Straight Connector 21"/>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bwMode="gray">
            <a:xfrm>
              <a:off x="526604" y="-320401"/>
              <a:ext cx="552195"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37" name="CA_marker_top_right"/>
          <p:cNvGrpSpPr/>
          <p:nvPr userDrawn="1"/>
        </p:nvGrpSpPr>
        <p:grpSpPr bwMode="gray">
          <a:xfrm flipH="1">
            <a:off x="8614800" y="-356400"/>
            <a:ext cx="964800" cy="262800"/>
            <a:chOff x="266699" y="-387424"/>
            <a:chExt cx="1029346" cy="288032"/>
          </a:xfrm>
        </p:grpSpPr>
        <p:cxnSp>
          <p:nvCxnSpPr>
            <p:cNvPr id="38" name="Straight Connector 37"/>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userDrawn="1"/>
          </p:nvSpPr>
          <p:spPr bwMode="gray">
            <a:xfrm>
              <a:off x="679293" y="-320395"/>
              <a:ext cx="616752"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41" name="CA_marker_bottom_right"/>
          <p:cNvGrpSpPr/>
          <p:nvPr userDrawn="1"/>
        </p:nvGrpSpPr>
        <p:grpSpPr bwMode="gray">
          <a:xfrm flipH="1">
            <a:off x="8614800" y="6379200"/>
            <a:ext cx="964800" cy="262800"/>
            <a:chOff x="266699" y="-387424"/>
            <a:chExt cx="1029346" cy="288032"/>
          </a:xfrm>
        </p:grpSpPr>
        <p:cxnSp>
          <p:nvCxnSpPr>
            <p:cNvPr id="42" name="Straight Connector 41"/>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userDrawn="1"/>
          </p:nvSpPr>
          <p:spPr bwMode="gray">
            <a:xfrm>
              <a:off x="679293" y="-320395"/>
              <a:ext cx="616752"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7" name="CA_marker_left_bottom_NTHM"/>
          <p:cNvGrpSpPr/>
          <p:nvPr userDrawn="1"/>
        </p:nvGrpSpPr>
        <p:grpSpPr bwMode="gray">
          <a:xfrm>
            <a:off x="-475200" y="4615200"/>
            <a:ext cx="324000" cy="1400400"/>
            <a:chOff x="-420221" y="4770550"/>
            <a:chExt cx="288032" cy="1528650"/>
          </a:xfrm>
        </p:grpSpPr>
        <p:cxnSp>
          <p:nvCxnSpPr>
            <p:cNvPr id="47" name="Straight Connector 46"/>
            <p:cNvCxnSpPr/>
            <p:nvPr userDrawn="1"/>
          </p:nvCxnSpPr>
          <p:spPr bwMode="gray">
            <a:xfrm rot="5400000" flipH="1" flipV="1">
              <a:off x="-276206" y="61551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userDrawn="1"/>
          </p:nvCxnSpPr>
          <p:spPr bwMode="gray">
            <a:xfrm rot="16200000" flipH="1" flipV="1">
              <a:off x="-387108" y="6188296"/>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p:cNvSpPr txBox="1"/>
            <p:nvPr userDrawn="1"/>
          </p:nvSpPr>
          <p:spPr bwMode="gray">
            <a:xfrm>
              <a:off x="-364310" y="4770550"/>
              <a:ext cx="176211" cy="1297385"/>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THM</a:t>
              </a:r>
              <a:endParaRPr lang="de-DE" sz="900">
                <a:solidFill>
                  <a:schemeClr val="accent6"/>
                </a:solidFill>
              </a:endParaRPr>
            </a:p>
          </p:txBody>
        </p:sp>
      </p:grpSp>
      <p:grpSp>
        <p:nvGrpSpPr>
          <p:cNvPr id="4" name="CA_marker_left_top_ST"/>
          <p:cNvGrpSpPr/>
          <p:nvPr userDrawn="1"/>
        </p:nvGrpSpPr>
        <p:grpSpPr bwMode="gray">
          <a:xfrm>
            <a:off x="-752400" y="1436401"/>
            <a:ext cx="324000" cy="1724400"/>
            <a:chOff x="-667814" y="1764387"/>
            <a:chExt cx="288032" cy="1880637"/>
          </a:xfrm>
        </p:grpSpPr>
        <p:cxnSp>
          <p:nvCxnSpPr>
            <p:cNvPr id="57" name="Straight Connector 56"/>
            <p:cNvCxnSpPr/>
            <p:nvPr userDrawn="1"/>
          </p:nvCxnSpPr>
          <p:spPr bwMode="gray">
            <a:xfrm rot="5400000" flipH="1" flipV="1">
              <a:off x="-523799" y="1624077"/>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userDrawn="1"/>
          </p:nvCxnSpPr>
          <p:spPr bwMode="gray">
            <a:xfrm rot="5400000" flipH="1">
              <a:off x="-634701" y="187528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userDrawn="1"/>
          </p:nvSpPr>
          <p:spPr bwMode="gray">
            <a:xfrm>
              <a:off x="-611904" y="2051178"/>
              <a:ext cx="176211" cy="1593846"/>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subtitle</a:t>
              </a:r>
              <a:endParaRPr lang="de-DE" sz="900">
                <a:solidFill>
                  <a:schemeClr val="accent6"/>
                </a:solidFill>
              </a:endParaRPr>
            </a:p>
          </p:txBody>
        </p:sp>
      </p:grpSp>
      <p:grpSp>
        <p:nvGrpSpPr>
          <p:cNvPr id="6" name="CA_marker_left_bottom_THM"/>
          <p:cNvGrpSpPr/>
          <p:nvPr userDrawn="1"/>
        </p:nvGrpSpPr>
        <p:grpSpPr bwMode="gray">
          <a:xfrm>
            <a:off x="-752400" y="4057200"/>
            <a:ext cx="324000" cy="1494000"/>
            <a:chOff x="-667814" y="4138377"/>
            <a:chExt cx="288032" cy="1629264"/>
          </a:xfrm>
        </p:grpSpPr>
        <p:cxnSp>
          <p:nvCxnSpPr>
            <p:cNvPr id="61" name="Straight Connector 60"/>
            <p:cNvCxnSpPr/>
            <p:nvPr userDrawn="1"/>
          </p:nvCxnSpPr>
          <p:spPr bwMode="gray">
            <a:xfrm rot="5400000" flipH="1" flipV="1">
              <a:off x="-523799" y="5623625"/>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userDrawn="1"/>
          </p:nvCxnSpPr>
          <p:spPr bwMode="gray">
            <a:xfrm rot="16200000" flipH="1" flipV="1">
              <a:off x="-634701" y="5656737"/>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userDrawn="1"/>
          </p:nvSpPr>
          <p:spPr bwMode="gray">
            <a:xfrm>
              <a:off x="-611903" y="4138377"/>
              <a:ext cx="176211" cy="1398000"/>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THM</a:t>
              </a:r>
              <a:endParaRPr lang="de-DE" sz="900">
                <a:solidFill>
                  <a:schemeClr val="accent6"/>
                </a:solidFill>
              </a:endParaRPr>
            </a:p>
          </p:txBody>
        </p:sp>
      </p:grpSp>
      <p:grpSp>
        <p:nvGrpSpPr>
          <p:cNvPr id="15" name="CA_marker_right_top_NST"/>
          <p:cNvGrpSpPr/>
          <p:nvPr userDrawn="1"/>
        </p:nvGrpSpPr>
        <p:grpSpPr bwMode="gray">
          <a:xfrm>
            <a:off x="11325599" y="990000"/>
            <a:ext cx="324000" cy="1605600"/>
            <a:chOff x="10038191" y="1270000"/>
            <a:chExt cx="288032" cy="1752599"/>
          </a:xfrm>
        </p:grpSpPr>
        <p:cxnSp>
          <p:nvCxnSpPr>
            <p:cNvPr id="79" name="Straight Connector 78"/>
            <p:cNvCxnSpPr/>
            <p:nvPr userDrawn="1"/>
          </p:nvCxnSpPr>
          <p:spPr bwMode="gray">
            <a:xfrm rot="16200000" flipV="1">
              <a:off x="10182206" y="1129690"/>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userDrawn="1"/>
          </p:nvCxnSpPr>
          <p:spPr bwMode="gray">
            <a:xfrm rot="16200000">
              <a:off x="10071305" y="1380901"/>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p:cNvSpPr txBox="1"/>
            <p:nvPr userDrawn="1"/>
          </p:nvSpPr>
          <p:spPr bwMode="gray">
            <a:xfrm flipH="1">
              <a:off x="10094101" y="1556791"/>
              <a:ext cx="176211" cy="1465808"/>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subtitle</a:t>
              </a:r>
              <a:endParaRPr lang="de-DE" sz="900">
                <a:solidFill>
                  <a:schemeClr val="accent6"/>
                </a:solidFill>
              </a:endParaRPr>
            </a:p>
          </p:txBody>
        </p:sp>
      </p:grpSp>
      <p:grpSp>
        <p:nvGrpSpPr>
          <p:cNvPr id="9" name="CA_marker_right_bottom_NTHM"/>
          <p:cNvGrpSpPr/>
          <p:nvPr userDrawn="1"/>
        </p:nvGrpSpPr>
        <p:grpSpPr bwMode="gray">
          <a:xfrm>
            <a:off x="11325599" y="4615200"/>
            <a:ext cx="324000" cy="1400400"/>
            <a:chOff x="10038191" y="4770550"/>
            <a:chExt cx="288032" cy="1528650"/>
          </a:xfrm>
        </p:grpSpPr>
        <p:cxnSp>
          <p:nvCxnSpPr>
            <p:cNvPr id="76" name="Straight Connector 75"/>
            <p:cNvCxnSpPr/>
            <p:nvPr userDrawn="1"/>
          </p:nvCxnSpPr>
          <p:spPr bwMode="gray">
            <a:xfrm rot="16200000" flipV="1">
              <a:off x="10182206" y="61551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userDrawn="1"/>
          </p:nvCxnSpPr>
          <p:spPr bwMode="gray">
            <a:xfrm rot="5400000" flipV="1">
              <a:off x="10071305" y="6188296"/>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userDrawn="1"/>
          </p:nvSpPr>
          <p:spPr bwMode="gray">
            <a:xfrm flipH="1">
              <a:off x="10094100" y="4770550"/>
              <a:ext cx="176211" cy="1297385"/>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THM</a:t>
              </a:r>
              <a:endParaRPr lang="de-DE" sz="900">
                <a:solidFill>
                  <a:schemeClr val="accent6"/>
                </a:solidFill>
              </a:endParaRPr>
            </a:p>
          </p:txBody>
        </p:sp>
      </p:grpSp>
      <p:grpSp>
        <p:nvGrpSpPr>
          <p:cNvPr id="14" name="CA_marker_right_top_ST"/>
          <p:cNvGrpSpPr/>
          <p:nvPr userDrawn="1"/>
        </p:nvGrpSpPr>
        <p:grpSpPr bwMode="gray">
          <a:xfrm>
            <a:off x="11606400" y="1436401"/>
            <a:ext cx="324000" cy="1724400"/>
            <a:chOff x="10285784" y="1764387"/>
            <a:chExt cx="288032" cy="1880637"/>
          </a:xfrm>
        </p:grpSpPr>
        <p:cxnSp>
          <p:nvCxnSpPr>
            <p:cNvPr id="73" name="Straight Connector 72"/>
            <p:cNvCxnSpPr/>
            <p:nvPr userDrawn="1"/>
          </p:nvCxnSpPr>
          <p:spPr bwMode="gray">
            <a:xfrm rot="16200000" flipV="1">
              <a:off x="10429799" y="1624077"/>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userDrawn="1"/>
          </p:nvCxnSpPr>
          <p:spPr bwMode="gray">
            <a:xfrm rot="16200000">
              <a:off x="10318898" y="187528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p:cNvSpPr txBox="1"/>
            <p:nvPr userDrawn="1"/>
          </p:nvSpPr>
          <p:spPr bwMode="gray">
            <a:xfrm flipH="1">
              <a:off x="10341694" y="2051178"/>
              <a:ext cx="176211" cy="1593846"/>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subtitle</a:t>
              </a:r>
              <a:endParaRPr lang="de-DE" sz="900">
                <a:solidFill>
                  <a:schemeClr val="accent6"/>
                </a:solidFill>
              </a:endParaRPr>
            </a:p>
          </p:txBody>
        </p:sp>
      </p:grpSp>
      <p:grpSp>
        <p:nvGrpSpPr>
          <p:cNvPr id="8" name="CA_marker_right_bottom_THM"/>
          <p:cNvGrpSpPr/>
          <p:nvPr userDrawn="1"/>
        </p:nvGrpSpPr>
        <p:grpSpPr bwMode="gray">
          <a:xfrm>
            <a:off x="11606400" y="4057200"/>
            <a:ext cx="324000" cy="1494000"/>
            <a:chOff x="10285784" y="4138377"/>
            <a:chExt cx="288032" cy="1629264"/>
          </a:xfrm>
        </p:grpSpPr>
        <p:cxnSp>
          <p:nvCxnSpPr>
            <p:cNvPr id="70" name="Straight Connector 69"/>
            <p:cNvCxnSpPr/>
            <p:nvPr userDrawn="1"/>
          </p:nvCxnSpPr>
          <p:spPr bwMode="gray">
            <a:xfrm rot="16200000" flipV="1">
              <a:off x="10429799" y="5623625"/>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userDrawn="1"/>
          </p:nvCxnSpPr>
          <p:spPr bwMode="gray">
            <a:xfrm rot="5400000" flipV="1">
              <a:off x="10318898" y="5656737"/>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userDrawn="1"/>
          </p:nvSpPr>
          <p:spPr bwMode="gray">
            <a:xfrm flipH="1">
              <a:off x="10341693" y="4138377"/>
              <a:ext cx="176211" cy="1398000"/>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THM</a:t>
              </a:r>
              <a:endParaRPr lang="de-DE" sz="900">
                <a:solidFill>
                  <a:schemeClr val="accent6"/>
                </a:solidFill>
              </a:endParaRPr>
            </a:p>
          </p:txBody>
        </p:sp>
      </p:grpSp>
      <p:grpSp>
        <p:nvGrpSpPr>
          <p:cNvPr id="3" name="CA_marker_left_top_NST"/>
          <p:cNvGrpSpPr/>
          <p:nvPr userDrawn="1"/>
        </p:nvGrpSpPr>
        <p:grpSpPr bwMode="gray">
          <a:xfrm>
            <a:off x="-475200" y="990000"/>
            <a:ext cx="324000" cy="1605600"/>
            <a:chOff x="-420221" y="1269999"/>
            <a:chExt cx="288032" cy="1752600"/>
          </a:xfrm>
        </p:grpSpPr>
        <p:cxnSp>
          <p:nvCxnSpPr>
            <p:cNvPr id="35" name="Straight Arrow Connector 34"/>
            <p:cNvCxnSpPr/>
            <p:nvPr userDrawn="1"/>
          </p:nvCxnSpPr>
          <p:spPr bwMode="gray">
            <a:xfrm rot="5400000" flipH="1">
              <a:off x="-387108" y="1380901"/>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userDrawn="1"/>
          </p:nvSpPr>
          <p:spPr bwMode="gray">
            <a:xfrm>
              <a:off x="-364311" y="1556791"/>
              <a:ext cx="176211" cy="1465808"/>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subtitle</a:t>
              </a:r>
              <a:endParaRPr lang="de-DE" sz="900">
                <a:solidFill>
                  <a:schemeClr val="accent6"/>
                </a:solidFill>
              </a:endParaRPr>
            </a:p>
          </p:txBody>
        </p:sp>
        <p:cxnSp>
          <p:nvCxnSpPr>
            <p:cNvPr id="87" name="Straight Connector 86"/>
            <p:cNvCxnSpPr/>
            <p:nvPr userDrawn="1"/>
          </p:nvCxnSpPr>
          <p:spPr bwMode="gray">
            <a:xfrm rot="5400000" flipH="1" flipV="1">
              <a:off x="-276206" y="11259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0" name="Slide Number Placeholder 19"/>
          <p:cNvSpPr>
            <a:spLocks noGrp="1"/>
          </p:cNvSpPr>
          <p:nvPr>
            <p:ph type="sldNum" sz="quarter" idx="11"/>
          </p:nvPr>
        </p:nvSpPr>
        <p:spPr>
          <a:xfrm>
            <a:off x="10328401" y="5760000"/>
            <a:ext cx="698400" cy="280800"/>
          </a:xfrm>
        </p:spPr>
        <p:txBody>
          <a:bodyPr anchor="ctr"/>
          <a:lstStyle>
            <a:lvl1pPr>
              <a:defRPr sz="900">
                <a:solidFill>
                  <a:srgbClr val="99B1B9"/>
                </a:solidFill>
              </a:defRPr>
            </a:lvl1pPr>
          </a:lstStyle>
          <a:p>
            <a:endParaRPr lang="de-DE"/>
          </a:p>
          <a:p>
            <a:fld id="{24C420F5-194C-40F2-A080-C5F3EDD89037}" type="slidenum">
              <a:rPr lang="de-DE" smtClean="0"/>
              <a:pPr/>
              <a:t>‹Nr.›</a:t>
            </a:fld>
            <a:endParaRPr lang="de-DE"/>
          </a:p>
        </p:txBody>
      </p:sp>
      <p:sp>
        <p:nvSpPr>
          <p:cNvPr id="88" name="header_box">
            <a:extLst>
              <a:ext uri="{FF2B5EF4-FFF2-40B4-BE49-F238E27FC236}">
                <a16:creationId xmlns:a16="http://schemas.microsoft.com/office/drawing/2014/main" id="{D550724F-2D95-4804-A0F3-9F15622FD50E}"/>
              </a:ext>
            </a:extLst>
          </p:cNvPr>
          <p:cNvSpPr>
            <a:spLocks noGrp="1"/>
          </p:cNvSpPr>
          <p:nvPr>
            <p:ph type="title"/>
          </p:nvPr>
        </p:nvSpPr>
        <p:spPr>
          <a:xfrm>
            <a:off x="208026" y="136779"/>
            <a:ext cx="9375521" cy="676910"/>
          </a:xfrm>
          <a:prstGeom prst="rect">
            <a:avLst/>
          </a:prstGeom>
        </p:spPr>
        <p:txBody>
          <a:bodyPr lIns="0" tIns="0" rIns="0" bIns="0" anchor="b"/>
          <a:lstStyle>
            <a:lvl1pPr>
              <a:defRPr sz="2000"/>
            </a:lvl1pPr>
          </a:lstStyle>
          <a:p>
            <a:r>
              <a:rPr lang="en-US"/>
              <a:t>Click to edit Master title style</a:t>
            </a:r>
          </a:p>
        </p:txBody>
      </p:sp>
      <p:sp>
        <p:nvSpPr>
          <p:cNvPr id="2" name="gray_info_panel">
            <a:extLst>
              <a:ext uri="{FF2B5EF4-FFF2-40B4-BE49-F238E27FC236}">
                <a16:creationId xmlns:a16="http://schemas.microsoft.com/office/drawing/2014/main" id="{0E2FF4A5-DE1F-9567-3D53-BA9C8C9B6952}"/>
              </a:ext>
            </a:extLst>
          </p:cNvPr>
          <p:cNvSpPr/>
          <p:nvPr userDrawn="1"/>
        </p:nvSpPr>
        <p:spPr bwMode="gray">
          <a:xfrm>
            <a:off x="9819448" y="-2"/>
            <a:ext cx="1387348" cy="6286500"/>
          </a:xfrm>
          <a:prstGeom prst="rect">
            <a:avLst/>
          </a:prstGeom>
          <a:solidFill>
            <a:srgbClr val="EFEEEB"/>
          </a:solidFill>
          <a:ln w="9525" cap="flat" cmpd="sng" algn="ctr">
            <a:noFill/>
            <a:prstDash val="solid"/>
          </a:ln>
          <a:effectLst/>
          <a:extLs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cxnSp>
        <p:nvCxnSpPr>
          <p:cNvPr id="12" name="bottom_right_line">
            <a:extLst>
              <a:ext uri="{FF2B5EF4-FFF2-40B4-BE49-F238E27FC236}">
                <a16:creationId xmlns:a16="http://schemas.microsoft.com/office/drawing/2014/main" id="{1991EB0A-A3BB-A473-0EE2-9C72B73C9762}"/>
              </a:ext>
            </a:extLst>
          </p:cNvPr>
          <p:cNvCxnSpPr/>
          <p:nvPr userDrawn="1"/>
        </p:nvCxnSpPr>
        <p:spPr>
          <a:xfrm>
            <a:off x="9936607" y="6079109"/>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cxnSp>
        <p:nvCxnSpPr>
          <p:cNvPr id="19" name="bottom_right_line_2">
            <a:extLst>
              <a:ext uri="{FF2B5EF4-FFF2-40B4-BE49-F238E27FC236}">
                <a16:creationId xmlns:a16="http://schemas.microsoft.com/office/drawing/2014/main" id="{F86C81E4-5B08-0ED9-2516-360DF7FC2F70}"/>
              </a:ext>
            </a:extLst>
          </p:cNvPr>
          <p:cNvCxnSpPr/>
          <p:nvPr userDrawn="1"/>
        </p:nvCxnSpPr>
        <p:spPr>
          <a:xfrm>
            <a:off x="9936607" y="5507609"/>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cxnSp>
        <p:nvCxnSpPr>
          <p:cNvPr id="25" name="top_right_line">
            <a:extLst>
              <a:ext uri="{FF2B5EF4-FFF2-40B4-BE49-F238E27FC236}">
                <a16:creationId xmlns:a16="http://schemas.microsoft.com/office/drawing/2014/main" id="{733A4AB8-C1C2-9AC8-ECAF-209688BD7E20}"/>
              </a:ext>
            </a:extLst>
          </p:cNvPr>
          <p:cNvCxnSpPr/>
          <p:nvPr userDrawn="1"/>
        </p:nvCxnSpPr>
        <p:spPr>
          <a:xfrm>
            <a:off x="9936607" y="905002"/>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sp>
        <p:nvSpPr>
          <p:cNvPr id="28" name="Footer Placeholder 27">
            <a:extLst>
              <a:ext uri="{FF2B5EF4-FFF2-40B4-BE49-F238E27FC236}">
                <a16:creationId xmlns:a16="http://schemas.microsoft.com/office/drawing/2014/main" id="{8325D9C0-BA77-02C6-E235-6D60A6A438A9}"/>
              </a:ext>
            </a:extLst>
          </p:cNvPr>
          <p:cNvSpPr>
            <a:spLocks noGrp="1"/>
          </p:cNvSpPr>
          <p:nvPr>
            <p:ph type="ftr" sz="quarter" idx="12"/>
          </p:nvPr>
        </p:nvSpPr>
        <p:spPr>
          <a:xfrm>
            <a:off x="9936000" y="5760000"/>
            <a:ext cx="773400" cy="277200"/>
          </a:xfrm>
        </p:spPr>
        <p:txBody>
          <a:bodyPr anchor="ctr"/>
          <a:lstStyle>
            <a:lvl1pPr>
              <a:defRPr sz="900">
                <a:solidFill>
                  <a:srgbClr val="99B1B9"/>
                </a:solidFill>
              </a:defRPr>
            </a:lvl1pPr>
          </a:lstStyle>
          <a:p>
            <a:r>
              <a:rPr lang="de-DE"/>
              <a:t>© 2026</a:t>
            </a:r>
          </a:p>
          <a:p>
            <a:r>
              <a:rPr lang="de-DE"/>
              <a:t>d-fine</a:t>
            </a:r>
          </a:p>
        </p:txBody>
      </p:sp>
      <p:sp>
        <p:nvSpPr>
          <p:cNvPr id="29" name="Text Placeholder 28">
            <a:extLst>
              <a:ext uri="{FF2B5EF4-FFF2-40B4-BE49-F238E27FC236}">
                <a16:creationId xmlns:a16="http://schemas.microsoft.com/office/drawing/2014/main" id="{B85C36D9-DD0B-7BA5-ECF4-7D23120F13E0}"/>
              </a:ext>
            </a:extLst>
          </p:cNvPr>
          <p:cNvSpPr>
            <a:spLocks noGrp="1"/>
          </p:cNvSpPr>
          <p:nvPr>
            <p:ph type="body" sz="quarter" idx="13" hasCustomPrompt="1"/>
          </p:nvPr>
        </p:nvSpPr>
        <p:spPr>
          <a:xfrm>
            <a:off x="207963" y="1066800"/>
            <a:ext cx="9366250" cy="4745038"/>
          </a:xfrm>
          <a:prstGeom prst="rect">
            <a:avLst/>
          </a:prstGeom>
        </p:spPr>
        <p:txBody>
          <a:bodyPr/>
          <a:lstStyle>
            <a:lvl1pPr>
              <a:defRPr sz="2000"/>
            </a:lvl1pPr>
            <a:lvl2pPr marL="374731" indent="-342900">
              <a:buFont typeface="Wingdings" panose="05000000000000000000" pitchFamily="2" charset="2"/>
              <a:buChar char="§"/>
              <a:defRPr sz="1800"/>
            </a:lvl2pPr>
            <a:lvl3pPr marL="406563" indent="-342900">
              <a:buFont typeface="Wingdings" panose="05000000000000000000" pitchFamily="2" charset="2"/>
              <a:buChar char="§"/>
              <a:defRPr sz="1800"/>
            </a:lvl3pPr>
            <a:lvl4pPr marL="438394" indent="-342900">
              <a:buFont typeface="Wingdings" panose="05000000000000000000" pitchFamily="2" charset="2"/>
              <a:buChar char="§"/>
              <a:defRPr sz="1800"/>
            </a:lvl4pPr>
            <a:lvl5pPr marL="470039" indent="-342900">
              <a:buFont typeface="Wingdings" panose="05000000000000000000" pitchFamily="2" charset="2"/>
              <a:buChar char="§"/>
              <a:defRPr sz="1800"/>
            </a:lvl5pPr>
          </a:lstStyle>
          <a:p>
            <a:pPr lvl="1"/>
            <a:r>
              <a:rPr lang="en-US"/>
              <a:t>First level</a:t>
            </a:r>
          </a:p>
        </p:txBody>
      </p:sp>
      <p:cxnSp>
        <p:nvCxnSpPr>
          <p:cNvPr id="69" name="title_seperator_16_9">
            <a:extLst>
              <a:ext uri="{FF2B5EF4-FFF2-40B4-BE49-F238E27FC236}">
                <a16:creationId xmlns:a16="http://schemas.microsoft.com/office/drawing/2014/main" id="{879F3993-BFD6-F372-757F-B8DCC836C064}"/>
              </a:ext>
            </a:extLst>
          </p:cNvPr>
          <p:cNvCxnSpPr/>
          <p:nvPr userDrawn="1"/>
        </p:nvCxnSpPr>
        <p:spPr>
          <a:xfrm>
            <a:off x="9937242" y="1730502"/>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pic>
        <p:nvPicPr>
          <p:cNvPr id="99" name="Graphic 98">
            <a:extLst>
              <a:ext uri="{FF2B5EF4-FFF2-40B4-BE49-F238E27FC236}">
                <a16:creationId xmlns:a16="http://schemas.microsoft.com/office/drawing/2014/main" id="{117155A6-03F1-4FF0-88B1-D1C88701718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2713" y="194333"/>
            <a:ext cx="519225" cy="626831"/>
          </a:xfrm>
          <a:prstGeom prst="rect">
            <a:avLst/>
          </a:prstGeom>
        </p:spPr>
      </p:pic>
      <p:sp>
        <p:nvSpPr>
          <p:cNvPr id="30" name="pres_title_box">
            <a:extLst>
              <a:ext uri="{FF2B5EF4-FFF2-40B4-BE49-F238E27FC236}">
                <a16:creationId xmlns:a16="http://schemas.microsoft.com/office/drawing/2014/main" id="{180547D6-5A39-806E-6F93-FF1FD040A661}"/>
              </a:ext>
            </a:extLst>
          </p:cNvPr>
          <p:cNvSpPr txBox="1"/>
          <p:nvPr userDrawn="1"/>
        </p:nvSpPr>
        <p:spPr>
          <a:xfrm>
            <a:off x="9937241" y="1016000"/>
            <a:ext cx="1089559" cy="508000"/>
          </a:xfrm>
          <a:prstGeom prst="rect">
            <a:avLst/>
          </a:prstGeom>
          <a:noFill/>
        </p:spPr>
        <p:txBody>
          <a:bodyPr vert="horz" wrap="square" lIns="0" tIns="0" rIns="0" bIns="0" rtlCol="0" anchor="t">
            <a:noAutofit/>
          </a:bodyPr>
          <a:lstStyle/>
          <a:p>
            <a:r>
              <a:rPr lang="de-DE" sz="1000">
                <a:solidFill>
                  <a:srgbClr val="99B1B9"/>
                </a:solidFill>
                <a:latin typeface="Roboto" panose="02000000000000000000" pitchFamily="2" charset="0"/>
              </a:rPr>
              <a:t>Stand und Ausblick zur Kommunalen Wärmeplanung (KWP)</a:t>
            </a:r>
          </a:p>
        </p:txBody>
      </p:sp>
      <p:pic>
        <p:nvPicPr>
          <p:cNvPr id="31" name="Picture 30" descr="A logo with text on it&#10;&#10;AI-generated content may be incorrect.">
            <a:extLst>
              <a:ext uri="{FF2B5EF4-FFF2-40B4-BE49-F238E27FC236}">
                <a16:creationId xmlns:a16="http://schemas.microsoft.com/office/drawing/2014/main" id="{D2DE5D81-5698-A80A-C788-170220C6B240}"/>
              </a:ext>
            </a:extLst>
          </p:cNvPr>
          <p:cNvPicPr>
            <a:picLocks noChangeAspect="1"/>
          </p:cNvPicPr>
          <p:nvPr userDrawn="1"/>
        </p:nvPicPr>
        <p:blipFill>
          <a:blip r:embed="rId4" cstate="screen">
            <a:clrChange>
              <a:clrFrom>
                <a:srgbClr val="FFFFFF"/>
              </a:clrFrom>
              <a:clrTo>
                <a:srgbClr val="FFFFFF">
                  <a:alpha val="0"/>
                </a:srgbClr>
              </a:clrTo>
            </a:clrChange>
            <a:alphaModFix/>
            <a:extLst>
              <a:ext uri="{28A0092B-C50C-407E-A947-70E740481C1C}">
                <a14:useLocalDpi xmlns:a14="http://schemas.microsoft.com/office/drawing/2010/main"/>
              </a:ext>
            </a:extLst>
          </a:blip>
          <a:stretch>
            <a:fillRect/>
          </a:stretch>
        </p:blipFill>
        <p:spPr>
          <a:xfrm>
            <a:off x="9933394" y="4764692"/>
            <a:ext cx="1080000" cy="487059"/>
          </a:xfrm>
          <a:prstGeom prst="rect">
            <a:avLst/>
          </a:prstGeom>
        </p:spPr>
      </p:pic>
      <p:grpSp>
        <p:nvGrpSpPr>
          <p:cNvPr id="26" name="Group 25">
            <a:extLst>
              <a:ext uri="{FF2B5EF4-FFF2-40B4-BE49-F238E27FC236}">
                <a16:creationId xmlns:a16="http://schemas.microsoft.com/office/drawing/2014/main" id="{F1CEF6C2-29F8-9A91-1869-9B94B246EC56}"/>
              </a:ext>
            </a:extLst>
          </p:cNvPr>
          <p:cNvGrpSpPr/>
          <p:nvPr userDrawn="1"/>
        </p:nvGrpSpPr>
        <p:grpSpPr>
          <a:xfrm>
            <a:off x="9931177" y="1937004"/>
            <a:ext cx="1080504" cy="276292"/>
            <a:chOff x="9946297" y="1937004"/>
            <a:chExt cx="1080504" cy="276292"/>
          </a:xfrm>
        </p:grpSpPr>
        <p:sp>
          <p:nvSpPr>
            <p:cNvPr id="32" name="Rectangle 31">
              <a:extLst>
                <a:ext uri="{FF2B5EF4-FFF2-40B4-BE49-F238E27FC236}">
                  <a16:creationId xmlns:a16="http://schemas.microsoft.com/office/drawing/2014/main" id="{B6EB4E69-7719-D0D0-346C-7BE25FFC5856}"/>
                </a:ext>
              </a:extLst>
            </p:cNvPr>
            <p:cNvSpPr/>
            <p:nvPr/>
          </p:nvSpPr>
          <p:spPr bwMode="gray">
            <a:xfrm>
              <a:off x="9946297" y="1937004"/>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33" name="Rectangle 32">
              <a:extLst>
                <a:ext uri="{FF2B5EF4-FFF2-40B4-BE49-F238E27FC236}">
                  <a16:creationId xmlns:a16="http://schemas.microsoft.com/office/drawing/2014/main" id="{9447CE70-B9CD-C188-848E-1B37D7F92D3E}"/>
                </a:ext>
              </a:extLst>
            </p:cNvPr>
            <p:cNvSpPr/>
            <p:nvPr/>
          </p:nvSpPr>
          <p:spPr bwMode="gray">
            <a:xfrm>
              <a:off x="10064456" y="1937004"/>
              <a:ext cx="962345"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lvl="0"/>
              <a:r>
                <a:rPr lang="de-DE" sz="900">
                  <a:solidFill>
                    <a:schemeClr val="accent6"/>
                  </a:solidFill>
                  <a:latin typeface="Roboto" panose="02000000000000000000" pitchFamily="2" charset="0"/>
                </a:rPr>
                <a:t>Über uns</a:t>
              </a:r>
            </a:p>
          </p:txBody>
        </p:sp>
      </p:grpSp>
      <p:grpSp>
        <p:nvGrpSpPr>
          <p:cNvPr id="34" name="Group 33">
            <a:extLst>
              <a:ext uri="{FF2B5EF4-FFF2-40B4-BE49-F238E27FC236}">
                <a16:creationId xmlns:a16="http://schemas.microsoft.com/office/drawing/2014/main" id="{DCB0859C-4830-EB56-513B-60EF2D80BF18}"/>
              </a:ext>
            </a:extLst>
          </p:cNvPr>
          <p:cNvGrpSpPr/>
          <p:nvPr userDrawn="1"/>
        </p:nvGrpSpPr>
        <p:grpSpPr>
          <a:xfrm>
            <a:off x="9931177" y="2617079"/>
            <a:ext cx="1114790" cy="276293"/>
            <a:chOff x="9946297" y="2260358"/>
            <a:chExt cx="1114790" cy="276293"/>
          </a:xfrm>
        </p:grpSpPr>
        <p:sp>
          <p:nvSpPr>
            <p:cNvPr id="45" name="Rectangle 44">
              <a:extLst>
                <a:ext uri="{FF2B5EF4-FFF2-40B4-BE49-F238E27FC236}">
                  <a16:creationId xmlns:a16="http://schemas.microsoft.com/office/drawing/2014/main" id="{4EEF95CA-D1C6-084D-0B9B-57ECD259CAFB}"/>
                </a:ext>
              </a:extLst>
            </p:cNvPr>
            <p:cNvSpPr/>
            <p:nvPr/>
          </p:nvSpPr>
          <p:spPr bwMode="gray">
            <a:xfrm>
              <a:off x="9946297" y="2260359"/>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46" name="Rectangle 45">
              <a:extLst>
                <a:ext uri="{FF2B5EF4-FFF2-40B4-BE49-F238E27FC236}">
                  <a16:creationId xmlns:a16="http://schemas.microsoft.com/office/drawing/2014/main" id="{B13DB3A1-5BC5-041D-3FEA-FD052A28CAC4}"/>
                </a:ext>
              </a:extLst>
            </p:cNvPr>
            <p:cNvSpPr/>
            <p:nvPr/>
          </p:nvSpPr>
          <p:spPr bwMode="gray">
            <a:xfrm>
              <a:off x="10064456" y="2260358"/>
              <a:ext cx="996631"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Aktueller politischer Rahmen</a:t>
              </a:r>
            </a:p>
          </p:txBody>
        </p:sp>
      </p:grpSp>
      <p:grpSp>
        <p:nvGrpSpPr>
          <p:cNvPr id="50" name="Group 49">
            <a:extLst>
              <a:ext uri="{FF2B5EF4-FFF2-40B4-BE49-F238E27FC236}">
                <a16:creationId xmlns:a16="http://schemas.microsoft.com/office/drawing/2014/main" id="{A6EF2DEB-57AC-0ABC-635E-B99279F4C1C5}"/>
              </a:ext>
            </a:extLst>
          </p:cNvPr>
          <p:cNvGrpSpPr/>
          <p:nvPr userDrawn="1"/>
        </p:nvGrpSpPr>
        <p:grpSpPr>
          <a:xfrm>
            <a:off x="9931177" y="3294945"/>
            <a:ext cx="1080504" cy="276293"/>
            <a:chOff x="9946297" y="2583712"/>
            <a:chExt cx="1080504" cy="276293"/>
          </a:xfrm>
        </p:grpSpPr>
        <p:sp>
          <p:nvSpPr>
            <p:cNvPr id="51" name="Rectangle 50">
              <a:extLst>
                <a:ext uri="{FF2B5EF4-FFF2-40B4-BE49-F238E27FC236}">
                  <a16:creationId xmlns:a16="http://schemas.microsoft.com/office/drawing/2014/main" id="{EFBF85C7-6C32-CF61-82CF-4F78478C8BB4}"/>
                </a:ext>
              </a:extLst>
            </p:cNvPr>
            <p:cNvSpPr/>
            <p:nvPr/>
          </p:nvSpPr>
          <p:spPr bwMode="gray">
            <a:xfrm>
              <a:off x="9946297" y="2583713"/>
              <a:ext cx="36000" cy="27629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52" name="Rectangle 51">
              <a:extLst>
                <a:ext uri="{FF2B5EF4-FFF2-40B4-BE49-F238E27FC236}">
                  <a16:creationId xmlns:a16="http://schemas.microsoft.com/office/drawing/2014/main" id="{B679B3A6-CE2C-2CF9-4E66-14EEDBF9EA17}"/>
                </a:ext>
              </a:extLst>
            </p:cNvPr>
            <p:cNvSpPr/>
            <p:nvPr/>
          </p:nvSpPr>
          <p:spPr bwMode="gray">
            <a:xfrm>
              <a:off x="10064456" y="2583712"/>
              <a:ext cx="962345"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tx1"/>
                  </a:solidFill>
                  <a:latin typeface="Roboto" panose="02000000000000000000" pitchFamily="2" charset="0"/>
                </a:rPr>
                <a:t>Zielszenario</a:t>
              </a:r>
            </a:p>
          </p:txBody>
        </p:sp>
      </p:grpSp>
      <p:grpSp>
        <p:nvGrpSpPr>
          <p:cNvPr id="53" name="Group 52">
            <a:extLst>
              <a:ext uri="{FF2B5EF4-FFF2-40B4-BE49-F238E27FC236}">
                <a16:creationId xmlns:a16="http://schemas.microsoft.com/office/drawing/2014/main" id="{C56F3C1F-DFCD-4F09-42F6-AAD475A8509C}"/>
              </a:ext>
            </a:extLst>
          </p:cNvPr>
          <p:cNvGrpSpPr/>
          <p:nvPr userDrawn="1"/>
        </p:nvGrpSpPr>
        <p:grpSpPr>
          <a:xfrm>
            <a:off x="9931177" y="3637252"/>
            <a:ext cx="1239797" cy="276293"/>
            <a:chOff x="9946297" y="2907066"/>
            <a:chExt cx="1080504" cy="276293"/>
          </a:xfrm>
        </p:grpSpPr>
        <p:sp>
          <p:nvSpPr>
            <p:cNvPr id="54" name="Rectangle 53">
              <a:extLst>
                <a:ext uri="{FF2B5EF4-FFF2-40B4-BE49-F238E27FC236}">
                  <a16:creationId xmlns:a16="http://schemas.microsoft.com/office/drawing/2014/main" id="{0E1133D9-0CFF-B53D-4D01-C93A0E74EF92}"/>
                </a:ext>
              </a:extLst>
            </p:cNvPr>
            <p:cNvSpPr/>
            <p:nvPr/>
          </p:nvSpPr>
          <p:spPr bwMode="gray">
            <a:xfrm>
              <a:off x="9946297" y="2907067"/>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55" name="Rectangle 54">
              <a:extLst>
                <a:ext uri="{FF2B5EF4-FFF2-40B4-BE49-F238E27FC236}">
                  <a16:creationId xmlns:a16="http://schemas.microsoft.com/office/drawing/2014/main" id="{46992805-3C33-AB16-64AA-7644409CAEB3}"/>
                </a:ext>
              </a:extLst>
            </p:cNvPr>
            <p:cNvSpPr/>
            <p:nvPr/>
          </p:nvSpPr>
          <p:spPr bwMode="gray">
            <a:xfrm>
              <a:off x="10064456" y="2907066"/>
              <a:ext cx="962345"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Zusammenfassung und Ausblick</a:t>
              </a:r>
            </a:p>
          </p:txBody>
        </p:sp>
      </p:grpSp>
      <p:grpSp>
        <p:nvGrpSpPr>
          <p:cNvPr id="56" name="Group 55">
            <a:extLst>
              <a:ext uri="{FF2B5EF4-FFF2-40B4-BE49-F238E27FC236}">
                <a16:creationId xmlns:a16="http://schemas.microsoft.com/office/drawing/2014/main" id="{D0570496-221A-6464-F49F-2D293CFCF7A0}"/>
              </a:ext>
            </a:extLst>
          </p:cNvPr>
          <p:cNvGrpSpPr/>
          <p:nvPr userDrawn="1"/>
        </p:nvGrpSpPr>
        <p:grpSpPr>
          <a:xfrm>
            <a:off x="9931177" y="2274772"/>
            <a:ext cx="1114790" cy="276293"/>
            <a:chOff x="9946297" y="2260358"/>
            <a:chExt cx="1114790" cy="276293"/>
          </a:xfrm>
        </p:grpSpPr>
        <p:sp>
          <p:nvSpPr>
            <p:cNvPr id="60" name="Rectangle 59">
              <a:extLst>
                <a:ext uri="{FF2B5EF4-FFF2-40B4-BE49-F238E27FC236}">
                  <a16:creationId xmlns:a16="http://schemas.microsoft.com/office/drawing/2014/main" id="{11DED7DA-5080-33D4-DCD9-2F95769E940B}"/>
                </a:ext>
              </a:extLst>
            </p:cNvPr>
            <p:cNvSpPr/>
            <p:nvPr/>
          </p:nvSpPr>
          <p:spPr bwMode="gray">
            <a:xfrm>
              <a:off x="9946297" y="2260359"/>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64" name="Rectangle 63">
              <a:extLst>
                <a:ext uri="{FF2B5EF4-FFF2-40B4-BE49-F238E27FC236}">
                  <a16:creationId xmlns:a16="http://schemas.microsoft.com/office/drawing/2014/main" id="{9E59824A-A890-0DD5-FFE9-16993EC01FAF}"/>
                </a:ext>
              </a:extLst>
            </p:cNvPr>
            <p:cNvSpPr/>
            <p:nvPr/>
          </p:nvSpPr>
          <p:spPr bwMode="gray">
            <a:xfrm>
              <a:off x="10064456" y="2260358"/>
              <a:ext cx="996631"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Hintergrund der KWP</a:t>
              </a:r>
            </a:p>
          </p:txBody>
        </p:sp>
      </p:grpSp>
      <p:grpSp>
        <p:nvGrpSpPr>
          <p:cNvPr id="65" name="Group 64">
            <a:extLst>
              <a:ext uri="{FF2B5EF4-FFF2-40B4-BE49-F238E27FC236}">
                <a16:creationId xmlns:a16="http://schemas.microsoft.com/office/drawing/2014/main" id="{F4E76C7A-9DCD-9293-1C8E-DA3FB9C61FDD}"/>
              </a:ext>
            </a:extLst>
          </p:cNvPr>
          <p:cNvGrpSpPr/>
          <p:nvPr userDrawn="1"/>
        </p:nvGrpSpPr>
        <p:grpSpPr>
          <a:xfrm>
            <a:off x="9931177" y="2952637"/>
            <a:ext cx="1114790" cy="276293"/>
            <a:chOff x="9946297" y="2260358"/>
            <a:chExt cx="1114790" cy="276293"/>
          </a:xfrm>
        </p:grpSpPr>
        <p:sp>
          <p:nvSpPr>
            <p:cNvPr id="92" name="Rectangle 91">
              <a:extLst>
                <a:ext uri="{FF2B5EF4-FFF2-40B4-BE49-F238E27FC236}">
                  <a16:creationId xmlns:a16="http://schemas.microsoft.com/office/drawing/2014/main" id="{B05CF190-0AA9-4CD9-A0CA-14E101E441B2}"/>
                </a:ext>
              </a:extLst>
            </p:cNvPr>
            <p:cNvSpPr/>
            <p:nvPr/>
          </p:nvSpPr>
          <p:spPr bwMode="gray">
            <a:xfrm>
              <a:off x="9946297" y="2260359"/>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93" name="Rectangle 92">
              <a:extLst>
                <a:ext uri="{FF2B5EF4-FFF2-40B4-BE49-F238E27FC236}">
                  <a16:creationId xmlns:a16="http://schemas.microsoft.com/office/drawing/2014/main" id="{3E674CE6-65A7-BF9F-5457-9D7AB30D365B}"/>
                </a:ext>
              </a:extLst>
            </p:cNvPr>
            <p:cNvSpPr/>
            <p:nvPr/>
          </p:nvSpPr>
          <p:spPr bwMode="gray">
            <a:xfrm>
              <a:off x="10064456" y="2260358"/>
              <a:ext cx="996631"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Bestands- und Potenzialanalyse</a:t>
              </a:r>
            </a:p>
          </p:txBody>
        </p:sp>
      </p:grpSp>
    </p:spTree>
    <p:extLst>
      <p:ext uri="{BB962C8B-B14F-4D97-AF65-F5344CB8AC3E}">
        <p14:creationId xmlns:p14="http://schemas.microsoft.com/office/powerpoint/2010/main" val="2099555163"/>
      </p:ext>
    </p:extLst>
  </p:cSld>
  <p:clrMapOvr>
    <a:masterClrMapping/>
  </p:clrMapOvr>
  <p:hf hdr="0" dt="0"/>
  <p:extLst>
    <p:ext uri="{DCECCB84-F9BA-43D5-87BE-67443E8EF086}">
      <p15:sldGuideLst xmlns:p15="http://schemas.microsoft.com/office/powerpoint/2012/main">
        <p15:guide id="2" pos="214">
          <p15:clr>
            <a:srgbClr val="A4A3A4"/>
          </p15:clr>
        </p15:guide>
        <p15:guide id="3" pos="7728">
          <p15:clr>
            <a:srgbClr val="A4A3A4"/>
          </p15:clr>
        </p15:guide>
        <p15:guide id="4" orient="horz" pos="672">
          <p15:clr>
            <a:srgbClr val="A4A3A4"/>
          </p15:clr>
        </p15:guide>
        <p15:guide id="5" orient="horz" pos="933">
          <p15:clr>
            <a:srgbClr val="A4A3A4"/>
          </p15:clr>
        </p15:guide>
        <p15:guide id="6" orient="horz" pos="3053">
          <p15:clr>
            <a:srgbClr val="A4A3A4"/>
          </p15:clr>
        </p15:guide>
        <p15:guide id="7" orient="horz" pos="3334">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KWP i">
    <p:spTree>
      <p:nvGrpSpPr>
        <p:cNvPr id="1" name=""/>
        <p:cNvGrpSpPr/>
        <p:nvPr/>
      </p:nvGrpSpPr>
      <p:grpSpPr>
        <a:xfrm>
          <a:off x="0" y="0"/>
          <a:ext cx="0" cy="0"/>
          <a:chOff x="0" y="0"/>
          <a:chExt cx="0" cy="0"/>
        </a:xfrm>
      </p:grpSpPr>
      <p:cxnSp>
        <p:nvCxnSpPr>
          <p:cNvPr id="10" name="top_line"/>
          <p:cNvCxnSpPr/>
          <p:nvPr userDrawn="1"/>
        </p:nvCxnSpPr>
        <p:spPr bwMode="gray">
          <a:xfrm>
            <a:off x="208026" y="905002"/>
            <a:ext cx="9372600"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cxnSp>
        <p:nvCxnSpPr>
          <p:cNvPr id="13" name="bottom_line"/>
          <p:cNvCxnSpPr/>
          <p:nvPr userDrawn="1"/>
        </p:nvCxnSpPr>
        <p:spPr bwMode="gray">
          <a:xfrm>
            <a:off x="208026" y="6079109"/>
            <a:ext cx="9372600"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grpSp>
        <p:nvGrpSpPr>
          <p:cNvPr id="16" name="CA_marker_top_left"/>
          <p:cNvGrpSpPr/>
          <p:nvPr userDrawn="1"/>
        </p:nvGrpSpPr>
        <p:grpSpPr bwMode="gray">
          <a:xfrm>
            <a:off x="208800" y="-356400"/>
            <a:ext cx="964800" cy="262800"/>
            <a:chOff x="266700" y="-387424"/>
            <a:chExt cx="812096" cy="288032"/>
          </a:xfrm>
        </p:grpSpPr>
        <p:cxnSp>
          <p:nvCxnSpPr>
            <p:cNvPr id="5" name="Straight Connector 4"/>
            <p:cNvCxnSpPr/>
            <p:nvPr userDrawn="1"/>
          </p:nvCxnSpPr>
          <p:spPr bwMode="gray">
            <a:xfrm flipH="1" flipV="1">
              <a:off x="266700"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bwMode="gray">
            <a:xfrm>
              <a:off x="526604" y="-320401"/>
              <a:ext cx="552192"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21" name="CA_marker_bottom_left"/>
          <p:cNvGrpSpPr/>
          <p:nvPr userDrawn="1"/>
        </p:nvGrpSpPr>
        <p:grpSpPr bwMode="gray">
          <a:xfrm>
            <a:off x="208800" y="6379200"/>
            <a:ext cx="964800" cy="262800"/>
            <a:chOff x="266699" y="-387424"/>
            <a:chExt cx="812100" cy="288032"/>
          </a:xfrm>
        </p:grpSpPr>
        <p:cxnSp>
          <p:nvCxnSpPr>
            <p:cNvPr id="22" name="Straight Connector 21"/>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bwMode="gray">
            <a:xfrm>
              <a:off x="526604" y="-320401"/>
              <a:ext cx="552195"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37" name="CA_marker_top_right"/>
          <p:cNvGrpSpPr/>
          <p:nvPr userDrawn="1"/>
        </p:nvGrpSpPr>
        <p:grpSpPr bwMode="gray">
          <a:xfrm flipH="1">
            <a:off x="8614800" y="-356400"/>
            <a:ext cx="964800" cy="262800"/>
            <a:chOff x="266699" y="-387424"/>
            <a:chExt cx="1029346" cy="288032"/>
          </a:xfrm>
        </p:grpSpPr>
        <p:cxnSp>
          <p:nvCxnSpPr>
            <p:cNvPr id="38" name="Straight Connector 37"/>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userDrawn="1"/>
          </p:nvSpPr>
          <p:spPr bwMode="gray">
            <a:xfrm>
              <a:off x="679293" y="-320395"/>
              <a:ext cx="616752"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41" name="CA_marker_bottom_right"/>
          <p:cNvGrpSpPr/>
          <p:nvPr userDrawn="1"/>
        </p:nvGrpSpPr>
        <p:grpSpPr bwMode="gray">
          <a:xfrm flipH="1">
            <a:off x="8614800" y="6379200"/>
            <a:ext cx="964800" cy="262800"/>
            <a:chOff x="266699" y="-387424"/>
            <a:chExt cx="1029346" cy="288032"/>
          </a:xfrm>
        </p:grpSpPr>
        <p:cxnSp>
          <p:nvCxnSpPr>
            <p:cNvPr id="42" name="Straight Connector 41"/>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userDrawn="1"/>
          </p:nvSpPr>
          <p:spPr bwMode="gray">
            <a:xfrm>
              <a:off x="679293" y="-320395"/>
              <a:ext cx="616752"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7" name="CA_marker_left_bottom_NTHM"/>
          <p:cNvGrpSpPr/>
          <p:nvPr userDrawn="1"/>
        </p:nvGrpSpPr>
        <p:grpSpPr bwMode="gray">
          <a:xfrm>
            <a:off x="-475200" y="4615200"/>
            <a:ext cx="324000" cy="1400400"/>
            <a:chOff x="-420221" y="4770550"/>
            <a:chExt cx="288032" cy="1528650"/>
          </a:xfrm>
        </p:grpSpPr>
        <p:cxnSp>
          <p:nvCxnSpPr>
            <p:cNvPr id="47" name="Straight Connector 46"/>
            <p:cNvCxnSpPr/>
            <p:nvPr userDrawn="1"/>
          </p:nvCxnSpPr>
          <p:spPr bwMode="gray">
            <a:xfrm rot="5400000" flipH="1" flipV="1">
              <a:off x="-276206" y="61551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userDrawn="1"/>
          </p:nvCxnSpPr>
          <p:spPr bwMode="gray">
            <a:xfrm rot="16200000" flipH="1" flipV="1">
              <a:off x="-387108" y="6188296"/>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p:cNvSpPr txBox="1"/>
            <p:nvPr userDrawn="1"/>
          </p:nvSpPr>
          <p:spPr bwMode="gray">
            <a:xfrm>
              <a:off x="-364310" y="4770550"/>
              <a:ext cx="176211" cy="1297385"/>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THM</a:t>
              </a:r>
              <a:endParaRPr lang="de-DE" sz="900">
                <a:solidFill>
                  <a:schemeClr val="accent6"/>
                </a:solidFill>
              </a:endParaRPr>
            </a:p>
          </p:txBody>
        </p:sp>
      </p:grpSp>
      <p:grpSp>
        <p:nvGrpSpPr>
          <p:cNvPr id="4" name="CA_marker_left_top_ST"/>
          <p:cNvGrpSpPr/>
          <p:nvPr userDrawn="1"/>
        </p:nvGrpSpPr>
        <p:grpSpPr bwMode="gray">
          <a:xfrm>
            <a:off x="-752400" y="1436401"/>
            <a:ext cx="324000" cy="1724400"/>
            <a:chOff x="-667814" y="1764387"/>
            <a:chExt cx="288032" cy="1880637"/>
          </a:xfrm>
        </p:grpSpPr>
        <p:cxnSp>
          <p:nvCxnSpPr>
            <p:cNvPr id="57" name="Straight Connector 56"/>
            <p:cNvCxnSpPr/>
            <p:nvPr userDrawn="1"/>
          </p:nvCxnSpPr>
          <p:spPr bwMode="gray">
            <a:xfrm rot="5400000" flipH="1" flipV="1">
              <a:off x="-523799" y="1624077"/>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userDrawn="1"/>
          </p:nvCxnSpPr>
          <p:spPr bwMode="gray">
            <a:xfrm rot="5400000" flipH="1">
              <a:off x="-634701" y="187528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userDrawn="1"/>
          </p:nvSpPr>
          <p:spPr bwMode="gray">
            <a:xfrm>
              <a:off x="-611904" y="2051178"/>
              <a:ext cx="176211" cy="1593846"/>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subtitle</a:t>
              </a:r>
              <a:endParaRPr lang="de-DE" sz="900">
                <a:solidFill>
                  <a:schemeClr val="accent6"/>
                </a:solidFill>
              </a:endParaRPr>
            </a:p>
          </p:txBody>
        </p:sp>
      </p:grpSp>
      <p:grpSp>
        <p:nvGrpSpPr>
          <p:cNvPr id="6" name="CA_marker_left_bottom_THM"/>
          <p:cNvGrpSpPr/>
          <p:nvPr userDrawn="1"/>
        </p:nvGrpSpPr>
        <p:grpSpPr bwMode="gray">
          <a:xfrm>
            <a:off x="-752400" y="4057200"/>
            <a:ext cx="324000" cy="1494000"/>
            <a:chOff x="-667814" y="4138377"/>
            <a:chExt cx="288032" cy="1629264"/>
          </a:xfrm>
        </p:grpSpPr>
        <p:cxnSp>
          <p:nvCxnSpPr>
            <p:cNvPr id="61" name="Straight Connector 60"/>
            <p:cNvCxnSpPr/>
            <p:nvPr userDrawn="1"/>
          </p:nvCxnSpPr>
          <p:spPr bwMode="gray">
            <a:xfrm rot="5400000" flipH="1" flipV="1">
              <a:off x="-523799" y="5623625"/>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userDrawn="1"/>
          </p:nvCxnSpPr>
          <p:spPr bwMode="gray">
            <a:xfrm rot="16200000" flipH="1" flipV="1">
              <a:off x="-634701" y="5656737"/>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userDrawn="1"/>
          </p:nvSpPr>
          <p:spPr bwMode="gray">
            <a:xfrm>
              <a:off x="-611903" y="4138377"/>
              <a:ext cx="176211" cy="1398000"/>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THM</a:t>
              </a:r>
              <a:endParaRPr lang="de-DE" sz="900">
                <a:solidFill>
                  <a:schemeClr val="accent6"/>
                </a:solidFill>
              </a:endParaRPr>
            </a:p>
          </p:txBody>
        </p:sp>
      </p:grpSp>
      <p:grpSp>
        <p:nvGrpSpPr>
          <p:cNvPr id="15" name="CA_marker_right_top_NST"/>
          <p:cNvGrpSpPr/>
          <p:nvPr userDrawn="1"/>
        </p:nvGrpSpPr>
        <p:grpSpPr bwMode="gray">
          <a:xfrm>
            <a:off x="11325599" y="990000"/>
            <a:ext cx="324000" cy="1605600"/>
            <a:chOff x="10038191" y="1270000"/>
            <a:chExt cx="288032" cy="1752599"/>
          </a:xfrm>
        </p:grpSpPr>
        <p:cxnSp>
          <p:nvCxnSpPr>
            <p:cNvPr id="79" name="Straight Connector 78"/>
            <p:cNvCxnSpPr/>
            <p:nvPr userDrawn="1"/>
          </p:nvCxnSpPr>
          <p:spPr bwMode="gray">
            <a:xfrm rot="16200000" flipV="1">
              <a:off x="10182206" y="1129690"/>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userDrawn="1"/>
          </p:nvCxnSpPr>
          <p:spPr bwMode="gray">
            <a:xfrm rot="16200000">
              <a:off x="10071305" y="1380901"/>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p:cNvSpPr txBox="1"/>
            <p:nvPr userDrawn="1"/>
          </p:nvSpPr>
          <p:spPr bwMode="gray">
            <a:xfrm flipH="1">
              <a:off x="10094101" y="1556791"/>
              <a:ext cx="176211" cy="1465808"/>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subtitle</a:t>
              </a:r>
              <a:endParaRPr lang="de-DE" sz="900">
                <a:solidFill>
                  <a:schemeClr val="accent6"/>
                </a:solidFill>
              </a:endParaRPr>
            </a:p>
          </p:txBody>
        </p:sp>
      </p:grpSp>
      <p:grpSp>
        <p:nvGrpSpPr>
          <p:cNvPr id="9" name="CA_marker_right_bottom_NTHM"/>
          <p:cNvGrpSpPr/>
          <p:nvPr userDrawn="1"/>
        </p:nvGrpSpPr>
        <p:grpSpPr bwMode="gray">
          <a:xfrm>
            <a:off x="11325599" y="4615200"/>
            <a:ext cx="324000" cy="1400400"/>
            <a:chOff x="10038191" y="4770550"/>
            <a:chExt cx="288032" cy="1528650"/>
          </a:xfrm>
        </p:grpSpPr>
        <p:cxnSp>
          <p:nvCxnSpPr>
            <p:cNvPr id="76" name="Straight Connector 75"/>
            <p:cNvCxnSpPr/>
            <p:nvPr userDrawn="1"/>
          </p:nvCxnSpPr>
          <p:spPr bwMode="gray">
            <a:xfrm rot="16200000" flipV="1">
              <a:off x="10182206" y="61551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userDrawn="1"/>
          </p:nvCxnSpPr>
          <p:spPr bwMode="gray">
            <a:xfrm rot="5400000" flipV="1">
              <a:off x="10071305" y="6188296"/>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userDrawn="1"/>
          </p:nvSpPr>
          <p:spPr bwMode="gray">
            <a:xfrm flipH="1">
              <a:off x="10094100" y="4770550"/>
              <a:ext cx="176211" cy="1297385"/>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THM</a:t>
              </a:r>
              <a:endParaRPr lang="de-DE" sz="900">
                <a:solidFill>
                  <a:schemeClr val="accent6"/>
                </a:solidFill>
              </a:endParaRPr>
            </a:p>
          </p:txBody>
        </p:sp>
      </p:grpSp>
      <p:grpSp>
        <p:nvGrpSpPr>
          <p:cNvPr id="14" name="CA_marker_right_top_ST"/>
          <p:cNvGrpSpPr/>
          <p:nvPr userDrawn="1"/>
        </p:nvGrpSpPr>
        <p:grpSpPr bwMode="gray">
          <a:xfrm>
            <a:off x="11606400" y="1436401"/>
            <a:ext cx="324000" cy="1724400"/>
            <a:chOff x="10285784" y="1764387"/>
            <a:chExt cx="288032" cy="1880637"/>
          </a:xfrm>
        </p:grpSpPr>
        <p:cxnSp>
          <p:nvCxnSpPr>
            <p:cNvPr id="73" name="Straight Connector 72"/>
            <p:cNvCxnSpPr/>
            <p:nvPr userDrawn="1"/>
          </p:nvCxnSpPr>
          <p:spPr bwMode="gray">
            <a:xfrm rot="16200000" flipV="1">
              <a:off x="10429799" y="1624077"/>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userDrawn="1"/>
          </p:nvCxnSpPr>
          <p:spPr bwMode="gray">
            <a:xfrm rot="16200000">
              <a:off x="10318898" y="187528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p:cNvSpPr txBox="1"/>
            <p:nvPr userDrawn="1"/>
          </p:nvSpPr>
          <p:spPr bwMode="gray">
            <a:xfrm flipH="1">
              <a:off x="10341694" y="2051178"/>
              <a:ext cx="176211" cy="1593846"/>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subtitle</a:t>
              </a:r>
              <a:endParaRPr lang="de-DE" sz="900">
                <a:solidFill>
                  <a:schemeClr val="accent6"/>
                </a:solidFill>
              </a:endParaRPr>
            </a:p>
          </p:txBody>
        </p:sp>
      </p:grpSp>
      <p:grpSp>
        <p:nvGrpSpPr>
          <p:cNvPr id="8" name="CA_marker_right_bottom_THM"/>
          <p:cNvGrpSpPr/>
          <p:nvPr userDrawn="1"/>
        </p:nvGrpSpPr>
        <p:grpSpPr bwMode="gray">
          <a:xfrm>
            <a:off x="11606400" y="4057200"/>
            <a:ext cx="324000" cy="1494000"/>
            <a:chOff x="10285784" y="4138377"/>
            <a:chExt cx="288032" cy="1629264"/>
          </a:xfrm>
        </p:grpSpPr>
        <p:cxnSp>
          <p:nvCxnSpPr>
            <p:cNvPr id="70" name="Straight Connector 69"/>
            <p:cNvCxnSpPr/>
            <p:nvPr userDrawn="1"/>
          </p:nvCxnSpPr>
          <p:spPr bwMode="gray">
            <a:xfrm rot="16200000" flipV="1">
              <a:off x="10429799" y="5623625"/>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userDrawn="1"/>
          </p:nvCxnSpPr>
          <p:spPr bwMode="gray">
            <a:xfrm rot="5400000" flipV="1">
              <a:off x="10318898" y="5656737"/>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userDrawn="1"/>
          </p:nvSpPr>
          <p:spPr bwMode="gray">
            <a:xfrm flipH="1">
              <a:off x="10341693" y="4138377"/>
              <a:ext cx="176211" cy="1398000"/>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THM</a:t>
              </a:r>
              <a:endParaRPr lang="de-DE" sz="900">
                <a:solidFill>
                  <a:schemeClr val="accent6"/>
                </a:solidFill>
              </a:endParaRPr>
            </a:p>
          </p:txBody>
        </p:sp>
      </p:grpSp>
      <p:grpSp>
        <p:nvGrpSpPr>
          <p:cNvPr id="3" name="CA_marker_left_top_NST"/>
          <p:cNvGrpSpPr/>
          <p:nvPr userDrawn="1"/>
        </p:nvGrpSpPr>
        <p:grpSpPr bwMode="gray">
          <a:xfrm>
            <a:off x="-475200" y="990000"/>
            <a:ext cx="324000" cy="1605600"/>
            <a:chOff x="-420221" y="1269999"/>
            <a:chExt cx="288032" cy="1752600"/>
          </a:xfrm>
        </p:grpSpPr>
        <p:cxnSp>
          <p:nvCxnSpPr>
            <p:cNvPr id="35" name="Straight Arrow Connector 34"/>
            <p:cNvCxnSpPr/>
            <p:nvPr userDrawn="1"/>
          </p:nvCxnSpPr>
          <p:spPr bwMode="gray">
            <a:xfrm rot="5400000" flipH="1">
              <a:off x="-387108" y="1380901"/>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userDrawn="1"/>
          </p:nvSpPr>
          <p:spPr bwMode="gray">
            <a:xfrm>
              <a:off x="-364311" y="1556791"/>
              <a:ext cx="176211" cy="1465808"/>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subtitle</a:t>
              </a:r>
              <a:endParaRPr lang="de-DE" sz="900">
                <a:solidFill>
                  <a:schemeClr val="accent6"/>
                </a:solidFill>
              </a:endParaRPr>
            </a:p>
          </p:txBody>
        </p:sp>
        <p:cxnSp>
          <p:nvCxnSpPr>
            <p:cNvPr id="87" name="Straight Connector 86"/>
            <p:cNvCxnSpPr/>
            <p:nvPr userDrawn="1"/>
          </p:nvCxnSpPr>
          <p:spPr bwMode="gray">
            <a:xfrm rot="5400000" flipH="1" flipV="1">
              <a:off x="-276206" y="11259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0" name="Slide Number Placeholder 19"/>
          <p:cNvSpPr>
            <a:spLocks noGrp="1"/>
          </p:cNvSpPr>
          <p:nvPr>
            <p:ph type="sldNum" sz="quarter" idx="11"/>
          </p:nvPr>
        </p:nvSpPr>
        <p:spPr>
          <a:xfrm>
            <a:off x="10328401" y="5760000"/>
            <a:ext cx="698400" cy="280800"/>
          </a:xfrm>
        </p:spPr>
        <p:txBody>
          <a:bodyPr anchor="ctr"/>
          <a:lstStyle>
            <a:lvl1pPr>
              <a:defRPr sz="900">
                <a:solidFill>
                  <a:srgbClr val="99B1B9"/>
                </a:solidFill>
              </a:defRPr>
            </a:lvl1pPr>
          </a:lstStyle>
          <a:p>
            <a:endParaRPr lang="de-DE"/>
          </a:p>
          <a:p>
            <a:fld id="{24C420F5-194C-40F2-A080-C5F3EDD89037}" type="slidenum">
              <a:rPr lang="de-DE" smtClean="0"/>
              <a:pPr/>
              <a:t>‹Nr.›</a:t>
            </a:fld>
            <a:endParaRPr lang="de-DE"/>
          </a:p>
        </p:txBody>
      </p:sp>
      <p:sp>
        <p:nvSpPr>
          <p:cNvPr id="88" name="header_box">
            <a:extLst>
              <a:ext uri="{FF2B5EF4-FFF2-40B4-BE49-F238E27FC236}">
                <a16:creationId xmlns:a16="http://schemas.microsoft.com/office/drawing/2014/main" id="{D550724F-2D95-4804-A0F3-9F15622FD50E}"/>
              </a:ext>
            </a:extLst>
          </p:cNvPr>
          <p:cNvSpPr>
            <a:spLocks noGrp="1"/>
          </p:cNvSpPr>
          <p:nvPr>
            <p:ph type="title"/>
          </p:nvPr>
        </p:nvSpPr>
        <p:spPr>
          <a:xfrm>
            <a:off x="208026" y="136779"/>
            <a:ext cx="9375521" cy="676910"/>
          </a:xfrm>
          <a:prstGeom prst="rect">
            <a:avLst/>
          </a:prstGeom>
        </p:spPr>
        <p:txBody>
          <a:bodyPr lIns="0" tIns="0" rIns="0" bIns="0" anchor="b"/>
          <a:lstStyle>
            <a:lvl1pPr>
              <a:defRPr sz="2000"/>
            </a:lvl1pPr>
          </a:lstStyle>
          <a:p>
            <a:r>
              <a:rPr lang="en-US"/>
              <a:t>Click to edit Master title style</a:t>
            </a:r>
          </a:p>
        </p:txBody>
      </p:sp>
      <p:sp>
        <p:nvSpPr>
          <p:cNvPr id="2" name="gray_info_panel">
            <a:extLst>
              <a:ext uri="{FF2B5EF4-FFF2-40B4-BE49-F238E27FC236}">
                <a16:creationId xmlns:a16="http://schemas.microsoft.com/office/drawing/2014/main" id="{0E2FF4A5-DE1F-9567-3D53-BA9C8C9B6952}"/>
              </a:ext>
            </a:extLst>
          </p:cNvPr>
          <p:cNvSpPr/>
          <p:nvPr userDrawn="1"/>
        </p:nvSpPr>
        <p:spPr bwMode="gray">
          <a:xfrm>
            <a:off x="9819448" y="-2"/>
            <a:ext cx="1387348" cy="6286500"/>
          </a:xfrm>
          <a:prstGeom prst="rect">
            <a:avLst/>
          </a:prstGeom>
          <a:solidFill>
            <a:srgbClr val="EFEEEB"/>
          </a:solidFill>
          <a:ln w="9525" cap="flat" cmpd="sng" algn="ctr">
            <a:noFill/>
            <a:prstDash val="solid"/>
          </a:ln>
          <a:effectLst/>
          <a:extLs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cxnSp>
        <p:nvCxnSpPr>
          <p:cNvPr id="12" name="bottom_right_line">
            <a:extLst>
              <a:ext uri="{FF2B5EF4-FFF2-40B4-BE49-F238E27FC236}">
                <a16:creationId xmlns:a16="http://schemas.microsoft.com/office/drawing/2014/main" id="{1991EB0A-A3BB-A473-0EE2-9C72B73C9762}"/>
              </a:ext>
            </a:extLst>
          </p:cNvPr>
          <p:cNvCxnSpPr/>
          <p:nvPr userDrawn="1"/>
        </p:nvCxnSpPr>
        <p:spPr>
          <a:xfrm>
            <a:off x="9936607" y="6079109"/>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cxnSp>
        <p:nvCxnSpPr>
          <p:cNvPr id="19" name="bottom_right_line_2">
            <a:extLst>
              <a:ext uri="{FF2B5EF4-FFF2-40B4-BE49-F238E27FC236}">
                <a16:creationId xmlns:a16="http://schemas.microsoft.com/office/drawing/2014/main" id="{F86C81E4-5B08-0ED9-2516-360DF7FC2F70}"/>
              </a:ext>
            </a:extLst>
          </p:cNvPr>
          <p:cNvCxnSpPr/>
          <p:nvPr userDrawn="1"/>
        </p:nvCxnSpPr>
        <p:spPr>
          <a:xfrm>
            <a:off x="9936607" y="5507609"/>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cxnSp>
        <p:nvCxnSpPr>
          <p:cNvPr id="25" name="top_right_line">
            <a:extLst>
              <a:ext uri="{FF2B5EF4-FFF2-40B4-BE49-F238E27FC236}">
                <a16:creationId xmlns:a16="http://schemas.microsoft.com/office/drawing/2014/main" id="{733A4AB8-C1C2-9AC8-ECAF-209688BD7E20}"/>
              </a:ext>
            </a:extLst>
          </p:cNvPr>
          <p:cNvCxnSpPr/>
          <p:nvPr userDrawn="1"/>
        </p:nvCxnSpPr>
        <p:spPr>
          <a:xfrm>
            <a:off x="9936607" y="905002"/>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sp>
        <p:nvSpPr>
          <p:cNvPr id="28" name="Footer Placeholder 27">
            <a:extLst>
              <a:ext uri="{FF2B5EF4-FFF2-40B4-BE49-F238E27FC236}">
                <a16:creationId xmlns:a16="http://schemas.microsoft.com/office/drawing/2014/main" id="{8325D9C0-BA77-02C6-E235-6D60A6A438A9}"/>
              </a:ext>
            </a:extLst>
          </p:cNvPr>
          <p:cNvSpPr>
            <a:spLocks noGrp="1"/>
          </p:cNvSpPr>
          <p:nvPr>
            <p:ph type="ftr" sz="quarter" idx="12"/>
          </p:nvPr>
        </p:nvSpPr>
        <p:spPr>
          <a:xfrm>
            <a:off x="9936000" y="5760000"/>
            <a:ext cx="773400" cy="277200"/>
          </a:xfrm>
        </p:spPr>
        <p:txBody>
          <a:bodyPr anchor="ctr"/>
          <a:lstStyle>
            <a:lvl1pPr>
              <a:defRPr sz="900">
                <a:solidFill>
                  <a:srgbClr val="99B1B9"/>
                </a:solidFill>
              </a:defRPr>
            </a:lvl1pPr>
          </a:lstStyle>
          <a:p>
            <a:r>
              <a:rPr lang="de-DE"/>
              <a:t>© 2026</a:t>
            </a:r>
          </a:p>
          <a:p>
            <a:r>
              <a:rPr lang="de-DE"/>
              <a:t>d-fine</a:t>
            </a:r>
          </a:p>
        </p:txBody>
      </p:sp>
      <p:sp>
        <p:nvSpPr>
          <p:cNvPr id="29" name="Text Placeholder 28">
            <a:extLst>
              <a:ext uri="{FF2B5EF4-FFF2-40B4-BE49-F238E27FC236}">
                <a16:creationId xmlns:a16="http://schemas.microsoft.com/office/drawing/2014/main" id="{B85C36D9-DD0B-7BA5-ECF4-7D23120F13E0}"/>
              </a:ext>
            </a:extLst>
          </p:cNvPr>
          <p:cNvSpPr>
            <a:spLocks noGrp="1"/>
          </p:cNvSpPr>
          <p:nvPr>
            <p:ph type="body" sz="quarter" idx="13" hasCustomPrompt="1"/>
          </p:nvPr>
        </p:nvSpPr>
        <p:spPr>
          <a:xfrm>
            <a:off x="207963" y="1066800"/>
            <a:ext cx="9366250" cy="4745038"/>
          </a:xfrm>
          <a:prstGeom prst="rect">
            <a:avLst/>
          </a:prstGeom>
        </p:spPr>
        <p:txBody>
          <a:bodyPr/>
          <a:lstStyle>
            <a:lvl1pPr>
              <a:defRPr sz="2000"/>
            </a:lvl1pPr>
            <a:lvl2pPr marL="374731" indent="-342900">
              <a:buFont typeface="Wingdings" panose="05000000000000000000" pitchFamily="2" charset="2"/>
              <a:buChar char="§"/>
              <a:defRPr sz="1800"/>
            </a:lvl2pPr>
            <a:lvl3pPr marL="406563" indent="-342900">
              <a:buFont typeface="Wingdings" panose="05000000000000000000" pitchFamily="2" charset="2"/>
              <a:buChar char="§"/>
              <a:defRPr sz="1800"/>
            </a:lvl3pPr>
            <a:lvl4pPr marL="438394" indent="-342900">
              <a:buFont typeface="Wingdings" panose="05000000000000000000" pitchFamily="2" charset="2"/>
              <a:buChar char="§"/>
              <a:defRPr sz="1800"/>
            </a:lvl4pPr>
            <a:lvl5pPr marL="470039" indent="-342900">
              <a:buFont typeface="Wingdings" panose="05000000000000000000" pitchFamily="2" charset="2"/>
              <a:buChar char="§"/>
              <a:defRPr sz="1800"/>
            </a:lvl5pPr>
          </a:lstStyle>
          <a:p>
            <a:pPr lvl="1"/>
            <a:r>
              <a:rPr lang="en-US"/>
              <a:t>First level</a:t>
            </a:r>
          </a:p>
        </p:txBody>
      </p:sp>
      <p:cxnSp>
        <p:nvCxnSpPr>
          <p:cNvPr id="69" name="title_seperator_16_9">
            <a:extLst>
              <a:ext uri="{FF2B5EF4-FFF2-40B4-BE49-F238E27FC236}">
                <a16:creationId xmlns:a16="http://schemas.microsoft.com/office/drawing/2014/main" id="{879F3993-BFD6-F372-757F-B8DCC836C064}"/>
              </a:ext>
            </a:extLst>
          </p:cNvPr>
          <p:cNvCxnSpPr/>
          <p:nvPr userDrawn="1"/>
        </p:nvCxnSpPr>
        <p:spPr>
          <a:xfrm>
            <a:off x="9937242" y="1730502"/>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pic>
        <p:nvPicPr>
          <p:cNvPr id="99" name="Graphic 98">
            <a:extLst>
              <a:ext uri="{FF2B5EF4-FFF2-40B4-BE49-F238E27FC236}">
                <a16:creationId xmlns:a16="http://schemas.microsoft.com/office/drawing/2014/main" id="{117155A6-03F1-4FF0-88B1-D1C88701718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2713" y="194333"/>
            <a:ext cx="519225" cy="626831"/>
          </a:xfrm>
          <a:prstGeom prst="rect">
            <a:avLst/>
          </a:prstGeom>
        </p:spPr>
      </p:pic>
      <p:sp>
        <p:nvSpPr>
          <p:cNvPr id="30" name="pres_title_box">
            <a:extLst>
              <a:ext uri="{FF2B5EF4-FFF2-40B4-BE49-F238E27FC236}">
                <a16:creationId xmlns:a16="http://schemas.microsoft.com/office/drawing/2014/main" id="{39E02759-3A9E-BE9E-E493-E4004DDF189E}"/>
              </a:ext>
            </a:extLst>
          </p:cNvPr>
          <p:cNvSpPr txBox="1"/>
          <p:nvPr userDrawn="1"/>
        </p:nvSpPr>
        <p:spPr>
          <a:xfrm>
            <a:off x="9937241" y="1016000"/>
            <a:ext cx="1089559" cy="508000"/>
          </a:xfrm>
          <a:prstGeom prst="rect">
            <a:avLst/>
          </a:prstGeom>
          <a:noFill/>
        </p:spPr>
        <p:txBody>
          <a:bodyPr vert="horz" wrap="square" lIns="0" tIns="0" rIns="0" bIns="0" rtlCol="0" anchor="t">
            <a:noAutofit/>
          </a:bodyPr>
          <a:lstStyle/>
          <a:p>
            <a:r>
              <a:rPr lang="de-DE" sz="1000">
                <a:solidFill>
                  <a:srgbClr val="99B1B9"/>
                </a:solidFill>
                <a:latin typeface="Roboto" panose="02000000000000000000" pitchFamily="2" charset="0"/>
              </a:rPr>
              <a:t>Stand und Ausblick zur Kommunalen Wärmeplanung (KWP)</a:t>
            </a:r>
          </a:p>
        </p:txBody>
      </p:sp>
      <p:pic>
        <p:nvPicPr>
          <p:cNvPr id="27" name="Picture 26" descr="A logo with text on it&#10;&#10;AI-generated content may be incorrect.">
            <a:extLst>
              <a:ext uri="{FF2B5EF4-FFF2-40B4-BE49-F238E27FC236}">
                <a16:creationId xmlns:a16="http://schemas.microsoft.com/office/drawing/2014/main" id="{D1F45A57-0A0D-B7DC-CF45-F16B52710A83}"/>
              </a:ext>
            </a:extLst>
          </p:cNvPr>
          <p:cNvPicPr>
            <a:picLocks noChangeAspect="1"/>
          </p:cNvPicPr>
          <p:nvPr userDrawn="1"/>
        </p:nvPicPr>
        <p:blipFill>
          <a:blip r:embed="rId4" cstate="screen">
            <a:clrChange>
              <a:clrFrom>
                <a:srgbClr val="FFFFFF"/>
              </a:clrFrom>
              <a:clrTo>
                <a:srgbClr val="FFFFFF">
                  <a:alpha val="0"/>
                </a:srgbClr>
              </a:clrTo>
            </a:clrChange>
            <a:alphaModFix/>
            <a:extLst>
              <a:ext uri="{28A0092B-C50C-407E-A947-70E740481C1C}">
                <a14:useLocalDpi xmlns:a14="http://schemas.microsoft.com/office/drawing/2010/main"/>
              </a:ext>
            </a:extLst>
          </a:blip>
          <a:stretch>
            <a:fillRect/>
          </a:stretch>
        </p:blipFill>
        <p:spPr>
          <a:xfrm>
            <a:off x="9933394" y="4764692"/>
            <a:ext cx="1080000" cy="487059"/>
          </a:xfrm>
          <a:prstGeom prst="rect">
            <a:avLst/>
          </a:prstGeom>
        </p:spPr>
      </p:pic>
      <p:grpSp>
        <p:nvGrpSpPr>
          <p:cNvPr id="11" name="Group 10">
            <a:extLst>
              <a:ext uri="{FF2B5EF4-FFF2-40B4-BE49-F238E27FC236}">
                <a16:creationId xmlns:a16="http://schemas.microsoft.com/office/drawing/2014/main" id="{059628F0-1A17-7A16-860F-66627C675E77}"/>
              </a:ext>
            </a:extLst>
          </p:cNvPr>
          <p:cNvGrpSpPr/>
          <p:nvPr userDrawn="1"/>
        </p:nvGrpSpPr>
        <p:grpSpPr>
          <a:xfrm>
            <a:off x="9931177" y="1937004"/>
            <a:ext cx="1080504" cy="276292"/>
            <a:chOff x="9946297" y="1937004"/>
            <a:chExt cx="1080504" cy="276292"/>
          </a:xfrm>
        </p:grpSpPr>
        <p:sp>
          <p:nvSpPr>
            <p:cNvPr id="26" name="Rectangle 25">
              <a:extLst>
                <a:ext uri="{FF2B5EF4-FFF2-40B4-BE49-F238E27FC236}">
                  <a16:creationId xmlns:a16="http://schemas.microsoft.com/office/drawing/2014/main" id="{503E3143-4A6C-414F-4FD5-4F0E04354245}"/>
                </a:ext>
              </a:extLst>
            </p:cNvPr>
            <p:cNvSpPr/>
            <p:nvPr/>
          </p:nvSpPr>
          <p:spPr bwMode="gray">
            <a:xfrm>
              <a:off x="9946297" y="1937004"/>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31" name="Rectangle 30">
              <a:extLst>
                <a:ext uri="{FF2B5EF4-FFF2-40B4-BE49-F238E27FC236}">
                  <a16:creationId xmlns:a16="http://schemas.microsoft.com/office/drawing/2014/main" id="{8FC13315-721F-0187-41F5-8580AADF7A09}"/>
                </a:ext>
              </a:extLst>
            </p:cNvPr>
            <p:cNvSpPr/>
            <p:nvPr/>
          </p:nvSpPr>
          <p:spPr bwMode="gray">
            <a:xfrm>
              <a:off x="10064456" y="1937004"/>
              <a:ext cx="962345"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lvl="0"/>
              <a:r>
                <a:rPr lang="de-DE" sz="900">
                  <a:solidFill>
                    <a:schemeClr val="accent6"/>
                  </a:solidFill>
                  <a:latin typeface="Roboto" panose="02000000000000000000" pitchFamily="2" charset="0"/>
                </a:rPr>
                <a:t>Über uns</a:t>
              </a:r>
            </a:p>
          </p:txBody>
        </p:sp>
      </p:grpSp>
      <p:grpSp>
        <p:nvGrpSpPr>
          <p:cNvPr id="32" name="Group 31">
            <a:extLst>
              <a:ext uri="{FF2B5EF4-FFF2-40B4-BE49-F238E27FC236}">
                <a16:creationId xmlns:a16="http://schemas.microsoft.com/office/drawing/2014/main" id="{6131D138-26C9-ECAA-2FAE-0D8EAA92C837}"/>
              </a:ext>
            </a:extLst>
          </p:cNvPr>
          <p:cNvGrpSpPr/>
          <p:nvPr userDrawn="1"/>
        </p:nvGrpSpPr>
        <p:grpSpPr>
          <a:xfrm>
            <a:off x="9931177" y="2617079"/>
            <a:ext cx="1114790" cy="276293"/>
            <a:chOff x="9946297" y="2260358"/>
            <a:chExt cx="1114790" cy="276293"/>
          </a:xfrm>
        </p:grpSpPr>
        <p:sp>
          <p:nvSpPr>
            <p:cNvPr id="33" name="Rectangle 32">
              <a:extLst>
                <a:ext uri="{FF2B5EF4-FFF2-40B4-BE49-F238E27FC236}">
                  <a16:creationId xmlns:a16="http://schemas.microsoft.com/office/drawing/2014/main" id="{8F2EA1D0-5F02-89C3-51A0-07CCED11F8EE}"/>
                </a:ext>
              </a:extLst>
            </p:cNvPr>
            <p:cNvSpPr/>
            <p:nvPr/>
          </p:nvSpPr>
          <p:spPr bwMode="gray">
            <a:xfrm>
              <a:off x="9946297" y="2260359"/>
              <a:ext cx="36000" cy="27629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34" name="Rectangle 33">
              <a:extLst>
                <a:ext uri="{FF2B5EF4-FFF2-40B4-BE49-F238E27FC236}">
                  <a16:creationId xmlns:a16="http://schemas.microsoft.com/office/drawing/2014/main" id="{4DCC7D2C-C172-78D0-A782-1DDCF944CA1E}"/>
                </a:ext>
              </a:extLst>
            </p:cNvPr>
            <p:cNvSpPr/>
            <p:nvPr/>
          </p:nvSpPr>
          <p:spPr bwMode="gray">
            <a:xfrm>
              <a:off x="10064456" y="2260358"/>
              <a:ext cx="996631"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tx1"/>
                  </a:solidFill>
                  <a:latin typeface="Roboto" panose="02000000000000000000" pitchFamily="2" charset="0"/>
                </a:rPr>
                <a:t>Aktueller politischer Rahmen</a:t>
              </a:r>
            </a:p>
          </p:txBody>
        </p:sp>
      </p:grpSp>
      <p:grpSp>
        <p:nvGrpSpPr>
          <p:cNvPr id="45" name="Group 44">
            <a:extLst>
              <a:ext uri="{FF2B5EF4-FFF2-40B4-BE49-F238E27FC236}">
                <a16:creationId xmlns:a16="http://schemas.microsoft.com/office/drawing/2014/main" id="{163260CD-19F4-84D2-DC37-F1C326339682}"/>
              </a:ext>
            </a:extLst>
          </p:cNvPr>
          <p:cNvGrpSpPr/>
          <p:nvPr userDrawn="1"/>
        </p:nvGrpSpPr>
        <p:grpSpPr>
          <a:xfrm>
            <a:off x="9931177" y="3294945"/>
            <a:ext cx="1080504" cy="276293"/>
            <a:chOff x="9946297" y="2583712"/>
            <a:chExt cx="1080504" cy="276293"/>
          </a:xfrm>
        </p:grpSpPr>
        <p:sp>
          <p:nvSpPr>
            <p:cNvPr id="46" name="Rectangle 45">
              <a:extLst>
                <a:ext uri="{FF2B5EF4-FFF2-40B4-BE49-F238E27FC236}">
                  <a16:creationId xmlns:a16="http://schemas.microsoft.com/office/drawing/2014/main" id="{F5C4B078-4FF7-C551-F60A-3F72E8AA1B05}"/>
                </a:ext>
              </a:extLst>
            </p:cNvPr>
            <p:cNvSpPr/>
            <p:nvPr/>
          </p:nvSpPr>
          <p:spPr bwMode="gray">
            <a:xfrm>
              <a:off x="9946297" y="2583713"/>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50" name="Rectangle 49">
              <a:extLst>
                <a:ext uri="{FF2B5EF4-FFF2-40B4-BE49-F238E27FC236}">
                  <a16:creationId xmlns:a16="http://schemas.microsoft.com/office/drawing/2014/main" id="{5A398A0F-AD3C-75FE-CCB2-773E62E4A80A}"/>
                </a:ext>
              </a:extLst>
            </p:cNvPr>
            <p:cNvSpPr/>
            <p:nvPr/>
          </p:nvSpPr>
          <p:spPr bwMode="gray">
            <a:xfrm>
              <a:off x="10064456" y="2583712"/>
              <a:ext cx="962345"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Zielszenario</a:t>
              </a:r>
            </a:p>
          </p:txBody>
        </p:sp>
      </p:grpSp>
      <p:grpSp>
        <p:nvGrpSpPr>
          <p:cNvPr id="51" name="Group 50">
            <a:extLst>
              <a:ext uri="{FF2B5EF4-FFF2-40B4-BE49-F238E27FC236}">
                <a16:creationId xmlns:a16="http://schemas.microsoft.com/office/drawing/2014/main" id="{8FA5BF02-B34B-CBC8-9C57-C6274385C130}"/>
              </a:ext>
            </a:extLst>
          </p:cNvPr>
          <p:cNvGrpSpPr/>
          <p:nvPr userDrawn="1"/>
        </p:nvGrpSpPr>
        <p:grpSpPr>
          <a:xfrm>
            <a:off x="9931177" y="3637252"/>
            <a:ext cx="1239797" cy="276293"/>
            <a:chOff x="9946297" y="2907066"/>
            <a:chExt cx="1080504" cy="276293"/>
          </a:xfrm>
        </p:grpSpPr>
        <p:sp>
          <p:nvSpPr>
            <p:cNvPr id="52" name="Rectangle 51">
              <a:extLst>
                <a:ext uri="{FF2B5EF4-FFF2-40B4-BE49-F238E27FC236}">
                  <a16:creationId xmlns:a16="http://schemas.microsoft.com/office/drawing/2014/main" id="{9DE0C542-E5DB-6F27-0214-4592D70D2691}"/>
                </a:ext>
              </a:extLst>
            </p:cNvPr>
            <p:cNvSpPr/>
            <p:nvPr/>
          </p:nvSpPr>
          <p:spPr bwMode="gray">
            <a:xfrm>
              <a:off x="9946297" y="2907067"/>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53" name="Rectangle 52">
              <a:extLst>
                <a:ext uri="{FF2B5EF4-FFF2-40B4-BE49-F238E27FC236}">
                  <a16:creationId xmlns:a16="http://schemas.microsoft.com/office/drawing/2014/main" id="{C80D5F54-0C46-0C3D-34C9-4A2B4E63C3F3}"/>
                </a:ext>
              </a:extLst>
            </p:cNvPr>
            <p:cNvSpPr/>
            <p:nvPr/>
          </p:nvSpPr>
          <p:spPr bwMode="gray">
            <a:xfrm>
              <a:off x="10064456" y="2907066"/>
              <a:ext cx="962345"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Zusammenfassung und Ausblick</a:t>
              </a:r>
            </a:p>
          </p:txBody>
        </p:sp>
      </p:grpSp>
      <p:grpSp>
        <p:nvGrpSpPr>
          <p:cNvPr id="54" name="Group 53">
            <a:extLst>
              <a:ext uri="{FF2B5EF4-FFF2-40B4-BE49-F238E27FC236}">
                <a16:creationId xmlns:a16="http://schemas.microsoft.com/office/drawing/2014/main" id="{02C9E65F-C05C-1842-F1DB-4D47A45FE137}"/>
              </a:ext>
            </a:extLst>
          </p:cNvPr>
          <p:cNvGrpSpPr/>
          <p:nvPr userDrawn="1"/>
        </p:nvGrpSpPr>
        <p:grpSpPr>
          <a:xfrm>
            <a:off x="9931177" y="2274772"/>
            <a:ext cx="1114790" cy="276293"/>
            <a:chOff x="9946297" y="2260358"/>
            <a:chExt cx="1114790" cy="276293"/>
          </a:xfrm>
        </p:grpSpPr>
        <p:sp>
          <p:nvSpPr>
            <p:cNvPr id="55" name="Rectangle 54">
              <a:extLst>
                <a:ext uri="{FF2B5EF4-FFF2-40B4-BE49-F238E27FC236}">
                  <a16:creationId xmlns:a16="http://schemas.microsoft.com/office/drawing/2014/main" id="{BBB6E59F-7A99-0B23-C148-921409B5DF7B}"/>
                </a:ext>
              </a:extLst>
            </p:cNvPr>
            <p:cNvSpPr/>
            <p:nvPr/>
          </p:nvSpPr>
          <p:spPr bwMode="gray">
            <a:xfrm>
              <a:off x="9946297" y="2260359"/>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56" name="Rectangle 55">
              <a:extLst>
                <a:ext uri="{FF2B5EF4-FFF2-40B4-BE49-F238E27FC236}">
                  <a16:creationId xmlns:a16="http://schemas.microsoft.com/office/drawing/2014/main" id="{67150DD8-E22D-61C4-78EB-432DB5D2BE73}"/>
                </a:ext>
              </a:extLst>
            </p:cNvPr>
            <p:cNvSpPr/>
            <p:nvPr/>
          </p:nvSpPr>
          <p:spPr bwMode="gray">
            <a:xfrm>
              <a:off x="10064456" y="2260358"/>
              <a:ext cx="996631"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Hintergrund der KWP</a:t>
              </a:r>
            </a:p>
          </p:txBody>
        </p:sp>
      </p:grpSp>
      <p:grpSp>
        <p:nvGrpSpPr>
          <p:cNvPr id="60" name="Group 59">
            <a:extLst>
              <a:ext uri="{FF2B5EF4-FFF2-40B4-BE49-F238E27FC236}">
                <a16:creationId xmlns:a16="http://schemas.microsoft.com/office/drawing/2014/main" id="{BB530C8D-26E7-C963-1912-D9F89EACE250}"/>
              </a:ext>
            </a:extLst>
          </p:cNvPr>
          <p:cNvGrpSpPr/>
          <p:nvPr userDrawn="1"/>
        </p:nvGrpSpPr>
        <p:grpSpPr>
          <a:xfrm>
            <a:off x="9931177" y="2952637"/>
            <a:ext cx="1114790" cy="276293"/>
            <a:chOff x="9946297" y="2260358"/>
            <a:chExt cx="1114790" cy="276293"/>
          </a:xfrm>
        </p:grpSpPr>
        <p:sp>
          <p:nvSpPr>
            <p:cNvPr id="64" name="Rectangle 63">
              <a:extLst>
                <a:ext uri="{FF2B5EF4-FFF2-40B4-BE49-F238E27FC236}">
                  <a16:creationId xmlns:a16="http://schemas.microsoft.com/office/drawing/2014/main" id="{99CE1A80-F88D-63D6-6F79-D76021F15178}"/>
                </a:ext>
              </a:extLst>
            </p:cNvPr>
            <p:cNvSpPr/>
            <p:nvPr/>
          </p:nvSpPr>
          <p:spPr bwMode="gray">
            <a:xfrm>
              <a:off x="9946297" y="2260359"/>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65" name="Rectangle 64">
              <a:extLst>
                <a:ext uri="{FF2B5EF4-FFF2-40B4-BE49-F238E27FC236}">
                  <a16:creationId xmlns:a16="http://schemas.microsoft.com/office/drawing/2014/main" id="{36AFE22D-AA60-D520-DCDD-AAA6B124B3F2}"/>
                </a:ext>
              </a:extLst>
            </p:cNvPr>
            <p:cNvSpPr/>
            <p:nvPr/>
          </p:nvSpPr>
          <p:spPr bwMode="gray">
            <a:xfrm>
              <a:off x="10064456" y="2260358"/>
              <a:ext cx="996631"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Bestands- und Potenzialanalyse</a:t>
              </a:r>
            </a:p>
          </p:txBody>
        </p:sp>
      </p:grpSp>
    </p:spTree>
    <p:extLst>
      <p:ext uri="{BB962C8B-B14F-4D97-AF65-F5344CB8AC3E}">
        <p14:creationId xmlns:p14="http://schemas.microsoft.com/office/powerpoint/2010/main" val="3345452618"/>
      </p:ext>
    </p:extLst>
  </p:cSld>
  <p:clrMapOvr>
    <a:masterClrMapping/>
  </p:clrMapOvr>
  <p:hf hdr="0" dt="0"/>
  <p:extLst>
    <p:ext uri="{DCECCB84-F9BA-43D5-87BE-67443E8EF086}">
      <p15:sldGuideLst xmlns:p15="http://schemas.microsoft.com/office/powerpoint/2012/main">
        <p15:guide id="2" pos="214">
          <p15:clr>
            <a:srgbClr val="A4A3A4"/>
          </p15:clr>
        </p15:guide>
        <p15:guide id="3" pos="7728">
          <p15:clr>
            <a:srgbClr val="A4A3A4"/>
          </p15:clr>
        </p15:guide>
        <p15:guide id="4" orient="horz" pos="672">
          <p15:clr>
            <a:srgbClr val="A4A3A4"/>
          </p15:clr>
        </p15:guide>
        <p15:guide id="5" orient="horz" pos="933">
          <p15:clr>
            <a:srgbClr val="A4A3A4"/>
          </p15:clr>
        </p15:guide>
        <p15:guide id="6" orient="horz" pos="3053">
          <p15:clr>
            <a:srgbClr val="A4A3A4"/>
          </p15:clr>
        </p15:guide>
        <p15:guide id="7" orient="horz" pos="3334">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Erg">
    <p:spTree>
      <p:nvGrpSpPr>
        <p:cNvPr id="1" name=""/>
        <p:cNvGrpSpPr/>
        <p:nvPr/>
      </p:nvGrpSpPr>
      <p:grpSpPr>
        <a:xfrm>
          <a:off x="0" y="0"/>
          <a:ext cx="0" cy="0"/>
          <a:chOff x="0" y="0"/>
          <a:chExt cx="0" cy="0"/>
        </a:xfrm>
      </p:grpSpPr>
      <p:cxnSp>
        <p:nvCxnSpPr>
          <p:cNvPr id="10" name="top_line"/>
          <p:cNvCxnSpPr/>
          <p:nvPr userDrawn="1"/>
        </p:nvCxnSpPr>
        <p:spPr bwMode="gray">
          <a:xfrm>
            <a:off x="208026" y="905002"/>
            <a:ext cx="9372600"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cxnSp>
        <p:nvCxnSpPr>
          <p:cNvPr id="13" name="bottom_line"/>
          <p:cNvCxnSpPr/>
          <p:nvPr userDrawn="1"/>
        </p:nvCxnSpPr>
        <p:spPr bwMode="gray">
          <a:xfrm>
            <a:off x="208026" y="6079109"/>
            <a:ext cx="9372600"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grpSp>
        <p:nvGrpSpPr>
          <p:cNvPr id="16" name="CA_marker_top_left"/>
          <p:cNvGrpSpPr/>
          <p:nvPr userDrawn="1"/>
        </p:nvGrpSpPr>
        <p:grpSpPr bwMode="gray">
          <a:xfrm>
            <a:off x="208800" y="-356400"/>
            <a:ext cx="964800" cy="262800"/>
            <a:chOff x="266700" y="-387424"/>
            <a:chExt cx="812096" cy="288032"/>
          </a:xfrm>
        </p:grpSpPr>
        <p:cxnSp>
          <p:nvCxnSpPr>
            <p:cNvPr id="5" name="Straight Connector 4"/>
            <p:cNvCxnSpPr/>
            <p:nvPr userDrawn="1"/>
          </p:nvCxnSpPr>
          <p:spPr bwMode="gray">
            <a:xfrm flipH="1" flipV="1">
              <a:off x="266700"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bwMode="gray">
            <a:xfrm>
              <a:off x="526604" y="-320401"/>
              <a:ext cx="552192"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21" name="CA_marker_bottom_left"/>
          <p:cNvGrpSpPr/>
          <p:nvPr userDrawn="1"/>
        </p:nvGrpSpPr>
        <p:grpSpPr bwMode="gray">
          <a:xfrm>
            <a:off x="208800" y="6379200"/>
            <a:ext cx="964800" cy="262800"/>
            <a:chOff x="266699" y="-387424"/>
            <a:chExt cx="812100" cy="288032"/>
          </a:xfrm>
        </p:grpSpPr>
        <p:cxnSp>
          <p:nvCxnSpPr>
            <p:cNvPr id="22" name="Straight Connector 21"/>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bwMode="gray">
            <a:xfrm>
              <a:off x="526604" y="-320401"/>
              <a:ext cx="552195"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37" name="CA_marker_top_right"/>
          <p:cNvGrpSpPr/>
          <p:nvPr userDrawn="1"/>
        </p:nvGrpSpPr>
        <p:grpSpPr bwMode="gray">
          <a:xfrm flipH="1">
            <a:off x="8614800" y="-356400"/>
            <a:ext cx="964800" cy="262800"/>
            <a:chOff x="266699" y="-387424"/>
            <a:chExt cx="1029346" cy="288032"/>
          </a:xfrm>
        </p:grpSpPr>
        <p:cxnSp>
          <p:nvCxnSpPr>
            <p:cNvPr id="38" name="Straight Connector 37"/>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userDrawn="1"/>
          </p:nvSpPr>
          <p:spPr bwMode="gray">
            <a:xfrm>
              <a:off x="679293" y="-320395"/>
              <a:ext cx="616752"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41" name="CA_marker_bottom_right"/>
          <p:cNvGrpSpPr/>
          <p:nvPr userDrawn="1"/>
        </p:nvGrpSpPr>
        <p:grpSpPr bwMode="gray">
          <a:xfrm flipH="1">
            <a:off x="8614800" y="6379200"/>
            <a:ext cx="964800" cy="262800"/>
            <a:chOff x="266699" y="-387424"/>
            <a:chExt cx="1029346" cy="288032"/>
          </a:xfrm>
        </p:grpSpPr>
        <p:cxnSp>
          <p:nvCxnSpPr>
            <p:cNvPr id="42" name="Straight Connector 41"/>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userDrawn="1"/>
          </p:nvSpPr>
          <p:spPr bwMode="gray">
            <a:xfrm>
              <a:off x="679293" y="-320395"/>
              <a:ext cx="616752"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7" name="CA_marker_left_bottom_NTHM"/>
          <p:cNvGrpSpPr/>
          <p:nvPr userDrawn="1"/>
        </p:nvGrpSpPr>
        <p:grpSpPr bwMode="gray">
          <a:xfrm>
            <a:off x="-475200" y="4615200"/>
            <a:ext cx="324000" cy="1400400"/>
            <a:chOff x="-420221" y="4770550"/>
            <a:chExt cx="288032" cy="1528650"/>
          </a:xfrm>
        </p:grpSpPr>
        <p:cxnSp>
          <p:nvCxnSpPr>
            <p:cNvPr id="47" name="Straight Connector 46"/>
            <p:cNvCxnSpPr/>
            <p:nvPr userDrawn="1"/>
          </p:nvCxnSpPr>
          <p:spPr bwMode="gray">
            <a:xfrm rot="5400000" flipH="1" flipV="1">
              <a:off x="-276206" y="61551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userDrawn="1"/>
          </p:nvCxnSpPr>
          <p:spPr bwMode="gray">
            <a:xfrm rot="16200000" flipH="1" flipV="1">
              <a:off x="-387108" y="6188296"/>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p:cNvSpPr txBox="1"/>
            <p:nvPr userDrawn="1"/>
          </p:nvSpPr>
          <p:spPr bwMode="gray">
            <a:xfrm>
              <a:off x="-364310" y="4770550"/>
              <a:ext cx="176211" cy="1297385"/>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THM</a:t>
              </a:r>
              <a:endParaRPr lang="de-DE" sz="900">
                <a:solidFill>
                  <a:schemeClr val="accent6"/>
                </a:solidFill>
              </a:endParaRPr>
            </a:p>
          </p:txBody>
        </p:sp>
      </p:grpSp>
      <p:grpSp>
        <p:nvGrpSpPr>
          <p:cNvPr id="4" name="CA_marker_left_top_ST"/>
          <p:cNvGrpSpPr/>
          <p:nvPr userDrawn="1"/>
        </p:nvGrpSpPr>
        <p:grpSpPr bwMode="gray">
          <a:xfrm>
            <a:off x="-752400" y="1436401"/>
            <a:ext cx="324000" cy="1724400"/>
            <a:chOff x="-667814" y="1764387"/>
            <a:chExt cx="288032" cy="1880637"/>
          </a:xfrm>
        </p:grpSpPr>
        <p:cxnSp>
          <p:nvCxnSpPr>
            <p:cNvPr id="57" name="Straight Connector 56"/>
            <p:cNvCxnSpPr/>
            <p:nvPr userDrawn="1"/>
          </p:nvCxnSpPr>
          <p:spPr bwMode="gray">
            <a:xfrm rot="5400000" flipH="1" flipV="1">
              <a:off x="-523799" y="1624077"/>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userDrawn="1"/>
          </p:nvCxnSpPr>
          <p:spPr bwMode="gray">
            <a:xfrm rot="5400000" flipH="1">
              <a:off x="-634701" y="187528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userDrawn="1"/>
          </p:nvSpPr>
          <p:spPr bwMode="gray">
            <a:xfrm>
              <a:off x="-611904" y="2051178"/>
              <a:ext cx="176211" cy="1593846"/>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subtitle</a:t>
              </a:r>
              <a:endParaRPr lang="de-DE" sz="900">
                <a:solidFill>
                  <a:schemeClr val="accent6"/>
                </a:solidFill>
              </a:endParaRPr>
            </a:p>
          </p:txBody>
        </p:sp>
      </p:grpSp>
      <p:grpSp>
        <p:nvGrpSpPr>
          <p:cNvPr id="6" name="CA_marker_left_bottom_THM"/>
          <p:cNvGrpSpPr/>
          <p:nvPr userDrawn="1"/>
        </p:nvGrpSpPr>
        <p:grpSpPr bwMode="gray">
          <a:xfrm>
            <a:off x="-752400" y="4057200"/>
            <a:ext cx="324000" cy="1494000"/>
            <a:chOff x="-667814" y="4138377"/>
            <a:chExt cx="288032" cy="1629264"/>
          </a:xfrm>
        </p:grpSpPr>
        <p:cxnSp>
          <p:nvCxnSpPr>
            <p:cNvPr id="61" name="Straight Connector 60"/>
            <p:cNvCxnSpPr/>
            <p:nvPr userDrawn="1"/>
          </p:nvCxnSpPr>
          <p:spPr bwMode="gray">
            <a:xfrm rot="5400000" flipH="1" flipV="1">
              <a:off x="-523799" y="5623625"/>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userDrawn="1"/>
          </p:nvCxnSpPr>
          <p:spPr bwMode="gray">
            <a:xfrm rot="16200000" flipH="1" flipV="1">
              <a:off x="-634701" y="5656737"/>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userDrawn="1"/>
          </p:nvSpPr>
          <p:spPr bwMode="gray">
            <a:xfrm>
              <a:off x="-611903" y="4138377"/>
              <a:ext cx="176211" cy="1398000"/>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THM</a:t>
              </a:r>
              <a:endParaRPr lang="de-DE" sz="900">
                <a:solidFill>
                  <a:schemeClr val="accent6"/>
                </a:solidFill>
              </a:endParaRPr>
            </a:p>
          </p:txBody>
        </p:sp>
      </p:grpSp>
      <p:grpSp>
        <p:nvGrpSpPr>
          <p:cNvPr id="15" name="CA_marker_right_top_NST"/>
          <p:cNvGrpSpPr/>
          <p:nvPr userDrawn="1"/>
        </p:nvGrpSpPr>
        <p:grpSpPr bwMode="gray">
          <a:xfrm>
            <a:off x="11325599" y="990000"/>
            <a:ext cx="324000" cy="1605600"/>
            <a:chOff x="10038191" y="1270000"/>
            <a:chExt cx="288032" cy="1752599"/>
          </a:xfrm>
        </p:grpSpPr>
        <p:cxnSp>
          <p:nvCxnSpPr>
            <p:cNvPr id="79" name="Straight Connector 78"/>
            <p:cNvCxnSpPr/>
            <p:nvPr userDrawn="1"/>
          </p:nvCxnSpPr>
          <p:spPr bwMode="gray">
            <a:xfrm rot="16200000" flipV="1">
              <a:off x="10182206" y="1129690"/>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userDrawn="1"/>
          </p:nvCxnSpPr>
          <p:spPr bwMode="gray">
            <a:xfrm rot="16200000">
              <a:off x="10071305" y="1380901"/>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p:cNvSpPr txBox="1"/>
            <p:nvPr userDrawn="1"/>
          </p:nvSpPr>
          <p:spPr bwMode="gray">
            <a:xfrm flipH="1">
              <a:off x="10094101" y="1556791"/>
              <a:ext cx="176211" cy="1465808"/>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subtitle</a:t>
              </a:r>
              <a:endParaRPr lang="de-DE" sz="900">
                <a:solidFill>
                  <a:schemeClr val="accent6"/>
                </a:solidFill>
              </a:endParaRPr>
            </a:p>
          </p:txBody>
        </p:sp>
      </p:grpSp>
      <p:grpSp>
        <p:nvGrpSpPr>
          <p:cNvPr id="9" name="CA_marker_right_bottom_NTHM"/>
          <p:cNvGrpSpPr/>
          <p:nvPr userDrawn="1"/>
        </p:nvGrpSpPr>
        <p:grpSpPr bwMode="gray">
          <a:xfrm>
            <a:off x="11325599" y="4615200"/>
            <a:ext cx="324000" cy="1400400"/>
            <a:chOff x="10038191" y="4770550"/>
            <a:chExt cx="288032" cy="1528650"/>
          </a:xfrm>
        </p:grpSpPr>
        <p:cxnSp>
          <p:nvCxnSpPr>
            <p:cNvPr id="76" name="Straight Connector 75"/>
            <p:cNvCxnSpPr/>
            <p:nvPr userDrawn="1"/>
          </p:nvCxnSpPr>
          <p:spPr bwMode="gray">
            <a:xfrm rot="16200000" flipV="1">
              <a:off x="10182206" y="61551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userDrawn="1"/>
          </p:nvCxnSpPr>
          <p:spPr bwMode="gray">
            <a:xfrm rot="5400000" flipV="1">
              <a:off x="10071305" y="6188296"/>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userDrawn="1"/>
          </p:nvSpPr>
          <p:spPr bwMode="gray">
            <a:xfrm flipH="1">
              <a:off x="10094100" y="4770550"/>
              <a:ext cx="176211" cy="1297385"/>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THM</a:t>
              </a:r>
              <a:endParaRPr lang="de-DE" sz="900">
                <a:solidFill>
                  <a:schemeClr val="accent6"/>
                </a:solidFill>
              </a:endParaRPr>
            </a:p>
          </p:txBody>
        </p:sp>
      </p:grpSp>
      <p:grpSp>
        <p:nvGrpSpPr>
          <p:cNvPr id="14" name="CA_marker_right_top_ST"/>
          <p:cNvGrpSpPr/>
          <p:nvPr userDrawn="1"/>
        </p:nvGrpSpPr>
        <p:grpSpPr bwMode="gray">
          <a:xfrm>
            <a:off x="11606400" y="1436401"/>
            <a:ext cx="324000" cy="1724400"/>
            <a:chOff x="10285784" y="1764387"/>
            <a:chExt cx="288032" cy="1880637"/>
          </a:xfrm>
        </p:grpSpPr>
        <p:cxnSp>
          <p:nvCxnSpPr>
            <p:cNvPr id="73" name="Straight Connector 72"/>
            <p:cNvCxnSpPr/>
            <p:nvPr userDrawn="1"/>
          </p:nvCxnSpPr>
          <p:spPr bwMode="gray">
            <a:xfrm rot="16200000" flipV="1">
              <a:off x="10429799" y="1624077"/>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userDrawn="1"/>
          </p:nvCxnSpPr>
          <p:spPr bwMode="gray">
            <a:xfrm rot="16200000">
              <a:off x="10318898" y="187528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p:cNvSpPr txBox="1"/>
            <p:nvPr userDrawn="1"/>
          </p:nvSpPr>
          <p:spPr bwMode="gray">
            <a:xfrm flipH="1">
              <a:off x="10341694" y="2051178"/>
              <a:ext cx="176211" cy="1593846"/>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subtitle</a:t>
              </a:r>
              <a:endParaRPr lang="de-DE" sz="900">
                <a:solidFill>
                  <a:schemeClr val="accent6"/>
                </a:solidFill>
              </a:endParaRPr>
            </a:p>
          </p:txBody>
        </p:sp>
      </p:grpSp>
      <p:grpSp>
        <p:nvGrpSpPr>
          <p:cNvPr id="8" name="CA_marker_right_bottom_THM"/>
          <p:cNvGrpSpPr/>
          <p:nvPr userDrawn="1"/>
        </p:nvGrpSpPr>
        <p:grpSpPr bwMode="gray">
          <a:xfrm>
            <a:off x="11606400" y="4057200"/>
            <a:ext cx="324000" cy="1494000"/>
            <a:chOff x="10285784" y="4138377"/>
            <a:chExt cx="288032" cy="1629264"/>
          </a:xfrm>
        </p:grpSpPr>
        <p:cxnSp>
          <p:nvCxnSpPr>
            <p:cNvPr id="70" name="Straight Connector 69"/>
            <p:cNvCxnSpPr/>
            <p:nvPr userDrawn="1"/>
          </p:nvCxnSpPr>
          <p:spPr bwMode="gray">
            <a:xfrm rot="16200000" flipV="1">
              <a:off x="10429799" y="5623625"/>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userDrawn="1"/>
          </p:nvCxnSpPr>
          <p:spPr bwMode="gray">
            <a:xfrm rot="5400000" flipV="1">
              <a:off x="10318898" y="5656737"/>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userDrawn="1"/>
          </p:nvSpPr>
          <p:spPr bwMode="gray">
            <a:xfrm flipH="1">
              <a:off x="10341693" y="4138377"/>
              <a:ext cx="176211" cy="1398000"/>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THM</a:t>
              </a:r>
              <a:endParaRPr lang="de-DE" sz="900">
                <a:solidFill>
                  <a:schemeClr val="accent6"/>
                </a:solidFill>
              </a:endParaRPr>
            </a:p>
          </p:txBody>
        </p:sp>
      </p:grpSp>
      <p:grpSp>
        <p:nvGrpSpPr>
          <p:cNvPr id="3" name="CA_marker_left_top_NST"/>
          <p:cNvGrpSpPr/>
          <p:nvPr userDrawn="1"/>
        </p:nvGrpSpPr>
        <p:grpSpPr bwMode="gray">
          <a:xfrm>
            <a:off x="-475200" y="990000"/>
            <a:ext cx="324000" cy="1605600"/>
            <a:chOff x="-420221" y="1269999"/>
            <a:chExt cx="288032" cy="1752600"/>
          </a:xfrm>
        </p:grpSpPr>
        <p:cxnSp>
          <p:nvCxnSpPr>
            <p:cNvPr id="35" name="Straight Arrow Connector 34"/>
            <p:cNvCxnSpPr/>
            <p:nvPr userDrawn="1"/>
          </p:nvCxnSpPr>
          <p:spPr bwMode="gray">
            <a:xfrm rot="5400000" flipH="1">
              <a:off x="-387108" y="1380901"/>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userDrawn="1"/>
          </p:nvSpPr>
          <p:spPr bwMode="gray">
            <a:xfrm>
              <a:off x="-364311" y="1556791"/>
              <a:ext cx="176211" cy="1465808"/>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subtitle</a:t>
              </a:r>
              <a:endParaRPr lang="de-DE" sz="900">
                <a:solidFill>
                  <a:schemeClr val="accent6"/>
                </a:solidFill>
              </a:endParaRPr>
            </a:p>
          </p:txBody>
        </p:sp>
        <p:cxnSp>
          <p:nvCxnSpPr>
            <p:cNvPr id="87" name="Straight Connector 86"/>
            <p:cNvCxnSpPr/>
            <p:nvPr userDrawn="1"/>
          </p:nvCxnSpPr>
          <p:spPr bwMode="gray">
            <a:xfrm rot="5400000" flipH="1" flipV="1">
              <a:off x="-276206" y="11259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0" name="Slide Number Placeholder 19"/>
          <p:cNvSpPr>
            <a:spLocks noGrp="1"/>
          </p:cNvSpPr>
          <p:nvPr>
            <p:ph type="sldNum" sz="quarter" idx="11"/>
          </p:nvPr>
        </p:nvSpPr>
        <p:spPr>
          <a:xfrm>
            <a:off x="10328401" y="5760000"/>
            <a:ext cx="698400" cy="280800"/>
          </a:xfrm>
        </p:spPr>
        <p:txBody>
          <a:bodyPr anchor="ctr"/>
          <a:lstStyle>
            <a:lvl1pPr>
              <a:defRPr sz="900">
                <a:solidFill>
                  <a:srgbClr val="99B1B9"/>
                </a:solidFill>
              </a:defRPr>
            </a:lvl1pPr>
          </a:lstStyle>
          <a:p>
            <a:endParaRPr lang="de-DE"/>
          </a:p>
          <a:p>
            <a:fld id="{24C420F5-194C-40F2-A080-C5F3EDD89037}" type="slidenum">
              <a:rPr lang="de-DE" smtClean="0"/>
              <a:pPr/>
              <a:t>‹Nr.›</a:t>
            </a:fld>
            <a:endParaRPr lang="de-DE"/>
          </a:p>
        </p:txBody>
      </p:sp>
      <p:sp>
        <p:nvSpPr>
          <p:cNvPr id="88" name="header_box">
            <a:extLst>
              <a:ext uri="{FF2B5EF4-FFF2-40B4-BE49-F238E27FC236}">
                <a16:creationId xmlns:a16="http://schemas.microsoft.com/office/drawing/2014/main" id="{D550724F-2D95-4804-A0F3-9F15622FD50E}"/>
              </a:ext>
            </a:extLst>
          </p:cNvPr>
          <p:cNvSpPr>
            <a:spLocks noGrp="1"/>
          </p:cNvSpPr>
          <p:nvPr>
            <p:ph type="title"/>
          </p:nvPr>
        </p:nvSpPr>
        <p:spPr>
          <a:xfrm>
            <a:off x="208026" y="136779"/>
            <a:ext cx="9375521" cy="676910"/>
          </a:xfrm>
          <a:prstGeom prst="rect">
            <a:avLst/>
          </a:prstGeom>
        </p:spPr>
        <p:txBody>
          <a:bodyPr lIns="0" tIns="0" rIns="0" bIns="0" anchor="b"/>
          <a:lstStyle>
            <a:lvl1pPr>
              <a:defRPr sz="2000"/>
            </a:lvl1pPr>
          </a:lstStyle>
          <a:p>
            <a:r>
              <a:rPr lang="en-US"/>
              <a:t>Click to edit Master title style</a:t>
            </a:r>
          </a:p>
        </p:txBody>
      </p:sp>
      <p:sp>
        <p:nvSpPr>
          <p:cNvPr id="2" name="gray_info_panel">
            <a:extLst>
              <a:ext uri="{FF2B5EF4-FFF2-40B4-BE49-F238E27FC236}">
                <a16:creationId xmlns:a16="http://schemas.microsoft.com/office/drawing/2014/main" id="{0E2FF4A5-DE1F-9567-3D53-BA9C8C9B6952}"/>
              </a:ext>
            </a:extLst>
          </p:cNvPr>
          <p:cNvSpPr/>
          <p:nvPr userDrawn="1"/>
        </p:nvSpPr>
        <p:spPr bwMode="gray">
          <a:xfrm>
            <a:off x="9819448" y="-2"/>
            <a:ext cx="1387348" cy="6286500"/>
          </a:xfrm>
          <a:prstGeom prst="rect">
            <a:avLst/>
          </a:prstGeom>
          <a:solidFill>
            <a:srgbClr val="EFEEEB"/>
          </a:solidFill>
          <a:ln w="9525" cap="flat" cmpd="sng" algn="ctr">
            <a:noFill/>
            <a:prstDash val="solid"/>
          </a:ln>
          <a:effectLst/>
          <a:extLs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cxnSp>
        <p:nvCxnSpPr>
          <p:cNvPr id="12" name="bottom_right_line">
            <a:extLst>
              <a:ext uri="{FF2B5EF4-FFF2-40B4-BE49-F238E27FC236}">
                <a16:creationId xmlns:a16="http://schemas.microsoft.com/office/drawing/2014/main" id="{1991EB0A-A3BB-A473-0EE2-9C72B73C9762}"/>
              </a:ext>
            </a:extLst>
          </p:cNvPr>
          <p:cNvCxnSpPr/>
          <p:nvPr userDrawn="1"/>
        </p:nvCxnSpPr>
        <p:spPr>
          <a:xfrm>
            <a:off x="9936607" y="6079109"/>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cxnSp>
        <p:nvCxnSpPr>
          <p:cNvPr id="19" name="bottom_right_line_2">
            <a:extLst>
              <a:ext uri="{FF2B5EF4-FFF2-40B4-BE49-F238E27FC236}">
                <a16:creationId xmlns:a16="http://schemas.microsoft.com/office/drawing/2014/main" id="{F86C81E4-5B08-0ED9-2516-360DF7FC2F70}"/>
              </a:ext>
            </a:extLst>
          </p:cNvPr>
          <p:cNvCxnSpPr/>
          <p:nvPr userDrawn="1"/>
        </p:nvCxnSpPr>
        <p:spPr>
          <a:xfrm>
            <a:off x="9936607" y="5507609"/>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cxnSp>
        <p:nvCxnSpPr>
          <p:cNvPr id="25" name="top_right_line">
            <a:extLst>
              <a:ext uri="{FF2B5EF4-FFF2-40B4-BE49-F238E27FC236}">
                <a16:creationId xmlns:a16="http://schemas.microsoft.com/office/drawing/2014/main" id="{733A4AB8-C1C2-9AC8-ECAF-209688BD7E20}"/>
              </a:ext>
            </a:extLst>
          </p:cNvPr>
          <p:cNvCxnSpPr/>
          <p:nvPr userDrawn="1"/>
        </p:nvCxnSpPr>
        <p:spPr>
          <a:xfrm>
            <a:off x="9936607" y="905002"/>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sp>
        <p:nvSpPr>
          <p:cNvPr id="28" name="Footer Placeholder 27">
            <a:extLst>
              <a:ext uri="{FF2B5EF4-FFF2-40B4-BE49-F238E27FC236}">
                <a16:creationId xmlns:a16="http://schemas.microsoft.com/office/drawing/2014/main" id="{8325D9C0-BA77-02C6-E235-6D60A6A438A9}"/>
              </a:ext>
            </a:extLst>
          </p:cNvPr>
          <p:cNvSpPr>
            <a:spLocks noGrp="1"/>
          </p:cNvSpPr>
          <p:nvPr>
            <p:ph type="ftr" sz="quarter" idx="12"/>
          </p:nvPr>
        </p:nvSpPr>
        <p:spPr>
          <a:xfrm>
            <a:off x="9936000" y="5760000"/>
            <a:ext cx="773400" cy="277200"/>
          </a:xfrm>
        </p:spPr>
        <p:txBody>
          <a:bodyPr anchor="ctr"/>
          <a:lstStyle>
            <a:lvl1pPr>
              <a:defRPr sz="900">
                <a:solidFill>
                  <a:srgbClr val="99B1B9"/>
                </a:solidFill>
              </a:defRPr>
            </a:lvl1pPr>
          </a:lstStyle>
          <a:p>
            <a:r>
              <a:rPr lang="de-DE"/>
              <a:t>© 2026</a:t>
            </a:r>
          </a:p>
          <a:p>
            <a:r>
              <a:rPr lang="de-DE"/>
              <a:t>d-fine</a:t>
            </a:r>
          </a:p>
        </p:txBody>
      </p:sp>
      <p:sp>
        <p:nvSpPr>
          <p:cNvPr id="29" name="Text Placeholder 28">
            <a:extLst>
              <a:ext uri="{FF2B5EF4-FFF2-40B4-BE49-F238E27FC236}">
                <a16:creationId xmlns:a16="http://schemas.microsoft.com/office/drawing/2014/main" id="{B85C36D9-DD0B-7BA5-ECF4-7D23120F13E0}"/>
              </a:ext>
            </a:extLst>
          </p:cNvPr>
          <p:cNvSpPr>
            <a:spLocks noGrp="1"/>
          </p:cNvSpPr>
          <p:nvPr>
            <p:ph type="body" sz="quarter" idx="13" hasCustomPrompt="1"/>
          </p:nvPr>
        </p:nvSpPr>
        <p:spPr>
          <a:xfrm>
            <a:off x="207963" y="1066800"/>
            <a:ext cx="9366250" cy="4745038"/>
          </a:xfrm>
          <a:prstGeom prst="rect">
            <a:avLst/>
          </a:prstGeom>
        </p:spPr>
        <p:txBody>
          <a:bodyPr/>
          <a:lstStyle>
            <a:lvl1pPr>
              <a:defRPr sz="2000"/>
            </a:lvl1pPr>
            <a:lvl2pPr marL="374731" indent="-342900">
              <a:buFont typeface="Wingdings" panose="05000000000000000000" pitchFamily="2" charset="2"/>
              <a:buChar char="§"/>
              <a:defRPr sz="1800"/>
            </a:lvl2pPr>
            <a:lvl3pPr marL="406563" indent="-342900">
              <a:buFont typeface="Wingdings" panose="05000000000000000000" pitchFamily="2" charset="2"/>
              <a:buChar char="§"/>
              <a:defRPr sz="1800"/>
            </a:lvl3pPr>
            <a:lvl4pPr marL="438394" indent="-342900">
              <a:buFont typeface="Wingdings" panose="05000000000000000000" pitchFamily="2" charset="2"/>
              <a:buChar char="§"/>
              <a:defRPr sz="1800"/>
            </a:lvl4pPr>
            <a:lvl5pPr marL="470039" indent="-342900">
              <a:buFont typeface="Wingdings" panose="05000000000000000000" pitchFamily="2" charset="2"/>
              <a:buChar char="§"/>
              <a:defRPr sz="1800"/>
            </a:lvl5pPr>
          </a:lstStyle>
          <a:p>
            <a:pPr lvl="1"/>
            <a:r>
              <a:rPr lang="en-US"/>
              <a:t>First level</a:t>
            </a:r>
          </a:p>
        </p:txBody>
      </p:sp>
      <p:cxnSp>
        <p:nvCxnSpPr>
          <p:cNvPr id="69" name="title_seperator_16_9">
            <a:extLst>
              <a:ext uri="{FF2B5EF4-FFF2-40B4-BE49-F238E27FC236}">
                <a16:creationId xmlns:a16="http://schemas.microsoft.com/office/drawing/2014/main" id="{879F3993-BFD6-F372-757F-B8DCC836C064}"/>
              </a:ext>
            </a:extLst>
          </p:cNvPr>
          <p:cNvCxnSpPr/>
          <p:nvPr userDrawn="1"/>
        </p:nvCxnSpPr>
        <p:spPr>
          <a:xfrm>
            <a:off x="9937242" y="1730502"/>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pic>
        <p:nvPicPr>
          <p:cNvPr id="99" name="Graphic 98">
            <a:extLst>
              <a:ext uri="{FF2B5EF4-FFF2-40B4-BE49-F238E27FC236}">
                <a16:creationId xmlns:a16="http://schemas.microsoft.com/office/drawing/2014/main" id="{117155A6-03F1-4FF0-88B1-D1C88701718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2713" y="194333"/>
            <a:ext cx="519225" cy="626831"/>
          </a:xfrm>
          <a:prstGeom prst="rect">
            <a:avLst/>
          </a:prstGeom>
        </p:spPr>
      </p:pic>
      <p:sp>
        <p:nvSpPr>
          <p:cNvPr id="30" name="pres_title_box">
            <a:extLst>
              <a:ext uri="{FF2B5EF4-FFF2-40B4-BE49-F238E27FC236}">
                <a16:creationId xmlns:a16="http://schemas.microsoft.com/office/drawing/2014/main" id="{180547D6-5A39-806E-6F93-FF1FD040A661}"/>
              </a:ext>
            </a:extLst>
          </p:cNvPr>
          <p:cNvSpPr txBox="1"/>
          <p:nvPr userDrawn="1"/>
        </p:nvSpPr>
        <p:spPr>
          <a:xfrm>
            <a:off x="9937241" y="1016000"/>
            <a:ext cx="1089559" cy="508000"/>
          </a:xfrm>
          <a:prstGeom prst="rect">
            <a:avLst/>
          </a:prstGeom>
          <a:noFill/>
        </p:spPr>
        <p:txBody>
          <a:bodyPr vert="horz" wrap="square" lIns="0" tIns="0" rIns="0" bIns="0" rtlCol="0" anchor="t">
            <a:noAutofit/>
          </a:bodyPr>
          <a:lstStyle/>
          <a:p>
            <a:r>
              <a:rPr lang="de-DE" sz="1000">
                <a:solidFill>
                  <a:srgbClr val="99B1B9"/>
                </a:solidFill>
                <a:latin typeface="Roboto" panose="02000000000000000000" pitchFamily="2" charset="0"/>
              </a:rPr>
              <a:t>Stand und Ausblick zur Kommunalen Wärmeplanung (KWP)</a:t>
            </a:r>
          </a:p>
        </p:txBody>
      </p:sp>
      <p:pic>
        <p:nvPicPr>
          <p:cNvPr id="31" name="Picture 30" descr="A logo with text on it&#10;&#10;AI-generated content may be incorrect.">
            <a:extLst>
              <a:ext uri="{FF2B5EF4-FFF2-40B4-BE49-F238E27FC236}">
                <a16:creationId xmlns:a16="http://schemas.microsoft.com/office/drawing/2014/main" id="{D2DE5D81-5698-A80A-C788-170220C6B240}"/>
              </a:ext>
            </a:extLst>
          </p:cNvPr>
          <p:cNvPicPr>
            <a:picLocks noChangeAspect="1"/>
          </p:cNvPicPr>
          <p:nvPr userDrawn="1"/>
        </p:nvPicPr>
        <p:blipFill>
          <a:blip r:embed="rId4" cstate="screen">
            <a:clrChange>
              <a:clrFrom>
                <a:srgbClr val="FFFFFF"/>
              </a:clrFrom>
              <a:clrTo>
                <a:srgbClr val="FFFFFF">
                  <a:alpha val="0"/>
                </a:srgbClr>
              </a:clrTo>
            </a:clrChange>
            <a:alphaModFix/>
            <a:extLst>
              <a:ext uri="{28A0092B-C50C-407E-A947-70E740481C1C}">
                <a14:useLocalDpi xmlns:a14="http://schemas.microsoft.com/office/drawing/2010/main"/>
              </a:ext>
            </a:extLst>
          </a:blip>
          <a:stretch>
            <a:fillRect/>
          </a:stretch>
        </p:blipFill>
        <p:spPr>
          <a:xfrm>
            <a:off x="9933394" y="4764692"/>
            <a:ext cx="1080000" cy="487059"/>
          </a:xfrm>
          <a:prstGeom prst="rect">
            <a:avLst/>
          </a:prstGeom>
        </p:spPr>
      </p:pic>
      <p:grpSp>
        <p:nvGrpSpPr>
          <p:cNvPr id="26" name="Group 25">
            <a:extLst>
              <a:ext uri="{FF2B5EF4-FFF2-40B4-BE49-F238E27FC236}">
                <a16:creationId xmlns:a16="http://schemas.microsoft.com/office/drawing/2014/main" id="{F1CEF6C2-29F8-9A91-1869-9B94B246EC56}"/>
              </a:ext>
            </a:extLst>
          </p:cNvPr>
          <p:cNvGrpSpPr/>
          <p:nvPr userDrawn="1"/>
        </p:nvGrpSpPr>
        <p:grpSpPr>
          <a:xfrm>
            <a:off x="9931177" y="1937004"/>
            <a:ext cx="1080504" cy="276292"/>
            <a:chOff x="9946297" y="1937004"/>
            <a:chExt cx="1080504" cy="276292"/>
          </a:xfrm>
        </p:grpSpPr>
        <p:sp>
          <p:nvSpPr>
            <p:cNvPr id="32" name="Rectangle 31">
              <a:extLst>
                <a:ext uri="{FF2B5EF4-FFF2-40B4-BE49-F238E27FC236}">
                  <a16:creationId xmlns:a16="http://schemas.microsoft.com/office/drawing/2014/main" id="{B6EB4E69-7719-D0D0-346C-7BE25FFC5856}"/>
                </a:ext>
              </a:extLst>
            </p:cNvPr>
            <p:cNvSpPr/>
            <p:nvPr/>
          </p:nvSpPr>
          <p:spPr bwMode="gray">
            <a:xfrm>
              <a:off x="9946297" y="1937004"/>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33" name="Rectangle 32">
              <a:extLst>
                <a:ext uri="{FF2B5EF4-FFF2-40B4-BE49-F238E27FC236}">
                  <a16:creationId xmlns:a16="http://schemas.microsoft.com/office/drawing/2014/main" id="{9447CE70-B9CD-C188-848E-1B37D7F92D3E}"/>
                </a:ext>
              </a:extLst>
            </p:cNvPr>
            <p:cNvSpPr/>
            <p:nvPr/>
          </p:nvSpPr>
          <p:spPr bwMode="gray">
            <a:xfrm>
              <a:off x="10064456" y="1937004"/>
              <a:ext cx="962345"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lvl="0"/>
              <a:r>
                <a:rPr lang="de-DE" sz="900">
                  <a:solidFill>
                    <a:schemeClr val="accent6"/>
                  </a:solidFill>
                  <a:latin typeface="Roboto" panose="02000000000000000000" pitchFamily="2" charset="0"/>
                </a:rPr>
                <a:t>Über uns</a:t>
              </a:r>
            </a:p>
          </p:txBody>
        </p:sp>
      </p:grpSp>
      <p:grpSp>
        <p:nvGrpSpPr>
          <p:cNvPr id="34" name="Group 33">
            <a:extLst>
              <a:ext uri="{FF2B5EF4-FFF2-40B4-BE49-F238E27FC236}">
                <a16:creationId xmlns:a16="http://schemas.microsoft.com/office/drawing/2014/main" id="{DCB0859C-4830-EB56-513B-60EF2D80BF18}"/>
              </a:ext>
            </a:extLst>
          </p:cNvPr>
          <p:cNvGrpSpPr/>
          <p:nvPr userDrawn="1"/>
        </p:nvGrpSpPr>
        <p:grpSpPr>
          <a:xfrm>
            <a:off x="9931177" y="2617079"/>
            <a:ext cx="1114790" cy="276293"/>
            <a:chOff x="9946297" y="2260358"/>
            <a:chExt cx="1114790" cy="276293"/>
          </a:xfrm>
        </p:grpSpPr>
        <p:sp>
          <p:nvSpPr>
            <p:cNvPr id="45" name="Rectangle 44">
              <a:extLst>
                <a:ext uri="{FF2B5EF4-FFF2-40B4-BE49-F238E27FC236}">
                  <a16:creationId xmlns:a16="http://schemas.microsoft.com/office/drawing/2014/main" id="{4EEF95CA-D1C6-084D-0B9B-57ECD259CAFB}"/>
                </a:ext>
              </a:extLst>
            </p:cNvPr>
            <p:cNvSpPr/>
            <p:nvPr/>
          </p:nvSpPr>
          <p:spPr bwMode="gray">
            <a:xfrm>
              <a:off x="9946297" y="2260359"/>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46" name="Rectangle 45">
              <a:extLst>
                <a:ext uri="{FF2B5EF4-FFF2-40B4-BE49-F238E27FC236}">
                  <a16:creationId xmlns:a16="http://schemas.microsoft.com/office/drawing/2014/main" id="{B13DB3A1-5BC5-041D-3FEA-FD052A28CAC4}"/>
                </a:ext>
              </a:extLst>
            </p:cNvPr>
            <p:cNvSpPr/>
            <p:nvPr/>
          </p:nvSpPr>
          <p:spPr bwMode="gray">
            <a:xfrm>
              <a:off x="10064456" y="2260358"/>
              <a:ext cx="996631"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Aktueller politischer Rahmen</a:t>
              </a:r>
            </a:p>
          </p:txBody>
        </p:sp>
      </p:grpSp>
      <p:grpSp>
        <p:nvGrpSpPr>
          <p:cNvPr id="50" name="Group 49">
            <a:extLst>
              <a:ext uri="{FF2B5EF4-FFF2-40B4-BE49-F238E27FC236}">
                <a16:creationId xmlns:a16="http://schemas.microsoft.com/office/drawing/2014/main" id="{A6EF2DEB-57AC-0ABC-635E-B99279F4C1C5}"/>
              </a:ext>
            </a:extLst>
          </p:cNvPr>
          <p:cNvGrpSpPr/>
          <p:nvPr userDrawn="1"/>
        </p:nvGrpSpPr>
        <p:grpSpPr>
          <a:xfrm>
            <a:off x="9931177" y="3294945"/>
            <a:ext cx="1080504" cy="276293"/>
            <a:chOff x="9946297" y="2583712"/>
            <a:chExt cx="1080504" cy="276293"/>
          </a:xfrm>
        </p:grpSpPr>
        <p:sp>
          <p:nvSpPr>
            <p:cNvPr id="51" name="Rectangle 50">
              <a:extLst>
                <a:ext uri="{FF2B5EF4-FFF2-40B4-BE49-F238E27FC236}">
                  <a16:creationId xmlns:a16="http://schemas.microsoft.com/office/drawing/2014/main" id="{EFBF85C7-6C32-CF61-82CF-4F78478C8BB4}"/>
                </a:ext>
              </a:extLst>
            </p:cNvPr>
            <p:cNvSpPr/>
            <p:nvPr/>
          </p:nvSpPr>
          <p:spPr bwMode="gray">
            <a:xfrm>
              <a:off x="9946297" y="2583713"/>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52" name="Rectangle 51">
              <a:extLst>
                <a:ext uri="{FF2B5EF4-FFF2-40B4-BE49-F238E27FC236}">
                  <a16:creationId xmlns:a16="http://schemas.microsoft.com/office/drawing/2014/main" id="{B679B3A6-CE2C-2CF9-4E66-14EEDBF9EA17}"/>
                </a:ext>
              </a:extLst>
            </p:cNvPr>
            <p:cNvSpPr/>
            <p:nvPr/>
          </p:nvSpPr>
          <p:spPr bwMode="gray">
            <a:xfrm>
              <a:off x="10064456" y="2583712"/>
              <a:ext cx="962345"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Zielszenario</a:t>
              </a:r>
            </a:p>
          </p:txBody>
        </p:sp>
      </p:grpSp>
      <p:grpSp>
        <p:nvGrpSpPr>
          <p:cNvPr id="53" name="Group 52">
            <a:extLst>
              <a:ext uri="{FF2B5EF4-FFF2-40B4-BE49-F238E27FC236}">
                <a16:creationId xmlns:a16="http://schemas.microsoft.com/office/drawing/2014/main" id="{C56F3C1F-DFCD-4F09-42F6-AAD475A8509C}"/>
              </a:ext>
            </a:extLst>
          </p:cNvPr>
          <p:cNvGrpSpPr/>
          <p:nvPr userDrawn="1"/>
        </p:nvGrpSpPr>
        <p:grpSpPr>
          <a:xfrm>
            <a:off x="9931177" y="3637252"/>
            <a:ext cx="1239797" cy="276293"/>
            <a:chOff x="9946297" y="2907066"/>
            <a:chExt cx="1080504" cy="276293"/>
          </a:xfrm>
        </p:grpSpPr>
        <p:sp>
          <p:nvSpPr>
            <p:cNvPr id="54" name="Rectangle 53">
              <a:extLst>
                <a:ext uri="{FF2B5EF4-FFF2-40B4-BE49-F238E27FC236}">
                  <a16:creationId xmlns:a16="http://schemas.microsoft.com/office/drawing/2014/main" id="{0E1133D9-0CFF-B53D-4D01-C93A0E74EF92}"/>
                </a:ext>
              </a:extLst>
            </p:cNvPr>
            <p:cNvSpPr/>
            <p:nvPr/>
          </p:nvSpPr>
          <p:spPr bwMode="gray">
            <a:xfrm>
              <a:off x="9946297" y="2907067"/>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55" name="Rectangle 54">
              <a:extLst>
                <a:ext uri="{FF2B5EF4-FFF2-40B4-BE49-F238E27FC236}">
                  <a16:creationId xmlns:a16="http://schemas.microsoft.com/office/drawing/2014/main" id="{46992805-3C33-AB16-64AA-7644409CAEB3}"/>
                </a:ext>
              </a:extLst>
            </p:cNvPr>
            <p:cNvSpPr/>
            <p:nvPr/>
          </p:nvSpPr>
          <p:spPr bwMode="gray">
            <a:xfrm>
              <a:off x="10064456" y="2907066"/>
              <a:ext cx="962345"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Zusammenfassung und Ausblick</a:t>
              </a:r>
            </a:p>
          </p:txBody>
        </p:sp>
      </p:grpSp>
      <p:grpSp>
        <p:nvGrpSpPr>
          <p:cNvPr id="56" name="Group 55">
            <a:extLst>
              <a:ext uri="{FF2B5EF4-FFF2-40B4-BE49-F238E27FC236}">
                <a16:creationId xmlns:a16="http://schemas.microsoft.com/office/drawing/2014/main" id="{D0570496-221A-6464-F49F-2D293CFCF7A0}"/>
              </a:ext>
            </a:extLst>
          </p:cNvPr>
          <p:cNvGrpSpPr/>
          <p:nvPr userDrawn="1"/>
        </p:nvGrpSpPr>
        <p:grpSpPr>
          <a:xfrm>
            <a:off x="9931177" y="2274772"/>
            <a:ext cx="1114790" cy="276293"/>
            <a:chOff x="9946297" y="2260358"/>
            <a:chExt cx="1114790" cy="276293"/>
          </a:xfrm>
        </p:grpSpPr>
        <p:sp>
          <p:nvSpPr>
            <p:cNvPr id="60" name="Rectangle 59">
              <a:extLst>
                <a:ext uri="{FF2B5EF4-FFF2-40B4-BE49-F238E27FC236}">
                  <a16:creationId xmlns:a16="http://schemas.microsoft.com/office/drawing/2014/main" id="{11DED7DA-5080-33D4-DCD9-2F95769E940B}"/>
                </a:ext>
              </a:extLst>
            </p:cNvPr>
            <p:cNvSpPr/>
            <p:nvPr/>
          </p:nvSpPr>
          <p:spPr bwMode="gray">
            <a:xfrm>
              <a:off x="9946297" y="2260359"/>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64" name="Rectangle 63">
              <a:extLst>
                <a:ext uri="{FF2B5EF4-FFF2-40B4-BE49-F238E27FC236}">
                  <a16:creationId xmlns:a16="http://schemas.microsoft.com/office/drawing/2014/main" id="{9E59824A-A890-0DD5-FFE9-16993EC01FAF}"/>
                </a:ext>
              </a:extLst>
            </p:cNvPr>
            <p:cNvSpPr/>
            <p:nvPr/>
          </p:nvSpPr>
          <p:spPr bwMode="gray">
            <a:xfrm>
              <a:off x="10064456" y="2260358"/>
              <a:ext cx="996631"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Hintergrund der KWP</a:t>
              </a:r>
            </a:p>
          </p:txBody>
        </p:sp>
      </p:grpSp>
      <p:grpSp>
        <p:nvGrpSpPr>
          <p:cNvPr id="65" name="Group 64">
            <a:extLst>
              <a:ext uri="{FF2B5EF4-FFF2-40B4-BE49-F238E27FC236}">
                <a16:creationId xmlns:a16="http://schemas.microsoft.com/office/drawing/2014/main" id="{F4E76C7A-9DCD-9293-1C8E-DA3FB9C61FDD}"/>
              </a:ext>
            </a:extLst>
          </p:cNvPr>
          <p:cNvGrpSpPr/>
          <p:nvPr userDrawn="1"/>
        </p:nvGrpSpPr>
        <p:grpSpPr>
          <a:xfrm>
            <a:off x="9931177" y="2952637"/>
            <a:ext cx="1114790" cy="276293"/>
            <a:chOff x="9946297" y="2260358"/>
            <a:chExt cx="1114790" cy="276293"/>
          </a:xfrm>
        </p:grpSpPr>
        <p:sp>
          <p:nvSpPr>
            <p:cNvPr id="92" name="Rectangle 91">
              <a:extLst>
                <a:ext uri="{FF2B5EF4-FFF2-40B4-BE49-F238E27FC236}">
                  <a16:creationId xmlns:a16="http://schemas.microsoft.com/office/drawing/2014/main" id="{B05CF190-0AA9-4CD9-A0CA-14E101E441B2}"/>
                </a:ext>
              </a:extLst>
            </p:cNvPr>
            <p:cNvSpPr/>
            <p:nvPr/>
          </p:nvSpPr>
          <p:spPr bwMode="gray">
            <a:xfrm>
              <a:off x="9946297" y="2260359"/>
              <a:ext cx="36000" cy="27629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93" name="Rectangle 92">
              <a:extLst>
                <a:ext uri="{FF2B5EF4-FFF2-40B4-BE49-F238E27FC236}">
                  <a16:creationId xmlns:a16="http://schemas.microsoft.com/office/drawing/2014/main" id="{3E674CE6-65A7-BF9F-5457-9D7AB30D365B}"/>
                </a:ext>
              </a:extLst>
            </p:cNvPr>
            <p:cNvSpPr/>
            <p:nvPr/>
          </p:nvSpPr>
          <p:spPr bwMode="gray">
            <a:xfrm>
              <a:off x="10064456" y="2260358"/>
              <a:ext cx="996631"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tx1"/>
                  </a:solidFill>
                  <a:latin typeface="Roboto" panose="02000000000000000000" pitchFamily="2" charset="0"/>
                </a:rPr>
                <a:t>Bestands- und Potenzialanalyse</a:t>
              </a:r>
            </a:p>
          </p:txBody>
        </p:sp>
      </p:grpSp>
    </p:spTree>
    <p:extLst>
      <p:ext uri="{BB962C8B-B14F-4D97-AF65-F5344CB8AC3E}">
        <p14:creationId xmlns:p14="http://schemas.microsoft.com/office/powerpoint/2010/main" val="355234885"/>
      </p:ext>
    </p:extLst>
  </p:cSld>
  <p:clrMapOvr>
    <a:masterClrMapping/>
  </p:clrMapOvr>
  <p:hf hdr="0" dt="0"/>
  <p:extLst>
    <p:ext uri="{DCECCB84-F9BA-43D5-87BE-67443E8EF086}">
      <p15:sldGuideLst xmlns:p15="http://schemas.microsoft.com/office/powerpoint/2012/main">
        <p15:guide id="2" pos="214">
          <p15:clr>
            <a:srgbClr val="A4A3A4"/>
          </p15:clr>
        </p15:guide>
        <p15:guide id="3" pos="7728">
          <p15:clr>
            <a:srgbClr val="A4A3A4"/>
          </p15:clr>
        </p15:guide>
        <p15:guide id="4" orient="horz" pos="672">
          <p15:clr>
            <a:srgbClr val="A4A3A4"/>
          </p15:clr>
        </p15:guide>
        <p15:guide id="5" orient="horz" pos="933">
          <p15:clr>
            <a:srgbClr val="A4A3A4"/>
          </p15:clr>
        </p15:guide>
        <p15:guide id="6" orient="horz" pos="3053">
          <p15:clr>
            <a:srgbClr val="A4A3A4"/>
          </p15:clr>
        </p15:guide>
        <p15:guide id="7" orient="horz" pos="3334">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Fazit">
    <p:spTree>
      <p:nvGrpSpPr>
        <p:cNvPr id="1" name=""/>
        <p:cNvGrpSpPr/>
        <p:nvPr/>
      </p:nvGrpSpPr>
      <p:grpSpPr>
        <a:xfrm>
          <a:off x="0" y="0"/>
          <a:ext cx="0" cy="0"/>
          <a:chOff x="0" y="0"/>
          <a:chExt cx="0" cy="0"/>
        </a:xfrm>
      </p:grpSpPr>
      <p:cxnSp>
        <p:nvCxnSpPr>
          <p:cNvPr id="10" name="top_line"/>
          <p:cNvCxnSpPr/>
          <p:nvPr userDrawn="1"/>
        </p:nvCxnSpPr>
        <p:spPr bwMode="gray">
          <a:xfrm>
            <a:off x="208026" y="905002"/>
            <a:ext cx="9372600"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cxnSp>
        <p:nvCxnSpPr>
          <p:cNvPr id="13" name="bottom_line"/>
          <p:cNvCxnSpPr/>
          <p:nvPr userDrawn="1"/>
        </p:nvCxnSpPr>
        <p:spPr bwMode="gray">
          <a:xfrm>
            <a:off x="208026" y="6079109"/>
            <a:ext cx="9372600"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grpSp>
        <p:nvGrpSpPr>
          <p:cNvPr id="16" name="CA_marker_top_left"/>
          <p:cNvGrpSpPr/>
          <p:nvPr userDrawn="1"/>
        </p:nvGrpSpPr>
        <p:grpSpPr bwMode="gray">
          <a:xfrm>
            <a:off x="208800" y="-356400"/>
            <a:ext cx="964800" cy="262800"/>
            <a:chOff x="266700" y="-387424"/>
            <a:chExt cx="812096" cy="288032"/>
          </a:xfrm>
        </p:grpSpPr>
        <p:cxnSp>
          <p:nvCxnSpPr>
            <p:cNvPr id="5" name="Straight Connector 4"/>
            <p:cNvCxnSpPr/>
            <p:nvPr userDrawn="1"/>
          </p:nvCxnSpPr>
          <p:spPr bwMode="gray">
            <a:xfrm flipH="1" flipV="1">
              <a:off x="266700"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bwMode="gray">
            <a:xfrm>
              <a:off x="526604" y="-320401"/>
              <a:ext cx="552192"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21" name="CA_marker_bottom_left"/>
          <p:cNvGrpSpPr/>
          <p:nvPr userDrawn="1"/>
        </p:nvGrpSpPr>
        <p:grpSpPr bwMode="gray">
          <a:xfrm>
            <a:off x="208800" y="6379200"/>
            <a:ext cx="964800" cy="262800"/>
            <a:chOff x="266699" y="-387424"/>
            <a:chExt cx="812100" cy="288032"/>
          </a:xfrm>
        </p:grpSpPr>
        <p:cxnSp>
          <p:nvCxnSpPr>
            <p:cNvPr id="22" name="Straight Connector 21"/>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bwMode="gray">
            <a:xfrm>
              <a:off x="526604" y="-320401"/>
              <a:ext cx="552195"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37" name="CA_marker_top_right"/>
          <p:cNvGrpSpPr/>
          <p:nvPr userDrawn="1"/>
        </p:nvGrpSpPr>
        <p:grpSpPr bwMode="gray">
          <a:xfrm flipH="1">
            <a:off x="8614800" y="-356400"/>
            <a:ext cx="964800" cy="262800"/>
            <a:chOff x="266699" y="-387424"/>
            <a:chExt cx="1029346" cy="288032"/>
          </a:xfrm>
        </p:grpSpPr>
        <p:cxnSp>
          <p:nvCxnSpPr>
            <p:cNvPr id="38" name="Straight Connector 37"/>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userDrawn="1"/>
          </p:nvSpPr>
          <p:spPr bwMode="gray">
            <a:xfrm>
              <a:off x="679293" y="-320395"/>
              <a:ext cx="616752"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41" name="CA_marker_bottom_right"/>
          <p:cNvGrpSpPr/>
          <p:nvPr userDrawn="1"/>
        </p:nvGrpSpPr>
        <p:grpSpPr bwMode="gray">
          <a:xfrm flipH="1">
            <a:off x="8614800" y="6379200"/>
            <a:ext cx="964800" cy="262800"/>
            <a:chOff x="266699" y="-387424"/>
            <a:chExt cx="1029346" cy="288032"/>
          </a:xfrm>
        </p:grpSpPr>
        <p:cxnSp>
          <p:nvCxnSpPr>
            <p:cNvPr id="42" name="Straight Connector 41"/>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userDrawn="1"/>
          </p:nvSpPr>
          <p:spPr bwMode="gray">
            <a:xfrm>
              <a:off x="679293" y="-320395"/>
              <a:ext cx="616752"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7" name="CA_marker_left_bottom_NTHM"/>
          <p:cNvGrpSpPr/>
          <p:nvPr userDrawn="1"/>
        </p:nvGrpSpPr>
        <p:grpSpPr bwMode="gray">
          <a:xfrm>
            <a:off x="-475200" y="4615200"/>
            <a:ext cx="324000" cy="1400400"/>
            <a:chOff x="-420221" y="4770550"/>
            <a:chExt cx="288032" cy="1528650"/>
          </a:xfrm>
        </p:grpSpPr>
        <p:cxnSp>
          <p:nvCxnSpPr>
            <p:cNvPr id="47" name="Straight Connector 46"/>
            <p:cNvCxnSpPr/>
            <p:nvPr userDrawn="1"/>
          </p:nvCxnSpPr>
          <p:spPr bwMode="gray">
            <a:xfrm rot="5400000" flipH="1" flipV="1">
              <a:off x="-276206" y="61551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userDrawn="1"/>
          </p:nvCxnSpPr>
          <p:spPr bwMode="gray">
            <a:xfrm rot="16200000" flipH="1" flipV="1">
              <a:off x="-387108" y="6188296"/>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p:cNvSpPr txBox="1"/>
            <p:nvPr userDrawn="1"/>
          </p:nvSpPr>
          <p:spPr bwMode="gray">
            <a:xfrm>
              <a:off x="-364310" y="4770550"/>
              <a:ext cx="176211" cy="1297385"/>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THM</a:t>
              </a:r>
              <a:endParaRPr lang="de-DE" sz="900">
                <a:solidFill>
                  <a:schemeClr val="accent6"/>
                </a:solidFill>
              </a:endParaRPr>
            </a:p>
          </p:txBody>
        </p:sp>
      </p:grpSp>
      <p:grpSp>
        <p:nvGrpSpPr>
          <p:cNvPr id="4" name="CA_marker_left_top_ST"/>
          <p:cNvGrpSpPr/>
          <p:nvPr userDrawn="1"/>
        </p:nvGrpSpPr>
        <p:grpSpPr bwMode="gray">
          <a:xfrm>
            <a:off x="-752400" y="1436401"/>
            <a:ext cx="324000" cy="1724400"/>
            <a:chOff x="-667814" y="1764387"/>
            <a:chExt cx="288032" cy="1880637"/>
          </a:xfrm>
        </p:grpSpPr>
        <p:cxnSp>
          <p:nvCxnSpPr>
            <p:cNvPr id="57" name="Straight Connector 56"/>
            <p:cNvCxnSpPr/>
            <p:nvPr userDrawn="1"/>
          </p:nvCxnSpPr>
          <p:spPr bwMode="gray">
            <a:xfrm rot="5400000" flipH="1" flipV="1">
              <a:off x="-523799" y="1624077"/>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userDrawn="1"/>
          </p:nvCxnSpPr>
          <p:spPr bwMode="gray">
            <a:xfrm rot="5400000" flipH="1">
              <a:off x="-634701" y="187528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userDrawn="1"/>
          </p:nvSpPr>
          <p:spPr bwMode="gray">
            <a:xfrm>
              <a:off x="-611904" y="2051178"/>
              <a:ext cx="176211" cy="1593846"/>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subtitle</a:t>
              </a:r>
              <a:endParaRPr lang="de-DE" sz="900">
                <a:solidFill>
                  <a:schemeClr val="accent6"/>
                </a:solidFill>
              </a:endParaRPr>
            </a:p>
          </p:txBody>
        </p:sp>
      </p:grpSp>
      <p:grpSp>
        <p:nvGrpSpPr>
          <p:cNvPr id="6" name="CA_marker_left_bottom_THM"/>
          <p:cNvGrpSpPr/>
          <p:nvPr userDrawn="1"/>
        </p:nvGrpSpPr>
        <p:grpSpPr bwMode="gray">
          <a:xfrm>
            <a:off x="-752400" y="4057200"/>
            <a:ext cx="324000" cy="1494000"/>
            <a:chOff x="-667814" y="4138377"/>
            <a:chExt cx="288032" cy="1629264"/>
          </a:xfrm>
        </p:grpSpPr>
        <p:cxnSp>
          <p:nvCxnSpPr>
            <p:cNvPr id="61" name="Straight Connector 60"/>
            <p:cNvCxnSpPr/>
            <p:nvPr userDrawn="1"/>
          </p:nvCxnSpPr>
          <p:spPr bwMode="gray">
            <a:xfrm rot="5400000" flipH="1" flipV="1">
              <a:off x="-523799" y="5623625"/>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userDrawn="1"/>
          </p:nvCxnSpPr>
          <p:spPr bwMode="gray">
            <a:xfrm rot="16200000" flipH="1" flipV="1">
              <a:off x="-634701" y="5656737"/>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userDrawn="1"/>
          </p:nvSpPr>
          <p:spPr bwMode="gray">
            <a:xfrm>
              <a:off x="-611903" y="4138377"/>
              <a:ext cx="176211" cy="1398000"/>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THM</a:t>
              </a:r>
              <a:endParaRPr lang="de-DE" sz="900">
                <a:solidFill>
                  <a:schemeClr val="accent6"/>
                </a:solidFill>
              </a:endParaRPr>
            </a:p>
          </p:txBody>
        </p:sp>
      </p:grpSp>
      <p:grpSp>
        <p:nvGrpSpPr>
          <p:cNvPr id="15" name="CA_marker_right_top_NST"/>
          <p:cNvGrpSpPr/>
          <p:nvPr userDrawn="1"/>
        </p:nvGrpSpPr>
        <p:grpSpPr bwMode="gray">
          <a:xfrm>
            <a:off x="11325599" y="990000"/>
            <a:ext cx="324000" cy="1605600"/>
            <a:chOff x="10038191" y="1270000"/>
            <a:chExt cx="288032" cy="1752599"/>
          </a:xfrm>
        </p:grpSpPr>
        <p:cxnSp>
          <p:nvCxnSpPr>
            <p:cNvPr id="79" name="Straight Connector 78"/>
            <p:cNvCxnSpPr/>
            <p:nvPr userDrawn="1"/>
          </p:nvCxnSpPr>
          <p:spPr bwMode="gray">
            <a:xfrm rot="16200000" flipV="1">
              <a:off x="10182206" y="1129690"/>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userDrawn="1"/>
          </p:nvCxnSpPr>
          <p:spPr bwMode="gray">
            <a:xfrm rot="16200000">
              <a:off x="10071305" y="1380901"/>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p:cNvSpPr txBox="1"/>
            <p:nvPr userDrawn="1"/>
          </p:nvSpPr>
          <p:spPr bwMode="gray">
            <a:xfrm flipH="1">
              <a:off x="10094101" y="1556791"/>
              <a:ext cx="176211" cy="1465808"/>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subtitle</a:t>
              </a:r>
              <a:endParaRPr lang="de-DE" sz="900">
                <a:solidFill>
                  <a:schemeClr val="accent6"/>
                </a:solidFill>
              </a:endParaRPr>
            </a:p>
          </p:txBody>
        </p:sp>
      </p:grpSp>
      <p:grpSp>
        <p:nvGrpSpPr>
          <p:cNvPr id="9" name="CA_marker_right_bottom_NTHM"/>
          <p:cNvGrpSpPr/>
          <p:nvPr userDrawn="1"/>
        </p:nvGrpSpPr>
        <p:grpSpPr bwMode="gray">
          <a:xfrm>
            <a:off x="11325599" y="4615200"/>
            <a:ext cx="324000" cy="1400400"/>
            <a:chOff x="10038191" y="4770550"/>
            <a:chExt cx="288032" cy="1528650"/>
          </a:xfrm>
        </p:grpSpPr>
        <p:cxnSp>
          <p:nvCxnSpPr>
            <p:cNvPr id="76" name="Straight Connector 75"/>
            <p:cNvCxnSpPr/>
            <p:nvPr userDrawn="1"/>
          </p:nvCxnSpPr>
          <p:spPr bwMode="gray">
            <a:xfrm rot="16200000" flipV="1">
              <a:off x="10182206" y="61551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userDrawn="1"/>
          </p:nvCxnSpPr>
          <p:spPr bwMode="gray">
            <a:xfrm rot="5400000" flipV="1">
              <a:off x="10071305" y="6188296"/>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userDrawn="1"/>
          </p:nvSpPr>
          <p:spPr bwMode="gray">
            <a:xfrm flipH="1">
              <a:off x="10094100" y="4770550"/>
              <a:ext cx="176211" cy="1297385"/>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THM</a:t>
              </a:r>
              <a:endParaRPr lang="de-DE" sz="900">
                <a:solidFill>
                  <a:schemeClr val="accent6"/>
                </a:solidFill>
              </a:endParaRPr>
            </a:p>
          </p:txBody>
        </p:sp>
      </p:grpSp>
      <p:grpSp>
        <p:nvGrpSpPr>
          <p:cNvPr id="14" name="CA_marker_right_top_ST"/>
          <p:cNvGrpSpPr/>
          <p:nvPr userDrawn="1"/>
        </p:nvGrpSpPr>
        <p:grpSpPr bwMode="gray">
          <a:xfrm>
            <a:off x="11606400" y="1436401"/>
            <a:ext cx="324000" cy="1724400"/>
            <a:chOff x="10285784" y="1764387"/>
            <a:chExt cx="288032" cy="1880637"/>
          </a:xfrm>
        </p:grpSpPr>
        <p:cxnSp>
          <p:nvCxnSpPr>
            <p:cNvPr id="73" name="Straight Connector 72"/>
            <p:cNvCxnSpPr/>
            <p:nvPr userDrawn="1"/>
          </p:nvCxnSpPr>
          <p:spPr bwMode="gray">
            <a:xfrm rot="16200000" flipV="1">
              <a:off x="10429799" y="1624077"/>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userDrawn="1"/>
          </p:nvCxnSpPr>
          <p:spPr bwMode="gray">
            <a:xfrm rot="16200000">
              <a:off x="10318898" y="187528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p:cNvSpPr txBox="1"/>
            <p:nvPr userDrawn="1"/>
          </p:nvSpPr>
          <p:spPr bwMode="gray">
            <a:xfrm flipH="1">
              <a:off x="10341694" y="2051178"/>
              <a:ext cx="176211" cy="1593846"/>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subtitle</a:t>
              </a:r>
              <a:endParaRPr lang="de-DE" sz="900">
                <a:solidFill>
                  <a:schemeClr val="accent6"/>
                </a:solidFill>
              </a:endParaRPr>
            </a:p>
          </p:txBody>
        </p:sp>
      </p:grpSp>
      <p:grpSp>
        <p:nvGrpSpPr>
          <p:cNvPr id="8" name="CA_marker_right_bottom_THM"/>
          <p:cNvGrpSpPr/>
          <p:nvPr userDrawn="1"/>
        </p:nvGrpSpPr>
        <p:grpSpPr bwMode="gray">
          <a:xfrm>
            <a:off x="11606400" y="4057200"/>
            <a:ext cx="324000" cy="1494000"/>
            <a:chOff x="10285784" y="4138377"/>
            <a:chExt cx="288032" cy="1629264"/>
          </a:xfrm>
        </p:grpSpPr>
        <p:cxnSp>
          <p:nvCxnSpPr>
            <p:cNvPr id="70" name="Straight Connector 69"/>
            <p:cNvCxnSpPr/>
            <p:nvPr userDrawn="1"/>
          </p:nvCxnSpPr>
          <p:spPr bwMode="gray">
            <a:xfrm rot="16200000" flipV="1">
              <a:off x="10429799" y="5623625"/>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userDrawn="1"/>
          </p:nvCxnSpPr>
          <p:spPr bwMode="gray">
            <a:xfrm rot="5400000" flipV="1">
              <a:off x="10318898" y="5656737"/>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userDrawn="1"/>
          </p:nvSpPr>
          <p:spPr bwMode="gray">
            <a:xfrm flipH="1">
              <a:off x="10341693" y="4138377"/>
              <a:ext cx="176211" cy="1398000"/>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THM</a:t>
              </a:r>
              <a:endParaRPr lang="de-DE" sz="900">
                <a:solidFill>
                  <a:schemeClr val="accent6"/>
                </a:solidFill>
              </a:endParaRPr>
            </a:p>
          </p:txBody>
        </p:sp>
      </p:grpSp>
      <p:grpSp>
        <p:nvGrpSpPr>
          <p:cNvPr id="3" name="CA_marker_left_top_NST"/>
          <p:cNvGrpSpPr/>
          <p:nvPr userDrawn="1"/>
        </p:nvGrpSpPr>
        <p:grpSpPr bwMode="gray">
          <a:xfrm>
            <a:off x="-475200" y="990000"/>
            <a:ext cx="324000" cy="1605600"/>
            <a:chOff x="-420221" y="1269999"/>
            <a:chExt cx="288032" cy="1752600"/>
          </a:xfrm>
        </p:grpSpPr>
        <p:cxnSp>
          <p:nvCxnSpPr>
            <p:cNvPr id="35" name="Straight Arrow Connector 34"/>
            <p:cNvCxnSpPr/>
            <p:nvPr userDrawn="1"/>
          </p:nvCxnSpPr>
          <p:spPr bwMode="gray">
            <a:xfrm rot="5400000" flipH="1">
              <a:off x="-387108" y="1380901"/>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userDrawn="1"/>
          </p:nvSpPr>
          <p:spPr bwMode="gray">
            <a:xfrm>
              <a:off x="-364311" y="1556791"/>
              <a:ext cx="176211" cy="1465808"/>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subtitle</a:t>
              </a:r>
              <a:endParaRPr lang="de-DE" sz="900">
                <a:solidFill>
                  <a:schemeClr val="accent6"/>
                </a:solidFill>
              </a:endParaRPr>
            </a:p>
          </p:txBody>
        </p:sp>
        <p:cxnSp>
          <p:nvCxnSpPr>
            <p:cNvPr id="87" name="Straight Connector 86"/>
            <p:cNvCxnSpPr/>
            <p:nvPr userDrawn="1"/>
          </p:nvCxnSpPr>
          <p:spPr bwMode="gray">
            <a:xfrm rot="5400000" flipH="1" flipV="1">
              <a:off x="-276206" y="11259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0" name="Slide Number Placeholder 19"/>
          <p:cNvSpPr>
            <a:spLocks noGrp="1"/>
          </p:cNvSpPr>
          <p:nvPr>
            <p:ph type="sldNum" sz="quarter" idx="11"/>
          </p:nvPr>
        </p:nvSpPr>
        <p:spPr>
          <a:xfrm>
            <a:off x="10328401" y="5760000"/>
            <a:ext cx="698400" cy="280800"/>
          </a:xfrm>
        </p:spPr>
        <p:txBody>
          <a:bodyPr anchor="ctr"/>
          <a:lstStyle>
            <a:lvl1pPr>
              <a:defRPr sz="900">
                <a:solidFill>
                  <a:srgbClr val="99B1B9"/>
                </a:solidFill>
              </a:defRPr>
            </a:lvl1pPr>
          </a:lstStyle>
          <a:p>
            <a:endParaRPr lang="de-DE"/>
          </a:p>
          <a:p>
            <a:fld id="{24C420F5-194C-40F2-A080-C5F3EDD89037}" type="slidenum">
              <a:rPr lang="de-DE" smtClean="0"/>
              <a:pPr/>
              <a:t>‹Nr.›</a:t>
            </a:fld>
            <a:endParaRPr lang="de-DE"/>
          </a:p>
        </p:txBody>
      </p:sp>
      <p:sp>
        <p:nvSpPr>
          <p:cNvPr id="88" name="header_box">
            <a:extLst>
              <a:ext uri="{FF2B5EF4-FFF2-40B4-BE49-F238E27FC236}">
                <a16:creationId xmlns:a16="http://schemas.microsoft.com/office/drawing/2014/main" id="{D550724F-2D95-4804-A0F3-9F15622FD50E}"/>
              </a:ext>
            </a:extLst>
          </p:cNvPr>
          <p:cNvSpPr>
            <a:spLocks noGrp="1"/>
          </p:cNvSpPr>
          <p:nvPr>
            <p:ph type="title"/>
          </p:nvPr>
        </p:nvSpPr>
        <p:spPr>
          <a:xfrm>
            <a:off x="208026" y="136779"/>
            <a:ext cx="9375521" cy="676910"/>
          </a:xfrm>
          <a:prstGeom prst="rect">
            <a:avLst/>
          </a:prstGeom>
        </p:spPr>
        <p:txBody>
          <a:bodyPr lIns="0" tIns="0" rIns="0" bIns="0" anchor="b"/>
          <a:lstStyle>
            <a:lvl1pPr>
              <a:defRPr sz="2000"/>
            </a:lvl1pPr>
          </a:lstStyle>
          <a:p>
            <a:r>
              <a:rPr lang="en-US"/>
              <a:t>Click to edit Master title style</a:t>
            </a:r>
          </a:p>
        </p:txBody>
      </p:sp>
      <p:sp>
        <p:nvSpPr>
          <p:cNvPr id="2" name="gray_info_panel">
            <a:extLst>
              <a:ext uri="{FF2B5EF4-FFF2-40B4-BE49-F238E27FC236}">
                <a16:creationId xmlns:a16="http://schemas.microsoft.com/office/drawing/2014/main" id="{0E2FF4A5-DE1F-9567-3D53-BA9C8C9B6952}"/>
              </a:ext>
            </a:extLst>
          </p:cNvPr>
          <p:cNvSpPr/>
          <p:nvPr userDrawn="1"/>
        </p:nvSpPr>
        <p:spPr bwMode="gray">
          <a:xfrm>
            <a:off x="9819448" y="-2"/>
            <a:ext cx="1387348" cy="6286500"/>
          </a:xfrm>
          <a:prstGeom prst="rect">
            <a:avLst/>
          </a:prstGeom>
          <a:solidFill>
            <a:srgbClr val="EFEEEB"/>
          </a:solidFill>
          <a:ln w="9525" cap="flat" cmpd="sng" algn="ctr">
            <a:noFill/>
            <a:prstDash val="solid"/>
          </a:ln>
          <a:effectLst/>
          <a:extLs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cxnSp>
        <p:nvCxnSpPr>
          <p:cNvPr id="12" name="bottom_right_line">
            <a:extLst>
              <a:ext uri="{FF2B5EF4-FFF2-40B4-BE49-F238E27FC236}">
                <a16:creationId xmlns:a16="http://schemas.microsoft.com/office/drawing/2014/main" id="{1991EB0A-A3BB-A473-0EE2-9C72B73C9762}"/>
              </a:ext>
            </a:extLst>
          </p:cNvPr>
          <p:cNvCxnSpPr/>
          <p:nvPr userDrawn="1"/>
        </p:nvCxnSpPr>
        <p:spPr>
          <a:xfrm>
            <a:off x="9936607" y="6079109"/>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cxnSp>
        <p:nvCxnSpPr>
          <p:cNvPr id="19" name="bottom_right_line_2">
            <a:extLst>
              <a:ext uri="{FF2B5EF4-FFF2-40B4-BE49-F238E27FC236}">
                <a16:creationId xmlns:a16="http://schemas.microsoft.com/office/drawing/2014/main" id="{F86C81E4-5B08-0ED9-2516-360DF7FC2F70}"/>
              </a:ext>
            </a:extLst>
          </p:cNvPr>
          <p:cNvCxnSpPr/>
          <p:nvPr userDrawn="1"/>
        </p:nvCxnSpPr>
        <p:spPr>
          <a:xfrm>
            <a:off x="9936607" y="5507609"/>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cxnSp>
        <p:nvCxnSpPr>
          <p:cNvPr id="25" name="top_right_line">
            <a:extLst>
              <a:ext uri="{FF2B5EF4-FFF2-40B4-BE49-F238E27FC236}">
                <a16:creationId xmlns:a16="http://schemas.microsoft.com/office/drawing/2014/main" id="{733A4AB8-C1C2-9AC8-ECAF-209688BD7E20}"/>
              </a:ext>
            </a:extLst>
          </p:cNvPr>
          <p:cNvCxnSpPr/>
          <p:nvPr userDrawn="1"/>
        </p:nvCxnSpPr>
        <p:spPr>
          <a:xfrm>
            <a:off x="9936607" y="905002"/>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sp>
        <p:nvSpPr>
          <p:cNvPr id="28" name="Footer Placeholder 27">
            <a:extLst>
              <a:ext uri="{FF2B5EF4-FFF2-40B4-BE49-F238E27FC236}">
                <a16:creationId xmlns:a16="http://schemas.microsoft.com/office/drawing/2014/main" id="{8325D9C0-BA77-02C6-E235-6D60A6A438A9}"/>
              </a:ext>
            </a:extLst>
          </p:cNvPr>
          <p:cNvSpPr>
            <a:spLocks noGrp="1"/>
          </p:cNvSpPr>
          <p:nvPr>
            <p:ph type="ftr" sz="quarter" idx="12"/>
          </p:nvPr>
        </p:nvSpPr>
        <p:spPr>
          <a:xfrm>
            <a:off x="9936000" y="5760000"/>
            <a:ext cx="773400" cy="277200"/>
          </a:xfrm>
        </p:spPr>
        <p:txBody>
          <a:bodyPr anchor="ctr"/>
          <a:lstStyle>
            <a:lvl1pPr>
              <a:defRPr sz="900">
                <a:solidFill>
                  <a:srgbClr val="99B1B9"/>
                </a:solidFill>
              </a:defRPr>
            </a:lvl1pPr>
          </a:lstStyle>
          <a:p>
            <a:r>
              <a:rPr lang="de-DE"/>
              <a:t>© 2026</a:t>
            </a:r>
          </a:p>
          <a:p>
            <a:r>
              <a:rPr lang="de-DE"/>
              <a:t>d-fine</a:t>
            </a:r>
          </a:p>
        </p:txBody>
      </p:sp>
      <p:sp>
        <p:nvSpPr>
          <p:cNvPr id="29" name="Text Placeholder 28">
            <a:extLst>
              <a:ext uri="{FF2B5EF4-FFF2-40B4-BE49-F238E27FC236}">
                <a16:creationId xmlns:a16="http://schemas.microsoft.com/office/drawing/2014/main" id="{B85C36D9-DD0B-7BA5-ECF4-7D23120F13E0}"/>
              </a:ext>
            </a:extLst>
          </p:cNvPr>
          <p:cNvSpPr>
            <a:spLocks noGrp="1"/>
          </p:cNvSpPr>
          <p:nvPr>
            <p:ph type="body" sz="quarter" idx="13" hasCustomPrompt="1"/>
          </p:nvPr>
        </p:nvSpPr>
        <p:spPr>
          <a:xfrm>
            <a:off x="207963" y="1066800"/>
            <a:ext cx="9366250" cy="4745038"/>
          </a:xfrm>
          <a:prstGeom prst="rect">
            <a:avLst/>
          </a:prstGeom>
        </p:spPr>
        <p:txBody>
          <a:bodyPr/>
          <a:lstStyle>
            <a:lvl1pPr>
              <a:defRPr sz="2000"/>
            </a:lvl1pPr>
            <a:lvl2pPr marL="374731" indent="-342900">
              <a:buFont typeface="Wingdings" panose="05000000000000000000" pitchFamily="2" charset="2"/>
              <a:buChar char="§"/>
              <a:defRPr sz="1800"/>
            </a:lvl2pPr>
            <a:lvl3pPr marL="406563" indent="-342900">
              <a:buFont typeface="Wingdings" panose="05000000000000000000" pitchFamily="2" charset="2"/>
              <a:buChar char="§"/>
              <a:defRPr sz="1800"/>
            </a:lvl3pPr>
            <a:lvl4pPr marL="438394" indent="-342900">
              <a:buFont typeface="Wingdings" panose="05000000000000000000" pitchFamily="2" charset="2"/>
              <a:buChar char="§"/>
              <a:defRPr sz="1800"/>
            </a:lvl4pPr>
            <a:lvl5pPr marL="470039" indent="-342900">
              <a:buFont typeface="Wingdings" panose="05000000000000000000" pitchFamily="2" charset="2"/>
              <a:buChar char="§"/>
              <a:defRPr sz="1800"/>
            </a:lvl5pPr>
          </a:lstStyle>
          <a:p>
            <a:pPr lvl="1"/>
            <a:r>
              <a:rPr lang="en-US"/>
              <a:t>First level</a:t>
            </a:r>
          </a:p>
        </p:txBody>
      </p:sp>
      <p:cxnSp>
        <p:nvCxnSpPr>
          <p:cNvPr id="69" name="title_seperator_16_9">
            <a:extLst>
              <a:ext uri="{FF2B5EF4-FFF2-40B4-BE49-F238E27FC236}">
                <a16:creationId xmlns:a16="http://schemas.microsoft.com/office/drawing/2014/main" id="{879F3993-BFD6-F372-757F-B8DCC836C064}"/>
              </a:ext>
            </a:extLst>
          </p:cNvPr>
          <p:cNvCxnSpPr/>
          <p:nvPr userDrawn="1"/>
        </p:nvCxnSpPr>
        <p:spPr>
          <a:xfrm>
            <a:off x="9937242" y="1730502"/>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pic>
        <p:nvPicPr>
          <p:cNvPr id="99" name="Graphic 98">
            <a:extLst>
              <a:ext uri="{FF2B5EF4-FFF2-40B4-BE49-F238E27FC236}">
                <a16:creationId xmlns:a16="http://schemas.microsoft.com/office/drawing/2014/main" id="{117155A6-03F1-4FF0-88B1-D1C88701718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2713" y="194333"/>
            <a:ext cx="519225" cy="626831"/>
          </a:xfrm>
          <a:prstGeom prst="rect">
            <a:avLst/>
          </a:prstGeom>
        </p:spPr>
      </p:pic>
      <p:sp>
        <p:nvSpPr>
          <p:cNvPr id="30" name="pres_title_box">
            <a:extLst>
              <a:ext uri="{FF2B5EF4-FFF2-40B4-BE49-F238E27FC236}">
                <a16:creationId xmlns:a16="http://schemas.microsoft.com/office/drawing/2014/main" id="{33EB60E2-5B06-F221-BB32-B9A6543F69F6}"/>
              </a:ext>
            </a:extLst>
          </p:cNvPr>
          <p:cNvSpPr txBox="1"/>
          <p:nvPr userDrawn="1"/>
        </p:nvSpPr>
        <p:spPr>
          <a:xfrm>
            <a:off x="9937241" y="1016000"/>
            <a:ext cx="1089559" cy="508000"/>
          </a:xfrm>
          <a:prstGeom prst="rect">
            <a:avLst/>
          </a:prstGeom>
          <a:noFill/>
        </p:spPr>
        <p:txBody>
          <a:bodyPr vert="horz" wrap="square" lIns="0" tIns="0" rIns="0" bIns="0" rtlCol="0" anchor="t">
            <a:noAutofit/>
          </a:bodyPr>
          <a:lstStyle/>
          <a:p>
            <a:r>
              <a:rPr lang="de-DE" sz="1000">
                <a:solidFill>
                  <a:srgbClr val="99B1B9"/>
                </a:solidFill>
                <a:latin typeface="Roboto" panose="02000000000000000000" pitchFamily="2" charset="0"/>
              </a:rPr>
              <a:t>Stand und Ausblick zur Kommunalen Wärmeplanung (KWP)</a:t>
            </a:r>
          </a:p>
        </p:txBody>
      </p:sp>
      <p:pic>
        <p:nvPicPr>
          <p:cNvPr id="31" name="Picture 30" descr="A logo with text on it&#10;&#10;AI-generated content may be incorrect.">
            <a:extLst>
              <a:ext uri="{FF2B5EF4-FFF2-40B4-BE49-F238E27FC236}">
                <a16:creationId xmlns:a16="http://schemas.microsoft.com/office/drawing/2014/main" id="{6E3EB39C-BF26-9C34-7895-B8030ED2CE99}"/>
              </a:ext>
            </a:extLst>
          </p:cNvPr>
          <p:cNvPicPr>
            <a:picLocks noChangeAspect="1"/>
          </p:cNvPicPr>
          <p:nvPr userDrawn="1"/>
        </p:nvPicPr>
        <p:blipFill>
          <a:blip r:embed="rId4" cstate="screen">
            <a:clrChange>
              <a:clrFrom>
                <a:srgbClr val="FFFFFF"/>
              </a:clrFrom>
              <a:clrTo>
                <a:srgbClr val="FFFFFF">
                  <a:alpha val="0"/>
                </a:srgbClr>
              </a:clrTo>
            </a:clrChange>
            <a:alphaModFix/>
            <a:extLst>
              <a:ext uri="{28A0092B-C50C-407E-A947-70E740481C1C}">
                <a14:useLocalDpi xmlns:a14="http://schemas.microsoft.com/office/drawing/2010/main"/>
              </a:ext>
            </a:extLst>
          </a:blip>
          <a:stretch>
            <a:fillRect/>
          </a:stretch>
        </p:blipFill>
        <p:spPr>
          <a:xfrm>
            <a:off x="9933394" y="4764692"/>
            <a:ext cx="1080000" cy="487059"/>
          </a:xfrm>
          <a:prstGeom prst="rect">
            <a:avLst/>
          </a:prstGeom>
        </p:spPr>
      </p:pic>
      <p:grpSp>
        <p:nvGrpSpPr>
          <p:cNvPr id="26" name="Group 25">
            <a:extLst>
              <a:ext uri="{FF2B5EF4-FFF2-40B4-BE49-F238E27FC236}">
                <a16:creationId xmlns:a16="http://schemas.microsoft.com/office/drawing/2014/main" id="{C5F2C2FB-8595-12C0-D074-72546B1EE1D8}"/>
              </a:ext>
            </a:extLst>
          </p:cNvPr>
          <p:cNvGrpSpPr/>
          <p:nvPr userDrawn="1"/>
        </p:nvGrpSpPr>
        <p:grpSpPr>
          <a:xfrm>
            <a:off x="9931177" y="1937004"/>
            <a:ext cx="1080504" cy="276292"/>
            <a:chOff x="9946297" y="1937004"/>
            <a:chExt cx="1080504" cy="276292"/>
          </a:xfrm>
        </p:grpSpPr>
        <p:sp>
          <p:nvSpPr>
            <p:cNvPr id="32" name="Rectangle 31">
              <a:extLst>
                <a:ext uri="{FF2B5EF4-FFF2-40B4-BE49-F238E27FC236}">
                  <a16:creationId xmlns:a16="http://schemas.microsoft.com/office/drawing/2014/main" id="{47115A71-648E-CDE8-B0E4-E57847E95140}"/>
                </a:ext>
              </a:extLst>
            </p:cNvPr>
            <p:cNvSpPr/>
            <p:nvPr/>
          </p:nvSpPr>
          <p:spPr bwMode="gray">
            <a:xfrm>
              <a:off x="9946297" y="1937004"/>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33" name="Rectangle 32">
              <a:extLst>
                <a:ext uri="{FF2B5EF4-FFF2-40B4-BE49-F238E27FC236}">
                  <a16:creationId xmlns:a16="http://schemas.microsoft.com/office/drawing/2014/main" id="{7F6046C4-B619-9F77-5AFF-CDAD17993939}"/>
                </a:ext>
              </a:extLst>
            </p:cNvPr>
            <p:cNvSpPr/>
            <p:nvPr/>
          </p:nvSpPr>
          <p:spPr bwMode="gray">
            <a:xfrm>
              <a:off x="10064456" y="1937004"/>
              <a:ext cx="962345"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lvl="0"/>
              <a:r>
                <a:rPr lang="de-DE" sz="900">
                  <a:solidFill>
                    <a:schemeClr val="accent6"/>
                  </a:solidFill>
                  <a:latin typeface="Roboto" panose="02000000000000000000" pitchFamily="2" charset="0"/>
                </a:rPr>
                <a:t>Über uns</a:t>
              </a:r>
            </a:p>
          </p:txBody>
        </p:sp>
      </p:grpSp>
      <p:grpSp>
        <p:nvGrpSpPr>
          <p:cNvPr id="34" name="Group 33">
            <a:extLst>
              <a:ext uri="{FF2B5EF4-FFF2-40B4-BE49-F238E27FC236}">
                <a16:creationId xmlns:a16="http://schemas.microsoft.com/office/drawing/2014/main" id="{8FF88F71-3CB5-04EB-343F-C50CDD69852C}"/>
              </a:ext>
            </a:extLst>
          </p:cNvPr>
          <p:cNvGrpSpPr/>
          <p:nvPr userDrawn="1"/>
        </p:nvGrpSpPr>
        <p:grpSpPr>
          <a:xfrm>
            <a:off x="9931177" y="2617079"/>
            <a:ext cx="1114790" cy="276293"/>
            <a:chOff x="9946297" y="2260358"/>
            <a:chExt cx="1114790" cy="276293"/>
          </a:xfrm>
        </p:grpSpPr>
        <p:sp>
          <p:nvSpPr>
            <p:cNvPr id="45" name="Rectangle 44">
              <a:extLst>
                <a:ext uri="{FF2B5EF4-FFF2-40B4-BE49-F238E27FC236}">
                  <a16:creationId xmlns:a16="http://schemas.microsoft.com/office/drawing/2014/main" id="{626F200A-93C5-A663-1F08-769E7054DB85}"/>
                </a:ext>
              </a:extLst>
            </p:cNvPr>
            <p:cNvSpPr/>
            <p:nvPr/>
          </p:nvSpPr>
          <p:spPr bwMode="gray">
            <a:xfrm>
              <a:off x="9946297" y="2260359"/>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46" name="Rectangle 45">
              <a:extLst>
                <a:ext uri="{FF2B5EF4-FFF2-40B4-BE49-F238E27FC236}">
                  <a16:creationId xmlns:a16="http://schemas.microsoft.com/office/drawing/2014/main" id="{6AC10235-72E0-DC4A-701A-0FEA2A088EB4}"/>
                </a:ext>
              </a:extLst>
            </p:cNvPr>
            <p:cNvSpPr/>
            <p:nvPr/>
          </p:nvSpPr>
          <p:spPr bwMode="gray">
            <a:xfrm>
              <a:off x="10064456" y="2260358"/>
              <a:ext cx="996631"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Aktueller politischer Rahmen</a:t>
              </a:r>
            </a:p>
          </p:txBody>
        </p:sp>
      </p:grpSp>
      <p:grpSp>
        <p:nvGrpSpPr>
          <p:cNvPr id="50" name="Group 49">
            <a:extLst>
              <a:ext uri="{FF2B5EF4-FFF2-40B4-BE49-F238E27FC236}">
                <a16:creationId xmlns:a16="http://schemas.microsoft.com/office/drawing/2014/main" id="{BB9FDDF0-7F36-1B7B-9453-818DB549294A}"/>
              </a:ext>
            </a:extLst>
          </p:cNvPr>
          <p:cNvGrpSpPr/>
          <p:nvPr userDrawn="1"/>
        </p:nvGrpSpPr>
        <p:grpSpPr>
          <a:xfrm>
            <a:off x="9931177" y="3294945"/>
            <a:ext cx="1080504" cy="276293"/>
            <a:chOff x="9946297" y="2583712"/>
            <a:chExt cx="1080504" cy="276293"/>
          </a:xfrm>
        </p:grpSpPr>
        <p:sp>
          <p:nvSpPr>
            <p:cNvPr id="51" name="Rectangle 50">
              <a:extLst>
                <a:ext uri="{FF2B5EF4-FFF2-40B4-BE49-F238E27FC236}">
                  <a16:creationId xmlns:a16="http://schemas.microsoft.com/office/drawing/2014/main" id="{4814CDA8-5924-E5F0-CA54-46DD359BE9E6}"/>
                </a:ext>
              </a:extLst>
            </p:cNvPr>
            <p:cNvSpPr/>
            <p:nvPr/>
          </p:nvSpPr>
          <p:spPr bwMode="gray">
            <a:xfrm>
              <a:off x="9946297" y="2583713"/>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52" name="Rectangle 51">
              <a:extLst>
                <a:ext uri="{FF2B5EF4-FFF2-40B4-BE49-F238E27FC236}">
                  <a16:creationId xmlns:a16="http://schemas.microsoft.com/office/drawing/2014/main" id="{4A580AFD-DC7F-1C86-BF04-CE3F66B42352}"/>
                </a:ext>
              </a:extLst>
            </p:cNvPr>
            <p:cNvSpPr/>
            <p:nvPr/>
          </p:nvSpPr>
          <p:spPr bwMode="gray">
            <a:xfrm>
              <a:off x="10064456" y="2583712"/>
              <a:ext cx="962345"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Zielszenario</a:t>
              </a:r>
            </a:p>
          </p:txBody>
        </p:sp>
      </p:grpSp>
      <p:grpSp>
        <p:nvGrpSpPr>
          <p:cNvPr id="53" name="Group 52">
            <a:extLst>
              <a:ext uri="{FF2B5EF4-FFF2-40B4-BE49-F238E27FC236}">
                <a16:creationId xmlns:a16="http://schemas.microsoft.com/office/drawing/2014/main" id="{1B462F5E-4815-273F-6CB0-9398A85A7F87}"/>
              </a:ext>
            </a:extLst>
          </p:cNvPr>
          <p:cNvGrpSpPr/>
          <p:nvPr userDrawn="1"/>
        </p:nvGrpSpPr>
        <p:grpSpPr>
          <a:xfrm>
            <a:off x="9931177" y="3637252"/>
            <a:ext cx="1239797" cy="276293"/>
            <a:chOff x="9946297" y="2907066"/>
            <a:chExt cx="1080504" cy="276293"/>
          </a:xfrm>
        </p:grpSpPr>
        <p:sp>
          <p:nvSpPr>
            <p:cNvPr id="54" name="Rectangle 53">
              <a:extLst>
                <a:ext uri="{FF2B5EF4-FFF2-40B4-BE49-F238E27FC236}">
                  <a16:creationId xmlns:a16="http://schemas.microsoft.com/office/drawing/2014/main" id="{653F7D08-00D2-BED8-6BA3-DA5BCEC0AF29}"/>
                </a:ext>
              </a:extLst>
            </p:cNvPr>
            <p:cNvSpPr/>
            <p:nvPr/>
          </p:nvSpPr>
          <p:spPr bwMode="gray">
            <a:xfrm>
              <a:off x="9946297" y="2907067"/>
              <a:ext cx="36000" cy="27629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55" name="Rectangle 54">
              <a:extLst>
                <a:ext uri="{FF2B5EF4-FFF2-40B4-BE49-F238E27FC236}">
                  <a16:creationId xmlns:a16="http://schemas.microsoft.com/office/drawing/2014/main" id="{2022C430-9473-17CC-7677-7B9D8B8E63CB}"/>
                </a:ext>
              </a:extLst>
            </p:cNvPr>
            <p:cNvSpPr/>
            <p:nvPr/>
          </p:nvSpPr>
          <p:spPr bwMode="gray">
            <a:xfrm>
              <a:off x="10064456" y="2907066"/>
              <a:ext cx="962345"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tx1"/>
                  </a:solidFill>
                  <a:latin typeface="Roboto" panose="02000000000000000000" pitchFamily="2" charset="0"/>
                </a:rPr>
                <a:t>Zusammenfassung und Ausblick</a:t>
              </a:r>
            </a:p>
          </p:txBody>
        </p:sp>
      </p:grpSp>
      <p:grpSp>
        <p:nvGrpSpPr>
          <p:cNvPr id="56" name="Group 55">
            <a:extLst>
              <a:ext uri="{FF2B5EF4-FFF2-40B4-BE49-F238E27FC236}">
                <a16:creationId xmlns:a16="http://schemas.microsoft.com/office/drawing/2014/main" id="{1DC0DC8A-BF67-C791-9756-6AC5B1AD9185}"/>
              </a:ext>
            </a:extLst>
          </p:cNvPr>
          <p:cNvGrpSpPr/>
          <p:nvPr userDrawn="1"/>
        </p:nvGrpSpPr>
        <p:grpSpPr>
          <a:xfrm>
            <a:off x="9931177" y="2274772"/>
            <a:ext cx="1114790" cy="276293"/>
            <a:chOff x="9946297" y="2260358"/>
            <a:chExt cx="1114790" cy="276293"/>
          </a:xfrm>
        </p:grpSpPr>
        <p:sp>
          <p:nvSpPr>
            <p:cNvPr id="60" name="Rectangle 59">
              <a:extLst>
                <a:ext uri="{FF2B5EF4-FFF2-40B4-BE49-F238E27FC236}">
                  <a16:creationId xmlns:a16="http://schemas.microsoft.com/office/drawing/2014/main" id="{85CD4593-11C4-5269-39C8-82364BBEE2C0}"/>
                </a:ext>
              </a:extLst>
            </p:cNvPr>
            <p:cNvSpPr/>
            <p:nvPr/>
          </p:nvSpPr>
          <p:spPr bwMode="gray">
            <a:xfrm>
              <a:off x="9946297" y="2260359"/>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64" name="Rectangle 63">
              <a:extLst>
                <a:ext uri="{FF2B5EF4-FFF2-40B4-BE49-F238E27FC236}">
                  <a16:creationId xmlns:a16="http://schemas.microsoft.com/office/drawing/2014/main" id="{7A058213-4AC3-5EEC-DC48-E5C7B0164877}"/>
                </a:ext>
              </a:extLst>
            </p:cNvPr>
            <p:cNvSpPr/>
            <p:nvPr/>
          </p:nvSpPr>
          <p:spPr bwMode="gray">
            <a:xfrm>
              <a:off x="10064456" y="2260358"/>
              <a:ext cx="996631"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Hintergrund der KWP</a:t>
              </a:r>
            </a:p>
          </p:txBody>
        </p:sp>
      </p:grpSp>
      <p:grpSp>
        <p:nvGrpSpPr>
          <p:cNvPr id="65" name="Group 64">
            <a:extLst>
              <a:ext uri="{FF2B5EF4-FFF2-40B4-BE49-F238E27FC236}">
                <a16:creationId xmlns:a16="http://schemas.microsoft.com/office/drawing/2014/main" id="{9B004E9D-088A-5432-FEE0-2038AD12B91B}"/>
              </a:ext>
            </a:extLst>
          </p:cNvPr>
          <p:cNvGrpSpPr/>
          <p:nvPr userDrawn="1"/>
        </p:nvGrpSpPr>
        <p:grpSpPr>
          <a:xfrm>
            <a:off x="9931177" y="2952637"/>
            <a:ext cx="1114790" cy="276293"/>
            <a:chOff x="9946297" y="2260358"/>
            <a:chExt cx="1114790" cy="276293"/>
          </a:xfrm>
        </p:grpSpPr>
        <p:sp>
          <p:nvSpPr>
            <p:cNvPr id="92" name="Rectangle 91">
              <a:extLst>
                <a:ext uri="{FF2B5EF4-FFF2-40B4-BE49-F238E27FC236}">
                  <a16:creationId xmlns:a16="http://schemas.microsoft.com/office/drawing/2014/main" id="{BD49397C-9CA8-B8E6-E872-0B4D8EF3885F}"/>
                </a:ext>
              </a:extLst>
            </p:cNvPr>
            <p:cNvSpPr/>
            <p:nvPr/>
          </p:nvSpPr>
          <p:spPr bwMode="gray">
            <a:xfrm>
              <a:off x="9946297" y="2260359"/>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93" name="Rectangle 92">
              <a:extLst>
                <a:ext uri="{FF2B5EF4-FFF2-40B4-BE49-F238E27FC236}">
                  <a16:creationId xmlns:a16="http://schemas.microsoft.com/office/drawing/2014/main" id="{82F50B4A-AAD6-106B-8D66-41A2603D9DD0}"/>
                </a:ext>
              </a:extLst>
            </p:cNvPr>
            <p:cNvSpPr/>
            <p:nvPr/>
          </p:nvSpPr>
          <p:spPr bwMode="gray">
            <a:xfrm>
              <a:off x="10064456" y="2260358"/>
              <a:ext cx="996631"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Bestands- und Potenzialanalyse</a:t>
              </a:r>
            </a:p>
          </p:txBody>
        </p:sp>
      </p:grpSp>
    </p:spTree>
    <p:extLst>
      <p:ext uri="{BB962C8B-B14F-4D97-AF65-F5344CB8AC3E}">
        <p14:creationId xmlns:p14="http://schemas.microsoft.com/office/powerpoint/2010/main" val="1628913007"/>
      </p:ext>
    </p:extLst>
  </p:cSld>
  <p:clrMapOvr>
    <a:masterClrMapping/>
  </p:clrMapOvr>
  <p:hf hdr="0" dt="0"/>
  <p:extLst>
    <p:ext uri="{DCECCB84-F9BA-43D5-87BE-67443E8EF086}">
      <p15:sldGuideLst xmlns:p15="http://schemas.microsoft.com/office/powerpoint/2012/main">
        <p15:guide id="2" pos="214">
          <p15:clr>
            <a:srgbClr val="A4A3A4"/>
          </p15:clr>
        </p15:guide>
        <p15:guide id="3" pos="7728">
          <p15:clr>
            <a:srgbClr val="A4A3A4"/>
          </p15:clr>
        </p15:guide>
        <p15:guide id="4" orient="horz" pos="672">
          <p15:clr>
            <a:srgbClr val="A4A3A4"/>
          </p15:clr>
        </p15:guide>
        <p15:guide id="5" orient="horz" pos="933">
          <p15:clr>
            <a:srgbClr val="A4A3A4"/>
          </p15:clr>
        </p15:guide>
        <p15:guide id="6" orient="horz" pos="3053">
          <p15:clr>
            <a:srgbClr val="A4A3A4"/>
          </p15:clr>
        </p15:guide>
        <p15:guide id="7" orient="horz" pos="3334">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Kommunale-Wärmeplanung">
    <p:spTree>
      <p:nvGrpSpPr>
        <p:cNvPr id="1" name=""/>
        <p:cNvGrpSpPr/>
        <p:nvPr/>
      </p:nvGrpSpPr>
      <p:grpSpPr>
        <a:xfrm>
          <a:off x="0" y="0"/>
          <a:ext cx="0" cy="0"/>
          <a:chOff x="0" y="0"/>
          <a:chExt cx="0" cy="0"/>
        </a:xfrm>
      </p:grpSpPr>
      <p:cxnSp>
        <p:nvCxnSpPr>
          <p:cNvPr id="10" name="top_line"/>
          <p:cNvCxnSpPr/>
          <p:nvPr userDrawn="1"/>
        </p:nvCxnSpPr>
        <p:spPr bwMode="gray">
          <a:xfrm>
            <a:off x="208026" y="905002"/>
            <a:ext cx="9372600"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cxnSp>
        <p:nvCxnSpPr>
          <p:cNvPr id="13" name="bottom_line"/>
          <p:cNvCxnSpPr/>
          <p:nvPr userDrawn="1"/>
        </p:nvCxnSpPr>
        <p:spPr bwMode="gray">
          <a:xfrm>
            <a:off x="208026" y="6079109"/>
            <a:ext cx="9372600"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grpSp>
        <p:nvGrpSpPr>
          <p:cNvPr id="16" name="CA_marker_top_left"/>
          <p:cNvGrpSpPr/>
          <p:nvPr userDrawn="1"/>
        </p:nvGrpSpPr>
        <p:grpSpPr bwMode="gray">
          <a:xfrm>
            <a:off x="208800" y="-356400"/>
            <a:ext cx="964800" cy="262800"/>
            <a:chOff x="266700" y="-387424"/>
            <a:chExt cx="812096" cy="288032"/>
          </a:xfrm>
        </p:grpSpPr>
        <p:cxnSp>
          <p:nvCxnSpPr>
            <p:cNvPr id="5" name="Straight Connector 4"/>
            <p:cNvCxnSpPr/>
            <p:nvPr userDrawn="1"/>
          </p:nvCxnSpPr>
          <p:spPr bwMode="gray">
            <a:xfrm flipH="1" flipV="1">
              <a:off x="266700"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bwMode="gray">
            <a:xfrm>
              <a:off x="526604" y="-320401"/>
              <a:ext cx="552192" cy="153975"/>
            </a:xfrm>
            <a:prstGeom prst="rect">
              <a:avLst/>
            </a:prstGeom>
            <a:noFill/>
          </p:spPr>
          <p:txBody>
            <a:bodyPr wrap="none" lIns="0" tIns="0" rIns="0" bIns="0" rtlCol="0" anchor="ctr">
              <a:spAutoFit/>
            </a:bodyPr>
            <a:lstStyle/>
            <a:p>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a:t>
              </a:r>
              <a:endParaRPr lang="de-DE" sz="900">
                <a:solidFill>
                  <a:schemeClr val="accent6"/>
                </a:solidFill>
                <a:latin typeface="Roboto" panose="02000000000000000000" pitchFamily="2" charset="0"/>
              </a:endParaRPr>
            </a:p>
          </p:txBody>
        </p:sp>
      </p:grpSp>
      <p:grpSp>
        <p:nvGrpSpPr>
          <p:cNvPr id="21" name="CA_marker_bottom_left"/>
          <p:cNvGrpSpPr/>
          <p:nvPr userDrawn="1"/>
        </p:nvGrpSpPr>
        <p:grpSpPr bwMode="gray">
          <a:xfrm>
            <a:off x="208800" y="6379200"/>
            <a:ext cx="964800" cy="262800"/>
            <a:chOff x="266699" y="-387424"/>
            <a:chExt cx="812100" cy="288032"/>
          </a:xfrm>
        </p:grpSpPr>
        <p:cxnSp>
          <p:nvCxnSpPr>
            <p:cNvPr id="22" name="Straight Connector 21"/>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bwMode="gray">
            <a:xfrm>
              <a:off x="526604" y="-320401"/>
              <a:ext cx="552195" cy="153975"/>
            </a:xfrm>
            <a:prstGeom prst="rect">
              <a:avLst/>
            </a:prstGeom>
            <a:noFill/>
          </p:spPr>
          <p:txBody>
            <a:bodyPr wrap="none" lIns="0" tIns="0" rIns="0" bIns="0" rtlCol="0" anchor="ctr">
              <a:spAutoFit/>
            </a:bodyPr>
            <a:lstStyle/>
            <a:p>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a:t>
              </a:r>
              <a:endParaRPr lang="de-DE" sz="900">
                <a:solidFill>
                  <a:schemeClr val="accent6"/>
                </a:solidFill>
                <a:latin typeface="Roboto" panose="02000000000000000000" pitchFamily="2" charset="0"/>
              </a:endParaRPr>
            </a:p>
          </p:txBody>
        </p:sp>
      </p:grpSp>
      <p:grpSp>
        <p:nvGrpSpPr>
          <p:cNvPr id="37" name="CA_marker_top_right"/>
          <p:cNvGrpSpPr/>
          <p:nvPr userDrawn="1"/>
        </p:nvGrpSpPr>
        <p:grpSpPr bwMode="gray">
          <a:xfrm flipH="1">
            <a:off x="8614800" y="-356400"/>
            <a:ext cx="964800" cy="262800"/>
            <a:chOff x="266699" y="-387424"/>
            <a:chExt cx="1029346" cy="288032"/>
          </a:xfrm>
        </p:grpSpPr>
        <p:cxnSp>
          <p:nvCxnSpPr>
            <p:cNvPr id="38" name="Straight Connector 37"/>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userDrawn="1"/>
          </p:nvSpPr>
          <p:spPr bwMode="gray">
            <a:xfrm>
              <a:off x="679293" y="-320395"/>
              <a:ext cx="616752" cy="153975"/>
            </a:xfrm>
            <a:prstGeom prst="rect">
              <a:avLst/>
            </a:prstGeom>
            <a:noFill/>
          </p:spPr>
          <p:txBody>
            <a:bodyPr wrap="none" lIns="0" tIns="0" rIns="0" bIns="0" rtlCol="0" anchor="ctr">
              <a:spAutoFit/>
            </a:bodyPr>
            <a:lstStyle/>
            <a:p>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a:t>
              </a:r>
              <a:endParaRPr lang="de-DE" sz="900">
                <a:solidFill>
                  <a:schemeClr val="accent6"/>
                </a:solidFill>
                <a:latin typeface="Roboto" panose="02000000000000000000" pitchFamily="2" charset="0"/>
              </a:endParaRPr>
            </a:p>
          </p:txBody>
        </p:sp>
      </p:grpSp>
      <p:grpSp>
        <p:nvGrpSpPr>
          <p:cNvPr id="41" name="CA_marker_bottom_right"/>
          <p:cNvGrpSpPr/>
          <p:nvPr userDrawn="1"/>
        </p:nvGrpSpPr>
        <p:grpSpPr bwMode="gray">
          <a:xfrm flipH="1">
            <a:off x="8614800" y="6379200"/>
            <a:ext cx="964800" cy="262800"/>
            <a:chOff x="266699" y="-387424"/>
            <a:chExt cx="1029346" cy="288032"/>
          </a:xfrm>
        </p:grpSpPr>
        <p:cxnSp>
          <p:nvCxnSpPr>
            <p:cNvPr id="42" name="Straight Connector 41"/>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userDrawn="1"/>
          </p:nvSpPr>
          <p:spPr bwMode="gray">
            <a:xfrm>
              <a:off x="679293" y="-320395"/>
              <a:ext cx="616752" cy="153975"/>
            </a:xfrm>
            <a:prstGeom prst="rect">
              <a:avLst/>
            </a:prstGeom>
            <a:noFill/>
          </p:spPr>
          <p:txBody>
            <a:bodyPr wrap="none" lIns="0" tIns="0" rIns="0" bIns="0" rtlCol="0" anchor="ctr">
              <a:spAutoFit/>
            </a:bodyPr>
            <a:lstStyle/>
            <a:p>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a:t>
              </a:r>
              <a:endParaRPr lang="de-DE" sz="900">
                <a:solidFill>
                  <a:schemeClr val="accent6"/>
                </a:solidFill>
                <a:latin typeface="Roboto" panose="02000000000000000000" pitchFamily="2" charset="0"/>
              </a:endParaRPr>
            </a:p>
          </p:txBody>
        </p:sp>
      </p:grpSp>
      <p:grpSp>
        <p:nvGrpSpPr>
          <p:cNvPr id="7" name="CA_marker_left_bottom_NTHM"/>
          <p:cNvGrpSpPr/>
          <p:nvPr userDrawn="1"/>
        </p:nvGrpSpPr>
        <p:grpSpPr bwMode="gray">
          <a:xfrm>
            <a:off x="-475200" y="4615200"/>
            <a:ext cx="324000" cy="1400400"/>
            <a:chOff x="-420221" y="4770550"/>
            <a:chExt cx="288032" cy="1528650"/>
          </a:xfrm>
        </p:grpSpPr>
        <p:cxnSp>
          <p:nvCxnSpPr>
            <p:cNvPr id="47" name="Straight Connector 46"/>
            <p:cNvCxnSpPr/>
            <p:nvPr userDrawn="1"/>
          </p:nvCxnSpPr>
          <p:spPr bwMode="gray">
            <a:xfrm rot="5400000" flipH="1" flipV="1">
              <a:off x="-276206" y="61551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userDrawn="1"/>
          </p:nvCxnSpPr>
          <p:spPr bwMode="gray">
            <a:xfrm rot="16200000" flipH="1" flipV="1">
              <a:off x="-387108" y="6188296"/>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p:cNvSpPr txBox="1"/>
            <p:nvPr userDrawn="1"/>
          </p:nvSpPr>
          <p:spPr bwMode="gray">
            <a:xfrm>
              <a:off x="-364310" y="4770550"/>
              <a:ext cx="176211" cy="1297385"/>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no THM</a:t>
              </a:r>
              <a:endParaRPr lang="de-DE" sz="900">
                <a:solidFill>
                  <a:schemeClr val="accent6"/>
                </a:solidFill>
                <a:latin typeface="Roboto" panose="02000000000000000000" pitchFamily="2" charset="0"/>
              </a:endParaRPr>
            </a:p>
          </p:txBody>
        </p:sp>
      </p:grpSp>
      <p:grpSp>
        <p:nvGrpSpPr>
          <p:cNvPr id="4" name="CA_marker_left_top_ST"/>
          <p:cNvGrpSpPr/>
          <p:nvPr userDrawn="1"/>
        </p:nvGrpSpPr>
        <p:grpSpPr bwMode="gray">
          <a:xfrm>
            <a:off x="-752400" y="1436401"/>
            <a:ext cx="324000" cy="1724400"/>
            <a:chOff x="-667814" y="1764387"/>
            <a:chExt cx="288032" cy="1880637"/>
          </a:xfrm>
        </p:grpSpPr>
        <p:cxnSp>
          <p:nvCxnSpPr>
            <p:cNvPr id="57" name="Straight Connector 56"/>
            <p:cNvCxnSpPr/>
            <p:nvPr userDrawn="1"/>
          </p:nvCxnSpPr>
          <p:spPr bwMode="gray">
            <a:xfrm rot="5400000" flipH="1" flipV="1">
              <a:off x="-523799" y="1624077"/>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userDrawn="1"/>
          </p:nvCxnSpPr>
          <p:spPr bwMode="gray">
            <a:xfrm rot="5400000" flipH="1">
              <a:off x="-634701" y="187528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userDrawn="1"/>
          </p:nvSpPr>
          <p:spPr bwMode="gray">
            <a:xfrm>
              <a:off x="-611904" y="2051178"/>
              <a:ext cx="176211" cy="1593846"/>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with subtitle</a:t>
              </a:r>
              <a:endParaRPr lang="de-DE" sz="900">
                <a:solidFill>
                  <a:schemeClr val="accent6"/>
                </a:solidFill>
                <a:latin typeface="Roboto" panose="02000000000000000000" pitchFamily="2" charset="0"/>
              </a:endParaRPr>
            </a:p>
          </p:txBody>
        </p:sp>
      </p:grpSp>
      <p:grpSp>
        <p:nvGrpSpPr>
          <p:cNvPr id="6" name="CA_marker_left_bottom_THM"/>
          <p:cNvGrpSpPr/>
          <p:nvPr userDrawn="1"/>
        </p:nvGrpSpPr>
        <p:grpSpPr bwMode="gray">
          <a:xfrm>
            <a:off x="-752400" y="4057200"/>
            <a:ext cx="324000" cy="1494000"/>
            <a:chOff x="-667814" y="4138377"/>
            <a:chExt cx="288032" cy="1629264"/>
          </a:xfrm>
        </p:grpSpPr>
        <p:cxnSp>
          <p:nvCxnSpPr>
            <p:cNvPr id="61" name="Straight Connector 60"/>
            <p:cNvCxnSpPr/>
            <p:nvPr userDrawn="1"/>
          </p:nvCxnSpPr>
          <p:spPr bwMode="gray">
            <a:xfrm rot="5400000" flipH="1" flipV="1">
              <a:off x="-523799" y="5623625"/>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userDrawn="1"/>
          </p:nvCxnSpPr>
          <p:spPr bwMode="gray">
            <a:xfrm rot="16200000" flipH="1" flipV="1">
              <a:off x="-634701" y="5656737"/>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userDrawn="1"/>
          </p:nvSpPr>
          <p:spPr bwMode="gray">
            <a:xfrm>
              <a:off x="-611903" y="4138377"/>
              <a:ext cx="176211" cy="1398000"/>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with THM</a:t>
              </a:r>
              <a:endParaRPr lang="de-DE" sz="900">
                <a:solidFill>
                  <a:schemeClr val="accent6"/>
                </a:solidFill>
                <a:latin typeface="Roboto" panose="02000000000000000000" pitchFamily="2" charset="0"/>
              </a:endParaRPr>
            </a:p>
          </p:txBody>
        </p:sp>
      </p:grpSp>
      <p:grpSp>
        <p:nvGrpSpPr>
          <p:cNvPr id="15" name="CA_marker_right_top_NST"/>
          <p:cNvGrpSpPr/>
          <p:nvPr userDrawn="1"/>
        </p:nvGrpSpPr>
        <p:grpSpPr bwMode="gray">
          <a:xfrm>
            <a:off x="11325599" y="990000"/>
            <a:ext cx="324000" cy="1605600"/>
            <a:chOff x="10038191" y="1270000"/>
            <a:chExt cx="288032" cy="1752599"/>
          </a:xfrm>
        </p:grpSpPr>
        <p:cxnSp>
          <p:nvCxnSpPr>
            <p:cNvPr id="79" name="Straight Connector 78"/>
            <p:cNvCxnSpPr/>
            <p:nvPr userDrawn="1"/>
          </p:nvCxnSpPr>
          <p:spPr bwMode="gray">
            <a:xfrm rot="16200000" flipV="1">
              <a:off x="10182206" y="1129690"/>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userDrawn="1"/>
          </p:nvCxnSpPr>
          <p:spPr bwMode="gray">
            <a:xfrm rot="16200000">
              <a:off x="10071305" y="1380901"/>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p:cNvSpPr txBox="1"/>
            <p:nvPr userDrawn="1"/>
          </p:nvSpPr>
          <p:spPr bwMode="gray">
            <a:xfrm flipH="1">
              <a:off x="10094101" y="1556791"/>
              <a:ext cx="176211" cy="1465808"/>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no subtitle</a:t>
              </a:r>
              <a:endParaRPr lang="de-DE" sz="900">
                <a:solidFill>
                  <a:schemeClr val="accent6"/>
                </a:solidFill>
                <a:latin typeface="Roboto" panose="02000000000000000000" pitchFamily="2" charset="0"/>
              </a:endParaRPr>
            </a:p>
          </p:txBody>
        </p:sp>
      </p:grpSp>
      <p:grpSp>
        <p:nvGrpSpPr>
          <p:cNvPr id="9" name="CA_marker_right_bottom_NTHM"/>
          <p:cNvGrpSpPr/>
          <p:nvPr userDrawn="1"/>
        </p:nvGrpSpPr>
        <p:grpSpPr bwMode="gray">
          <a:xfrm>
            <a:off x="11325599" y="4615200"/>
            <a:ext cx="324000" cy="1400400"/>
            <a:chOff x="10038191" y="4770550"/>
            <a:chExt cx="288032" cy="1528650"/>
          </a:xfrm>
        </p:grpSpPr>
        <p:cxnSp>
          <p:nvCxnSpPr>
            <p:cNvPr id="76" name="Straight Connector 75"/>
            <p:cNvCxnSpPr/>
            <p:nvPr userDrawn="1"/>
          </p:nvCxnSpPr>
          <p:spPr bwMode="gray">
            <a:xfrm rot="16200000" flipV="1">
              <a:off x="10182206" y="61551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userDrawn="1"/>
          </p:nvCxnSpPr>
          <p:spPr bwMode="gray">
            <a:xfrm rot="5400000" flipV="1">
              <a:off x="10071305" y="6188296"/>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userDrawn="1"/>
          </p:nvSpPr>
          <p:spPr bwMode="gray">
            <a:xfrm flipH="1">
              <a:off x="10094100" y="4770550"/>
              <a:ext cx="176211" cy="1297385"/>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no THM</a:t>
              </a:r>
              <a:endParaRPr lang="de-DE" sz="900">
                <a:solidFill>
                  <a:schemeClr val="accent6"/>
                </a:solidFill>
                <a:latin typeface="Roboto" panose="02000000000000000000" pitchFamily="2" charset="0"/>
              </a:endParaRPr>
            </a:p>
          </p:txBody>
        </p:sp>
      </p:grpSp>
      <p:grpSp>
        <p:nvGrpSpPr>
          <p:cNvPr id="14" name="CA_marker_right_top_ST"/>
          <p:cNvGrpSpPr/>
          <p:nvPr userDrawn="1"/>
        </p:nvGrpSpPr>
        <p:grpSpPr bwMode="gray">
          <a:xfrm>
            <a:off x="11606400" y="1436401"/>
            <a:ext cx="324000" cy="1724400"/>
            <a:chOff x="10285784" y="1764387"/>
            <a:chExt cx="288032" cy="1880637"/>
          </a:xfrm>
        </p:grpSpPr>
        <p:cxnSp>
          <p:nvCxnSpPr>
            <p:cNvPr id="73" name="Straight Connector 72"/>
            <p:cNvCxnSpPr/>
            <p:nvPr userDrawn="1"/>
          </p:nvCxnSpPr>
          <p:spPr bwMode="gray">
            <a:xfrm rot="16200000" flipV="1">
              <a:off x="10429799" y="1624077"/>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userDrawn="1"/>
          </p:nvCxnSpPr>
          <p:spPr bwMode="gray">
            <a:xfrm rot="16200000">
              <a:off x="10318898" y="187528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p:cNvSpPr txBox="1"/>
            <p:nvPr userDrawn="1"/>
          </p:nvSpPr>
          <p:spPr bwMode="gray">
            <a:xfrm flipH="1">
              <a:off x="10341694" y="2051178"/>
              <a:ext cx="176211" cy="1593846"/>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with subtitle</a:t>
              </a:r>
              <a:endParaRPr lang="de-DE" sz="900">
                <a:solidFill>
                  <a:schemeClr val="accent6"/>
                </a:solidFill>
                <a:latin typeface="Roboto" panose="02000000000000000000" pitchFamily="2" charset="0"/>
              </a:endParaRPr>
            </a:p>
          </p:txBody>
        </p:sp>
      </p:grpSp>
      <p:grpSp>
        <p:nvGrpSpPr>
          <p:cNvPr id="8" name="CA_marker_right_bottom_THM"/>
          <p:cNvGrpSpPr/>
          <p:nvPr userDrawn="1"/>
        </p:nvGrpSpPr>
        <p:grpSpPr bwMode="gray">
          <a:xfrm>
            <a:off x="11606400" y="4057200"/>
            <a:ext cx="324000" cy="1494000"/>
            <a:chOff x="10285784" y="4138377"/>
            <a:chExt cx="288032" cy="1629264"/>
          </a:xfrm>
        </p:grpSpPr>
        <p:cxnSp>
          <p:nvCxnSpPr>
            <p:cNvPr id="70" name="Straight Connector 69"/>
            <p:cNvCxnSpPr/>
            <p:nvPr userDrawn="1"/>
          </p:nvCxnSpPr>
          <p:spPr bwMode="gray">
            <a:xfrm rot="16200000" flipV="1">
              <a:off x="10429799" y="5623625"/>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userDrawn="1"/>
          </p:nvCxnSpPr>
          <p:spPr bwMode="gray">
            <a:xfrm rot="5400000" flipV="1">
              <a:off x="10318898" y="5656737"/>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userDrawn="1"/>
          </p:nvSpPr>
          <p:spPr bwMode="gray">
            <a:xfrm flipH="1">
              <a:off x="10341693" y="4138377"/>
              <a:ext cx="176211" cy="1398000"/>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with THM</a:t>
              </a:r>
              <a:endParaRPr lang="de-DE" sz="900">
                <a:solidFill>
                  <a:schemeClr val="accent6"/>
                </a:solidFill>
                <a:latin typeface="Roboto" panose="02000000000000000000" pitchFamily="2" charset="0"/>
              </a:endParaRPr>
            </a:p>
          </p:txBody>
        </p:sp>
      </p:grpSp>
      <p:grpSp>
        <p:nvGrpSpPr>
          <p:cNvPr id="3" name="CA_marker_left_top_NST"/>
          <p:cNvGrpSpPr/>
          <p:nvPr userDrawn="1"/>
        </p:nvGrpSpPr>
        <p:grpSpPr bwMode="gray">
          <a:xfrm>
            <a:off x="-475200" y="990000"/>
            <a:ext cx="324000" cy="1605600"/>
            <a:chOff x="-420221" y="1269999"/>
            <a:chExt cx="288032" cy="1752600"/>
          </a:xfrm>
        </p:grpSpPr>
        <p:cxnSp>
          <p:nvCxnSpPr>
            <p:cNvPr id="35" name="Straight Arrow Connector 34"/>
            <p:cNvCxnSpPr/>
            <p:nvPr userDrawn="1"/>
          </p:nvCxnSpPr>
          <p:spPr bwMode="gray">
            <a:xfrm rot="5400000" flipH="1">
              <a:off x="-387108" y="1380901"/>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userDrawn="1"/>
          </p:nvSpPr>
          <p:spPr bwMode="gray">
            <a:xfrm>
              <a:off x="-364311" y="1556791"/>
              <a:ext cx="176211" cy="1465808"/>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no subtitle</a:t>
              </a:r>
              <a:endParaRPr lang="de-DE" sz="900">
                <a:solidFill>
                  <a:schemeClr val="accent6"/>
                </a:solidFill>
                <a:latin typeface="Roboto" panose="02000000000000000000" pitchFamily="2" charset="0"/>
              </a:endParaRPr>
            </a:p>
          </p:txBody>
        </p:sp>
        <p:cxnSp>
          <p:nvCxnSpPr>
            <p:cNvPr id="87" name="Straight Connector 86"/>
            <p:cNvCxnSpPr/>
            <p:nvPr userDrawn="1"/>
          </p:nvCxnSpPr>
          <p:spPr bwMode="gray">
            <a:xfrm rot="5400000" flipH="1" flipV="1">
              <a:off x="-276206" y="11259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0" name="Slide Number Placeholder 19"/>
          <p:cNvSpPr>
            <a:spLocks noGrp="1"/>
          </p:cNvSpPr>
          <p:nvPr>
            <p:ph type="sldNum" sz="quarter" idx="11"/>
          </p:nvPr>
        </p:nvSpPr>
        <p:spPr>
          <a:xfrm>
            <a:off x="10328401" y="5760000"/>
            <a:ext cx="698400" cy="280800"/>
          </a:xfrm>
        </p:spPr>
        <p:txBody>
          <a:bodyPr anchor="ctr"/>
          <a:lstStyle>
            <a:lvl1pPr>
              <a:defRPr sz="900">
                <a:solidFill>
                  <a:srgbClr val="99B1B9"/>
                </a:solidFill>
                <a:latin typeface="Roboto" panose="02000000000000000000" pitchFamily="2" charset="0"/>
              </a:defRPr>
            </a:lvl1pPr>
          </a:lstStyle>
          <a:p>
            <a:endParaRPr lang="de-DE"/>
          </a:p>
          <a:p>
            <a:fld id="{24C420F5-194C-40F2-A080-C5F3EDD89037}" type="slidenum">
              <a:rPr lang="de-DE" smtClean="0"/>
              <a:pPr/>
              <a:t>‹Nr.›</a:t>
            </a:fld>
            <a:endParaRPr lang="de-DE"/>
          </a:p>
        </p:txBody>
      </p:sp>
      <p:sp>
        <p:nvSpPr>
          <p:cNvPr id="88" name="header_box">
            <a:extLst>
              <a:ext uri="{FF2B5EF4-FFF2-40B4-BE49-F238E27FC236}">
                <a16:creationId xmlns:a16="http://schemas.microsoft.com/office/drawing/2014/main" id="{D550724F-2D95-4804-A0F3-9F15622FD50E}"/>
              </a:ext>
            </a:extLst>
          </p:cNvPr>
          <p:cNvSpPr>
            <a:spLocks noGrp="1"/>
          </p:cNvSpPr>
          <p:nvPr>
            <p:ph type="title"/>
          </p:nvPr>
        </p:nvSpPr>
        <p:spPr>
          <a:xfrm>
            <a:off x="208026" y="136779"/>
            <a:ext cx="9375521" cy="676910"/>
          </a:xfrm>
          <a:prstGeom prst="rect">
            <a:avLst/>
          </a:prstGeom>
        </p:spPr>
        <p:txBody>
          <a:bodyPr lIns="0" tIns="0" rIns="0" bIns="0" anchor="b"/>
          <a:lstStyle>
            <a:lvl1pPr>
              <a:defRPr sz="2000">
                <a:latin typeface="Roboto" panose="02000000000000000000" pitchFamily="2" charset="0"/>
              </a:defRPr>
            </a:lvl1pPr>
          </a:lstStyle>
          <a:p>
            <a:r>
              <a:rPr lang="en-US"/>
              <a:t>Click to edit Master title style</a:t>
            </a:r>
          </a:p>
        </p:txBody>
      </p:sp>
      <p:sp>
        <p:nvSpPr>
          <p:cNvPr id="2" name="gray_info_panel">
            <a:extLst>
              <a:ext uri="{FF2B5EF4-FFF2-40B4-BE49-F238E27FC236}">
                <a16:creationId xmlns:a16="http://schemas.microsoft.com/office/drawing/2014/main" id="{0E2FF4A5-DE1F-9567-3D53-BA9C8C9B6952}"/>
              </a:ext>
            </a:extLst>
          </p:cNvPr>
          <p:cNvSpPr/>
          <p:nvPr userDrawn="1"/>
        </p:nvSpPr>
        <p:spPr bwMode="gray">
          <a:xfrm>
            <a:off x="9819448" y="-2"/>
            <a:ext cx="1387348" cy="6286500"/>
          </a:xfrm>
          <a:prstGeom prst="rect">
            <a:avLst/>
          </a:prstGeom>
          <a:solidFill>
            <a:srgbClr val="EFEEEB"/>
          </a:solidFill>
          <a:ln w="9525" cap="flat" cmpd="sng" algn="ctr">
            <a:noFill/>
            <a:prstDash val="solid"/>
          </a:ln>
          <a:effectLst/>
          <a:extLs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cxnSp>
        <p:nvCxnSpPr>
          <p:cNvPr id="12" name="bottom_right_line">
            <a:extLst>
              <a:ext uri="{FF2B5EF4-FFF2-40B4-BE49-F238E27FC236}">
                <a16:creationId xmlns:a16="http://schemas.microsoft.com/office/drawing/2014/main" id="{1991EB0A-A3BB-A473-0EE2-9C72B73C9762}"/>
              </a:ext>
            </a:extLst>
          </p:cNvPr>
          <p:cNvCxnSpPr/>
          <p:nvPr userDrawn="1"/>
        </p:nvCxnSpPr>
        <p:spPr>
          <a:xfrm>
            <a:off x="9936607" y="6079109"/>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cxnSp>
        <p:nvCxnSpPr>
          <p:cNvPr id="19" name="bottom_right_line_2">
            <a:extLst>
              <a:ext uri="{FF2B5EF4-FFF2-40B4-BE49-F238E27FC236}">
                <a16:creationId xmlns:a16="http://schemas.microsoft.com/office/drawing/2014/main" id="{F86C81E4-5B08-0ED9-2516-360DF7FC2F70}"/>
              </a:ext>
            </a:extLst>
          </p:cNvPr>
          <p:cNvCxnSpPr/>
          <p:nvPr userDrawn="1"/>
        </p:nvCxnSpPr>
        <p:spPr>
          <a:xfrm>
            <a:off x="9936607" y="5507609"/>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cxnSp>
        <p:nvCxnSpPr>
          <p:cNvPr id="25" name="top_right_line">
            <a:extLst>
              <a:ext uri="{FF2B5EF4-FFF2-40B4-BE49-F238E27FC236}">
                <a16:creationId xmlns:a16="http://schemas.microsoft.com/office/drawing/2014/main" id="{733A4AB8-C1C2-9AC8-ECAF-209688BD7E20}"/>
              </a:ext>
            </a:extLst>
          </p:cNvPr>
          <p:cNvCxnSpPr/>
          <p:nvPr userDrawn="1"/>
        </p:nvCxnSpPr>
        <p:spPr>
          <a:xfrm>
            <a:off x="9936607" y="905002"/>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sp>
        <p:nvSpPr>
          <p:cNvPr id="28" name="Footer Placeholder 27">
            <a:extLst>
              <a:ext uri="{FF2B5EF4-FFF2-40B4-BE49-F238E27FC236}">
                <a16:creationId xmlns:a16="http://schemas.microsoft.com/office/drawing/2014/main" id="{8325D9C0-BA77-02C6-E235-6D60A6A438A9}"/>
              </a:ext>
            </a:extLst>
          </p:cNvPr>
          <p:cNvSpPr>
            <a:spLocks noGrp="1"/>
          </p:cNvSpPr>
          <p:nvPr>
            <p:ph type="ftr" sz="quarter" idx="12"/>
          </p:nvPr>
        </p:nvSpPr>
        <p:spPr>
          <a:xfrm>
            <a:off x="9936000" y="5760000"/>
            <a:ext cx="773400" cy="277200"/>
          </a:xfrm>
        </p:spPr>
        <p:txBody>
          <a:bodyPr anchor="ctr"/>
          <a:lstStyle>
            <a:lvl1pPr>
              <a:defRPr sz="900">
                <a:solidFill>
                  <a:srgbClr val="99B1B9"/>
                </a:solidFill>
                <a:latin typeface="Roboto" panose="02000000000000000000" pitchFamily="2" charset="0"/>
              </a:defRPr>
            </a:lvl1pPr>
          </a:lstStyle>
          <a:p>
            <a:r>
              <a:rPr lang="de-DE"/>
              <a:t>© 2025</a:t>
            </a:r>
          </a:p>
          <a:p>
            <a:r>
              <a:rPr lang="de-DE"/>
              <a:t>d-fine</a:t>
            </a:r>
          </a:p>
        </p:txBody>
      </p:sp>
      <p:sp>
        <p:nvSpPr>
          <p:cNvPr id="29" name="Text Placeholder 28">
            <a:extLst>
              <a:ext uri="{FF2B5EF4-FFF2-40B4-BE49-F238E27FC236}">
                <a16:creationId xmlns:a16="http://schemas.microsoft.com/office/drawing/2014/main" id="{B85C36D9-DD0B-7BA5-ECF4-7D23120F13E0}"/>
              </a:ext>
            </a:extLst>
          </p:cNvPr>
          <p:cNvSpPr>
            <a:spLocks noGrp="1"/>
          </p:cNvSpPr>
          <p:nvPr>
            <p:ph type="body" sz="quarter" idx="13" hasCustomPrompt="1"/>
          </p:nvPr>
        </p:nvSpPr>
        <p:spPr>
          <a:xfrm>
            <a:off x="207963" y="1066800"/>
            <a:ext cx="9366250" cy="4745038"/>
          </a:xfrm>
          <a:prstGeom prst="rect">
            <a:avLst/>
          </a:prstGeom>
        </p:spPr>
        <p:txBody>
          <a:bodyPr/>
          <a:lstStyle>
            <a:lvl1pPr>
              <a:defRPr sz="2000"/>
            </a:lvl1pPr>
            <a:lvl2pPr marL="374731" indent="-342900">
              <a:buFont typeface="Wingdings" panose="05000000000000000000" pitchFamily="2" charset="2"/>
              <a:buChar char="§"/>
              <a:defRPr sz="1800">
                <a:latin typeface="Roboto" panose="02000000000000000000" pitchFamily="2" charset="0"/>
              </a:defRPr>
            </a:lvl2pPr>
            <a:lvl3pPr marL="406563" indent="-342900">
              <a:buFont typeface="Wingdings" panose="05000000000000000000" pitchFamily="2" charset="2"/>
              <a:buChar char="§"/>
              <a:defRPr sz="1800"/>
            </a:lvl3pPr>
            <a:lvl4pPr marL="438394" indent="-342900">
              <a:buFont typeface="Wingdings" panose="05000000000000000000" pitchFamily="2" charset="2"/>
              <a:buChar char="§"/>
              <a:defRPr sz="1800"/>
            </a:lvl4pPr>
            <a:lvl5pPr marL="470039" indent="-342900">
              <a:buFont typeface="Wingdings" panose="05000000000000000000" pitchFamily="2" charset="2"/>
              <a:buChar char="§"/>
              <a:defRPr sz="1800"/>
            </a:lvl5pPr>
          </a:lstStyle>
          <a:p>
            <a:pPr lvl="1"/>
            <a:r>
              <a:rPr lang="en-US"/>
              <a:t>First level</a:t>
            </a:r>
          </a:p>
        </p:txBody>
      </p:sp>
      <p:cxnSp>
        <p:nvCxnSpPr>
          <p:cNvPr id="69" name="title_seperator_16_9">
            <a:extLst>
              <a:ext uri="{FF2B5EF4-FFF2-40B4-BE49-F238E27FC236}">
                <a16:creationId xmlns:a16="http://schemas.microsoft.com/office/drawing/2014/main" id="{879F3993-BFD6-F372-757F-B8DCC836C064}"/>
              </a:ext>
            </a:extLst>
          </p:cNvPr>
          <p:cNvCxnSpPr/>
          <p:nvPr userDrawn="1"/>
        </p:nvCxnSpPr>
        <p:spPr>
          <a:xfrm>
            <a:off x="9937242" y="1730502"/>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sp>
        <p:nvSpPr>
          <p:cNvPr id="26" name="pres_title_box">
            <a:extLst>
              <a:ext uri="{FF2B5EF4-FFF2-40B4-BE49-F238E27FC236}">
                <a16:creationId xmlns:a16="http://schemas.microsoft.com/office/drawing/2014/main" id="{47F6197F-4230-2E31-E5F7-6120FE16B3EA}"/>
              </a:ext>
            </a:extLst>
          </p:cNvPr>
          <p:cNvSpPr txBox="1"/>
          <p:nvPr userDrawn="1"/>
        </p:nvSpPr>
        <p:spPr>
          <a:xfrm>
            <a:off x="9937242" y="1016000"/>
            <a:ext cx="1033272" cy="508000"/>
          </a:xfrm>
          <a:prstGeom prst="rect">
            <a:avLst/>
          </a:prstGeom>
          <a:noFill/>
        </p:spPr>
        <p:txBody>
          <a:bodyPr vert="horz" wrap="square" lIns="0" tIns="0" rIns="0" bIns="0" rtlCol="0" anchor="t">
            <a:noAutofit/>
          </a:bodyPr>
          <a:lstStyle/>
          <a:p>
            <a:r>
              <a:rPr lang="de-DE" sz="1000">
                <a:solidFill>
                  <a:srgbClr val="99B1B9"/>
                </a:solidFill>
              </a:rPr>
              <a:t>KWP - Stakeholder-Workshop</a:t>
            </a:r>
          </a:p>
        </p:txBody>
      </p:sp>
      <p:grpSp>
        <p:nvGrpSpPr>
          <p:cNvPr id="27" name="Group 26">
            <a:extLst>
              <a:ext uri="{FF2B5EF4-FFF2-40B4-BE49-F238E27FC236}">
                <a16:creationId xmlns:a16="http://schemas.microsoft.com/office/drawing/2014/main" id="{1E6710C9-6270-9808-5C8A-C966CB25A1E8}"/>
              </a:ext>
            </a:extLst>
          </p:cNvPr>
          <p:cNvGrpSpPr/>
          <p:nvPr userDrawn="1"/>
        </p:nvGrpSpPr>
        <p:grpSpPr>
          <a:xfrm>
            <a:off x="9936203" y="1937004"/>
            <a:ext cx="1114790" cy="1645520"/>
            <a:chOff x="9937242" y="1937004"/>
            <a:chExt cx="1114790" cy="1645520"/>
          </a:xfrm>
        </p:grpSpPr>
        <p:grpSp>
          <p:nvGrpSpPr>
            <p:cNvPr id="82" name="Group 81">
              <a:extLst>
                <a:ext uri="{FF2B5EF4-FFF2-40B4-BE49-F238E27FC236}">
                  <a16:creationId xmlns:a16="http://schemas.microsoft.com/office/drawing/2014/main" id="{4DE2FF7D-AAEA-564D-350C-F6B9899AACA3}"/>
                </a:ext>
              </a:extLst>
            </p:cNvPr>
            <p:cNvGrpSpPr/>
            <p:nvPr/>
          </p:nvGrpSpPr>
          <p:grpSpPr>
            <a:xfrm>
              <a:off x="9937242" y="1937004"/>
              <a:ext cx="1080504" cy="276292"/>
              <a:chOff x="9946297" y="1937004"/>
              <a:chExt cx="1080504" cy="276292"/>
            </a:xfrm>
          </p:grpSpPr>
          <p:sp>
            <p:nvSpPr>
              <p:cNvPr id="97" name="Rectangle 96">
                <a:extLst>
                  <a:ext uri="{FF2B5EF4-FFF2-40B4-BE49-F238E27FC236}">
                    <a16:creationId xmlns:a16="http://schemas.microsoft.com/office/drawing/2014/main" id="{FF4C7FD3-9787-C1A0-1257-DBCD4188BFD7}"/>
                  </a:ext>
                </a:extLst>
              </p:cNvPr>
              <p:cNvSpPr/>
              <p:nvPr/>
            </p:nvSpPr>
            <p:spPr bwMode="gray">
              <a:xfrm>
                <a:off x="9946297" y="1937004"/>
                <a:ext cx="36000" cy="27629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98" name="Rectangle 97">
                <a:extLst>
                  <a:ext uri="{FF2B5EF4-FFF2-40B4-BE49-F238E27FC236}">
                    <a16:creationId xmlns:a16="http://schemas.microsoft.com/office/drawing/2014/main" id="{DDB66DE5-20D2-D36A-FA4B-5D67255B7C1C}"/>
                  </a:ext>
                </a:extLst>
              </p:cNvPr>
              <p:cNvSpPr/>
              <p:nvPr/>
            </p:nvSpPr>
            <p:spPr bwMode="gray">
              <a:xfrm>
                <a:off x="10064456" y="1937004"/>
                <a:ext cx="962345"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rPr>
                  <a:t>Über uns</a:t>
                </a:r>
              </a:p>
            </p:txBody>
          </p:sp>
        </p:grpSp>
        <p:grpSp>
          <p:nvGrpSpPr>
            <p:cNvPr id="83" name="Group 82">
              <a:extLst>
                <a:ext uri="{FF2B5EF4-FFF2-40B4-BE49-F238E27FC236}">
                  <a16:creationId xmlns:a16="http://schemas.microsoft.com/office/drawing/2014/main" id="{0296A641-1526-EA3F-2DA1-43A50D8E92EE}"/>
                </a:ext>
              </a:extLst>
            </p:cNvPr>
            <p:cNvGrpSpPr/>
            <p:nvPr/>
          </p:nvGrpSpPr>
          <p:grpSpPr>
            <a:xfrm>
              <a:off x="9937242" y="2279310"/>
              <a:ext cx="1114790" cy="276293"/>
              <a:chOff x="9946297" y="2260358"/>
              <a:chExt cx="1114790" cy="276293"/>
            </a:xfrm>
          </p:grpSpPr>
          <p:sp>
            <p:nvSpPr>
              <p:cNvPr id="95" name="Rectangle 94">
                <a:extLst>
                  <a:ext uri="{FF2B5EF4-FFF2-40B4-BE49-F238E27FC236}">
                    <a16:creationId xmlns:a16="http://schemas.microsoft.com/office/drawing/2014/main" id="{8107B1C5-FE61-9A62-D060-E2EC02D99588}"/>
                  </a:ext>
                </a:extLst>
              </p:cNvPr>
              <p:cNvSpPr/>
              <p:nvPr/>
            </p:nvSpPr>
            <p:spPr bwMode="gray">
              <a:xfrm>
                <a:off x="9946297" y="2260359"/>
                <a:ext cx="36000" cy="27629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96" name="Rectangle 95">
                <a:extLst>
                  <a:ext uri="{FF2B5EF4-FFF2-40B4-BE49-F238E27FC236}">
                    <a16:creationId xmlns:a16="http://schemas.microsoft.com/office/drawing/2014/main" id="{8F36408B-97CC-1A2D-CDE3-0E3D0FB2A168}"/>
                  </a:ext>
                </a:extLst>
              </p:cNvPr>
              <p:cNvSpPr/>
              <p:nvPr/>
            </p:nvSpPr>
            <p:spPr bwMode="gray">
              <a:xfrm>
                <a:off x="10064456" y="2260358"/>
                <a:ext cx="996631"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kern="1200">
                    <a:solidFill>
                      <a:schemeClr val="tx1"/>
                    </a:solidFill>
                    <a:latin typeface="+mn-lt"/>
                    <a:ea typeface="+mn-ea"/>
                    <a:cs typeface="+mn-cs"/>
                  </a:rPr>
                  <a:t>Kommunale</a:t>
                </a:r>
                <a:r>
                  <a:rPr lang="de-DE" sz="900">
                    <a:solidFill>
                      <a:schemeClr val="accent6"/>
                    </a:solidFill>
                  </a:rPr>
                  <a:t> </a:t>
                </a:r>
                <a:r>
                  <a:rPr lang="de-DE" sz="900" kern="1200">
                    <a:solidFill>
                      <a:schemeClr val="tx1"/>
                    </a:solidFill>
                    <a:latin typeface="+mn-lt"/>
                    <a:ea typeface="+mn-ea"/>
                    <a:cs typeface="+mn-cs"/>
                  </a:rPr>
                  <a:t>Wärmeplanung</a:t>
                </a:r>
              </a:p>
            </p:txBody>
          </p:sp>
        </p:grpSp>
        <p:grpSp>
          <p:nvGrpSpPr>
            <p:cNvPr id="84" name="Group 83">
              <a:extLst>
                <a:ext uri="{FF2B5EF4-FFF2-40B4-BE49-F238E27FC236}">
                  <a16:creationId xmlns:a16="http://schemas.microsoft.com/office/drawing/2014/main" id="{D7C61E2E-642D-1248-A5C1-DB0FD671C944}"/>
                </a:ext>
              </a:extLst>
            </p:cNvPr>
            <p:cNvGrpSpPr/>
            <p:nvPr/>
          </p:nvGrpSpPr>
          <p:grpSpPr>
            <a:xfrm>
              <a:off x="9937242" y="2621617"/>
              <a:ext cx="1080504" cy="276293"/>
              <a:chOff x="9946297" y="2583712"/>
              <a:chExt cx="1080504" cy="276293"/>
            </a:xfrm>
          </p:grpSpPr>
          <p:sp>
            <p:nvSpPr>
              <p:cNvPr id="93" name="Rectangle 92">
                <a:extLst>
                  <a:ext uri="{FF2B5EF4-FFF2-40B4-BE49-F238E27FC236}">
                    <a16:creationId xmlns:a16="http://schemas.microsoft.com/office/drawing/2014/main" id="{9CBB1CAA-E384-D0D2-47D4-452FC1A61A12}"/>
                  </a:ext>
                </a:extLst>
              </p:cNvPr>
              <p:cNvSpPr/>
              <p:nvPr/>
            </p:nvSpPr>
            <p:spPr bwMode="gray">
              <a:xfrm>
                <a:off x="9946297" y="2583713"/>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94" name="Rectangle 93">
                <a:extLst>
                  <a:ext uri="{FF2B5EF4-FFF2-40B4-BE49-F238E27FC236}">
                    <a16:creationId xmlns:a16="http://schemas.microsoft.com/office/drawing/2014/main" id="{22F3BF01-C447-E094-3C33-4E2A75BAC4C4}"/>
                  </a:ext>
                </a:extLst>
              </p:cNvPr>
              <p:cNvSpPr/>
              <p:nvPr/>
            </p:nvSpPr>
            <p:spPr bwMode="gray">
              <a:xfrm>
                <a:off x="10064456" y="2583712"/>
                <a:ext cx="962345"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rPr>
                  <a:t>Ergebnisse der KWP</a:t>
                </a:r>
              </a:p>
            </p:txBody>
          </p:sp>
        </p:grpSp>
        <p:grpSp>
          <p:nvGrpSpPr>
            <p:cNvPr id="85" name="Group 84">
              <a:extLst>
                <a:ext uri="{FF2B5EF4-FFF2-40B4-BE49-F238E27FC236}">
                  <a16:creationId xmlns:a16="http://schemas.microsoft.com/office/drawing/2014/main" id="{D6DE4DB2-61A0-CC1E-3664-31BC7151D6D8}"/>
                </a:ext>
              </a:extLst>
            </p:cNvPr>
            <p:cNvGrpSpPr/>
            <p:nvPr/>
          </p:nvGrpSpPr>
          <p:grpSpPr>
            <a:xfrm>
              <a:off x="9937242" y="2963924"/>
              <a:ext cx="1080504" cy="276293"/>
              <a:chOff x="9946297" y="2907066"/>
              <a:chExt cx="1080504" cy="276293"/>
            </a:xfrm>
          </p:grpSpPr>
          <p:sp>
            <p:nvSpPr>
              <p:cNvPr id="91" name="Rectangle 90">
                <a:extLst>
                  <a:ext uri="{FF2B5EF4-FFF2-40B4-BE49-F238E27FC236}">
                    <a16:creationId xmlns:a16="http://schemas.microsoft.com/office/drawing/2014/main" id="{CA6EDAF9-A095-86A3-E50B-A611C5F7C6F9}"/>
                  </a:ext>
                </a:extLst>
              </p:cNvPr>
              <p:cNvSpPr/>
              <p:nvPr/>
            </p:nvSpPr>
            <p:spPr bwMode="gray">
              <a:xfrm>
                <a:off x="9946297" y="2907067"/>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92" name="Rectangle 91">
                <a:extLst>
                  <a:ext uri="{FF2B5EF4-FFF2-40B4-BE49-F238E27FC236}">
                    <a16:creationId xmlns:a16="http://schemas.microsoft.com/office/drawing/2014/main" id="{CC36F9FD-E1CB-8FCA-7031-A6CF79E7DF62}"/>
                  </a:ext>
                </a:extLst>
              </p:cNvPr>
              <p:cNvSpPr/>
              <p:nvPr/>
            </p:nvSpPr>
            <p:spPr bwMode="gray">
              <a:xfrm>
                <a:off x="10064456" y="2907066"/>
                <a:ext cx="962345"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rPr>
                  <a:t>Austausch an Themenstationen</a:t>
                </a:r>
              </a:p>
            </p:txBody>
          </p:sp>
        </p:grpSp>
        <p:grpSp>
          <p:nvGrpSpPr>
            <p:cNvPr id="86" name="Group 85">
              <a:extLst>
                <a:ext uri="{FF2B5EF4-FFF2-40B4-BE49-F238E27FC236}">
                  <a16:creationId xmlns:a16="http://schemas.microsoft.com/office/drawing/2014/main" id="{0682C6D0-B7EA-C1C3-D0B1-D104CAF973A9}"/>
                </a:ext>
              </a:extLst>
            </p:cNvPr>
            <p:cNvGrpSpPr/>
            <p:nvPr/>
          </p:nvGrpSpPr>
          <p:grpSpPr>
            <a:xfrm>
              <a:off x="9937242" y="3306231"/>
              <a:ext cx="1114790" cy="276293"/>
              <a:chOff x="9946297" y="3230420"/>
              <a:chExt cx="1114790" cy="276293"/>
            </a:xfrm>
          </p:grpSpPr>
          <p:sp>
            <p:nvSpPr>
              <p:cNvPr id="89" name="Rectangle 88">
                <a:extLst>
                  <a:ext uri="{FF2B5EF4-FFF2-40B4-BE49-F238E27FC236}">
                    <a16:creationId xmlns:a16="http://schemas.microsoft.com/office/drawing/2014/main" id="{1F7B1B08-DA4A-4FF7-8BD6-69A833E35E08}"/>
                  </a:ext>
                </a:extLst>
              </p:cNvPr>
              <p:cNvSpPr/>
              <p:nvPr/>
            </p:nvSpPr>
            <p:spPr bwMode="gray">
              <a:xfrm>
                <a:off x="9946297" y="3230421"/>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90" name="Rectangle 89">
                <a:extLst>
                  <a:ext uri="{FF2B5EF4-FFF2-40B4-BE49-F238E27FC236}">
                    <a16:creationId xmlns:a16="http://schemas.microsoft.com/office/drawing/2014/main" id="{F1E62B77-4528-FD2A-57B1-48C4A277B71B}"/>
                  </a:ext>
                </a:extLst>
              </p:cNvPr>
              <p:cNvSpPr/>
              <p:nvPr/>
            </p:nvSpPr>
            <p:spPr bwMode="gray">
              <a:xfrm>
                <a:off x="10064456" y="3230420"/>
                <a:ext cx="996631"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rPr>
                  <a:t>Zusammenfassung und Ausblick</a:t>
                </a:r>
              </a:p>
            </p:txBody>
          </p:sp>
        </p:grpSp>
      </p:grpSp>
      <p:pic>
        <p:nvPicPr>
          <p:cNvPr id="99" name="Graphic 98">
            <a:extLst>
              <a:ext uri="{FF2B5EF4-FFF2-40B4-BE49-F238E27FC236}">
                <a16:creationId xmlns:a16="http://schemas.microsoft.com/office/drawing/2014/main" id="{117155A6-03F1-4FF0-88B1-D1C88701718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2713" y="194333"/>
            <a:ext cx="519225" cy="626831"/>
          </a:xfrm>
          <a:prstGeom prst="rect">
            <a:avLst/>
          </a:prstGeom>
        </p:spPr>
      </p:pic>
      <p:pic>
        <p:nvPicPr>
          <p:cNvPr id="11" name="Picture 2" descr="Fotos, Logos und Wappen | rheda-wiedenbrueck">
            <a:extLst>
              <a:ext uri="{FF2B5EF4-FFF2-40B4-BE49-F238E27FC236}">
                <a16:creationId xmlns:a16="http://schemas.microsoft.com/office/drawing/2014/main" id="{09203E49-7EA0-CC50-506F-B7A88BFB25F4}"/>
              </a:ext>
            </a:extLst>
          </p:cNvPr>
          <p:cNvPicPr>
            <a:picLocks noChangeAspect="1" noChangeArrowheads="1"/>
          </p:cNvPicPr>
          <p:nvPr userDrawn="1"/>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932410" y="4876784"/>
            <a:ext cx="1079998" cy="372259"/>
          </a:xfrm>
          <a:prstGeom prst="rect">
            <a:avLst/>
          </a:prstGeom>
          <a:noFill/>
          <a:ln>
            <a:solidFill>
              <a:srgbClr val="EFEEEB"/>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1175309"/>
      </p:ext>
    </p:extLst>
  </p:cSld>
  <p:clrMapOvr>
    <a:masterClrMapping/>
  </p:clrMapOvr>
  <p:hf hdr="0" dt="0"/>
  <p:extLst>
    <p:ext uri="{DCECCB84-F9BA-43D5-87BE-67443E8EF086}">
      <p15:sldGuideLst xmlns:p15="http://schemas.microsoft.com/office/powerpoint/2012/main">
        <p15:guide id="2" pos="214">
          <p15:clr>
            <a:srgbClr val="A4A3A4"/>
          </p15:clr>
        </p15:guide>
        <p15:guide id="3" pos="7728">
          <p15:clr>
            <a:srgbClr val="A4A3A4"/>
          </p15:clr>
        </p15:guide>
        <p15:guide id="4" orient="horz" pos="672">
          <p15:clr>
            <a:srgbClr val="A4A3A4"/>
          </p15:clr>
        </p15:guide>
        <p15:guide id="5" orient="horz" pos="933">
          <p15:clr>
            <a:srgbClr val="A4A3A4"/>
          </p15:clr>
        </p15:guide>
        <p15:guide id="6" orient="horz" pos="3053">
          <p15:clr>
            <a:srgbClr val="A4A3A4"/>
          </p15:clr>
        </p15:guide>
        <p15:guide id="7" orient="horz" pos="3334">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Ü">
    <p:spTree>
      <p:nvGrpSpPr>
        <p:cNvPr id="1" name=""/>
        <p:cNvGrpSpPr/>
        <p:nvPr/>
      </p:nvGrpSpPr>
      <p:grpSpPr>
        <a:xfrm>
          <a:off x="0" y="0"/>
          <a:ext cx="0" cy="0"/>
          <a:chOff x="0" y="0"/>
          <a:chExt cx="0" cy="0"/>
        </a:xfrm>
      </p:grpSpPr>
      <p:cxnSp>
        <p:nvCxnSpPr>
          <p:cNvPr id="10" name="top_line"/>
          <p:cNvCxnSpPr/>
          <p:nvPr userDrawn="1"/>
        </p:nvCxnSpPr>
        <p:spPr bwMode="gray">
          <a:xfrm>
            <a:off x="208026" y="905002"/>
            <a:ext cx="9372600"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cxnSp>
        <p:nvCxnSpPr>
          <p:cNvPr id="13" name="bottom_line"/>
          <p:cNvCxnSpPr/>
          <p:nvPr userDrawn="1"/>
        </p:nvCxnSpPr>
        <p:spPr bwMode="gray">
          <a:xfrm>
            <a:off x="208026" y="6079109"/>
            <a:ext cx="9372600"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grpSp>
        <p:nvGrpSpPr>
          <p:cNvPr id="16" name="CA_marker_top_left"/>
          <p:cNvGrpSpPr/>
          <p:nvPr userDrawn="1"/>
        </p:nvGrpSpPr>
        <p:grpSpPr bwMode="gray">
          <a:xfrm>
            <a:off x="208800" y="-356400"/>
            <a:ext cx="964800" cy="262800"/>
            <a:chOff x="266700" y="-387424"/>
            <a:chExt cx="812096" cy="288032"/>
          </a:xfrm>
        </p:grpSpPr>
        <p:cxnSp>
          <p:nvCxnSpPr>
            <p:cNvPr id="5" name="Straight Connector 4"/>
            <p:cNvCxnSpPr/>
            <p:nvPr userDrawn="1"/>
          </p:nvCxnSpPr>
          <p:spPr bwMode="gray">
            <a:xfrm flipH="1" flipV="1">
              <a:off x="266700"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bwMode="gray">
            <a:xfrm>
              <a:off x="526604" y="-320401"/>
              <a:ext cx="552192" cy="153975"/>
            </a:xfrm>
            <a:prstGeom prst="rect">
              <a:avLst/>
            </a:prstGeom>
            <a:noFill/>
          </p:spPr>
          <p:txBody>
            <a:bodyPr wrap="none" lIns="0" tIns="0" rIns="0" bIns="0" rtlCol="0" anchor="ctr">
              <a:spAutoFit/>
            </a:bodyPr>
            <a:lstStyle/>
            <a:p>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a:t>
              </a:r>
              <a:endParaRPr lang="de-DE" sz="900">
                <a:solidFill>
                  <a:schemeClr val="accent6"/>
                </a:solidFill>
                <a:latin typeface="Roboto" panose="02000000000000000000" pitchFamily="2" charset="0"/>
              </a:endParaRPr>
            </a:p>
          </p:txBody>
        </p:sp>
      </p:grpSp>
      <p:grpSp>
        <p:nvGrpSpPr>
          <p:cNvPr id="21" name="CA_marker_bottom_left"/>
          <p:cNvGrpSpPr/>
          <p:nvPr userDrawn="1"/>
        </p:nvGrpSpPr>
        <p:grpSpPr bwMode="gray">
          <a:xfrm>
            <a:off x="208800" y="6379200"/>
            <a:ext cx="964800" cy="262800"/>
            <a:chOff x="266699" y="-387424"/>
            <a:chExt cx="812100" cy="288032"/>
          </a:xfrm>
        </p:grpSpPr>
        <p:cxnSp>
          <p:nvCxnSpPr>
            <p:cNvPr id="22" name="Straight Connector 21"/>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bwMode="gray">
            <a:xfrm>
              <a:off x="526604" y="-320401"/>
              <a:ext cx="552195" cy="153975"/>
            </a:xfrm>
            <a:prstGeom prst="rect">
              <a:avLst/>
            </a:prstGeom>
            <a:noFill/>
          </p:spPr>
          <p:txBody>
            <a:bodyPr wrap="none" lIns="0" tIns="0" rIns="0" bIns="0" rtlCol="0" anchor="ctr">
              <a:spAutoFit/>
            </a:bodyPr>
            <a:lstStyle/>
            <a:p>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a:t>
              </a:r>
              <a:endParaRPr lang="de-DE" sz="900">
                <a:solidFill>
                  <a:schemeClr val="accent6"/>
                </a:solidFill>
                <a:latin typeface="Roboto" panose="02000000000000000000" pitchFamily="2" charset="0"/>
              </a:endParaRPr>
            </a:p>
          </p:txBody>
        </p:sp>
      </p:grpSp>
      <p:grpSp>
        <p:nvGrpSpPr>
          <p:cNvPr id="37" name="CA_marker_top_right"/>
          <p:cNvGrpSpPr/>
          <p:nvPr userDrawn="1"/>
        </p:nvGrpSpPr>
        <p:grpSpPr bwMode="gray">
          <a:xfrm flipH="1">
            <a:off x="8614800" y="-356400"/>
            <a:ext cx="964800" cy="262800"/>
            <a:chOff x="266699" y="-387424"/>
            <a:chExt cx="1029346" cy="288032"/>
          </a:xfrm>
        </p:grpSpPr>
        <p:cxnSp>
          <p:nvCxnSpPr>
            <p:cNvPr id="38" name="Straight Connector 37"/>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userDrawn="1"/>
          </p:nvSpPr>
          <p:spPr bwMode="gray">
            <a:xfrm>
              <a:off x="679293" y="-320395"/>
              <a:ext cx="616752" cy="153975"/>
            </a:xfrm>
            <a:prstGeom prst="rect">
              <a:avLst/>
            </a:prstGeom>
            <a:noFill/>
          </p:spPr>
          <p:txBody>
            <a:bodyPr wrap="none" lIns="0" tIns="0" rIns="0" bIns="0" rtlCol="0" anchor="ctr">
              <a:spAutoFit/>
            </a:bodyPr>
            <a:lstStyle/>
            <a:p>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a:t>
              </a:r>
              <a:endParaRPr lang="de-DE" sz="900">
                <a:solidFill>
                  <a:schemeClr val="accent6"/>
                </a:solidFill>
                <a:latin typeface="Roboto" panose="02000000000000000000" pitchFamily="2" charset="0"/>
              </a:endParaRPr>
            </a:p>
          </p:txBody>
        </p:sp>
      </p:grpSp>
      <p:grpSp>
        <p:nvGrpSpPr>
          <p:cNvPr id="41" name="CA_marker_bottom_right"/>
          <p:cNvGrpSpPr/>
          <p:nvPr userDrawn="1"/>
        </p:nvGrpSpPr>
        <p:grpSpPr bwMode="gray">
          <a:xfrm flipH="1">
            <a:off x="8614800" y="6379200"/>
            <a:ext cx="964800" cy="262800"/>
            <a:chOff x="266699" y="-387424"/>
            <a:chExt cx="1029346" cy="288032"/>
          </a:xfrm>
        </p:grpSpPr>
        <p:cxnSp>
          <p:nvCxnSpPr>
            <p:cNvPr id="42" name="Straight Connector 41"/>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userDrawn="1"/>
          </p:nvSpPr>
          <p:spPr bwMode="gray">
            <a:xfrm>
              <a:off x="679293" y="-320395"/>
              <a:ext cx="616752" cy="153975"/>
            </a:xfrm>
            <a:prstGeom prst="rect">
              <a:avLst/>
            </a:prstGeom>
            <a:noFill/>
          </p:spPr>
          <p:txBody>
            <a:bodyPr wrap="none" lIns="0" tIns="0" rIns="0" bIns="0" rtlCol="0" anchor="ctr">
              <a:spAutoFit/>
            </a:bodyPr>
            <a:lstStyle/>
            <a:p>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a:t>
              </a:r>
              <a:endParaRPr lang="de-DE" sz="900">
                <a:solidFill>
                  <a:schemeClr val="accent6"/>
                </a:solidFill>
                <a:latin typeface="Roboto" panose="02000000000000000000" pitchFamily="2" charset="0"/>
              </a:endParaRPr>
            </a:p>
          </p:txBody>
        </p:sp>
      </p:grpSp>
      <p:grpSp>
        <p:nvGrpSpPr>
          <p:cNvPr id="7" name="CA_marker_left_bottom_NTHM"/>
          <p:cNvGrpSpPr/>
          <p:nvPr userDrawn="1"/>
        </p:nvGrpSpPr>
        <p:grpSpPr bwMode="gray">
          <a:xfrm>
            <a:off x="-475200" y="4615200"/>
            <a:ext cx="324000" cy="1400400"/>
            <a:chOff x="-420221" y="4770550"/>
            <a:chExt cx="288032" cy="1528650"/>
          </a:xfrm>
        </p:grpSpPr>
        <p:cxnSp>
          <p:nvCxnSpPr>
            <p:cNvPr id="47" name="Straight Connector 46"/>
            <p:cNvCxnSpPr/>
            <p:nvPr userDrawn="1"/>
          </p:nvCxnSpPr>
          <p:spPr bwMode="gray">
            <a:xfrm rot="5400000" flipH="1" flipV="1">
              <a:off x="-276206" y="61551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userDrawn="1"/>
          </p:nvCxnSpPr>
          <p:spPr bwMode="gray">
            <a:xfrm rot="16200000" flipH="1" flipV="1">
              <a:off x="-387108" y="6188296"/>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p:cNvSpPr txBox="1"/>
            <p:nvPr userDrawn="1"/>
          </p:nvSpPr>
          <p:spPr bwMode="gray">
            <a:xfrm>
              <a:off x="-364310" y="4770550"/>
              <a:ext cx="176211" cy="1297385"/>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no THM</a:t>
              </a:r>
              <a:endParaRPr lang="de-DE" sz="900">
                <a:solidFill>
                  <a:schemeClr val="accent6"/>
                </a:solidFill>
                <a:latin typeface="Roboto" panose="02000000000000000000" pitchFamily="2" charset="0"/>
              </a:endParaRPr>
            </a:p>
          </p:txBody>
        </p:sp>
      </p:grpSp>
      <p:grpSp>
        <p:nvGrpSpPr>
          <p:cNvPr id="4" name="CA_marker_left_top_ST"/>
          <p:cNvGrpSpPr/>
          <p:nvPr userDrawn="1"/>
        </p:nvGrpSpPr>
        <p:grpSpPr bwMode="gray">
          <a:xfrm>
            <a:off x="-752400" y="1436401"/>
            <a:ext cx="324000" cy="1724400"/>
            <a:chOff x="-667814" y="1764387"/>
            <a:chExt cx="288032" cy="1880637"/>
          </a:xfrm>
        </p:grpSpPr>
        <p:cxnSp>
          <p:nvCxnSpPr>
            <p:cNvPr id="57" name="Straight Connector 56"/>
            <p:cNvCxnSpPr/>
            <p:nvPr userDrawn="1"/>
          </p:nvCxnSpPr>
          <p:spPr bwMode="gray">
            <a:xfrm rot="5400000" flipH="1" flipV="1">
              <a:off x="-523799" y="1624077"/>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userDrawn="1"/>
          </p:nvCxnSpPr>
          <p:spPr bwMode="gray">
            <a:xfrm rot="5400000" flipH="1">
              <a:off x="-634701" y="187528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userDrawn="1"/>
          </p:nvSpPr>
          <p:spPr bwMode="gray">
            <a:xfrm>
              <a:off x="-611904" y="2051178"/>
              <a:ext cx="176211" cy="1593846"/>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with subtitle</a:t>
              </a:r>
              <a:endParaRPr lang="de-DE" sz="900">
                <a:solidFill>
                  <a:schemeClr val="accent6"/>
                </a:solidFill>
                <a:latin typeface="Roboto" panose="02000000000000000000" pitchFamily="2" charset="0"/>
              </a:endParaRPr>
            </a:p>
          </p:txBody>
        </p:sp>
      </p:grpSp>
      <p:grpSp>
        <p:nvGrpSpPr>
          <p:cNvPr id="6" name="CA_marker_left_bottom_THM"/>
          <p:cNvGrpSpPr/>
          <p:nvPr userDrawn="1"/>
        </p:nvGrpSpPr>
        <p:grpSpPr bwMode="gray">
          <a:xfrm>
            <a:off x="-752400" y="4057200"/>
            <a:ext cx="324000" cy="1494000"/>
            <a:chOff x="-667814" y="4138377"/>
            <a:chExt cx="288032" cy="1629264"/>
          </a:xfrm>
        </p:grpSpPr>
        <p:cxnSp>
          <p:nvCxnSpPr>
            <p:cNvPr id="61" name="Straight Connector 60"/>
            <p:cNvCxnSpPr/>
            <p:nvPr userDrawn="1"/>
          </p:nvCxnSpPr>
          <p:spPr bwMode="gray">
            <a:xfrm rot="5400000" flipH="1" flipV="1">
              <a:off x="-523799" y="5623625"/>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userDrawn="1"/>
          </p:nvCxnSpPr>
          <p:spPr bwMode="gray">
            <a:xfrm rot="16200000" flipH="1" flipV="1">
              <a:off x="-634701" y="5656737"/>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userDrawn="1"/>
          </p:nvSpPr>
          <p:spPr bwMode="gray">
            <a:xfrm>
              <a:off x="-611903" y="4138377"/>
              <a:ext cx="176211" cy="1398000"/>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with THM</a:t>
              </a:r>
              <a:endParaRPr lang="de-DE" sz="900">
                <a:solidFill>
                  <a:schemeClr val="accent6"/>
                </a:solidFill>
                <a:latin typeface="Roboto" panose="02000000000000000000" pitchFamily="2" charset="0"/>
              </a:endParaRPr>
            </a:p>
          </p:txBody>
        </p:sp>
      </p:grpSp>
      <p:grpSp>
        <p:nvGrpSpPr>
          <p:cNvPr id="15" name="CA_marker_right_top_NST"/>
          <p:cNvGrpSpPr/>
          <p:nvPr userDrawn="1"/>
        </p:nvGrpSpPr>
        <p:grpSpPr bwMode="gray">
          <a:xfrm>
            <a:off x="11325599" y="990000"/>
            <a:ext cx="324000" cy="1605600"/>
            <a:chOff x="10038191" y="1270000"/>
            <a:chExt cx="288032" cy="1752599"/>
          </a:xfrm>
        </p:grpSpPr>
        <p:cxnSp>
          <p:nvCxnSpPr>
            <p:cNvPr id="79" name="Straight Connector 78"/>
            <p:cNvCxnSpPr/>
            <p:nvPr userDrawn="1"/>
          </p:nvCxnSpPr>
          <p:spPr bwMode="gray">
            <a:xfrm rot="16200000" flipV="1">
              <a:off x="10182206" y="1129690"/>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userDrawn="1"/>
          </p:nvCxnSpPr>
          <p:spPr bwMode="gray">
            <a:xfrm rot="16200000">
              <a:off x="10071305" y="1380901"/>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p:cNvSpPr txBox="1"/>
            <p:nvPr userDrawn="1"/>
          </p:nvSpPr>
          <p:spPr bwMode="gray">
            <a:xfrm flipH="1">
              <a:off x="10094101" y="1556791"/>
              <a:ext cx="176211" cy="1465808"/>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no subtitle</a:t>
              </a:r>
              <a:endParaRPr lang="de-DE" sz="900">
                <a:solidFill>
                  <a:schemeClr val="accent6"/>
                </a:solidFill>
                <a:latin typeface="Roboto" panose="02000000000000000000" pitchFamily="2" charset="0"/>
              </a:endParaRPr>
            </a:p>
          </p:txBody>
        </p:sp>
      </p:grpSp>
      <p:grpSp>
        <p:nvGrpSpPr>
          <p:cNvPr id="9" name="CA_marker_right_bottom_NTHM"/>
          <p:cNvGrpSpPr/>
          <p:nvPr userDrawn="1"/>
        </p:nvGrpSpPr>
        <p:grpSpPr bwMode="gray">
          <a:xfrm>
            <a:off x="11325599" y="4615200"/>
            <a:ext cx="324000" cy="1400400"/>
            <a:chOff x="10038191" y="4770550"/>
            <a:chExt cx="288032" cy="1528650"/>
          </a:xfrm>
        </p:grpSpPr>
        <p:cxnSp>
          <p:nvCxnSpPr>
            <p:cNvPr id="76" name="Straight Connector 75"/>
            <p:cNvCxnSpPr/>
            <p:nvPr userDrawn="1"/>
          </p:nvCxnSpPr>
          <p:spPr bwMode="gray">
            <a:xfrm rot="16200000" flipV="1">
              <a:off x="10182206" y="61551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userDrawn="1"/>
          </p:nvCxnSpPr>
          <p:spPr bwMode="gray">
            <a:xfrm rot="5400000" flipV="1">
              <a:off x="10071305" y="6188296"/>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userDrawn="1"/>
          </p:nvSpPr>
          <p:spPr bwMode="gray">
            <a:xfrm flipH="1">
              <a:off x="10094100" y="4770550"/>
              <a:ext cx="176211" cy="1297385"/>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no THM</a:t>
              </a:r>
              <a:endParaRPr lang="de-DE" sz="900">
                <a:solidFill>
                  <a:schemeClr val="accent6"/>
                </a:solidFill>
                <a:latin typeface="Roboto" panose="02000000000000000000" pitchFamily="2" charset="0"/>
              </a:endParaRPr>
            </a:p>
          </p:txBody>
        </p:sp>
      </p:grpSp>
      <p:grpSp>
        <p:nvGrpSpPr>
          <p:cNvPr id="14" name="CA_marker_right_top_ST"/>
          <p:cNvGrpSpPr/>
          <p:nvPr userDrawn="1"/>
        </p:nvGrpSpPr>
        <p:grpSpPr bwMode="gray">
          <a:xfrm>
            <a:off x="11606400" y="1436401"/>
            <a:ext cx="324000" cy="1724400"/>
            <a:chOff x="10285784" y="1764387"/>
            <a:chExt cx="288032" cy="1880637"/>
          </a:xfrm>
        </p:grpSpPr>
        <p:cxnSp>
          <p:nvCxnSpPr>
            <p:cNvPr id="73" name="Straight Connector 72"/>
            <p:cNvCxnSpPr/>
            <p:nvPr userDrawn="1"/>
          </p:nvCxnSpPr>
          <p:spPr bwMode="gray">
            <a:xfrm rot="16200000" flipV="1">
              <a:off x="10429799" y="1624077"/>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userDrawn="1"/>
          </p:nvCxnSpPr>
          <p:spPr bwMode="gray">
            <a:xfrm rot="16200000">
              <a:off x="10318898" y="187528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p:cNvSpPr txBox="1"/>
            <p:nvPr userDrawn="1"/>
          </p:nvSpPr>
          <p:spPr bwMode="gray">
            <a:xfrm flipH="1">
              <a:off x="10341694" y="2051178"/>
              <a:ext cx="176211" cy="1593846"/>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with subtitle</a:t>
              </a:r>
              <a:endParaRPr lang="de-DE" sz="900">
                <a:solidFill>
                  <a:schemeClr val="accent6"/>
                </a:solidFill>
                <a:latin typeface="Roboto" panose="02000000000000000000" pitchFamily="2" charset="0"/>
              </a:endParaRPr>
            </a:p>
          </p:txBody>
        </p:sp>
      </p:grpSp>
      <p:grpSp>
        <p:nvGrpSpPr>
          <p:cNvPr id="8" name="CA_marker_right_bottom_THM"/>
          <p:cNvGrpSpPr/>
          <p:nvPr userDrawn="1"/>
        </p:nvGrpSpPr>
        <p:grpSpPr bwMode="gray">
          <a:xfrm>
            <a:off x="11606400" y="4057200"/>
            <a:ext cx="324000" cy="1494000"/>
            <a:chOff x="10285784" y="4138377"/>
            <a:chExt cx="288032" cy="1629264"/>
          </a:xfrm>
        </p:grpSpPr>
        <p:cxnSp>
          <p:nvCxnSpPr>
            <p:cNvPr id="70" name="Straight Connector 69"/>
            <p:cNvCxnSpPr/>
            <p:nvPr userDrawn="1"/>
          </p:nvCxnSpPr>
          <p:spPr bwMode="gray">
            <a:xfrm rot="16200000" flipV="1">
              <a:off x="10429799" y="5623625"/>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userDrawn="1"/>
          </p:nvCxnSpPr>
          <p:spPr bwMode="gray">
            <a:xfrm rot="5400000" flipV="1">
              <a:off x="10318898" y="5656737"/>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userDrawn="1"/>
          </p:nvSpPr>
          <p:spPr bwMode="gray">
            <a:xfrm flipH="1">
              <a:off x="10341693" y="4138377"/>
              <a:ext cx="176211" cy="1398000"/>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with THM</a:t>
              </a:r>
              <a:endParaRPr lang="de-DE" sz="900">
                <a:solidFill>
                  <a:schemeClr val="accent6"/>
                </a:solidFill>
                <a:latin typeface="Roboto" panose="02000000000000000000" pitchFamily="2" charset="0"/>
              </a:endParaRPr>
            </a:p>
          </p:txBody>
        </p:sp>
      </p:grpSp>
      <p:grpSp>
        <p:nvGrpSpPr>
          <p:cNvPr id="3" name="CA_marker_left_top_NST"/>
          <p:cNvGrpSpPr/>
          <p:nvPr userDrawn="1"/>
        </p:nvGrpSpPr>
        <p:grpSpPr bwMode="gray">
          <a:xfrm>
            <a:off x="-475200" y="990000"/>
            <a:ext cx="324000" cy="1605600"/>
            <a:chOff x="-420221" y="1269999"/>
            <a:chExt cx="288032" cy="1752600"/>
          </a:xfrm>
        </p:grpSpPr>
        <p:cxnSp>
          <p:nvCxnSpPr>
            <p:cNvPr id="35" name="Straight Arrow Connector 34"/>
            <p:cNvCxnSpPr/>
            <p:nvPr userDrawn="1"/>
          </p:nvCxnSpPr>
          <p:spPr bwMode="gray">
            <a:xfrm rot="5400000" flipH="1">
              <a:off x="-387108" y="1380901"/>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userDrawn="1"/>
          </p:nvSpPr>
          <p:spPr bwMode="gray">
            <a:xfrm>
              <a:off x="-364311" y="1556791"/>
              <a:ext cx="176211" cy="1465808"/>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no subtitle</a:t>
              </a:r>
              <a:endParaRPr lang="de-DE" sz="900">
                <a:solidFill>
                  <a:schemeClr val="accent6"/>
                </a:solidFill>
                <a:latin typeface="Roboto" panose="02000000000000000000" pitchFamily="2" charset="0"/>
              </a:endParaRPr>
            </a:p>
          </p:txBody>
        </p:sp>
        <p:cxnSp>
          <p:nvCxnSpPr>
            <p:cNvPr id="87" name="Straight Connector 86"/>
            <p:cNvCxnSpPr/>
            <p:nvPr userDrawn="1"/>
          </p:nvCxnSpPr>
          <p:spPr bwMode="gray">
            <a:xfrm rot="5400000" flipH="1" flipV="1">
              <a:off x="-276206" y="11259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0" name="Slide Number Placeholder 19"/>
          <p:cNvSpPr>
            <a:spLocks noGrp="1"/>
          </p:cNvSpPr>
          <p:nvPr>
            <p:ph type="sldNum" sz="quarter" idx="11"/>
          </p:nvPr>
        </p:nvSpPr>
        <p:spPr>
          <a:xfrm>
            <a:off x="10328401" y="5760000"/>
            <a:ext cx="698400" cy="280800"/>
          </a:xfrm>
        </p:spPr>
        <p:txBody>
          <a:bodyPr anchor="ctr"/>
          <a:lstStyle>
            <a:lvl1pPr>
              <a:defRPr sz="900">
                <a:solidFill>
                  <a:srgbClr val="99B1B9"/>
                </a:solidFill>
                <a:latin typeface="Roboto" panose="02000000000000000000" pitchFamily="2" charset="0"/>
              </a:defRPr>
            </a:lvl1pPr>
          </a:lstStyle>
          <a:p>
            <a:endParaRPr lang="de-DE"/>
          </a:p>
          <a:p>
            <a:fld id="{24C420F5-194C-40F2-A080-C5F3EDD89037}" type="slidenum">
              <a:rPr lang="de-DE" smtClean="0"/>
              <a:pPr/>
              <a:t>‹Nr.›</a:t>
            </a:fld>
            <a:endParaRPr lang="de-DE"/>
          </a:p>
        </p:txBody>
      </p:sp>
      <p:sp>
        <p:nvSpPr>
          <p:cNvPr id="88" name="header_box">
            <a:extLst>
              <a:ext uri="{FF2B5EF4-FFF2-40B4-BE49-F238E27FC236}">
                <a16:creationId xmlns:a16="http://schemas.microsoft.com/office/drawing/2014/main" id="{D550724F-2D95-4804-A0F3-9F15622FD50E}"/>
              </a:ext>
            </a:extLst>
          </p:cNvPr>
          <p:cNvSpPr>
            <a:spLocks noGrp="1"/>
          </p:cNvSpPr>
          <p:nvPr>
            <p:ph type="title"/>
          </p:nvPr>
        </p:nvSpPr>
        <p:spPr>
          <a:xfrm>
            <a:off x="208026" y="136779"/>
            <a:ext cx="9375521" cy="676910"/>
          </a:xfrm>
          <a:prstGeom prst="rect">
            <a:avLst/>
          </a:prstGeom>
        </p:spPr>
        <p:txBody>
          <a:bodyPr lIns="0" tIns="0" rIns="0" bIns="0" anchor="b"/>
          <a:lstStyle>
            <a:lvl1pPr>
              <a:defRPr sz="2000">
                <a:latin typeface="Roboto" panose="02000000000000000000" pitchFamily="2" charset="0"/>
              </a:defRPr>
            </a:lvl1pPr>
          </a:lstStyle>
          <a:p>
            <a:r>
              <a:rPr lang="en-US"/>
              <a:t>Click to edit Master title style</a:t>
            </a:r>
          </a:p>
        </p:txBody>
      </p:sp>
      <p:sp>
        <p:nvSpPr>
          <p:cNvPr id="2" name="gray_info_panel">
            <a:extLst>
              <a:ext uri="{FF2B5EF4-FFF2-40B4-BE49-F238E27FC236}">
                <a16:creationId xmlns:a16="http://schemas.microsoft.com/office/drawing/2014/main" id="{0E2FF4A5-DE1F-9567-3D53-BA9C8C9B6952}"/>
              </a:ext>
            </a:extLst>
          </p:cNvPr>
          <p:cNvSpPr/>
          <p:nvPr userDrawn="1"/>
        </p:nvSpPr>
        <p:spPr bwMode="gray">
          <a:xfrm>
            <a:off x="9819448" y="-870"/>
            <a:ext cx="1387348" cy="6286500"/>
          </a:xfrm>
          <a:prstGeom prst="rect">
            <a:avLst/>
          </a:prstGeom>
          <a:solidFill>
            <a:srgbClr val="EFEEEB"/>
          </a:solidFill>
          <a:ln w="9525" cap="flat" cmpd="sng" algn="ctr">
            <a:noFill/>
            <a:prstDash val="solid"/>
          </a:ln>
          <a:effectLst/>
          <a:extLs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cxnSp>
        <p:nvCxnSpPr>
          <p:cNvPr id="12" name="bottom_right_line">
            <a:extLst>
              <a:ext uri="{FF2B5EF4-FFF2-40B4-BE49-F238E27FC236}">
                <a16:creationId xmlns:a16="http://schemas.microsoft.com/office/drawing/2014/main" id="{1991EB0A-A3BB-A473-0EE2-9C72B73C9762}"/>
              </a:ext>
            </a:extLst>
          </p:cNvPr>
          <p:cNvCxnSpPr/>
          <p:nvPr userDrawn="1"/>
        </p:nvCxnSpPr>
        <p:spPr>
          <a:xfrm>
            <a:off x="9936607" y="6079109"/>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cxnSp>
        <p:nvCxnSpPr>
          <p:cNvPr id="19" name="bottom_right_line_2">
            <a:extLst>
              <a:ext uri="{FF2B5EF4-FFF2-40B4-BE49-F238E27FC236}">
                <a16:creationId xmlns:a16="http://schemas.microsoft.com/office/drawing/2014/main" id="{F86C81E4-5B08-0ED9-2516-360DF7FC2F70}"/>
              </a:ext>
            </a:extLst>
          </p:cNvPr>
          <p:cNvCxnSpPr/>
          <p:nvPr userDrawn="1"/>
        </p:nvCxnSpPr>
        <p:spPr>
          <a:xfrm>
            <a:off x="9936607" y="5507609"/>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cxnSp>
        <p:nvCxnSpPr>
          <p:cNvPr id="25" name="top_right_line">
            <a:extLst>
              <a:ext uri="{FF2B5EF4-FFF2-40B4-BE49-F238E27FC236}">
                <a16:creationId xmlns:a16="http://schemas.microsoft.com/office/drawing/2014/main" id="{733A4AB8-C1C2-9AC8-ECAF-209688BD7E20}"/>
              </a:ext>
            </a:extLst>
          </p:cNvPr>
          <p:cNvCxnSpPr/>
          <p:nvPr userDrawn="1"/>
        </p:nvCxnSpPr>
        <p:spPr>
          <a:xfrm>
            <a:off x="9936607" y="905002"/>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sp>
        <p:nvSpPr>
          <p:cNvPr id="28" name="Footer Placeholder 27">
            <a:extLst>
              <a:ext uri="{FF2B5EF4-FFF2-40B4-BE49-F238E27FC236}">
                <a16:creationId xmlns:a16="http://schemas.microsoft.com/office/drawing/2014/main" id="{8325D9C0-BA77-02C6-E235-6D60A6A438A9}"/>
              </a:ext>
            </a:extLst>
          </p:cNvPr>
          <p:cNvSpPr>
            <a:spLocks noGrp="1"/>
          </p:cNvSpPr>
          <p:nvPr>
            <p:ph type="ftr" sz="quarter" idx="12"/>
          </p:nvPr>
        </p:nvSpPr>
        <p:spPr>
          <a:xfrm>
            <a:off x="9936000" y="5760000"/>
            <a:ext cx="773400" cy="277200"/>
          </a:xfrm>
        </p:spPr>
        <p:txBody>
          <a:bodyPr anchor="ctr"/>
          <a:lstStyle>
            <a:lvl1pPr>
              <a:defRPr sz="900">
                <a:solidFill>
                  <a:srgbClr val="99B1B9"/>
                </a:solidFill>
                <a:latin typeface="Roboto" panose="02000000000000000000" pitchFamily="2" charset="0"/>
              </a:defRPr>
            </a:lvl1pPr>
          </a:lstStyle>
          <a:p>
            <a:r>
              <a:rPr lang="de-DE"/>
              <a:t>© 2026</a:t>
            </a:r>
          </a:p>
          <a:p>
            <a:r>
              <a:rPr lang="de-DE"/>
              <a:t>d-fine</a:t>
            </a:r>
          </a:p>
        </p:txBody>
      </p:sp>
      <p:sp>
        <p:nvSpPr>
          <p:cNvPr id="29" name="Text Placeholder 28">
            <a:extLst>
              <a:ext uri="{FF2B5EF4-FFF2-40B4-BE49-F238E27FC236}">
                <a16:creationId xmlns:a16="http://schemas.microsoft.com/office/drawing/2014/main" id="{B85C36D9-DD0B-7BA5-ECF4-7D23120F13E0}"/>
              </a:ext>
            </a:extLst>
          </p:cNvPr>
          <p:cNvSpPr>
            <a:spLocks noGrp="1"/>
          </p:cNvSpPr>
          <p:nvPr>
            <p:ph type="body" sz="quarter" idx="13" hasCustomPrompt="1"/>
          </p:nvPr>
        </p:nvSpPr>
        <p:spPr>
          <a:xfrm>
            <a:off x="207963" y="1066800"/>
            <a:ext cx="9366250" cy="4745038"/>
          </a:xfrm>
          <a:prstGeom prst="rect">
            <a:avLst/>
          </a:prstGeom>
        </p:spPr>
        <p:txBody>
          <a:bodyPr/>
          <a:lstStyle>
            <a:lvl1pPr>
              <a:defRPr sz="2000"/>
            </a:lvl1pPr>
            <a:lvl2pPr marL="374731" indent="-342900">
              <a:buFont typeface="Wingdings" panose="05000000000000000000" pitchFamily="2" charset="2"/>
              <a:buChar char="§"/>
              <a:defRPr sz="1800">
                <a:latin typeface="Roboto" panose="02000000000000000000" pitchFamily="2" charset="0"/>
              </a:defRPr>
            </a:lvl2pPr>
            <a:lvl3pPr marL="406563" indent="-342900">
              <a:buFont typeface="Wingdings" panose="05000000000000000000" pitchFamily="2" charset="2"/>
              <a:buChar char="§"/>
              <a:defRPr sz="1800"/>
            </a:lvl3pPr>
            <a:lvl4pPr marL="438394" indent="-342900">
              <a:buFont typeface="Wingdings" panose="05000000000000000000" pitchFamily="2" charset="2"/>
              <a:buChar char="§"/>
              <a:defRPr sz="1800"/>
            </a:lvl4pPr>
            <a:lvl5pPr marL="470039" indent="-342900">
              <a:buFont typeface="Wingdings" panose="05000000000000000000" pitchFamily="2" charset="2"/>
              <a:buChar char="§"/>
              <a:defRPr sz="1800"/>
            </a:lvl5pPr>
          </a:lstStyle>
          <a:p>
            <a:pPr lvl="1"/>
            <a:r>
              <a:rPr lang="en-US"/>
              <a:t>First level</a:t>
            </a:r>
          </a:p>
        </p:txBody>
      </p:sp>
      <p:cxnSp>
        <p:nvCxnSpPr>
          <p:cNvPr id="69" name="title_seperator_16_9">
            <a:extLst>
              <a:ext uri="{FF2B5EF4-FFF2-40B4-BE49-F238E27FC236}">
                <a16:creationId xmlns:a16="http://schemas.microsoft.com/office/drawing/2014/main" id="{879F3993-BFD6-F372-757F-B8DCC836C064}"/>
              </a:ext>
            </a:extLst>
          </p:cNvPr>
          <p:cNvCxnSpPr/>
          <p:nvPr userDrawn="1"/>
        </p:nvCxnSpPr>
        <p:spPr>
          <a:xfrm>
            <a:off x="9937242" y="1730502"/>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4E49FE2B-CCA7-6E98-3EF7-BEB57D0A74A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2713" y="194333"/>
            <a:ext cx="519225" cy="626831"/>
          </a:xfrm>
          <a:prstGeom prst="rect">
            <a:avLst/>
          </a:prstGeom>
        </p:spPr>
      </p:pic>
      <p:sp>
        <p:nvSpPr>
          <p:cNvPr id="97" name="pres_title_box">
            <a:extLst>
              <a:ext uri="{FF2B5EF4-FFF2-40B4-BE49-F238E27FC236}">
                <a16:creationId xmlns:a16="http://schemas.microsoft.com/office/drawing/2014/main" id="{59A6C1E5-BB9D-44C0-9E21-033D65D50E99}"/>
              </a:ext>
            </a:extLst>
          </p:cNvPr>
          <p:cNvSpPr txBox="1"/>
          <p:nvPr userDrawn="1"/>
        </p:nvSpPr>
        <p:spPr>
          <a:xfrm>
            <a:off x="9937241" y="1016000"/>
            <a:ext cx="1089559" cy="508000"/>
          </a:xfrm>
          <a:prstGeom prst="rect">
            <a:avLst/>
          </a:prstGeom>
          <a:noFill/>
        </p:spPr>
        <p:txBody>
          <a:bodyPr vert="horz" wrap="square" lIns="0" tIns="0" rIns="0" bIns="0" rtlCol="0" anchor="t">
            <a:noAutofit/>
          </a:bodyPr>
          <a:lstStyle/>
          <a:p>
            <a:r>
              <a:rPr lang="de-DE" sz="1000">
                <a:solidFill>
                  <a:srgbClr val="99B1B9"/>
                </a:solidFill>
                <a:latin typeface="Roboto" panose="02000000000000000000" pitchFamily="2" charset="0"/>
              </a:rPr>
              <a:t>Stand und Ausblick zur Kommunalen Wärmeplanung (KWP)</a:t>
            </a:r>
          </a:p>
        </p:txBody>
      </p:sp>
      <p:grpSp>
        <p:nvGrpSpPr>
          <p:cNvPr id="32" name="Group 31">
            <a:extLst>
              <a:ext uri="{FF2B5EF4-FFF2-40B4-BE49-F238E27FC236}">
                <a16:creationId xmlns:a16="http://schemas.microsoft.com/office/drawing/2014/main" id="{0C4D8DC2-96D8-1BDA-32B9-51975D1A0B50}"/>
              </a:ext>
            </a:extLst>
          </p:cNvPr>
          <p:cNvGrpSpPr/>
          <p:nvPr/>
        </p:nvGrpSpPr>
        <p:grpSpPr>
          <a:xfrm>
            <a:off x="9931177" y="1937004"/>
            <a:ext cx="1080504" cy="276292"/>
            <a:chOff x="9946297" y="1937004"/>
            <a:chExt cx="1080504" cy="276292"/>
          </a:xfrm>
        </p:grpSpPr>
        <p:sp>
          <p:nvSpPr>
            <p:cNvPr id="55" name="Rectangle 54">
              <a:extLst>
                <a:ext uri="{FF2B5EF4-FFF2-40B4-BE49-F238E27FC236}">
                  <a16:creationId xmlns:a16="http://schemas.microsoft.com/office/drawing/2014/main" id="{7C21AF3D-62CE-24AF-7DAB-42FF7C954698}"/>
                </a:ext>
              </a:extLst>
            </p:cNvPr>
            <p:cNvSpPr/>
            <p:nvPr/>
          </p:nvSpPr>
          <p:spPr bwMode="gray">
            <a:xfrm>
              <a:off x="9946297" y="1937004"/>
              <a:ext cx="36000" cy="27629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56" name="Rectangle 55">
              <a:extLst>
                <a:ext uri="{FF2B5EF4-FFF2-40B4-BE49-F238E27FC236}">
                  <a16:creationId xmlns:a16="http://schemas.microsoft.com/office/drawing/2014/main" id="{014DB2BB-239C-EBC9-1BC8-163AC7916AFD}"/>
                </a:ext>
              </a:extLst>
            </p:cNvPr>
            <p:cNvSpPr/>
            <p:nvPr/>
          </p:nvSpPr>
          <p:spPr bwMode="gray">
            <a:xfrm>
              <a:off x="10064456" y="1937004"/>
              <a:ext cx="962345"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lvl="0"/>
              <a:r>
                <a:rPr lang="de-DE" sz="900">
                  <a:solidFill>
                    <a:schemeClr val="tx1"/>
                  </a:solidFill>
                  <a:latin typeface="Roboto" panose="02000000000000000000" pitchFamily="2" charset="0"/>
                </a:rPr>
                <a:t>Über uns</a:t>
              </a:r>
            </a:p>
          </p:txBody>
        </p:sp>
      </p:grpSp>
      <p:grpSp>
        <p:nvGrpSpPr>
          <p:cNvPr id="33" name="Group 32">
            <a:extLst>
              <a:ext uri="{FF2B5EF4-FFF2-40B4-BE49-F238E27FC236}">
                <a16:creationId xmlns:a16="http://schemas.microsoft.com/office/drawing/2014/main" id="{60BDBE17-D83E-4223-8EF2-7A65F431D873}"/>
              </a:ext>
            </a:extLst>
          </p:cNvPr>
          <p:cNvGrpSpPr/>
          <p:nvPr/>
        </p:nvGrpSpPr>
        <p:grpSpPr>
          <a:xfrm>
            <a:off x="9931177" y="2617079"/>
            <a:ext cx="1114790" cy="276293"/>
            <a:chOff x="9946297" y="2260358"/>
            <a:chExt cx="1114790" cy="276293"/>
          </a:xfrm>
        </p:grpSpPr>
        <p:sp>
          <p:nvSpPr>
            <p:cNvPr id="53" name="Rectangle 52">
              <a:extLst>
                <a:ext uri="{FF2B5EF4-FFF2-40B4-BE49-F238E27FC236}">
                  <a16:creationId xmlns:a16="http://schemas.microsoft.com/office/drawing/2014/main" id="{89741BA3-2BF8-8CC4-9FA5-5977ABB1473A}"/>
                </a:ext>
              </a:extLst>
            </p:cNvPr>
            <p:cNvSpPr/>
            <p:nvPr/>
          </p:nvSpPr>
          <p:spPr bwMode="gray">
            <a:xfrm>
              <a:off x="9946297" y="2260359"/>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54" name="Rectangle 53">
              <a:extLst>
                <a:ext uri="{FF2B5EF4-FFF2-40B4-BE49-F238E27FC236}">
                  <a16:creationId xmlns:a16="http://schemas.microsoft.com/office/drawing/2014/main" id="{AF338E9A-1CEB-BBAB-BB28-408C6D13B3A5}"/>
                </a:ext>
              </a:extLst>
            </p:cNvPr>
            <p:cNvSpPr/>
            <p:nvPr/>
          </p:nvSpPr>
          <p:spPr bwMode="gray">
            <a:xfrm>
              <a:off x="10064456" y="2260358"/>
              <a:ext cx="996631"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Aktueller politischer Rahmen</a:t>
              </a:r>
            </a:p>
          </p:txBody>
        </p:sp>
      </p:grpSp>
      <p:grpSp>
        <p:nvGrpSpPr>
          <p:cNvPr id="34" name="Group 33">
            <a:extLst>
              <a:ext uri="{FF2B5EF4-FFF2-40B4-BE49-F238E27FC236}">
                <a16:creationId xmlns:a16="http://schemas.microsoft.com/office/drawing/2014/main" id="{56CBD27E-C08F-4341-C951-B208F892CD98}"/>
              </a:ext>
            </a:extLst>
          </p:cNvPr>
          <p:cNvGrpSpPr/>
          <p:nvPr/>
        </p:nvGrpSpPr>
        <p:grpSpPr>
          <a:xfrm>
            <a:off x="9931177" y="3294945"/>
            <a:ext cx="1080504" cy="276293"/>
            <a:chOff x="9946297" y="2583712"/>
            <a:chExt cx="1080504" cy="276293"/>
          </a:xfrm>
        </p:grpSpPr>
        <p:sp>
          <p:nvSpPr>
            <p:cNvPr id="51" name="Rectangle 50">
              <a:extLst>
                <a:ext uri="{FF2B5EF4-FFF2-40B4-BE49-F238E27FC236}">
                  <a16:creationId xmlns:a16="http://schemas.microsoft.com/office/drawing/2014/main" id="{758AFE98-5F56-ED1A-FDAB-323BA2C87B71}"/>
                </a:ext>
              </a:extLst>
            </p:cNvPr>
            <p:cNvSpPr/>
            <p:nvPr/>
          </p:nvSpPr>
          <p:spPr bwMode="gray">
            <a:xfrm>
              <a:off x="9946297" y="2583713"/>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52" name="Rectangle 51">
              <a:extLst>
                <a:ext uri="{FF2B5EF4-FFF2-40B4-BE49-F238E27FC236}">
                  <a16:creationId xmlns:a16="http://schemas.microsoft.com/office/drawing/2014/main" id="{A886EB31-116D-2AA6-BD5B-170ACA98EFF5}"/>
                </a:ext>
              </a:extLst>
            </p:cNvPr>
            <p:cNvSpPr/>
            <p:nvPr/>
          </p:nvSpPr>
          <p:spPr bwMode="gray">
            <a:xfrm>
              <a:off x="10064456" y="2583712"/>
              <a:ext cx="962345"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Zielszenario</a:t>
              </a:r>
            </a:p>
          </p:txBody>
        </p:sp>
      </p:grpSp>
      <p:grpSp>
        <p:nvGrpSpPr>
          <p:cNvPr id="45" name="Group 44">
            <a:extLst>
              <a:ext uri="{FF2B5EF4-FFF2-40B4-BE49-F238E27FC236}">
                <a16:creationId xmlns:a16="http://schemas.microsoft.com/office/drawing/2014/main" id="{1CE5547F-D4A2-60E2-32E4-F8B917A77607}"/>
              </a:ext>
            </a:extLst>
          </p:cNvPr>
          <p:cNvGrpSpPr/>
          <p:nvPr/>
        </p:nvGrpSpPr>
        <p:grpSpPr>
          <a:xfrm>
            <a:off x="9931177" y="3637252"/>
            <a:ext cx="1239797" cy="276293"/>
            <a:chOff x="9946297" y="2907066"/>
            <a:chExt cx="1080504" cy="276293"/>
          </a:xfrm>
        </p:grpSpPr>
        <p:sp>
          <p:nvSpPr>
            <p:cNvPr id="46" name="Rectangle 45">
              <a:extLst>
                <a:ext uri="{FF2B5EF4-FFF2-40B4-BE49-F238E27FC236}">
                  <a16:creationId xmlns:a16="http://schemas.microsoft.com/office/drawing/2014/main" id="{4735B206-D3C3-A686-4B27-EBD8FBAAB0FF}"/>
                </a:ext>
              </a:extLst>
            </p:cNvPr>
            <p:cNvSpPr/>
            <p:nvPr/>
          </p:nvSpPr>
          <p:spPr bwMode="gray">
            <a:xfrm>
              <a:off x="9946297" y="2907067"/>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50" name="Rectangle 49">
              <a:extLst>
                <a:ext uri="{FF2B5EF4-FFF2-40B4-BE49-F238E27FC236}">
                  <a16:creationId xmlns:a16="http://schemas.microsoft.com/office/drawing/2014/main" id="{27F88282-F741-EB94-5592-58D1ED0B5452}"/>
                </a:ext>
              </a:extLst>
            </p:cNvPr>
            <p:cNvSpPr/>
            <p:nvPr/>
          </p:nvSpPr>
          <p:spPr bwMode="gray">
            <a:xfrm>
              <a:off x="10064456" y="2907066"/>
              <a:ext cx="962345"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Zusammenfassung und Ausblick</a:t>
              </a:r>
            </a:p>
          </p:txBody>
        </p:sp>
      </p:grpSp>
      <p:pic>
        <p:nvPicPr>
          <p:cNvPr id="11" name="Picture 10" descr="A logo with text on it&#10;&#10;AI-generated content may be incorrect.">
            <a:extLst>
              <a:ext uri="{FF2B5EF4-FFF2-40B4-BE49-F238E27FC236}">
                <a16:creationId xmlns:a16="http://schemas.microsoft.com/office/drawing/2014/main" id="{615E31D7-E1B1-C4CA-9AD6-301D2BA54E7D}"/>
              </a:ext>
            </a:extLst>
          </p:cNvPr>
          <p:cNvPicPr>
            <a:picLocks noChangeAspect="1"/>
          </p:cNvPicPr>
          <p:nvPr userDrawn="1"/>
        </p:nvPicPr>
        <p:blipFill>
          <a:blip r:embed="rId4" cstate="screen">
            <a:clrChange>
              <a:clrFrom>
                <a:srgbClr val="FFFFFF"/>
              </a:clrFrom>
              <a:clrTo>
                <a:srgbClr val="FFFFFF">
                  <a:alpha val="0"/>
                </a:srgbClr>
              </a:clrTo>
            </a:clrChange>
            <a:alphaModFix/>
            <a:extLst>
              <a:ext uri="{28A0092B-C50C-407E-A947-70E740481C1C}">
                <a14:useLocalDpi xmlns:a14="http://schemas.microsoft.com/office/drawing/2010/main"/>
              </a:ext>
            </a:extLst>
          </a:blip>
          <a:stretch>
            <a:fillRect/>
          </a:stretch>
        </p:blipFill>
        <p:spPr>
          <a:xfrm>
            <a:off x="9933394" y="4764692"/>
            <a:ext cx="1080000" cy="487059"/>
          </a:xfrm>
          <a:prstGeom prst="rect">
            <a:avLst/>
          </a:prstGeom>
        </p:spPr>
      </p:pic>
      <p:grpSp>
        <p:nvGrpSpPr>
          <p:cNvPr id="27" name="Group 26">
            <a:extLst>
              <a:ext uri="{FF2B5EF4-FFF2-40B4-BE49-F238E27FC236}">
                <a16:creationId xmlns:a16="http://schemas.microsoft.com/office/drawing/2014/main" id="{4017DF6D-3615-9EC7-A484-DCCF2D636128}"/>
              </a:ext>
            </a:extLst>
          </p:cNvPr>
          <p:cNvGrpSpPr/>
          <p:nvPr userDrawn="1"/>
        </p:nvGrpSpPr>
        <p:grpSpPr>
          <a:xfrm>
            <a:off x="9931177" y="2274772"/>
            <a:ext cx="1114790" cy="276293"/>
            <a:chOff x="9946297" y="2260358"/>
            <a:chExt cx="1114790" cy="276293"/>
          </a:xfrm>
        </p:grpSpPr>
        <p:sp>
          <p:nvSpPr>
            <p:cNvPr id="30" name="Rectangle 29">
              <a:extLst>
                <a:ext uri="{FF2B5EF4-FFF2-40B4-BE49-F238E27FC236}">
                  <a16:creationId xmlns:a16="http://schemas.microsoft.com/office/drawing/2014/main" id="{4EB35821-4295-A83B-DB7E-0AB53FBD136A}"/>
                </a:ext>
              </a:extLst>
            </p:cNvPr>
            <p:cNvSpPr/>
            <p:nvPr/>
          </p:nvSpPr>
          <p:spPr bwMode="gray">
            <a:xfrm>
              <a:off x="9946297" y="2260359"/>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60" name="Rectangle 59">
              <a:extLst>
                <a:ext uri="{FF2B5EF4-FFF2-40B4-BE49-F238E27FC236}">
                  <a16:creationId xmlns:a16="http://schemas.microsoft.com/office/drawing/2014/main" id="{F882E412-0D6F-6853-AD0B-8EC131BDB3C1}"/>
                </a:ext>
              </a:extLst>
            </p:cNvPr>
            <p:cNvSpPr/>
            <p:nvPr/>
          </p:nvSpPr>
          <p:spPr bwMode="gray">
            <a:xfrm>
              <a:off x="10064456" y="2260358"/>
              <a:ext cx="996631"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Hintergrund der KWP</a:t>
              </a:r>
            </a:p>
          </p:txBody>
        </p:sp>
      </p:grpSp>
      <p:grpSp>
        <p:nvGrpSpPr>
          <p:cNvPr id="67" name="Group 66">
            <a:extLst>
              <a:ext uri="{FF2B5EF4-FFF2-40B4-BE49-F238E27FC236}">
                <a16:creationId xmlns:a16="http://schemas.microsoft.com/office/drawing/2014/main" id="{0EE07322-F967-5FB7-33EE-3D4BA6F6C6CB}"/>
              </a:ext>
            </a:extLst>
          </p:cNvPr>
          <p:cNvGrpSpPr/>
          <p:nvPr userDrawn="1"/>
        </p:nvGrpSpPr>
        <p:grpSpPr>
          <a:xfrm>
            <a:off x="9931177" y="2952637"/>
            <a:ext cx="1114790" cy="276293"/>
            <a:chOff x="9946297" y="2260358"/>
            <a:chExt cx="1114790" cy="276293"/>
          </a:xfrm>
        </p:grpSpPr>
        <p:sp>
          <p:nvSpPr>
            <p:cNvPr id="68" name="Rectangle 67">
              <a:extLst>
                <a:ext uri="{FF2B5EF4-FFF2-40B4-BE49-F238E27FC236}">
                  <a16:creationId xmlns:a16="http://schemas.microsoft.com/office/drawing/2014/main" id="{D5C5CAAF-8679-4697-D478-FFBEB0AA1E42}"/>
                </a:ext>
              </a:extLst>
            </p:cNvPr>
            <p:cNvSpPr/>
            <p:nvPr/>
          </p:nvSpPr>
          <p:spPr bwMode="gray">
            <a:xfrm>
              <a:off x="9946297" y="2260359"/>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82" name="Rectangle 81">
              <a:extLst>
                <a:ext uri="{FF2B5EF4-FFF2-40B4-BE49-F238E27FC236}">
                  <a16:creationId xmlns:a16="http://schemas.microsoft.com/office/drawing/2014/main" id="{A96EE166-245A-5DE2-2C1F-6B80FCD4D752}"/>
                </a:ext>
              </a:extLst>
            </p:cNvPr>
            <p:cNvSpPr/>
            <p:nvPr/>
          </p:nvSpPr>
          <p:spPr bwMode="gray">
            <a:xfrm>
              <a:off x="10064456" y="2260358"/>
              <a:ext cx="996631"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Bestands- und Potenzialanalyse</a:t>
              </a:r>
            </a:p>
          </p:txBody>
        </p:sp>
      </p:grpSp>
    </p:spTree>
    <p:extLst>
      <p:ext uri="{BB962C8B-B14F-4D97-AF65-F5344CB8AC3E}">
        <p14:creationId xmlns:p14="http://schemas.microsoft.com/office/powerpoint/2010/main" val="2807453831"/>
      </p:ext>
    </p:extLst>
  </p:cSld>
  <p:clrMapOvr>
    <a:masterClrMapping/>
  </p:clrMapOvr>
  <p:hf hdr="0" dt="0"/>
  <p:extLst>
    <p:ext uri="{DCECCB84-F9BA-43D5-87BE-67443E8EF086}">
      <p15:sldGuideLst xmlns:p15="http://schemas.microsoft.com/office/powerpoint/2012/main">
        <p15:guide id="2" pos="214">
          <p15:clr>
            <a:srgbClr val="A4A3A4"/>
          </p15:clr>
        </p15:guide>
        <p15:guide id="3" pos="7728">
          <p15:clr>
            <a:srgbClr val="A4A3A4"/>
          </p15:clr>
        </p15:guide>
        <p15:guide id="4" orient="horz" pos="672">
          <p15:clr>
            <a:srgbClr val="A4A3A4"/>
          </p15:clr>
        </p15:guide>
        <p15:guide id="5" orient="horz" pos="933">
          <p15:clr>
            <a:srgbClr val="A4A3A4"/>
          </p15:clr>
        </p15:guide>
        <p15:guide id="6" orient="horz" pos="3053">
          <p15:clr>
            <a:srgbClr val="A4A3A4"/>
          </p15:clr>
        </p15:guide>
        <p15:guide id="7" orient="horz" pos="3334">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82DA2A67-3CF7-4150-C79F-B50AE0AA181A}"/>
              </a:ext>
            </a:extLst>
          </p:cNvPr>
          <p:cNvSpPr>
            <a:spLocks noGrp="1"/>
          </p:cNvSpPr>
          <p:nvPr>
            <p:ph type="dt" sz="half" idx="10"/>
          </p:nvPr>
        </p:nvSpPr>
        <p:spPr/>
        <p:txBody>
          <a:bodyPr/>
          <a:lstStyle/>
          <a:p>
            <a:fld id="{AD08947D-7F7A-472D-978F-EC194F6DC027}" type="datetimeFigureOut">
              <a:rPr lang="de-DE" smtClean="0"/>
              <a:t>04.05.2026</a:t>
            </a:fld>
            <a:endParaRPr lang="de-DE"/>
          </a:p>
        </p:txBody>
      </p:sp>
      <p:sp>
        <p:nvSpPr>
          <p:cNvPr id="3" name="Fußzeilenplatzhalter 2">
            <a:extLst>
              <a:ext uri="{FF2B5EF4-FFF2-40B4-BE49-F238E27FC236}">
                <a16:creationId xmlns:a16="http://schemas.microsoft.com/office/drawing/2014/main" id="{2BC21CDE-9EB0-897C-9BB9-14D87E24AE8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F98CFB6D-BBF8-5C57-78CC-9E0A89B50F31}"/>
              </a:ext>
            </a:extLst>
          </p:cNvPr>
          <p:cNvSpPr>
            <a:spLocks noGrp="1"/>
          </p:cNvSpPr>
          <p:nvPr>
            <p:ph type="sldNum" sz="quarter" idx="12"/>
          </p:nvPr>
        </p:nvSpPr>
        <p:spPr/>
        <p:txBody>
          <a:bodyPr/>
          <a:lstStyle/>
          <a:p>
            <a:fld id="{AD1E7D88-B9F0-490E-9127-FC8A160405D5}" type="slidenum">
              <a:rPr lang="de-DE" smtClean="0"/>
              <a:t>‹Nr.›</a:t>
            </a:fld>
            <a:endParaRPr lang="de-DE"/>
          </a:p>
        </p:txBody>
      </p:sp>
    </p:spTree>
    <p:extLst>
      <p:ext uri="{BB962C8B-B14F-4D97-AF65-F5344CB8AC3E}">
        <p14:creationId xmlns:p14="http://schemas.microsoft.com/office/powerpoint/2010/main" val="3121424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ild vollflächig">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5B744743-5D2F-8740-A255-6D045DC3B75C}"/>
              </a:ext>
            </a:extLst>
          </p:cNvPr>
          <p:cNvSpPr>
            <a:spLocks noGrp="1"/>
          </p:cNvSpPr>
          <p:nvPr>
            <p:ph type="pic" idx="1"/>
          </p:nvPr>
        </p:nvSpPr>
        <p:spPr>
          <a:xfrm>
            <a:off x="238654" y="238654"/>
            <a:ext cx="10697237" cy="5809192"/>
          </a:xfrm>
          <a:prstGeom prst="rect">
            <a:avLst/>
          </a:prstGeom>
        </p:spPr>
        <p:txBody>
          <a:bodyPr/>
          <a:lstStyle>
            <a:lvl1pPr marL="0" indent="0">
              <a:buNone/>
              <a:defRPr sz="2933"/>
            </a:lvl1pPr>
            <a:lvl2pPr marL="419115" indent="0">
              <a:buNone/>
              <a:defRPr sz="2567"/>
            </a:lvl2pPr>
            <a:lvl3pPr marL="838230" indent="0">
              <a:buNone/>
              <a:defRPr sz="2200"/>
            </a:lvl3pPr>
            <a:lvl4pPr marL="1257346" indent="0">
              <a:buNone/>
              <a:defRPr sz="1833"/>
            </a:lvl4pPr>
            <a:lvl5pPr marL="1676461" indent="0">
              <a:buNone/>
              <a:defRPr sz="1833"/>
            </a:lvl5pPr>
            <a:lvl6pPr marL="2095576" indent="0">
              <a:buNone/>
              <a:defRPr sz="1833"/>
            </a:lvl6pPr>
            <a:lvl7pPr marL="2514691" indent="0">
              <a:buNone/>
              <a:defRPr sz="1833"/>
            </a:lvl7pPr>
            <a:lvl8pPr marL="2933807" indent="0">
              <a:buNone/>
              <a:defRPr sz="1833"/>
            </a:lvl8pPr>
            <a:lvl9pPr marL="3352922" indent="0">
              <a:buNone/>
              <a:defRPr sz="1833"/>
            </a:lvl9pPr>
          </a:lstStyle>
          <a:p>
            <a:r>
              <a:rPr lang="de-DE"/>
              <a:t>Bild durch Klicken auf Symbol hinzufügen</a:t>
            </a:r>
          </a:p>
        </p:txBody>
      </p:sp>
    </p:spTree>
    <p:extLst>
      <p:ext uri="{BB962C8B-B14F-4D97-AF65-F5344CB8AC3E}">
        <p14:creationId xmlns:p14="http://schemas.microsoft.com/office/powerpoint/2010/main" val="12512590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6" name="background"/>
          <p:cNvSpPr/>
          <p:nvPr/>
        </p:nvSpPr>
        <p:spPr bwMode="white">
          <a:xfrm>
            <a:off x="0" y="0"/>
            <a:ext cx="11176000" cy="6286500"/>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202462" rIns="430234" rtlCol="0" anchor="ctr"/>
          <a:lstStyle/>
          <a:p>
            <a:pPr algn="ctr"/>
            <a:endParaRPr lang="de-DE" sz="206">
              <a:solidFill>
                <a:schemeClr val="accent2"/>
              </a:solidFill>
              <a:latin typeface="+mn-lt"/>
            </a:endParaRPr>
          </a:p>
        </p:txBody>
      </p:sp>
      <p:sp>
        <p:nvSpPr>
          <p:cNvPr id="8" name="header_box"/>
          <p:cNvSpPr>
            <a:spLocks noGrp="1"/>
          </p:cNvSpPr>
          <p:nvPr>
            <p:ph type="title" hasCustomPrompt="1"/>
          </p:nvPr>
        </p:nvSpPr>
        <p:spPr>
          <a:xfrm>
            <a:off x="687600" y="644400"/>
            <a:ext cx="9799200" cy="360000"/>
          </a:xfrm>
          <a:prstGeom prst="rect">
            <a:avLst/>
          </a:prstGeom>
        </p:spPr>
        <p:txBody>
          <a:bodyPr lIns="0" tIns="0" rIns="0" bIns="0">
            <a:noAutofit/>
          </a:bodyPr>
          <a:lstStyle>
            <a:lvl1pPr>
              <a:defRPr sz="2200" baseline="0">
                <a:latin typeface="+mn-lt"/>
              </a:defRPr>
            </a:lvl1pPr>
          </a:lstStyle>
          <a:p>
            <a:r>
              <a:rPr lang="de-DE"/>
              <a:t>Title </a:t>
            </a:r>
            <a:r>
              <a:rPr lang="de-DE" err="1"/>
              <a:t>for</a:t>
            </a:r>
            <a:r>
              <a:rPr lang="de-DE"/>
              <a:t> Table </a:t>
            </a:r>
            <a:r>
              <a:rPr lang="de-DE" err="1"/>
              <a:t>of</a:t>
            </a:r>
            <a:r>
              <a:rPr lang="de-DE"/>
              <a:t> Contents</a:t>
            </a:r>
          </a:p>
        </p:txBody>
      </p:sp>
      <p:sp>
        <p:nvSpPr>
          <p:cNvPr id="11" name="warning_marker" hidden="1"/>
          <p:cNvSpPr/>
          <p:nvPr>
            <p:custDataLst>
              <p:tags r:id="rId1"/>
            </p:custDataLst>
          </p:nvPr>
        </p:nvSpPr>
        <p:spPr>
          <a:xfrm>
            <a:off x="2426400" y="1598400"/>
            <a:ext cx="6321600" cy="3113999"/>
          </a:xfrm>
          <a:prstGeom prst="irregularSeal2">
            <a:avLst/>
          </a:prstGeom>
          <a:solidFill>
            <a:srgbClr val="FCFF93"/>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21089" tIns="21089" rIns="21089" bIns="21089" rtlCol="0" anchor="ctr"/>
          <a:lstStyle/>
          <a:p>
            <a:pPr algn="ctr"/>
            <a:r>
              <a:rPr lang="en-US" sz="1000" noProof="0">
                <a:solidFill>
                  <a:srgbClr val="000000"/>
                </a:solidFill>
                <a:latin typeface="+mn-lt"/>
              </a:rPr>
              <a:t>This layout is to be used for</a:t>
            </a:r>
            <a:r>
              <a:rPr lang="en-US" sz="1000" baseline="0" noProof="0">
                <a:solidFill>
                  <a:srgbClr val="000000"/>
                </a:solidFill>
                <a:latin typeface="+mn-lt"/>
              </a:rPr>
              <a:t> table of contents only.</a:t>
            </a:r>
          </a:p>
          <a:p>
            <a:pPr algn="ctr"/>
            <a:endParaRPr lang="en-US" sz="1000" baseline="0" noProof="0">
              <a:solidFill>
                <a:srgbClr val="000000"/>
              </a:solidFill>
              <a:latin typeface="+mn-lt"/>
            </a:endParaRPr>
          </a:p>
          <a:p>
            <a:pPr algn="ctr"/>
            <a:r>
              <a:rPr lang="en-US" sz="1000" baseline="0" noProof="0">
                <a:solidFill>
                  <a:srgbClr val="000000"/>
                </a:solidFill>
                <a:latin typeface="+mn-lt"/>
              </a:rPr>
              <a:t>Please utilize the respective macro</a:t>
            </a:r>
            <a:br>
              <a:rPr lang="en-US" sz="1000" baseline="0" noProof="0">
                <a:solidFill>
                  <a:srgbClr val="000000"/>
                </a:solidFill>
                <a:latin typeface="+mn-lt"/>
              </a:rPr>
            </a:br>
            <a:r>
              <a:rPr lang="en-US" sz="1000" baseline="0" noProof="0">
                <a:solidFill>
                  <a:srgbClr val="000000"/>
                </a:solidFill>
                <a:latin typeface="+mn-lt"/>
              </a:rPr>
              <a:t>“d-fine Master” </a:t>
            </a:r>
            <a:r>
              <a:rPr lang="en-US" sz="1000" baseline="0" noProof="0">
                <a:solidFill>
                  <a:srgbClr val="000000"/>
                </a:solidFill>
                <a:latin typeface="+mn-lt"/>
                <a:sym typeface="Wingdings" panose="05000000000000000000" pitchFamily="2" charset="2"/>
              </a:rPr>
              <a:t> “Insert Index”. The macro will remove this marker automatically.</a:t>
            </a:r>
            <a:endParaRPr lang="en-US" sz="1000" noProof="0">
              <a:solidFill>
                <a:srgbClr val="000000"/>
              </a:solidFill>
              <a:latin typeface="+mn-lt"/>
            </a:endParaRPr>
          </a:p>
        </p:txBody>
      </p:sp>
      <p:sp>
        <p:nvSpPr>
          <p:cNvPr id="2" name="background">
            <a:extLst>
              <a:ext uri="{FF2B5EF4-FFF2-40B4-BE49-F238E27FC236}">
                <a16:creationId xmlns:a16="http://schemas.microsoft.com/office/drawing/2014/main" id="{485F48F9-159A-314E-D54A-557BB8C2A51E}"/>
              </a:ext>
            </a:extLst>
          </p:cNvPr>
          <p:cNvSpPr/>
          <p:nvPr userDrawn="1"/>
        </p:nvSpPr>
        <p:spPr bwMode="white">
          <a:xfrm>
            <a:off x="0" y="0"/>
            <a:ext cx="11176000" cy="6286500"/>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202462" rIns="430234" rtlCol="0" anchor="ctr"/>
          <a:lstStyle/>
          <a:p>
            <a:pPr algn="ctr"/>
            <a:endParaRPr lang="de-DE" sz="206">
              <a:solidFill>
                <a:schemeClr val="accent2"/>
              </a:solidFill>
              <a:latin typeface="+mn-lt"/>
            </a:endParaRPr>
          </a:p>
        </p:txBody>
      </p:sp>
      <p:sp>
        <p:nvSpPr>
          <p:cNvPr id="3" name="warning_marker">
            <a:extLst>
              <a:ext uri="{FF2B5EF4-FFF2-40B4-BE49-F238E27FC236}">
                <a16:creationId xmlns:a16="http://schemas.microsoft.com/office/drawing/2014/main" id="{395CD106-4D73-0E8E-67C7-22A47A32FBDE}"/>
              </a:ext>
            </a:extLst>
          </p:cNvPr>
          <p:cNvSpPr/>
          <p:nvPr userDrawn="1">
            <p:custDataLst>
              <p:tags r:id="rId2"/>
            </p:custDataLst>
          </p:nvPr>
        </p:nvSpPr>
        <p:spPr>
          <a:xfrm>
            <a:off x="2428800" y="1874400"/>
            <a:ext cx="6323815" cy="2534400"/>
          </a:xfrm>
          <a:prstGeom prst="irregularSeal2">
            <a:avLst/>
          </a:prstGeom>
          <a:solidFill>
            <a:srgbClr val="FCFF93"/>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21089" tIns="21089" rIns="21089" bIns="21089" rtlCol="0" anchor="ctr"/>
          <a:lstStyle/>
          <a:p>
            <a:pPr algn="ctr"/>
            <a:r>
              <a:rPr lang="en-US" sz="825" noProof="0">
                <a:solidFill>
                  <a:srgbClr val="000000"/>
                </a:solidFill>
                <a:latin typeface="+mn-lt"/>
              </a:rPr>
              <a:t>This layout is to be used for</a:t>
            </a:r>
            <a:r>
              <a:rPr lang="en-US" sz="825" baseline="0" noProof="0">
                <a:solidFill>
                  <a:srgbClr val="000000"/>
                </a:solidFill>
                <a:latin typeface="+mn-lt"/>
              </a:rPr>
              <a:t> table of contents only.</a:t>
            </a:r>
          </a:p>
          <a:p>
            <a:pPr algn="ctr"/>
            <a:endParaRPr lang="en-US" sz="825" baseline="0" noProof="0">
              <a:solidFill>
                <a:srgbClr val="000000"/>
              </a:solidFill>
              <a:latin typeface="+mn-lt"/>
            </a:endParaRPr>
          </a:p>
          <a:p>
            <a:pPr algn="ctr"/>
            <a:r>
              <a:rPr lang="en-US" sz="825" baseline="0" noProof="0">
                <a:solidFill>
                  <a:srgbClr val="000000"/>
                </a:solidFill>
                <a:latin typeface="+mn-lt"/>
              </a:rPr>
              <a:t>Please utilize the respective macro</a:t>
            </a:r>
            <a:br>
              <a:rPr lang="en-US" sz="825" baseline="0" noProof="0">
                <a:solidFill>
                  <a:srgbClr val="000000"/>
                </a:solidFill>
                <a:latin typeface="+mn-lt"/>
              </a:rPr>
            </a:br>
            <a:r>
              <a:rPr lang="en-US" sz="825" baseline="0" noProof="0">
                <a:solidFill>
                  <a:srgbClr val="000000"/>
                </a:solidFill>
                <a:latin typeface="+mn-lt"/>
              </a:rPr>
              <a:t>“d-fine Master” </a:t>
            </a:r>
            <a:r>
              <a:rPr lang="en-US" sz="825" baseline="0" noProof="0">
                <a:solidFill>
                  <a:srgbClr val="000000"/>
                </a:solidFill>
                <a:latin typeface="+mn-lt"/>
                <a:sym typeface="Wingdings" panose="05000000000000000000" pitchFamily="2" charset="2"/>
              </a:rPr>
              <a:t> “Insert Index”. The macro will remove this marker automatically.</a:t>
            </a:r>
            <a:endParaRPr lang="en-US" sz="825" noProof="0">
              <a:solidFill>
                <a:srgbClr val="000000"/>
              </a:solidFill>
              <a:latin typeface="+mn-lt"/>
            </a:endParaRPr>
          </a:p>
        </p:txBody>
      </p:sp>
    </p:spTree>
    <p:extLst>
      <p:ext uri="{BB962C8B-B14F-4D97-AF65-F5344CB8AC3E}">
        <p14:creationId xmlns:p14="http://schemas.microsoft.com/office/powerpoint/2010/main" val="2948433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sp>
        <p:nvSpPr>
          <p:cNvPr id="7" name="title_box"/>
          <p:cNvSpPr>
            <a:spLocks noGrp="1"/>
          </p:cNvSpPr>
          <p:nvPr>
            <p:ph type="ctrTitle" hasCustomPrompt="1"/>
          </p:nvPr>
        </p:nvSpPr>
        <p:spPr bwMode="gray">
          <a:xfrm>
            <a:off x="1203569" y="2095503"/>
            <a:ext cx="6161128" cy="789960"/>
          </a:xfrm>
          <a:prstGeom prst="rect">
            <a:avLst/>
          </a:prstGeom>
        </p:spPr>
        <p:txBody>
          <a:bodyPr lIns="0" tIns="0" rIns="0" bIns="0" anchor="t" anchorCtr="0">
            <a:noAutofit/>
          </a:bodyPr>
          <a:lstStyle>
            <a:lvl1pPr algn="l">
              <a:defRPr sz="2800">
                <a:solidFill>
                  <a:schemeClr val="tx1"/>
                </a:solidFill>
                <a:latin typeface="+mn-lt"/>
              </a:defRPr>
            </a:lvl1pPr>
          </a:lstStyle>
          <a:p>
            <a:r>
              <a:rPr lang="de-DE"/>
              <a:t>Title</a:t>
            </a:r>
          </a:p>
        </p:txBody>
      </p:sp>
      <p:sp>
        <p:nvSpPr>
          <p:cNvPr id="9" name="orange_bar"/>
          <p:cNvSpPr/>
          <p:nvPr/>
        </p:nvSpPr>
        <p:spPr bwMode="gray">
          <a:xfrm>
            <a:off x="1203578" y="3434300"/>
            <a:ext cx="458503" cy="407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5">
              <a:latin typeface="+mn-lt"/>
            </a:endParaRPr>
          </a:p>
        </p:txBody>
      </p:sp>
      <p:sp>
        <p:nvSpPr>
          <p:cNvPr id="11" name="header_box"/>
          <p:cNvSpPr>
            <a:spLocks noGrp="1"/>
          </p:cNvSpPr>
          <p:nvPr>
            <p:ph type="body" sz="quarter" idx="10" hasCustomPrompt="1"/>
          </p:nvPr>
        </p:nvSpPr>
        <p:spPr bwMode="gray">
          <a:xfrm>
            <a:off x="1203590" y="1769534"/>
            <a:ext cx="5244123" cy="169277"/>
          </a:xfrm>
          <a:prstGeom prst="rect">
            <a:avLst/>
          </a:prstGeom>
        </p:spPr>
        <p:txBody>
          <a:bodyPr lIns="0" tIns="0" rIns="0" bIns="0" anchor="b" anchorCtr="0">
            <a:noAutofit/>
          </a:bodyPr>
          <a:lstStyle>
            <a:lvl1pPr>
              <a:defRPr lang="en-US" sz="1200" cap="all" baseline="0" smtClean="0">
                <a:solidFill>
                  <a:schemeClr val="accent1"/>
                </a:solidFill>
                <a:latin typeface="+mn-lt"/>
                <a:ea typeface="+mj-ea"/>
                <a:cs typeface="+mj-cs"/>
              </a:defRPr>
            </a:lvl1pPr>
            <a:lvl2pPr>
              <a:defRPr lang="en-US" smtClean="0"/>
            </a:lvl2pPr>
            <a:lvl3pPr>
              <a:defRPr lang="en-US" smtClean="0"/>
            </a:lvl3pPr>
            <a:lvl4pPr>
              <a:defRPr lang="en-US" smtClean="0"/>
            </a:lvl4pPr>
            <a:lvl5pPr>
              <a:defRPr lang="de-DE"/>
            </a:lvl5pPr>
          </a:lstStyle>
          <a:p>
            <a:pPr lvl="0">
              <a:spcBef>
                <a:spcPct val="0"/>
              </a:spcBef>
            </a:pPr>
            <a:r>
              <a:rPr lang="en-US"/>
              <a:t>PRESENTATION TOPIC – FILLED BY MACRO</a:t>
            </a:r>
          </a:p>
        </p:txBody>
      </p:sp>
      <p:sp>
        <p:nvSpPr>
          <p:cNvPr id="10" name="top_right_triangle"/>
          <p:cNvSpPr/>
          <p:nvPr/>
        </p:nvSpPr>
        <p:spPr bwMode="gray">
          <a:xfrm rot="10800000">
            <a:off x="7570800" y="0"/>
            <a:ext cx="3600000" cy="3600000"/>
          </a:xfrm>
          <a:prstGeom prst="rtTriangle">
            <a:avLst/>
          </a:prstGeom>
          <a:solidFill>
            <a:srgbClr val="F6F5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5">
              <a:latin typeface="+mn-lt"/>
            </a:endParaRPr>
          </a:p>
        </p:txBody>
      </p:sp>
      <p:sp>
        <p:nvSpPr>
          <p:cNvPr id="13" name="top_left_triangle"/>
          <p:cNvSpPr/>
          <p:nvPr/>
        </p:nvSpPr>
        <p:spPr bwMode="gray">
          <a:xfrm rot="5400000">
            <a:off x="0" y="0"/>
            <a:ext cx="1440000" cy="1440000"/>
          </a:xfrm>
          <a:prstGeom prst="rtTriangle">
            <a:avLst/>
          </a:prstGeom>
          <a:solidFill>
            <a:srgbClr val="FEF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5">
              <a:latin typeface="+mn-lt"/>
            </a:endParaRPr>
          </a:p>
        </p:txBody>
      </p:sp>
      <p:sp>
        <p:nvSpPr>
          <p:cNvPr id="14" name="bottom_right_triangle"/>
          <p:cNvSpPr/>
          <p:nvPr/>
        </p:nvSpPr>
        <p:spPr bwMode="gray">
          <a:xfrm rot="16200000">
            <a:off x="6134401" y="1245600"/>
            <a:ext cx="5040000" cy="5040000"/>
          </a:xfrm>
          <a:prstGeom prst="rtTriangle">
            <a:avLst/>
          </a:prstGeom>
          <a:solidFill>
            <a:srgbClr val="D9E3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5">
              <a:latin typeface="+mn-lt"/>
            </a:endParaRPr>
          </a:p>
        </p:txBody>
      </p:sp>
      <p:sp>
        <p:nvSpPr>
          <p:cNvPr id="2" name="orange_bar">
            <a:extLst>
              <a:ext uri="{FF2B5EF4-FFF2-40B4-BE49-F238E27FC236}">
                <a16:creationId xmlns:a16="http://schemas.microsoft.com/office/drawing/2014/main" id="{9069FFD0-AC9D-484D-391D-E9DE12E7401F}"/>
              </a:ext>
            </a:extLst>
          </p:cNvPr>
          <p:cNvSpPr/>
          <p:nvPr userDrawn="1"/>
        </p:nvSpPr>
        <p:spPr bwMode="gray">
          <a:xfrm>
            <a:off x="1203578" y="3434300"/>
            <a:ext cx="458503" cy="407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5">
              <a:latin typeface="+mn-lt"/>
            </a:endParaRPr>
          </a:p>
        </p:txBody>
      </p:sp>
      <p:sp>
        <p:nvSpPr>
          <p:cNvPr id="3" name="top_right_triangle">
            <a:extLst>
              <a:ext uri="{FF2B5EF4-FFF2-40B4-BE49-F238E27FC236}">
                <a16:creationId xmlns:a16="http://schemas.microsoft.com/office/drawing/2014/main" id="{2255ADE8-4723-BA44-A777-0E3D7C24EA35}"/>
              </a:ext>
            </a:extLst>
          </p:cNvPr>
          <p:cNvSpPr/>
          <p:nvPr userDrawn="1"/>
        </p:nvSpPr>
        <p:spPr bwMode="gray">
          <a:xfrm rot="10800000">
            <a:off x="7647877" y="2"/>
            <a:ext cx="3529477" cy="2808299"/>
          </a:xfrm>
          <a:prstGeom prst="rtTriangle">
            <a:avLst/>
          </a:prstGeom>
          <a:solidFill>
            <a:srgbClr val="F6F5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5">
              <a:latin typeface="+mn-lt"/>
            </a:endParaRPr>
          </a:p>
        </p:txBody>
      </p:sp>
      <p:sp>
        <p:nvSpPr>
          <p:cNvPr id="4" name="top_left_triangle">
            <a:extLst>
              <a:ext uri="{FF2B5EF4-FFF2-40B4-BE49-F238E27FC236}">
                <a16:creationId xmlns:a16="http://schemas.microsoft.com/office/drawing/2014/main" id="{58038446-941F-8B1D-4585-72FF2AD92882}"/>
              </a:ext>
            </a:extLst>
          </p:cNvPr>
          <p:cNvSpPr/>
          <p:nvPr userDrawn="1"/>
        </p:nvSpPr>
        <p:spPr bwMode="gray">
          <a:xfrm rot="5400000">
            <a:off x="135173" y="-135554"/>
            <a:ext cx="1065900" cy="1340308"/>
          </a:xfrm>
          <a:prstGeom prst="rtTriangle">
            <a:avLst/>
          </a:prstGeom>
          <a:solidFill>
            <a:srgbClr val="FEF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5">
              <a:latin typeface="+mn-lt"/>
            </a:endParaRPr>
          </a:p>
        </p:txBody>
      </p:sp>
      <p:sp>
        <p:nvSpPr>
          <p:cNvPr id="5" name="bottom_right_triangle">
            <a:extLst>
              <a:ext uri="{FF2B5EF4-FFF2-40B4-BE49-F238E27FC236}">
                <a16:creationId xmlns:a16="http://schemas.microsoft.com/office/drawing/2014/main" id="{CB4A2CA9-0875-FE1F-A817-6471EE1B5A28}"/>
              </a:ext>
            </a:extLst>
          </p:cNvPr>
          <p:cNvSpPr/>
          <p:nvPr userDrawn="1"/>
        </p:nvSpPr>
        <p:spPr bwMode="gray">
          <a:xfrm rot="16200000">
            <a:off x="5771574" y="881100"/>
            <a:ext cx="4788300" cy="6019200"/>
          </a:xfrm>
          <a:prstGeom prst="rtTriangle">
            <a:avLst/>
          </a:prstGeom>
          <a:solidFill>
            <a:srgbClr val="D9E3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5">
              <a:latin typeface="+mn-lt"/>
            </a:endParaRPr>
          </a:p>
        </p:txBody>
      </p:sp>
    </p:spTree>
    <p:extLst>
      <p:ext uri="{BB962C8B-B14F-4D97-AF65-F5344CB8AC3E}">
        <p14:creationId xmlns:p14="http://schemas.microsoft.com/office/powerpoint/2010/main" val="23776842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p:spTree>
      <p:nvGrpSpPr>
        <p:cNvPr id="1" name=""/>
        <p:cNvGrpSpPr/>
        <p:nvPr/>
      </p:nvGrpSpPr>
      <p:grpSpPr>
        <a:xfrm>
          <a:off x="0" y="0"/>
          <a:ext cx="0" cy="0"/>
          <a:chOff x="0" y="0"/>
          <a:chExt cx="0" cy="0"/>
        </a:xfrm>
      </p:grpSpPr>
      <p:sp>
        <p:nvSpPr>
          <p:cNvPr id="2" name="title_box"/>
          <p:cNvSpPr>
            <a:spLocks noGrp="1"/>
          </p:cNvSpPr>
          <p:nvPr>
            <p:ph type="ctrTitle" hasCustomPrompt="1"/>
          </p:nvPr>
        </p:nvSpPr>
        <p:spPr bwMode="gray">
          <a:xfrm>
            <a:off x="1203569" y="2095507"/>
            <a:ext cx="6161128" cy="620682"/>
          </a:xfrm>
          <a:prstGeom prst="rect">
            <a:avLst/>
          </a:prstGeom>
        </p:spPr>
        <p:txBody>
          <a:bodyPr lIns="0" tIns="0" rIns="0" bIns="0">
            <a:noAutofit/>
          </a:bodyPr>
          <a:lstStyle>
            <a:lvl1pPr>
              <a:defRPr lang="de-DE" sz="2200" baseline="0" dirty="0">
                <a:latin typeface="Roboto" panose="02000000000000000000" pitchFamily="2" charset="0"/>
                <a:ea typeface="Roboto" panose="02000000000000000000" pitchFamily="2" charset="0"/>
                <a:cs typeface="+mn-cs"/>
              </a:defRPr>
            </a:lvl1pPr>
          </a:lstStyle>
          <a:p>
            <a:pPr marL="0" lvl="0" indent="0">
              <a:spcBef>
                <a:spcPct val="20000"/>
              </a:spcBef>
              <a:buFont typeface="Arial" panose="020B0604020202020204" pitchFamily="34" charset="0"/>
            </a:pPr>
            <a:r>
              <a:rPr lang="de-DE"/>
              <a:t>Title</a:t>
            </a:r>
          </a:p>
        </p:txBody>
      </p:sp>
      <p:sp>
        <p:nvSpPr>
          <p:cNvPr id="7" name="header_box"/>
          <p:cNvSpPr>
            <a:spLocks noGrp="1"/>
          </p:cNvSpPr>
          <p:nvPr>
            <p:ph type="body" sz="quarter" idx="10" hasCustomPrompt="1"/>
          </p:nvPr>
        </p:nvSpPr>
        <p:spPr bwMode="gray">
          <a:xfrm>
            <a:off x="1203582" y="1798061"/>
            <a:ext cx="5256171" cy="140772"/>
          </a:xfrm>
          <a:prstGeom prst="rect">
            <a:avLst/>
          </a:prstGeom>
        </p:spPr>
        <p:txBody>
          <a:bodyPr lIns="0" tIns="0" rIns="0" bIns="0" anchor="b" anchorCtr="0">
            <a:noAutofit/>
          </a:bodyPr>
          <a:lstStyle>
            <a:lvl1pPr>
              <a:defRPr lang="en-US" sz="1000" cap="all" baseline="0" dirty="0" smtClean="0">
                <a:solidFill>
                  <a:schemeClr val="accent1"/>
                </a:solidFill>
                <a:latin typeface="Roboto" panose="02000000000000000000" pitchFamily="2" charset="0"/>
                <a:ea typeface="Roboto" panose="02000000000000000000" pitchFamily="2" charset="0"/>
                <a:cs typeface="+mj-cs"/>
              </a:defRPr>
            </a:lvl1pPr>
          </a:lstStyle>
          <a:p>
            <a:pPr lvl="0">
              <a:spcBef>
                <a:spcPct val="0"/>
              </a:spcBef>
            </a:pPr>
            <a:r>
              <a:rPr lang="en-US"/>
              <a:t>CHAPTER TOPIC – FILLED BY MACRO</a:t>
            </a:r>
          </a:p>
        </p:txBody>
      </p:sp>
      <p:sp>
        <p:nvSpPr>
          <p:cNvPr id="9" name="orange_bar"/>
          <p:cNvSpPr/>
          <p:nvPr/>
        </p:nvSpPr>
        <p:spPr bwMode="gray">
          <a:xfrm>
            <a:off x="1203573" y="3259667"/>
            <a:ext cx="315222" cy="291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5">
              <a:latin typeface="Roboto" panose="02000000000000000000" pitchFamily="2" charset="0"/>
              <a:ea typeface="Roboto" panose="02000000000000000000" pitchFamily="2" charset="0"/>
            </a:endParaRPr>
          </a:p>
        </p:txBody>
      </p:sp>
      <p:sp>
        <p:nvSpPr>
          <p:cNvPr id="10" name="top_right_triangle"/>
          <p:cNvSpPr/>
          <p:nvPr/>
        </p:nvSpPr>
        <p:spPr bwMode="gray">
          <a:xfrm rot="10800000">
            <a:off x="7570800" y="0"/>
            <a:ext cx="3600000" cy="3600000"/>
          </a:xfrm>
          <a:prstGeom prst="rtTriangle">
            <a:avLst/>
          </a:prstGeom>
          <a:solidFill>
            <a:srgbClr val="F6F5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5">
              <a:latin typeface="Roboto" panose="02000000000000000000" pitchFamily="2" charset="0"/>
              <a:ea typeface="Roboto" panose="02000000000000000000" pitchFamily="2" charset="0"/>
            </a:endParaRPr>
          </a:p>
        </p:txBody>
      </p:sp>
      <p:sp>
        <p:nvSpPr>
          <p:cNvPr id="11" name="top_left_triangle"/>
          <p:cNvSpPr/>
          <p:nvPr/>
        </p:nvSpPr>
        <p:spPr bwMode="gray">
          <a:xfrm rot="5400000">
            <a:off x="0" y="0"/>
            <a:ext cx="1440000" cy="1440000"/>
          </a:xfrm>
          <a:prstGeom prst="rtTriangle">
            <a:avLst/>
          </a:prstGeom>
          <a:solidFill>
            <a:srgbClr val="FEF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5">
              <a:latin typeface="Roboto" panose="02000000000000000000" pitchFamily="2" charset="0"/>
              <a:ea typeface="Roboto" panose="02000000000000000000" pitchFamily="2" charset="0"/>
            </a:endParaRPr>
          </a:p>
        </p:txBody>
      </p:sp>
      <p:sp>
        <p:nvSpPr>
          <p:cNvPr id="12" name="bottom_right_triangle"/>
          <p:cNvSpPr/>
          <p:nvPr/>
        </p:nvSpPr>
        <p:spPr bwMode="gray">
          <a:xfrm rot="16200000">
            <a:off x="6134401" y="1245600"/>
            <a:ext cx="5040000" cy="5040000"/>
          </a:xfrm>
          <a:prstGeom prst="rtTriangle">
            <a:avLst/>
          </a:prstGeom>
          <a:solidFill>
            <a:srgbClr val="D9E3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5">
              <a:latin typeface="Roboto" panose="02000000000000000000" pitchFamily="2" charset="0"/>
              <a:ea typeface="Roboto" panose="02000000000000000000" pitchFamily="2" charset="0"/>
            </a:endParaRPr>
          </a:p>
        </p:txBody>
      </p:sp>
      <p:sp>
        <p:nvSpPr>
          <p:cNvPr id="3" name="orange_bar">
            <a:extLst>
              <a:ext uri="{FF2B5EF4-FFF2-40B4-BE49-F238E27FC236}">
                <a16:creationId xmlns:a16="http://schemas.microsoft.com/office/drawing/2014/main" id="{7022E93C-C1C2-598B-BB1E-C832C7662C8D}"/>
              </a:ext>
            </a:extLst>
          </p:cNvPr>
          <p:cNvSpPr/>
          <p:nvPr userDrawn="1"/>
        </p:nvSpPr>
        <p:spPr bwMode="gray">
          <a:xfrm>
            <a:off x="1203573" y="3259667"/>
            <a:ext cx="315222" cy="291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5">
              <a:latin typeface="Roboto" panose="02000000000000000000" pitchFamily="2" charset="0"/>
              <a:ea typeface="Roboto" panose="02000000000000000000" pitchFamily="2" charset="0"/>
            </a:endParaRPr>
          </a:p>
        </p:txBody>
      </p:sp>
      <p:sp>
        <p:nvSpPr>
          <p:cNvPr id="4" name="top_right_triangle">
            <a:extLst>
              <a:ext uri="{FF2B5EF4-FFF2-40B4-BE49-F238E27FC236}">
                <a16:creationId xmlns:a16="http://schemas.microsoft.com/office/drawing/2014/main" id="{25C2780D-3BA1-1489-F0BD-C1EC80049E49}"/>
              </a:ext>
            </a:extLst>
          </p:cNvPr>
          <p:cNvSpPr/>
          <p:nvPr userDrawn="1"/>
        </p:nvSpPr>
        <p:spPr bwMode="gray">
          <a:xfrm rot="10800000">
            <a:off x="7647877" y="2"/>
            <a:ext cx="3529477" cy="2808299"/>
          </a:xfrm>
          <a:prstGeom prst="rtTriangle">
            <a:avLst/>
          </a:prstGeom>
          <a:solidFill>
            <a:srgbClr val="F6F5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5">
              <a:latin typeface="Roboto" panose="02000000000000000000" pitchFamily="2" charset="0"/>
              <a:ea typeface="Roboto" panose="02000000000000000000" pitchFamily="2" charset="0"/>
            </a:endParaRPr>
          </a:p>
        </p:txBody>
      </p:sp>
      <p:sp>
        <p:nvSpPr>
          <p:cNvPr id="5" name="top_left_triangle">
            <a:extLst>
              <a:ext uri="{FF2B5EF4-FFF2-40B4-BE49-F238E27FC236}">
                <a16:creationId xmlns:a16="http://schemas.microsoft.com/office/drawing/2014/main" id="{AD9959D9-A075-665D-B3CF-2D8BBF664412}"/>
              </a:ext>
            </a:extLst>
          </p:cNvPr>
          <p:cNvSpPr/>
          <p:nvPr userDrawn="1"/>
        </p:nvSpPr>
        <p:spPr bwMode="gray">
          <a:xfrm rot="5400000">
            <a:off x="135173" y="-135554"/>
            <a:ext cx="1065900" cy="1340308"/>
          </a:xfrm>
          <a:prstGeom prst="rtTriangle">
            <a:avLst/>
          </a:prstGeom>
          <a:solidFill>
            <a:srgbClr val="FEF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5">
              <a:latin typeface="Roboto" panose="02000000000000000000" pitchFamily="2" charset="0"/>
              <a:ea typeface="Roboto" panose="02000000000000000000" pitchFamily="2" charset="0"/>
            </a:endParaRPr>
          </a:p>
        </p:txBody>
      </p:sp>
      <p:sp>
        <p:nvSpPr>
          <p:cNvPr id="6" name="bottom_right_triangle">
            <a:extLst>
              <a:ext uri="{FF2B5EF4-FFF2-40B4-BE49-F238E27FC236}">
                <a16:creationId xmlns:a16="http://schemas.microsoft.com/office/drawing/2014/main" id="{32F0E72B-BEE1-B022-5A3A-3C17E7FC161F}"/>
              </a:ext>
            </a:extLst>
          </p:cNvPr>
          <p:cNvSpPr/>
          <p:nvPr userDrawn="1"/>
        </p:nvSpPr>
        <p:spPr bwMode="gray">
          <a:xfrm rot="16200000">
            <a:off x="5771574" y="881100"/>
            <a:ext cx="4788300" cy="6019200"/>
          </a:xfrm>
          <a:prstGeom prst="rtTriangle">
            <a:avLst/>
          </a:prstGeom>
          <a:solidFill>
            <a:srgbClr val="D9E3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5">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27947351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10" name="top_line"/>
          <p:cNvCxnSpPr/>
          <p:nvPr/>
        </p:nvCxnSpPr>
        <p:spPr bwMode="gray">
          <a:xfrm>
            <a:off x="208026" y="905002"/>
            <a:ext cx="9372600" cy="0"/>
          </a:xfrm>
          <a:prstGeom prst="line">
            <a:avLst/>
          </a:prstGeom>
          <a:ln>
            <a:solidFill>
              <a:srgbClr val="7DA5B4"/>
            </a:solidFill>
          </a:ln>
        </p:spPr>
        <p:style>
          <a:lnRef idx="1">
            <a:schemeClr val="accent1"/>
          </a:lnRef>
          <a:fillRef idx="0">
            <a:schemeClr val="accent1"/>
          </a:fillRef>
          <a:effectRef idx="0">
            <a:schemeClr val="accent1"/>
          </a:effectRef>
          <a:fontRef idx="minor">
            <a:schemeClr val="tx1"/>
          </a:fontRef>
        </p:style>
      </p:cxnSp>
      <p:cxnSp>
        <p:nvCxnSpPr>
          <p:cNvPr id="13" name="bottom_line"/>
          <p:cNvCxnSpPr/>
          <p:nvPr/>
        </p:nvCxnSpPr>
        <p:spPr bwMode="gray">
          <a:xfrm>
            <a:off x="208026" y="6079109"/>
            <a:ext cx="9372600" cy="0"/>
          </a:xfrm>
          <a:prstGeom prst="line">
            <a:avLst/>
          </a:prstGeom>
          <a:ln>
            <a:solidFill>
              <a:srgbClr val="7DA5B4"/>
            </a:solidFill>
          </a:ln>
        </p:spPr>
        <p:style>
          <a:lnRef idx="1">
            <a:schemeClr val="accent1"/>
          </a:lnRef>
          <a:fillRef idx="0">
            <a:schemeClr val="accent1"/>
          </a:fillRef>
          <a:effectRef idx="0">
            <a:schemeClr val="accent1"/>
          </a:effectRef>
          <a:fontRef idx="minor">
            <a:schemeClr val="tx1"/>
          </a:fontRef>
        </p:style>
      </p:cxnSp>
      <p:grpSp>
        <p:nvGrpSpPr>
          <p:cNvPr id="16" name="CA_marker_top_left"/>
          <p:cNvGrpSpPr/>
          <p:nvPr/>
        </p:nvGrpSpPr>
        <p:grpSpPr bwMode="gray">
          <a:xfrm>
            <a:off x="208800" y="-356400"/>
            <a:ext cx="964800" cy="262800"/>
            <a:chOff x="266700" y="-387424"/>
            <a:chExt cx="812096" cy="288032"/>
          </a:xfrm>
        </p:grpSpPr>
        <p:cxnSp>
          <p:nvCxnSpPr>
            <p:cNvPr id="5" name="Straight Connector 4"/>
            <p:cNvCxnSpPr/>
            <p:nvPr/>
          </p:nvCxnSpPr>
          <p:spPr bwMode="gray">
            <a:xfrm flipH="1" flipV="1">
              <a:off x="266700"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bwMode="gray">
            <a:xfrm>
              <a:off x="526604" y="-320401"/>
              <a:ext cx="552192"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21" name="CA_marker_bottom_left"/>
          <p:cNvGrpSpPr/>
          <p:nvPr/>
        </p:nvGrpSpPr>
        <p:grpSpPr bwMode="gray">
          <a:xfrm>
            <a:off x="208800" y="6379200"/>
            <a:ext cx="964800" cy="262800"/>
            <a:chOff x="266699" y="-387424"/>
            <a:chExt cx="812100" cy="288032"/>
          </a:xfrm>
        </p:grpSpPr>
        <p:cxnSp>
          <p:nvCxnSpPr>
            <p:cNvPr id="22" name="Straight Connector 21"/>
            <p:cNvCxnSpPr/>
            <p:nvPr/>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bwMode="gray">
            <a:xfrm>
              <a:off x="526604" y="-320401"/>
              <a:ext cx="552195"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37" name="CA_marker_top_right"/>
          <p:cNvGrpSpPr/>
          <p:nvPr/>
        </p:nvGrpSpPr>
        <p:grpSpPr bwMode="gray">
          <a:xfrm flipH="1">
            <a:off x="8614800" y="-356400"/>
            <a:ext cx="964800" cy="262800"/>
            <a:chOff x="266699" y="-387424"/>
            <a:chExt cx="1029346" cy="288032"/>
          </a:xfrm>
        </p:grpSpPr>
        <p:cxnSp>
          <p:nvCxnSpPr>
            <p:cNvPr id="38" name="Straight Connector 37"/>
            <p:cNvCxnSpPr/>
            <p:nvPr/>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bwMode="gray">
            <a:xfrm>
              <a:off x="679293" y="-320395"/>
              <a:ext cx="616752"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41" name="CA_marker_bottom_right"/>
          <p:cNvGrpSpPr/>
          <p:nvPr/>
        </p:nvGrpSpPr>
        <p:grpSpPr bwMode="gray">
          <a:xfrm flipH="1">
            <a:off x="8614800" y="6379200"/>
            <a:ext cx="964800" cy="262800"/>
            <a:chOff x="266699" y="-387424"/>
            <a:chExt cx="1029346" cy="288032"/>
          </a:xfrm>
        </p:grpSpPr>
        <p:cxnSp>
          <p:nvCxnSpPr>
            <p:cNvPr id="42" name="Straight Connector 41"/>
            <p:cNvCxnSpPr/>
            <p:nvPr/>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bwMode="gray">
            <a:xfrm>
              <a:off x="679293" y="-320395"/>
              <a:ext cx="616752"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7" name="CA_marker_left_bottom_NTHM"/>
          <p:cNvGrpSpPr/>
          <p:nvPr/>
        </p:nvGrpSpPr>
        <p:grpSpPr bwMode="gray">
          <a:xfrm>
            <a:off x="-475200" y="4615200"/>
            <a:ext cx="324000" cy="1400400"/>
            <a:chOff x="-420221" y="4770550"/>
            <a:chExt cx="288032" cy="1528650"/>
          </a:xfrm>
        </p:grpSpPr>
        <p:cxnSp>
          <p:nvCxnSpPr>
            <p:cNvPr id="47" name="Straight Connector 46"/>
            <p:cNvCxnSpPr/>
            <p:nvPr/>
          </p:nvCxnSpPr>
          <p:spPr bwMode="gray">
            <a:xfrm rot="5400000" flipH="1" flipV="1">
              <a:off x="-276206" y="61551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bwMode="gray">
            <a:xfrm rot="16200000" flipH="1" flipV="1">
              <a:off x="-387108" y="6188296"/>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bwMode="gray">
            <a:xfrm>
              <a:off x="-364310" y="4770550"/>
              <a:ext cx="176211" cy="1297385"/>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THM</a:t>
              </a:r>
              <a:endParaRPr lang="de-DE" sz="900">
                <a:solidFill>
                  <a:schemeClr val="accent6"/>
                </a:solidFill>
              </a:endParaRPr>
            </a:p>
          </p:txBody>
        </p:sp>
      </p:grpSp>
      <p:grpSp>
        <p:nvGrpSpPr>
          <p:cNvPr id="4" name="CA_marker_left_top_ST"/>
          <p:cNvGrpSpPr/>
          <p:nvPr/>
        </p:nvGrpSpPr>
        <p:grpSpPr bwMode="gray">
          <a:xfrm>
            <a:off x="-752400" y="1436401"/>
            <a:ext cx="324000" cy="1724400"/>
            <a:chOff x="-667814" y="1764387"/>
            <a:chExt cx="288032" cy="1880637"/>
          </a:xfrm>
        </p:grpSpPr>
        <p:cxnSp>
          <p:nvCxnSpPr>
            <p:cNvPr id="57" name="Straight Connector 56"/>
            <p:cNvCxnSpPr/>
            <p:nvPr/>
          </p:nvCxnSpPr>
          <p:spPr bwMode="gray">
            <a:xfrm rot="5400000" flipH="1" flipV="1">
              <a:off x="-523799" y="1624077"/>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bwMode="gray">
            <a:xfrm rot="5400000" flipH="1">
              <a:off x="-634701" y="187528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bwMode="gray">
            <a:xfrm>
              <a:off x="-611904" y="2051178"/>
              <a:ext cx="176211" cy="1593846"/>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subtitle</a:t>
              </a:r>
              <a:endParaRPr lang="de-DE" sz="900">
                <a:solidFill>
                  <a:schemeClr val="accent6"/>
                </a:solidFill>
              </a:endParaRPr>
            </a:p>
          </p:txBody>
        </p:sp>
      </p:grpSp>
      <p:grpSp>
        <p:nvGrpSpPr>
          <p:cNvPr id="6" name="CA_marker_left_bottom_THM"/>
          <p:cNvGrpSpPr/>
          <p:nvPr/>
        </p:nvGrpSpPr>
        <p:grpSpPr bwMode="gray">
          <a:xfrm>
            <a:off x="-752400" y="3996001"/>
            <a:ext cx="324000" cy="1494000"/>
            <a:chOff x="-667814" y="4138377"/>
            <a:chExt cx="288032" cy="1629264"/>
          </a:xfrm>
        </p:grpSpPr>
        <p:cxnSp>
          <p:nvCxnSpPr>
            <p:cNvPr id="61" name="Straight Connector 60"/>
            <p:cNvCxnSpPr/>
            <p:nvPr/>
          </p:nvCxnSpPr>
          <p:spPr bwMode="gray">
            <a:xfrm rot="5400000" flipH="1" flipV="1">
              <a:off x="-523799" y="5623625"/>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bwMode="gray">
            <a:xfrm rot="16200000" flipH="1" flipV="1">
              <a:off x="-634701" y="5656737"/>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bwMode="gray">
            <a:xfrm>
              <a:off x="-611903" y="4138377"/>
              <a:ext cx="176211" cy="1398000"/>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THM</a:t>
              </a:r>
              <a:endParaRPr lang="de-DE" sz="900">
                <a:solidFill>
                  <a:schemeClr val="accent6"/>
                </a:solidFill>
              </a:endParaRPr>
            </a:p>
          </p:txBody>
        </p:sp>
      </p:grpSp>
      <p:grpSp>
        <p:nvGrpSpPr>
          <p:cNvPr id="15" name="CA_marker_right_top_NST"/>
          <p:cNvGrpSpPr/>
          <p:nvPr/>
        </p:nvGrpSpPr>
        <p:grpSpPr bwMode="gray">
          <a:xfrm>
            <a:off x="11325599" y="990000"/>
            <a:ext cx="324000" cy="1605600"/>
            <a:chOff x="10038191" y="1270000"/>
            <a:chExt cx="288032" cy="1752599"/>
          </a:xfrm>
        </p:grpSpPr>
        <p:cxnSp>
          <p:nvCxnSpPr>
            <p:cNvPr id="79" name="Straight Connector 78"/>
            <p:cNvCxnSpPr/>
            <p:nvPr/>
          </p:nvCxnSpPr>
          <p:spPr bwMode="gray">
            <a:xfrm rot="16200000" flipV="1">
              <a:off x="10182206" y="1129690"/>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bwMode="gray">
            <a:xfrm rot="16200000">
              <a:off x="10071305" y="1380901"/>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bwMode="gray">
            <a:xfrm flipH="1">
              <a:off x="10094101" y="1556791"/>
              <a:ext cx="176211" cy="1465808"/>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subtitle</a:t>
              </a:r>
              <a:endParaRPr lang="de-DE" sz="900">
                <a:solidFill>
                  <a:schemeClr val="accent6"/>
                </a:solidFill>
              </a:endParaRPr>
            </a:p>
          </p:txBody>
        </p:sp>
      </p:grpSp>
      <p:grpSp>
        <p:nvGrpSpPr>
          <p:cNvPr id="9" name="CA_marker_right_bottom_NTHM"/>
          <p:cNvGrpSpPr/>
          <p:nvPr/>
        </p:nvGrpSpPr>
        <p:grpSpPr bwMode="gray">
          <a:xfrm>
            <a:off x="11325599" y="4615200"/>
            <a:ext cx="324000" cy="1400400"/>
            <a:chOff x="10038191" y="4770550"/>
            <a:chExt cx="288032" cy="1528650"/>
          </a:xfrm>
        </p:grpSpPr>
        <p:cxnSp>
          <p:nvCxnSpPr>
            <p:cNvPr id="76" name="Straight Connector 75"/>
            <p:cNvCxnSpPr/>
            <p:nvPr/>
          </p:nvCxnSpPr>
          <p:spPr bwMode="gray">
            <a:xfrm rot="16200000" flipV="1">
              <a:off x="10182206" y="61551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bwMode="gray">
            <a:xfrm rot="5400000" flipV="1">
              <a:off x="10071305" y="6188296"/>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bwMode="gray">
            <a:xfrm flipH="1">
              <a:off x="10094100" y="4770550"/>
              <a:ext cx="176211" cy="1297385"/>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THM</a:t>
              </a:r>
              <a:endParaRPr lang="de-DE" sz="900">
                <a:solidFill>
                  <a:schemeClr val="accent6"/>
                </a:solidFill>
              </a:endParaRPr>
            </a:p>
          </p:txBody>
        </p:sp>
      </p:grpSp>
      <p:grpSp>
        <p:nvGrpSpPr>
          <p:cNvPr id="14" name="CA_marker_right_top_ST"/>
          <p:cNvGrpSpPr/>
          <p:nvPr/>
        </p:nvGrpSpPr>
        <p:grpSpPr bwMode="gray">
          <a:xfrm>
            <a:off x="11606400" y="1436401"/>
            <a:ext cx="324000" cy="1724400"/>
            <a:chOff x="10285784" y="1764387"/>
            <a:chExt cx="288032" cy="1880637"/>
          </a:xfrm>
        </p:grpSpPr>
        <p:cxnSp>
          <p:nvCxnSpPr>
            <p:cNvPr id="73" name="Straight Connector 72"/>
            <p:cNvCxnSpPr/>
            <p:nvPr/>
          </p:nvCxnSpPr>
          <p:spPr bwMode="gray">
            <a:xfrm rot="16200000" flipV="1">
              <a:off x="10429799" y="1624077"/>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bwMode="gray">
            <a:xfrm rot="16200000">
              <a:off x="10318898" y="187528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bwMode="gray">
            <a:xfrm flipH="1">
              <a:off x="10341694" y="2051178"/>
              <a:ext cx="176211" cy="1593846"/>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subtitle</a:t>
              </a:r>
              <a:endParaRPr lang="de-DE" sz="900">
                <a:solidFill>
                  <a:schemeClr val="accent6"/>
                </a:solidFill>
              </a:endParaRPr>
            </a:p>
          </p:txBody>
        </p:sp>
      </p:grpSp>
      <p:grpSp>
        <p:nvGrpSpPr>
          <p:cNvPr id="8" name="CA_marker_right_bottom_THM"/>
          <p:cNvGrpSpPr/>
          <p:nvPr/>
        </p:nvGrpSpPr>
        <p:grpSpPr bwMode="gray">
          <a:xfrm>
            <a:off x="11606400" y="3996001"/>
            <a:ext cx="324000" cy="1494000"/>
            <a:chOff x="10285784" y="4138377"/>
            <a:chExt cx="288032" cy="1629264"/>
          </a:xfrm>
        </p:grpSpPr>
        <p:cxnSp>
          <p:nvCxnSpPr>
            <p:cNvPr id="70" name="Straight Connector 69"/>
            <p:cNvCxnSpPr/>
            <p:nvPr/>
          </p:nvCxnSpPr>
          <p:spPr bwMode="gray">
            <a:xfrm rot="16200000" flipV="1">
              <a:off x="10429799" y="5623625"/>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bwMode="gray">
            <a:xfrm rot="5400000" flipV="1">
              <a:off x="10318898" y="5656737"/>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bwMode="gray">
            <a:xfrm flipH="1">
              <a:off x="10341693" y="4138377"/>
              <a:ext cx="176211" cy="1398000"/>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THM</a:t>
              </a:r>
              <a:endParaRPr lang="de-DE" sz="900">
                <a:solidFill>
                  <a:schemeClr val="accent6"/>
                </a:solidFill>
              </a:endParaRPr>
            </a:p>
          </p:txBody>
        </p:sp>
      </p:grpSp>
      <p:grpSp>
        <p:nvGrpSpPr>
          <p:cNvPr id="3" name="CA_marker_left_top_NST"/>
          <p:cNvGrpSpPr/>
          <p:nvPr/>
        </p:nvGrpSpPr>
        <p:grpSpPr bwMode="gray">
          <a:xfrm>
            <a:off x="-475200" y="990000"/>
            <a:ext cx="324000" cy="1605600"/>
            <a:chOff x="-420221" y="1269999"/>
            <a:chExt cx="288032" cy="1752600"/>
          </a:xfrm>
        </p:grpSpPr>
        <p:cxnSp>
          <p:nvCxnSpPr>
            <p:cNvPr id="35" name="Straight Arrow Connector 34"/>
            <p:cNvCxnSpPr/>
            <p:nvPr/>
          </p:nvCxnSpPr>
          <p:spPr bwMode="gray">
            <a:xfrm rot="5400000" flipH="1">
              <a:off x="-387108" y="1380901"/>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bwMode="gray">
            <a:xfrm>
              <a:off x="-364311" y="1556791"/>
              <a:ext cx="176211" cy="1465808"/>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subtitle</a:t>
              </a:r>
              <a:endParaRPr lang="de-DE" sz="900">
                <a:solidFill>
                  <a:schemeClr val="accent6"/>
                </a:solidFill>
              </a:endParaRPr>
            </a:p>
          </p:txBody>
        </p:sp>
        <p:cxnSp>
          <p:nvCxnSpPr>
            <p:cNvPr id="87" name="Straight Connector 86"/>
            <p:cNvCxnSpPr/>
            <p:nvPr/>
          </p:nvCxnSpPr>
          <p:spPr bwMode="gray">
            <a:xfrm rot="5400000" flipH="1" flipV="1">
              <a:off x="-276206" y="11259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0" name="Slide Number Placeholder 19"/>
          <p:cNvSpPr>
            <a:spLocks noGrp="1"/>
          </p:cNvSpPr>
          <p:nvPr>
            <p:ph type="sldNum" sz="quarter" idx="11"/>
          </p:nvPr>
        </p:nvSpPr>
        <p:spPr>
          <a:xfrm>
            <a:off x="10328401" y="5760000"/>
            <a:ext cx="698400" cy="280800"/>
          </a:xfrm>
        </p:spPr>
        <p:txBody>
          <a:bodyPr anchor="ctr"/>
          <a:lstStyle>
            <a:lvl1pPr>
              <a:defRPr sz="900">
                <a:solidFill>
                  <a:srgbClr val="7DA5B4"/>
                </a:solidFill>
              </a:defRPr>
            </a:lvl1pPr>
          </a:lstStyle>
          <a:p>
            <a:endParaRPr lang="de-DE"/>
          </a:p>
          <a:p>
            <a:fld id="{A020F9E7-0241-46E4-89E5-35E80FECC0B6}" type="slidenum">
              <a:rPr lang="de-DE" smtClean="0"/>
              <a:pPr/>
              <a:t>‹Nr.›</a:t>
            </a:fld>
            <a:endParaRPr lang="de-DE"/>
          </a:p>
        </p:txBody>
      </p:sp>
      <p:sp>
        <p:nvSpPr>
          <p:cNvPr id="88" name="header_box">
            <a:extLst>
              <a:ext uri="{FF2B5EF4-FFF2-40B4-BE49-F238E27FC236}">
                <a16:creationId xmlns:a16="http://schemas.microsoft.com/office/drawing/2014/main" id="{D550724F-2D95-4804-A0F3-9F15622FD50E}"/>
              </a:ext>
            </a:extLst>
          </p:cNvPr>
          <p:cNvSpPr>
            <a:spLocks noGrp="1"/>
          </p:cNvSpPr>
          <p:nvPr>
            <p:ph type="title"/>
          </p:nvPr>
        </p:nvSpPr>
        <p:spPr>
          <a:xfrm>
            <a:off x="208026" y="136779"/>
            <a:ext cx="9375521" cy="676910"/>
          </a:xfrm>
          <a:prstGeom prst="rect">
            <a:avLst/>
          </a:prstGeom>
        </p:spPr>
        <p:txBody>
          <a:bodyPr lIns="0" tIns="0" rIns="0" bIns="0" anchor="b"/>
          <a:lstStyle>
            <a:lvl1pPr>
              <a:defRPr sz="2000"/>
            </a:lvl1pPr>
          </a:lstStyle>
          <a:p>
            <a:r>
              <a:rPr lang="en-US"/>
              <a:t>Click to edit Master title style</a:t>
            </a:r>
          </a:p>
        </p:txBody>
      </p:sp>
      <p:cxnSp>
        <p:nvCxnSpPr>
          <p:cNvPr id="11" name="top_line">
            <a:extLst>
              <a:ext uri="{FF2B5EF4-FFF2-40B4-BE49-F238E27FC236}">
                <a16:creationId xmlns:a16="http://schemas.microsoft.com/office/drawing/2014/main" id="{6D84B185-C761-39C2-5512-2565776D993A}"/>
              </a:ext>
            </a:extLst>
          </p:cNvPr>
          <p:cNvCxnSpPr/>
          <p:nvPr userDrawn="1"/>
        </p:nvCxnSpPr>
        <p:spPr bwMode="gray">
          <a:xfrm>
            <a:off x="300554" y="1049400"/>
            <a:ext cx="10574215" cy="0"/>
          </a:xfrm>
          <a:prstGeom prst="line">
            <a:avLst/>
          </a:prstGeom>
          <a:ln>
            <a:solidFill>
              <a:srgbClr val="003C50"/>
            </a:solidFill>
          </a:ln>
        </p:spPr>
        <p:style>
          <a:lnRef idx="1">
            <a:schemeClr val="accent1"/>
          </a:lnRef>
          <a:fillRef idx="0">
            <a:schemeClr val="accent1"/>
          </a:fillRef>
          <a:effectRef idx="0">
            <a:schemeClr val="accent1"/>
          </a:effectRef>
          <a:fontRef idx="minor">
            <a:schemeClr val="tx1"/>
          </a:fontRef>
        </p:style>
      </p:cxnSp>
      <p:cxnSp>
        <p:nvCxnSpPr>
          <p:cNvPr id="12" name="bottom_line">
            <a:extLst>
              <a:ext uri="{FF2B5EF4-FFF2-40B4-BE49-F238E27FC236}">
                <a16:creationId xmlns:a16="http://schemas.microsoft.com/office/drawing/2014/main" id="{B118A440-6523-2A10-0140-58B7FA76A5FA}"/>
              </a:ext>
            </a:extLst>
          </p:cNvPr>
          <p:cNvCxnSpPr/>
          <p:nvPr userDrawn="1"/>
        </p:nvCxnSpPr>
        <p:spPr bwMode="gray">
          <a:xfrm>
            <a:off x="300554" y="5844299"/>
            <a:ext cx="10574215" cy="0"/>
          </a:xfrm>
          <a:prstGeom prst="line">
            <a:avLst/>
          </a:prstGeom>
          <a:ln>
            <a:solidFill>
              <a:srgbClr val="003C50"/>
            </a:solidFill>
          </a:ln>
        </p:spPr>
        <p:style>
          <a:lnRef idx="1">
            <a:schemeClr val="accent1"/>
          </a:lnRef>
          <a:fillRef idx="0">
            <a:schemeClr val="accent1"/>
          </a:fillRef>
          <a:effectRef idx="0">
            <a:schemeClr val="accent1"/>
          </a:effectRef>
          <a:fontRef idx="minor">
            <a:schemeClr val="tx1"/>
          </a:fontRef>
        </p:style>
      </p:cxnSp>
      <p:grpSp>
        <p:nvGrpSpPr>
          <p:cNvPr id="19" name="CA_marker_top_left">
            <a:extLst>
              <a:ext uri="{FF2B5EF4-FFF2-40B4-BE49-F238E27FC236}">
                <a16:creationId xmlns:a16="http://schemas.microsoft.com/office/drawing/2014/main" id="{ECCD5311-54A0-CF7C-6D36-4F4591D34D27}"/>
              </a:ext>
            </a:extLst>
          </p:cNvPr>
          <p:cNvGrpSpPr/>
          <p:nvPr userDrawn="1"/>
        </p:nvGrpSpPr>
        <p:grpSpPr bwMode="gray">
          <a:xfrm>
            <a:off x="208800" y="-356400"/>
            <a:ext cx="964800" cy="262800"/>
            <a:chOff x="266700" y="-387424"/>
            <a:chExt cx="812096" cy="288032"/>
          </a:xfrm>
        </p:grpSpPr>
        <p:cxnSp>
          <p:nvCxnSpPr>
            <p:cNvPr id="25" name="Straight Connector 24">
              <a:extLst>
                <a:ext uri="{FF2B5EF4-FFF2-40B4-BE49-F238E27FC236}">
                  <a16:creationId xmlns:a16="http://schemas.microsoft.com/office/drawing/2014/main" id="{11BAC9EE-618D-6C13-5C7B-E7CF8FB5003A}"/>
                </a:ext>
              </a:extLst>
            </p:cNvPr>
            <p:cNvCxnSpPr/>
            <p:nvPr userDrawn="1"/>
          </p:nvCxnSpPr>
          <p:spPr bwMode="gray">
            <a:xfrm flipH="1" flipV="1">
              <a:off x="266700"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73887778-EAAE-1B62-5FD5-F003B37CBA29}"/>
                </a:ext>
              </a:extLst>
            </p:cNvPr>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54121907-EC55-A0B8-B6BD-E581075F26F2}"/>
                </a:ext>
              </a:extLst>
            </p:cNvPr>
            <p:cNvSpPr txBox="1"/>
            <p:nvPr userDrawn="1"/>
          </p:nvSpPr>
          <p:spPr bwMode="gray">
            <a:xfrm>
              <a:off x="526604" y="-320401"/>
              <a:ext cx="552192"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28" name="CA_marker_bottom_left">
            <a:extLst>
              <a:ext uri="{FF2B5EF4-FFF2-40B4-BE49-F238E27FC236}">
                <a16:creationId xmlns:a16="http://schemas.microsoft.com/office/drawing/2014/main" id="{33B91BCD-2245-779A-889C-355A83C93496}"/>
              </a:ext>
            </a:extLst>
          </p:cNvPr>
          <p:cNvGrpSpPr/>
          <p:nvPr userDrawn="1"/>
        </p:nvGrpSpPr>
        <p:grpSpPr bwMode="gray">
          <a:xfrm>
            <a:off x="208800" y="6379200"/>
            <a:ext cx="964800" cy="262800"/>
            <a:chOff x="266699" y="-387424"/>
            <a:chExt cx="812100" cy="288032"/>
          </a:xfrm>
        </p:grpSpPr>
        <p:cxnSp>
          <p:nvCxnSpPr>
            <p:cNvPr id="29" name="Straight Connector 28">
              <a:extLst>
                <a:ext uri="{FF2B5EF4-FFF2-40B4-BE49-F238E27FC236}">
                  <a16:creationId xmlns:a16="http://schemas.microsoft.com/office/drawing/2014/main" id="{04ECB822-DBB1-3095-F2DC-DDC477F1C5C3}"/>
                </a:ext>
              </a:extLst>
            </p:cNvPr>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F1853E2-77EB-546E-AA5B-E8016E6DE0AE}"/>
                </a:ext>
              </a:extLst>
            </p:cNvPr>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BBEF0768-7F9E-51DD-2FFF-44B9090C6A0A}"/>
                </a:ext>
              </a:extLst>
            </p:cNvPr>
            <p:cNvSpPr txBox="1"/>
            <p:nvPr userDrawn="1"/>
          </p:nvSpPr>
          <p:spPr bwMode="gray">
            <a:xfrm>
              <a:off x="526604" y="-320401"/>
              <a:ext cx="552195"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32" name="CA_marker_top_right">
            <a:extLst>
              <a:ext uri="{FF2B5EF4-FFF2-40B4-BE49-F238E27FC236}">
                <a16:creationId xmlns:a16="http://schemas.microsoft.com/office/drawing/2014/main" id="{701261C4-42D5-3E02-9372-8A5A357F2A85}"/>
              </a:ext>
            </a:extLst>
          </p:cNvPr>
          <p:cNvGrpSpPr/>
          <p:nvPr userDrawn="1"/>
        </p:nvGrpSpPr>
        <p:grpSpPr bwMode="gray">
          <a:xfrm flipH="1">
            <a:off x="8614800" y="-356400"/>
            <a:ext cx="964800" cy="262800"/>
            <a:chOff x="266699" y="-387424"/>
            <a:chExt cx="1029346" cy="288032"/>
          </a:xfrm>
        </p:grpSpPr>
        <p:cxnSp>
          <p:nvCxnSpPr>
            <p:cNvPr id="33" name="Straight Connector 32">
              <a:extLst>
                <a:ext uri="{FF2B5EF4-FFF2-40B4-BE49-F238E27FC236}">
                  <a16:creationId xmlns:a16="http://schemas.microsoft.com/office/drawing/2014/main" id="{5280C922-612E-AB77-6450-7E1A27F534AD}"/>
                </a:ext>
              </a:extLst>
            </p:cNvPr>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F7E9E268-8B4A-D384-034E-067E4A97E6D2}"/>
                </a:ext>
              </a:extLst>
            </p:cNvPr>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8E2C4417-5AAD-873F-5870-8D296A7168AE}"/>
                </a:ext>
              </a:extLst>
            </p:cNvPr>
            <p:cNvSpPr txBox="1"/>
            <p:nvPr userDrawn="1"/>
          </p:nvSpPr>
          <p:spPr bwMode="gray">
            <a:xfrm>
              <a:off x="679293" y="-320395"/>
              <a:ext cx="616752"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46" name="CA_marker_bottom_right">
            <a:extLst>
              <a:ext uri="{FF2B5EF4-FFF2-40B4-BE49-F238E27FC236}">
                <a16:creationId xmlns:a16="http://schemas.microsoft.com/office/drawing/2014/main" id="{4A9A32B8-2C39-CEA9-7711-6F89BAA59613}"/>
              </a:ext>
            </a:extLst>
          </p:cNvPr>
          <p:cNvGrpSpPr/>
          <p:nvPr userDrawn="1"/>
        </p:nvGrpSpPr>
        <p:grpSpPr bwMode="gray">
          <a:xfrm flipH="1">
            <a:off x="8614800" y="6379200"/>
            <a:ext cx="964800" cy="262800"/>
            <a:chOff x="266699" y="-387424"/>
            <a:chExt cx="1029346" cy="288032"/>
          </a:xfrm>
        </p:grpSpPr>
        <p:cxnSp>
          <p:nvCxnSpPr>
            <p:cNvPr id="50" name="Straight Connector 49">
              <a:extLst>
                <a:ext uri="{FF2B5EF4-FFF2-40B4-BE49-F238E27FC236}">
                  <a16:creationId xmlns:a16="http://schemas.microsoft.com/office/drawing/2014/main" id="{2BA6F29B-782A-9F67-B57F-7B26996DDCCD}"/>
                </a:ext>
              </a:extLst>
            </p:cNvPr>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9A7698C2-1151-7C62-0B1F-F97D71E97745}"/>
                </a:ext>
              </a:extLst>
            </p:cNvPr>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3C090880-ED55-DBAE-3441-641075BC05AA}"/>
                </a:ext>
              </a:extLst>
            </p:cNvPr>
            <p:cNvSpPr txBox="1"/>
            <p:nvPr userDrawn="1"/>
          </p:nvSpPr>
          <p:spPr bwMode="gray">
            <a:xfrm>
              <a:off x="679293" y="-320395"/>
              <a:ext cx="616752" cy="153976"/>
            </a:xfrm>
            <a:prstGeom prst="rect">
              <a:avLst/>
            </a:prstGeom>
            <a:noFill/>
          </p:spPr>
          <p:txBody>
            <a:bodyPr wrap="none" lIns="0" tIns="0" rIns="0" bIns="0" rtlCol="0" anchor="ctr">
              <a:spAutoFit/>
            </a:bodyPr>
            <a:lstStyle/>
            <a:p>
              <a:r>
                <a:rPr lang="en-US" sz="900">
                  <a:solidFill>
                    <a:schemeClr val="accent6"/>
                  </a:solidFill>
                </a:rPr>
                <a:t>Content</a:t>
              </a:r>
              <a:r>
                <a:rPr lang="en-US" sz="900" baseline="0">
                  <a:solidFill>
                    <a:schemeClr val="accent6"/>
                  </a:solidFill>
                </a:rPr>
                <a:t> area</a:t>
              </a:r>
              <a:endParaRPr lang="de-DE" sz="900">
                <a:solidFill>
                  <a:schemeClr val="accent6"/>
                </a:solidFill>
              </a:endParaRPr>
            </a:p>
          </p:txBody>
        </p:sp>
      </p:grpSp>
      <p:grpSp>
        <p:nvGrpSpPr>
          <p:cNvPr id="53" name="CA_marker_left_bottom_NTHM">
            <a:extLst>
              <a:ext uri="{FF2B5EF4-FFF2-40B4-BE49-F238E27FC236}">
                <a16:creationId xmlns:a16="http://schemas.microsoft.com/office/drawing/2014/main" id="{316B441C-87FD-AD7A-6F61-75F836186E0A}"/>
              </a:ext>
            </a:extLst>
          </p:cNvPr>
          <p:cNvGrpSpPr/>
          <p:nvPr userDrawn="1"/>
        </p:nvGrpSpPr>
        <p:grpSpPr bwMode="gray">
          <a:xfrm>
            <a:off x="-475200" y="4615200"/>
            <a:ext cx="324000" cy="1400400"/>
            <a:chOff x="-420221" y="4770550"/>
            <a:chExt cx="288032" cy="1528650"/>
          </a:xfrm>
        </p:grpSpPr>
        <p:cxnSp>
          <p:nvCxnSpPr>
            <p:cNvPr id="54" name="Straight Connector 53">
              <a:extLst>
                <a:ext uri="{FF2B5EF4-FFF2-40B4-BE49-F238E27FC236}">
                  <a16:creationId xmlns:a16="http://schemas.microsoft.com/office/drawing/2014/main" id="{89D2FAF6-6C7C-A1E4-E958-75BE273D93D0}"/>
                </a:ext>
              </a:extLst>
            </p:cNvPr>
            <p:cNvCxnSpPr/>
            <p:nvPr userDrawn="1"/>
          </p:nvCxnSpPr>
          <p:spPr bwMode="gray">
            <a:xfrm rot="5400000" flipH="1" flipV="1">
              <a:off x="-276206" y="61551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6FA3A435-142C-9FE6-B2EC-A761BF27B6A5}"/>
                </a:ext>
              </a:extLst>
            </p:cNvPr>
            <p:cNvCxnSpPr/>
            <p:nvPr userDrawn="1"/>
          </p:nvCxnSpPr>
          <p:spPr bwMode="gray">
            <a:xfrm rot="16200000" flipH="1" flipV="1">
              <a:off x="-387108" y="6188296"/>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62122CFB-E6EC-8567-D052-36BB97BC5B36}"/>
                </a:ext>
              </a:extLst>
            </p:cNvPr>
            <p:cNvSpPr txBox="1"/>
            <p:nvPr userDrawn="1"/>
          </p:nvSpPr>
          <p:spPr bwMode="gray">
            <a:xfrm>
              <a:off x="-364310" y="4770550"/>
              <a:ext cx="176211" cy="1297385"/>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THM</a:t>
              </a:r>
              <a:endParaRPr lang="de-DE" sz="900">
                <a:solidFill>
                  <a:schemeClr val="accent6"/>
                </a:solidFill>
              </a:endParaRPr>
            </a:p>
          </p:txBody>
        </p:sp>
      </p:grpSp>
      <p:grpSp>
        <p:nvGrpSpPr>
          <p:cNvPr id="60" name="CA_marker_left_top_ST">
            <a:extLst>
              <a:ext uri="{FF2B5EF4-FFF2-40B4-BE49-F238E27FC236}">
                <a16:creationId xmlns:a16="http://schemas.microsoft.com/office/drawing/2014/main" id="{E11FB3AC-62E5-79BA-98F5-E2C0858B6F13}"/>
              </a:ext>
            </a:extLst>
          </p:cNvPr>
          <p:cNvGrpSpPr/>
          <p:nvPr userDrawn="1"/>
        </p:nvGrpSpPr>
        <p:grpSpPr bwMode="gray">
          <a:xfrm>
            <a:off x="-752400" y="1436401"/>
            <a:ext cx="324000" cy="1724400"/>
            <a:chOff x="-667814" y="1764387"/>
            <a:chExt cx="288032" cy="1880637"/>
          </a:xfrm>
        </p:grpSpPr>
        <p:cxnSp>
          <p:nvCxnSpPr>
            <p:cNvPr id="64" name="Straight Connector 63">
              <a:extLst>
                <a:ext uri="{FF2B5EF4-FFF2-40B4-BE49-F238E27FC236}">
                  <a16:creationId xmlns:a16="http://schemas.microsoft.com/office/drawing/2014/main" id="{4888A43A-298B-1CB4-B4E6-4CB6BCE94265}"/>
                </a:ext>
              </a:extLst>
            </p:cNvPr>
            <p:cNvCxnSpPr/>
            <p:nvPr userDrawn="1"/>
          </p:nvCxnSpPr>
          <p:spPr bwMode="gray">
            <a:xfrm rot="5400000" flipH="1" flipV="1">
              <a:off x="-523799" y="1624077"/>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AD033894-0E77-32A3-DB0A-F64E99391FEC}"/>
                </a:ext>
              </a:extLst>
            </p:cNvPr>
            <p:cNvCxnSpPr/>
            <p:nvPr userDrawn="1"/>
          </p:nvCxnSpPr>
          <p:spPr bwMode="gray">
            <a:xfrm rot="5400000" flipH="1">
              <a:off x="-634701" y="187528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E82323EA-0A58-6798-A60D-B5AFAE9BA8DC}"/>
                </a:ext>
              </a:extLst>
            </p:cNvPr>
            <p:cNvSpPr txBox="1"/>
            <p:nvPr userDrawn="1"/>
          </p:nvSpPr>
          <p:spPr bwMode="gray">
            <a:xfrm>
              <a:off x="-611904" y="2051178"/>
              <a:ext cx="176211" cy="1593846"/>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subtitle</a:t>
              </a:r>
              <a:endParaRPr lang="de-DE" sz="900">
                <a:solidFill>
                  <a:schemeClr val="accent6"/>
                </a:solidFill>
              </a:endParaRPr>
            </a:p>
          </p:txBody>
        </p:sp>
      </p:grpSp>
      <p:grpSp>
        <p:nvGrpSpPr>
          <p:cNvPr id="67" name="CA_marker_left_bottom_THM">
            <a:extLst>
              <a:ext uri="{FF2B5EF4-FFF2-40B4-BE49-F238E27FC236}">
                <a16:creationId xmlns:a16="http://schemas.microsoft.com/office/drawing/2014/main" id="{6C653399-6402-66E3-B779-F32B51066011}"/>
              </a:ext>
            </a:extLst>
          </p:cNvPr>
          <p:cNvGrpSpPr/>
          <p:nvPr userDrawn="1"/>
        </p:nvGrpSpPr>
        <p:grpSpPr bwMode="gray">
          <a:xfrm>
            <a:off x="-752400" y="3996001"/>
            <a:ext cx="324000" cy="1494000"/>
            <a:chOff x="-667814" y="4138377"/>
            <a:chExt cx="288032" cy="1629264"/>
          </a:xfrm>
        </p:grpSpPr>
        <p:cxnSp>
          <p:nvCxnSpPr>
            <p:cNvPr id="68" name="Straight Connector 67">
              <a:extLst>
                <a:ext uri="{FF2B5EF4-FFF2-40B4-BE49-F238E27FC236}">
                  <a16:creationId xmlns:a16="http://schemas.microsoft.com/office/drawing/2014/main" id="{284696B3-0866-0269-BA23-BB3BACB419A4}"/>
                </a:ext>
              </a:extLst>
            </p:cNvPr>
            <p:cNvCxnSpPr/>
            <p:nvPr userDrawn="1"/>
          </p:nvCxnSpPr>
          <p:spPr bwMode="gray">
            <a:xfrm rot="5400000" flipH="1" flipV="1">
              <a:off x="-523799" y="5623625"/>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6F4C27EA-65B1-D007-A1E4-AA633D95FD5D}"/>
                </a:ext>
              </a:extLst>
            </p:cNvPr>
            <p:cNvCxnSpPr/>
            <p:nvPr userDrawn="1"/>
          </p:nvCxnSpPr>
          <p:spPr bwMode="gray">
            <a:xfrm rot="16200000" flipH="1" flipV="1">
              <a:off x="-634701" y="5656737"/>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F840DBF1-C014-EC58-3450-B463C40DFC12}"/>
                </a:ext>
              </a:extLst>
            </p:cNvPr>
            <p:cNvSpPr txBox="1"/>
            <p:nvPr userDrawn="1"/>
          </p:nvSpPr>
          <p:spPr bwMode="gray">
            <a:xfrm>
              <a:off x="-611903" y="4138377"/>
              <a:ext cx="176211" cy="1398000"/>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THM</a:t>
              </a:r>
              <a:endParaRPr lang="de-DE" sz="900">
                <a:solidFill>
                  <a:schemeClr val="accent6"/>
                </a:solidFill>
              </a:endParaRPr>
            </a:p>
          </p:txBody>
        </p:sp>
      </p:grpSp>
      <p:grpSp>
        <p:nvGrpSpPr>
          <p:cNvPr id="83" name="CA_marker_right_top_NST">
            <a:extLst>
              <a:ext uri="{FF2B5EF4-FFF2-40B4-BE49-F238E27FC236}">
                <a16:creationId xmlns:a16="http://schemas.microsoft.com/office/drawing/2014/main" id="{C377952C-9273-4DD2-88D3-A9DB343BBB80}"/>
              </a:ext>
            </a:extLst>
          </p:cNvPr>
          <p:cNvGrpSpPr/>
          <p:nvPr userDrawn="1"/>
        </p:nvGrpSpPr>
        <p:grpSpPr bwMode="gray">
          <a:xfrm>
            <a:off x="11325599" y="990000"/>
            <a:ext cx="324000" cy="1605600"/>
            <a:chOff x="10038191" y="1270000"/>
            <a:chExt cx="288032" cy="1752599"/>
          </a:xfrm>
        </p:grpSpPr>
        <p:cxnSp>
          <p:nvCxnSpPr>
            <p:cNvPr id="84" name="Straight Connector 83">
              <a:extLst>
                <a:ext uri="{FF2B5EF4-FFF2-40B4-BE49-F238E27FC236}">
                  <a16:creationId xmlns:a16="http://schemas.microsoft.com/office/drawing/2014/main" id="{2DAE3CC4-6FC0-E3D1-5634-8477F11D1523}"/>
                </a:ext>
              </a:extLst>
            </p:cNvPr>
            <p:cNvCxnSpPr/>
            <p:nvPr userDrawn="1"/>
          </p:nvCxnSpPr>
          <p:spPr bwMode="gray">
            <a:xfrm rot="16200000" flipV="1">
              <a:off x="10182206" y="1129690"/>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7E1F3AD5-533A-3259-F906-F55A1496A4DB}"/>
                </a:ext>
              </a:extLst>
            </p:cNvPr>
            <p:cNvCxnSpPr/>
            <p:nvPr userDrawn="1"/>
          </p:nvCxnSpPr>
          <p:spPr bwMode="gray">
            <a:xfrm rot="16200000">
              <a:off x="10071305" y="1380901"/>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6E03700D-A565-FF10-6928-DFAF1EF71058}"/>
                </a:ext>
              </a:extLst>
            </p:cNvPr>
            <p:cNvSpPr txBox="1"/>
            <p:nvPr userDrawn="1"/>
          </p:nvSpPr>
          <p:spPr bwMode="gray">
            <a:xfrm flipH="1">
              <a:off x="10094101" y="1556791"/>
              <a:ext cx="176211" cy="1465808"/>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subtitle</a:t>
              </a:r>
              <a:endParaRPr lang="de-DE" sz="900">
                <a:solidFill>
                  <a:schemeClr val="accent6"/>
                </a:solidFill>
              </a:endParaRPr>
            </a:p>
          </p:txBody>
        </p:sp>
      </p:grpSp>
      <p:grpSp>
        <p:nvGrpSpPr>
          <p:cNvPr id="89" name="CA_marker_right_bottom_NTHM">
            <a:extLst>
              <a:ext uri="{FF2B5EF4-FFF2-40B4-BE49-F238E27FC236}">
                <a16:creationId xmlns:a16="http://schemas.microsoft.com/office/drawing/2014/main" id="{35B66842-274D-D71A-9A5E-634244624421}"/>
              </a:ext>
            </a:extLst>
          </p:cNvPr>
          <p:cNvGrpSpPr/>
          <p:nvPr userDrawn="1"/>
        </p:nvGrpSpPr>
        <p:grpSpPr bwMode="gray">
          <a:xfrm>
            <a:off x="11325599" y="4615200"/>
            <a:ext cx="324000" cy="1400400"/>
            <a:chOff x="10038191" y="4770550"/>
            <a:chExt cx="288032" cy="1528650"/>
          </a:xfrm>
        </p:grpSpPr>
        <p:cxnSp>
          <p:nvCxnSpPr>
            <p:cNvPr id="90" name="Straight Connector 89">
              <a:extLst>
                <a:ext uri="{FF2B5EF4-FFF2-40B4-BE49-F238E27FC236}">
                  <a16:creationId xmlns:a16="http://schemas.microsoft.com/office/drawing/2014/main" id="{DF41A8C7-F7D5-0C8C-C4A3-B8D6D482E0AE}"/>
                </a:ext>
              </a:extLst>
            </p:cNvPr>
            <p:cNvCxnSpPr/>
            <p:nvPr userDrawn="1"/>
          </p:nvCxnSpPr>
          <p:spPr bwMode="gray">
            <a:xfrm rot="16200000" flipV="1">
              <a:off x="10182206" y="61551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1A54C39C-5118-D562-C7E0-AB727EFE0B86}"/>
                </a:ext>
              </a:extLst>
            </p:cNvPr>
            <p:cNvCxnSpPr/>
            <p:nvPr userDrawn="1"/>
          </p:nvCxnSpPr>
          <p:spPr bwMode="gray">
            <a:xfrm rot="5400000" flipV="1">
              <a:off x="10071305" y="6188296"/>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688F5634-7EB5-82DA-C74A-1935399EDBB5}"/>
                </a:ext>
              </a:extLst>
            </p:cNvPr>
            <p:cNvSpPr txBox="1"/>
            <p:nvPr userDrawn="1"/>
          </p:nvSpPr>
          <p:spPr bwMode="gray">
            <a:xfrm flipH="1">
              <a:off x="10094100" y="4770550"/>
              <a:ext cx="176211" cy="1297385"/>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THM</a:t>
              </a:r>
              <a:endParaRPr lang="de-DE" sz="900">
                <a:solidFill>
                  <a:schemeClr val="accent6"/>
                </a:solidFill>
              </a:endParaRPr>
            </a:p>
          </p:txBody>
        </p:sp>
      </p:grpSp>
      <p:grpSp>
        <p:nvGrpSpPr>
          <p:cNvPr id="93" name="CA_marker_right_top_ST">
            <a:extLst>
              <a:ext uri="{FF2B5EF4-FFF2-40B4-BE49-F238E27FC236}">
                <a16:creationId xmlns:a16="http://schemas.microsoft.com/office/drawing/2014/main" id="{7EA62ACB-907F-46F2-D8D8-F118668F156A}"/>
              </a:ext>
            </a:extLst>
          </p:cNvPr>
          <p:cNvGrpSpPr/>
          <p:nvPr userDrawn="1"/>
        </p:nvGrpSpPr>
        <p:grpSpPr bwMode="gray">
          <a:xfrm>
            <a:off x="11606400" y="1436401"/>
            <a:ext cx="324000" cy="1724400"/>
            <a:chOff x="10285784" y="1764387"/>
            <a:chExt cx="288032" cy="1880637"/>
          </a:xfrm>
        </p:grpSpPr>
        <p:cxnSp>
          <p:nvCxnSpPr>
            <p:cNvPr id="94" name="Straight Connector 93">
              <a:extLst>
                <a:ext uri="{FF2B5EF4-FFF2-40B4-BE49-F238E27FC236}">
                  <a16:creationId xmlns:a16="http://schemas.microsoft.com/office/drawing/2014/main" id="{7DECBA84-37DB-DD53-7400-A5D03FEA1561}"/>
                </a:ext>
              </a:extLst>
            </p:cNvPr>
            <p:cNvCxnSpPr/>
            <p:nvPr userDrawn="1"/>
          </p:nvCxnSpPr>
          <p:spPr bwMode="gray">
            <a:xfrm rot="16200000" flipV="1">
              <a:off x="10429799" y="1624077"/>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E6194FAF-1E56-8554-7065-D0E2BECA21A4}"/>
                </a:ext>
              </a:extLst>
            </p:cNvPr>
            <p:cNvCxnSpPr/>
            <p:nvPr userDrawn="1"/>
          </p:nvCxnSpPr>
          <p:spPr bwMode="gray">
            <a:xfrm rot="16200000">
              <a:off x="10318898" y="187528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0189DDD0-ACAE-8787-E3D6-DE31EBA83AB0}"/>
                </a:ext>
              </a:extLst>
            </p:cNvPr>
            <p:cNvSpPr txBox="1"/>
            <p:nvPr userDrawn="1"/>
          </p:nvSpPr>
          <p:spPr bwMode="gray">
            <a:xfrm flipH="1">
              <a:off x="10341694" y="2051178"/>
              <a:ext cx="176211" cy="1593846"/>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subtitle</a:t>
              </a:r>
              <a:endParaRPr lang="de-DE" sz="900">
                <a:solidFill>
                  <a:schemeClr val="accent6"/>
                </a:solidFill>
              </a:endParaRPr>
            </a:p>
          </p:txBody>
        </p:sp>
      </p:grpSp>
      <p:grpSp>
        <p:nvGrpSpPr>
          <p:cNvPr id="97" name="CA_marker_right_bottom_THM">
            <a:extLst>
              <a:ext uri="{FF2B5EF4-FFF2-40B4-BE49-F238E27FC236}">
                <a16:creationId xmlns:a16="http://schemas.microsoft.com/office/drawing/2014/main" id="{EF5252BF-F303-D542-5A65-CED255EE1B31}"/>
              </a:ext>
            </a:extLst>
          </p:cNvPr>
          <p:cNvGrpSpPr/>
          <p:nvPr userDrawn="1"/>
        </p:nvGrpSpPr>
        <p:grpSpPr bwMode="gray">
          <a:xfrm>
            <a:off x="11606400" y="3996001"/>
            <a:ext cx="324000" cy="1494000"/>
            <a:chOff x="10285784" y="4138377"/>
            <a:chExt cx="288032" cy="1629264"/>
          </a:xfrm>
        </p:grpSpPr>
        <p:cxnSp>
          <p:nvCxnSpPr>
            <p:cNvPr id="98" name="Straight Connector 97">
              <a:extLst>
                <a:ext uri="{FF2B5EF4-FFF2-40B4-BE49-F238E27FC236}">
                  <a16:creationId xmlns:a16="http://schemas.microsoft.com/office/drawing/2014/main" id="{770B4F30-E44B-2DA1-33E8-EEE2E57C867F}"/>
                </a:ext>
              </a:extLst>
            </p:cNvPr>
            <p:cNvCxnSpPr/>
            <p:nvPr userDrawn="1"/>
          </p:nvCxnSpPr>
          <p:spPr bwMode="gray">
            <a:xfrm rot="16200000" flipV="1">
              <a:off x="10429799" y="5623625"/>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502BEDE1-2C19-B91D-65CA-BE41E352CBFF}"/>
                </a:ext>
              </a:extLst>
            </p:cNvPr>
            <p:cNvCxnSpPr/>
            <p:nvPr userDrawn="1"/>
          </p:nvCxnSpPr>
          <p:spPr bwMode="gray">
            <a:xfrm rot="5400000" flipV="1">
              <a:off x="10318898" y="5656737"/>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B05429E2-AA3A-451E-D0FA-85E772886EDC}"/>
                </a:ext>
              </a:extLst>
            </p:cNvPr>
            <p:cNvSpPr txBox="1"/>
            <p:nvPr userDrawn="1"/>
          </p:nvSpPr>
          <p:spPr bwMode="gray">
            <a:xfrm flipH="1">
              <a:off x="10341693" y="4138377"/>
              <a:ext cx="176211" cy="1398000"/>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with THM</a:t>
              </a:r>
              <a:endParaRPr lang="de-DE" sz="900">
                <a:solidFill>
                  <a:schemeClr val="accent6"/>
                </a:solidFill>
              </a:endParaRPr>
            </a:p>
          </p:txBody>
        </p:sp>
      </p:grpSp>
      <p:grpSp>
        <p:nvGrpSpPr>
          <p:cNvPr id="101" name="CA_marker_left_top_NST">
            <a:extLst>
              <a:ext uri="{FF2B5EF4-FFF2-40B4-BE49-F238E27FC236}">
                <a16:creationId xmlns:a16="http://schemas.microsoft.com/office/drawing/2014/main" id="{BCA0767C-6156-E8BA-EA37-C217455A64C5}"/>
              </a:ext>
            </a:extLst>
          </p:cNvPr>
          <p:cNvGrpSpPr/>
          <p:nvPr userDrawn="1"/>
        </p:nvGrpSpPr>
        <p:grpSpPr bwMode="gray">
          <a:xfrm>
            <a:off x="-475200" y="990000"/>
            <a:ext cx="324000" cy="1605600"/>
            <a:chOff x="-420221" y="1269999"/>
            <a:chExt cx="288032" cy="1752600"/>
          </a:xfrm>
        </p:grpSpPr>
        <p:cxnSp>
          <p:nvCxnSpPr>
            <p:cNvPr id="102" name="Straight Arrow Connector 101">
              <a:extLst>
                <a:ext uri="{FF2B5EF4-FFF2-40B4-BE49-F238E27FC236}">
                  <a16:creationId xmlns:a16="http://schemas.microsoft.com/office/drawing/2014/main" id="{E69F3DF7-BB51-39EC-8B6E-D7A720A70D88}"/>
                </a:ext>
              </a:extLst>
            </p:cNvPr>
            <p:cNvCxnSpPr/>
            <p:nvPr userDrawn="1"/>
          </p:nvCxnSpPr>
          <p:spPr bwMode="gray">
            <a:xfrm rot="5400000" flipH="1">
              <a:off x="-387108" y="1380901"/>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F4B3E3A0-E198-E8B8-D33C-833838A1EED6}"/>
                </a:ext>
              </a:extLst>
            </p:cNvPr>
            <p:cNvSpPr txBox="1"/>
            <p:nvPr userDrawn="1"/>
          </p:nvSpPr>
          <p:spPr bwMode="gray">
            <a:xfrm>
              <a:off x="-364311" y="1556791"/>
              <a:ext cx="176211" cy="1465808"/>
            </a:xfrm>
            <a:prstGeom prst="rect">
              <a:avLst/>
            </a:prstGeom>
            <a:noFill/>
          </p:spPr>
          <p:txBody>
            <a:bodyPr vert="vert" wrap="square" lIns="0" tIns="0" rIns="0" bIns="0" rtlCol="0" anchor="ctr">
              <a:noAutofit/>
            </a:bodyPr>
            <a:lstStyle/>
            <a:p>
              <a:pPr algn="l"/>
              <a:r>
                <a:rPr lang="en-US" sz="900">
                  <a:solidFill>
                    <a:schemeClr val="accent6"/>
                  </a:solidFill>
                </a:rPr>
                <a:t>Content</a:t>
              </a:r>
              <a:r>
                <a:rPr lang="en-US" sz="900" baseline="0">
                  <a:solidFill>
                    <a:schemeClr val="accent6"/>
                  </a:solidFill>
                </a:rPr>
                <a:t> area no subtitle</a:t>
              </a:r>
              <a:endParaRPr lang="de-DE" sz="900">
                <a:solidFill>
                  <a:schemeClr val="accent6"/>
                </a:solidFill>
              </a:endParaRPr>
            </a:p>
          </p:txBody>
        </p:sp>
        <p:cxnSp>
          <p:nvCxnSpPr>
            <p:cNvPr id="104" name="Straight Connector 103">
              <a:extLst>
                <a:ext uri="{FF2B5EF4-FFF2-40B4-BE49-F238E27FC236}">
                  <a16:creationId xmlns:a16="http://schemas.microsoft.com/office/drawing/2014/main" id="{B79200B3-8859-9491-D179-853DF18E30DB}"/>
                </a:ext>
              </a:extLst>
            </p:cNvPr>
            <p:cNvCxnSpPr/>
            <p:nvPr userDrawn="1"/>
          </p:nvCxnSpPr>
          <p:spPr bwMode="gray">
            <a:xfrm rot="5400000" flipH="1" flipV="1">
              <a:off x="-276206" y="11259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 name="gray_info_panel">
            <a:extLst>
              <a:ext uri="{FF2B5EF4-FFF2-40B4-BE49-F238E27FC236}">
                <a16:creationId xmlns:a16="http://schemas.microsoft.com/office/drawing/2014/main" id="{C4230198-23AD-AC51-026B-690366E0E332}"/>
              </a:ext>
            </a:extLst>
          </p:cNvPr>
          <p:cNvSpPr/>
          <p:nvPr userDrawn="1"/>
        </p:nvSpPr>
        <p:spPr bwMode="gray">
          <a:xfrm>
            <a:off x="9788652" y="0"/>
            <a:ext cx="1387348" cy="6286500"/>
          </a:xfrm>
          <a:prstGeom prst="rect">
            <a:avLst/>
          </a:prstGeom>
          <a:solidFill>
            <a:srgbClr val="F0EEEB"/>
          </a:solidFill>
          <a:ln w="9525" cap="flat" cmpd="sng" algn="ctr">
            <a:noFill/>
            <a:prstDash val="solid"/>
          </a:ln>
          <a:effectLst/>
          <a:extLs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cxnSp>
        <p:nvCxnSpPr>
          <p:cNvPr id="106" name="bottom_right_line">
            <a:extLst>
              <a:ext uri="{FF2B5EF4-FFF2-40B4-BE49-F238E27FC236}">
                <a16:creationId xmlns:a16="http://schemas.microsoft.com/office/drawing/2014/main" id="{B98E552A-C483-F00A-377C-131E4D5D8B2F}"/>
              </a:ext>
            </a:extLst>
          </p:cNvPr>
          <p:cNvCxnSpPr/>
          <p:nvPr userDrawn="1"/>
        </p:nvCxnSpPr>
        <p:spPr>
          <a:xfrm>
            <a:off x="9936607" y="6079109"/>
            <a:ext cx="1091438" cy="0"/>
          </a:xfrm>
          <a:prstGeom prst="line">
            <a:avLst/>
          </a:prstGeom>
          <a:ln>
            <a:solidFill>
              <a:srgbClr val="7DA5B4"/>
            </a:solidFill>
          </a:ln>
        </p:spPr>
        <p:style>
          <a:lnRef idx="1">
            <a:schemeClr val="accent1"/>
          </a:lnRef>
          <a:fillRef idx="0">
            <a:schemeClr val="accent1"/>
          </a:fillRef>
          <a:effectRef idx="0">
            <a:schemeClr val="accent1"/>
          </a:effectRef>
          <a:fontRef idx="minor">
            <a:schemeClr val="tx1"/>
          </a:fontRef>
        </p:style>
      </p:cxnSp>
      <p:cxnSp>
        <p:nvCxnSpPr>
          <p:cNvPr id="107" name="bottom_right_line_2">
            <a:extLst>
              <a:ext uri="{FF2B5EF4-FFF2-40B4-BE49-F238E27FC236}">
                <a16:creationId xmlns:a16="http://schemas.microsoft.com/office/drawing/2014/main" id="{12044F8D-EB61-47E7-F400-82FA8B376028}"/>
              </a:ext>
            </a:extLst>
          </p:cNvPr>
          <p:cNvCxnSpPr/>
          <p:nvPr userDrawn="1"/>
        </p:nvCxnSpPr>
        <p:spPr>
          <a:xfrm>
            <a:off x="9936607" y="5507609"/>
            <a:ext cx="1091438" cy="0"/>
          </a:xfrm>
          <a:prstGeom prst="line">
            <a:avLst/>
          </a:prstGeom>
          <a:ln>
            <a:solidFill>
              <a:srgbClr val="7DA5B4"/>
            </a:solidFill>
          </a:ln>
        </p:spPr>
        <p:style>
          <a:lnRef idx="1">
            <a:schemeClr val="accent1"/>
          </a:lnRef>
          <a:fillRef idx="0">
            <a:schemeClr val="accent1"/>
          </a:fillRef>
          <a:effectRef idx="0">
            <a:schemeClr val="accent1"/>
          </a:effectRef>
          <a:fontRef idx="minor">
            <a:schemeClr val="tx1"/>
          </a:fontRef>
        </p:style>
      </p:cxnSp>
      <p:cxnSp>
        <p:nvCxnSpPr>
          <p:cNvPr id="108" name="top_right_line">
            <a:extLst>
              <a:ext uri="{FF2B5EF4-FFF2-40B4-BE49-F238E27FC236}">
                <a16:creationId xmlns:a16="http://schemas.microsoft.com/office/drawing/2014/main" id="{18D48A4B-1DDE-74A2-C3F9-8DB566AF521F}"/>
              </a:ext>
            </a:extLst>
          </p:cNvPr>
          <p:cNvCxnSpPr/>
          <p:nvPr userDrawn="1"/>
        </p:nvCxnSpPr>
        <p:spPr>
          <a:xfrm>
            <a:off x="9936607" y="905002"/>
            <a:ext cx="1091438" cy="0"/>
          </a:xfrm>
          <a:prstGeom prst="line">
            <a:avLst/>
          </a:prstGeom>
          <a:ln>
            <a:solidFill>
              <a:srgbClr val="7DA5B4"/>
            </a:solidFill>
          </a:ln>
        </p:spPr>
        <p:style>
          <a:lnRef idx="1">
            <a:schemeClr val="accent1"/>
          </a:lnRef>
          <a:fillRef idx="0">
            <a:schemeClr val="accent1"/>
          </a:fillRef>
          <a:effectRef idx="0">
            <a:schemeClr val="accent1"/>
          </a:effectRef>
          <a:fontRef idx="minor">
            <a:schemeClr val="tx1"/>
          </a:fontRef>
        </p:style>
      </p:cxnSp>
      <p:sp>
        <p:nvSpPr>
          <p:cNvPr id="110" name="Footer Placeholder 109">
            <a:extLst>
              <a:ext uri="{FF2B5EF4-FFF2-40B4-BE49-F238E27FC236}">
                <a16:creationId xmlns:a16="http://schemas.microsoft.com/office/drawing/2014/main" id="{8D9A41A4-3FB0-52C7-4482-4D8802DB8F01}"/>
              </a:ext>
            </a:extLst>
          </p:cNvPr>
          <p:cNvSpPr>
            <a:spLocks noGrp="1"/>
          </p:cNvSpPr>
          <p:nvPr>
            <p:ph type="ftr" sz="quarter" idx="12"/>
          </p:nvPr>
        </p:nvSpPr>
        <p:spPr>
          <a:xfrm>
            <a:off x="9936000" y="5760000"/>
            <a:ext cx="773400" cy="277200"/>
          </a:xfrm>
        </p:spPr>
        <p:txBody>
          <a:bodyPr anchor="ctr"/>
          <a:lstStyle>
            <a:lvl1pPr>
              <a:defRPr sz="900">
                <a:solidFill>
                  <a:srgbClr val="7DA5B4"/>
                </a:solidFill>
              </a:defRPr>
            </a:lvl1pPr>
          </a:lstStyle>
          <a:p>
            <a:r>
              <a:rPr lang="de-DE"/>
              <a:t>© 2026</a:t>
            </a:r>
          </a:p>
          <a:p>
            <a:r>
              <a:rPr lang="de-DE"/>
              <a:t>d-fine</a:t>
            </a:r>
          </a:p>
        </p:txBody>
      </p:sp>
    </p:spTree>
    <p:extLst>
      <p:ext uri="{BB962C8B-B14F-4D97-AF65-F5344CB8AC3E}">
        <p14:creationId xmlns:p14="http://schemas.microsoft.com/office/powerpoint/2010/main" val="1344812155"/>
      </p:ext>
    </p:extLst>
  </p:cSld>
  <p:clrMapOvr>
    <a:masterClrMapping/>
  </p:clrMapOvr>
  <p:extLst>
    <p:ext uri="{DCECCB84-F9BA-43D5-87BE-67443E8EF086}">
      <p15:sldGuideLst xmlns:p15="http://schemas.microsoft.com/office/powerpoint/2012/main">
        <p15:guide id="1" pos="131">
          <p15:clr>
            <a:srgbClr val="FBAE40"/>
          </p15:clr>
        </p15:guide>
        <p15:guide id="2" pos="6034">
          <p15:clr>
            <a:srgbClr val="FBAE40"/>
          </p15:clr>
        </p15:guide>
        <p15:guide id="3" orient="horz" pos="623">
          <p15:clr>
            <a:srgbClr val="FBAE40"/>
          </p15:clr>
        </p15:guide>
        <p15:guide id="4" orient="horz" pos="904">
          <p15:clr>
            <a:srgbClr val="FBAE40"/>
          </p15:clr>
        </p15:guide>
        <p15:guide id="5" orient="horz" pos="3458">
          <p15:clr>
            <a:srgbClr val="FBAE40"/>
          </p15:clr>
        </p15:guide>
        <p15:guide id="6" orient="horz" pos="378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sp>
        <p:nvSpPr>
          <p:cNvPr id="10" name="background"/>
          <p:cNvSpPr/>
          <p:nvPr/>
        </p:nvSpPr>
        <p:spPr bwMode="white">
          <a:xfrm>
            <a:off x="0" y="4"/>
            <a:ext cx="11176000" cy="62865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202462" rIns="430234" rtlCol="0" anchor="ctr"/>
          <a:lstStyle/>
          <a:p>
            <a:pPr algn="ctr"/>
            <a:endParaRPr lang="de-DE" sz="206">
              <a:solidFill>
                <a:schemeClr val="accent2"/>
              </a:solidFill>
              <a:latin typeface="+mn-lt"/>
            </a:endParaRPr>
          </a:p>
        </p:txBody>
      </p:sp>
      <p:sp>
        <p:nvSpPr>
          <p:cNvPr id="2" name="header_box"/>
          <p:cNvSpPr>
            <a:spLocks noGrp="1"/>
          </p:cNvSpPr>
          <p:nvPr>
            <p:ph type="title" hasCustomPrompt="1"/>
          </p:nvPr>
        </p:nvSpPr>
        <p:spPr bwMode="gray">
          <a:xfrm>
            <a:off x="727202" y="1244600"/>
            <a:ext cx="9799200" cy="446400"/>
          </a:xfrm>
          <a:prstGeom prst="rect">
            <a:avLst/>
          </a:prstGeom>
        </p:spPr>
        <p:txBody>
          <a:bodyPr lIns="0" tIns="0" rIns="0" bIns="0">
            <a:noAutofit/>
          </a:bodyPr>
          <a:lstStyle>
            <a:lvl1pPr>
              <a:defRPr sz="3200" baseline="0">
                <a:latin typeface="+mn-lt"/>
                <a:ea typeface="Roboto" panose="02000000000000000000" pitchFamily="2" charset="0"/>
              </a:defRPr>
            </a:lvl1pPr>
          </a:lstStyle>
          <a:p>
            <a:r>
              <a:rPr lang="de-DE" err="1"/>
              <a:t>Contact</a:t>
            </a:r>
            <a:r>
              <a:rPr lang="de-DE"/>
              <a:t> Page Title</a:t>
            </a:r>
          </a:p>
        </p:txBody>
      </p:sp>
      <p:cxnSp>
        <p:nvCxnSpPr>
          <p:cNvPr id="4" name="bottom_line"/>
          <p:cNvCxnSpPr/>
          <p:nvPr/>
        </p:nvCxnSpPr>
        <p:spPr bwMode="gray">
          <a:xfrm>
            <a:off x="687764" y="5844118"/>
            <a:ext cx="980049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contact_box"/>
          <p:cNvSpPr>
            <a:spLocks noGrp="1"/>
          </p:cNvSpPr>
          <p:nvPr>
            <p:ph type="body" sz="quarter" idx="10" hasCustomPrompt="1"/>
          </p:nvPr>
        </p:nvSpPr>
        <p:spPr bwMode="gray">
          <a:xfrm>
            <a:off x="687764" y="3634931"/>
            <a:ext cx="2865641" cy="2048932"/>
          </a:xfrm>
          <a:prstGeom prst="rect">
            <a:avLst/>
          </a:prstGeom>
        </p:spPr>
        <p:txBody>
          <a:bodyPr lIns="0" tIns="0" rIns="0" bIns="0" numCol="1" anchor="b" anchorCtr="0"/>
          <a:lstStyle>
            <a:lvl1pPr>
              <a:lnSpc>
                <a:spcPts val="1451"/>
              </a:lnSpc>
              <a:spcBef>
                <a:spcPts val="0"/>
              </a:spcBef>
              <a:defRPr sz="1000" b="0" baseline="0">
                <a:latin typeface="+mn-lt"/>
              </a:defRPr>
            </a:lvl1pPr>
            <a:lvl2pPr marL="0" indent="0">
              <a:lnSpc>
                <a:spcPts val="188"/>
              </a:lnSpc>
              <a:spcBef>
                <a:spcPts val="0"/>
              </a:spcBef>
              <a:defRPr sz="117"/>
            </a:lvl2pPr>
          </a:lstStyle>
          <a:p>
            <a:pPr lvl="0"/>
            <a:r>
              <a:rPr lang="en-US"/>
              <a:t>Dr. First Last</a:t>
            </a:r>
            <a:br>
              <a:rPr lang="en-US"/>
            </a:br>
            <a:r>
              <a:rPr lang="en-US"/>
              <a:t>Title</a:t>
            </a:r>
            <a:br>
              <a:rPr lang="en-US"/>
            </a:br>
            <a:r>
              <a:rPr lang="en-US"/>
              <a:t>+49 69-90737-fff</a:t>
            </a:r>
            <a:br>
              <a:rPr lang="en-US"/>
            </a:br>
            <a:r>
              <a:rPr lang="en-US"/>
              <a:t>+49 162-263-nnnn</a:t>
            </a:r>
            <a:br>
              <a:rPr lang="en-US"/>
            </a:br>
            <a:r>
              <a:rPr lang="en-US"/>
              <a:t>first.last@d-fine.de</a:t>
            </a:r>
            <a:br>
              <a:rPr lang="en-US"/>
            </a:br>
            <a:br>
              <a:rPr lang="en-US"/>
            </a:br>
            <a:r>
              <a:rPr lang="en-US"/>
              <a:t>First Last</a:t>
            </a:r>
            <a:br>
              <a:rPr lang="en-US"/>
            </a:br>
            <a:r>
              <a:rPr lang="en-US"/>
              <a:t>Title</a:t>
            </a:r>
            <a:br>
              <a:rPr lang="en-US"/>
            </a:br>
            <a:r>
              <a:rPr lang="en-US"/>
              <a:t>+49 89-790-8617-mmm</a:t>
            </a:r>
            <a:br>
              <a:rPr lang="en-US"/>
            </a:br>
            <a:r>
              <a:rPr lang="en-US"/>
              <a:t>+49 162-263-nnnn</a:t>
            </a:r>
            <a:br>
              <a:rPr lang="en-US"/>
            </a:br>
            <a:r>
              <a:rPr lang="en-US"/>
              <a:t>first.last@d-fine.de</a:t>
            </a:r>
          </a:p>
        </p:txBody>
      </p:sp>
      <p:sp>
        <p:nvSpPr>
          <p:cNvPr id="9" name="orange_bar"/>
          <p:cNvSpPr/>
          <p:nvPr/>
        </p:nvSpPr>
        <p:spPr bwMode="gray">
          <a:xfrm>
            <a:off x="727202" y="925309"/>
            <a:ext cx="447954" cy="612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6">
              <a:latin typeface="+mn-lt"/>
            </a:endParaRPr>
          </a:p>
        </p:txBody>
      </p:sp>
      <p:sp>
        <p:nvSpPr>
          <p:cNvPr id="3" name="background">
            <a:extLst>
              <a:ext uri="{FF2B5EF4-FFF2-40B4-BE49-F238E27FC236}">
                <a16:creationId xmlns:a16="http://schemas.microsoft.com/office/drawing/2014/main" id="{22D07C3B-582F-4FE8-0291-670B532A24D4}"/>
              </a:ext>
            </a:extLst>
          </p:cNvPr>
          <p:cNvSpPr/>
          <p:nvPr userDrawn="1"/>
        </p:nvSpPr>
        <p:spPr bwMode="white">
          <a:xfrm>
            <a:off x="0" y="4"/>
            <a:ext cx="11176000" cy="62865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202462" rIns="430234" rtlCol="0" anchor="ctr"/>
          <a:lstStyle/>
          <a:p>
            <a:pPr algn="ctr"/>
            <a:endParaRPr lang="de-DE" sz="206">
              <a:solidFill>
                <a:schemeClr val="accent2"/>
              </a:solidFill>
              <a:latin typeface="+mn-lt"/>
            </a:endParaRPr>
          </a:p>
        </p:txBody>
      </p:sp>
      <p:cxnSp>
        <p:nvCxnSpPr>
          <p:cNvPr id="5" name="bottom_line">
            <a:extLst>
              <a:ext uri="{FF2B5EF4-FFF2-40B4-BE49-F238E27FC236}">
                <a16:creationId xmlns:a16="http://schemas.microsoft.com/office/drawing/2014/main" id="{38E7B591-EB45-49E8-7C25-43F275C99A62}"/>
              </a:ext>
            </a:extLst>
          </p:cNvPr>
          <p:cNvCxnSpPr/>
          <p:nvPr userDrawn="1"/>
        </p:nvCxnSpPr>
        <p:spPr bwMode="gray">
          <a:xfrm>
            <a:off x="687764" y="5844118"/>
            <a:ext cx="980049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range_bar">
            <a:extLst>
              <a:ext uri="{FF2B5EF4-FFF2-40B4-BE49-F238E27FC236}">
                <a16:creationId xmlns:a16="http://schemas.microsoft.com/office/drawing/2014/main" id="{C17DCBB0-3658-E9DD-4C41-79574F560C65}"/>
              </a:ext>
            </a:extLst>
          </p:cNvPr>
          <p:cNvSpPr/>
          <p:nvPr userDrawn="1"/>
        </p:nvSpPr>
        <p:spPr bwMode="gray">
          <a:xfrm>
            <a:off x="687754" y="874500"/>
            <a:ext cx="458954" cy="59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6">
              <a:latin typeface="+mn-lt"/>
            </a:endParaRPr>
          </a:p>
        </p:txBody>
      </p:sp>
    </p:spTree>
    <p:extLst>
      <p:ext uri="{BB962C8B-B14F-4D97-AF65-F5344CB8AC3E}">
        <p14:creationId xmlns:p14="http://schemas.microsoft.com/office/powerpoint/2010/main" val="15587030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inish">
    <p:bg bwMode="gray">
      <p:bgRef idx="1001">
        <a:schemeClr val="bg1"/>
      </p:bgRef>
    </p:bg>
    <p:spTree>
      <p:nvGrpSpPr>
        <p:cNvPr id="1" name=""/>
        <p:cNvGrpSpPr/>
        <p:nvPr/>
      </p:nvGrpSpPr>
      <p:grpSpPr>
        <a:xfrm>
          <a:off x="0" y="0"/>
          <a:ext cx="0" cy="0"/>
          <a:chOff x="0" y="0"/>
          <a:chExt cx="0" cy="0"/>
        </a:xfrm>
      </p:grpSpPr>
      <p:sp>
        <p:nvSpPr>
          <p:cNvPr id="38" name="background_finish"/>
          <p:cNvSpPr/>
          <p:nvPr userDrawn="1"/>
        </p:nvSpPr>
        <p:spPr bwMode="gray">
          <a:xfrm>
            <a:off x="0" y="0"/>
            <a:ext cx="11176000" cy="6286500"/>
          </a:xfrm>
          <a:prstGeom prst="rect">
            <a:avLst/>
          </a:prstGeom>
          <a:solidFill>
            <a:schemeClr val="dk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56176" rIns="119375" rtlCol="0" anchor="ctr"/>
          <a:lstStyle/>
          <a:p>
            <a:pPr algn="ctr"/>
            <a:endParaRPr lang="de-DE" sz="100">
              <a:solidFill>
                <a:schemeClr val="accent2"/>
              </a:solidFill>
              <a:latin typeface="+mn-lt"/>
            </a:endParaRPr>
          </a:p>
        </p:txBody>
      </p:sp>
      <p:sp>
        <p:nvSpPr>
          <p:cNvPr id="28" name="bottom_right_triangle_finish" hidden="1">
            <a:extLst>
              <a:ext uri="{FF2B5EF4-FFF2-40B4-BE49-F238E27FC236}">
                <a16:creationId xmlns:a16="http://schemas.microsoft.com/office/drawing/2014/main" id="{8C7B890C-C61C-4308-A2B9-F548EA682B46}"/>
              </a:ext>
            </a:extLst>
          </p:cNvPr>
          <p:cNvSpPr/>
          <p:nvPr userDrawn="1"/>
        </p:nvSpPr>
        <p:spPr bwMode="gray">
          <a:xfrm rot="16200000">
            <a:off x="6216065" y="1323447"/>
            <a:ext cx="4962924" cy="4962925"/>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
              <a:solidFill>
                <a:schemeClr val="accent2"/>
              </a:solidFill>
              <a:latin typeface="+mn-lt"/>
            </a:endParaRPr>
          </a:p>
        </p:txBody>
      </p:sp>
      <p:grpSp>
        <p:nvGrpSpPr>
          <p:cNvPr id="23" name="d-fine_light_English_old" hidden="1"/>
          <p:cNvGrpSpPr/>
          <p:nvPr userDrawn="1"/>
        </p:nvGrpSpPr>
        <p:grpSpPr>
          <a:xfrm>
            <a:off x="3606175" y="3040994"/>
            <a:ext cx="3047601" cy="460933"/>
            <a:chOff x="6606470" y="5697720"/>
            <a:chExt cx="2701283" cy="502836"/>
          </a:xfrm>
        </p:grpSpPr>
        <p:pic>
          <p:nvPicPr>
            <p:cNvPr id="24" name="d-fine_logo"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white">
            <a:xfrm>
              <a:off x="8497368" y="5697720"/>
              <a:ext cx="810385" cy="240805"/>
            </a:xfrm>
            <a:prstGeom prst="rect">
              <a:avLst/>
            </a:prstGeom>
          </p:spPr>
        </p:pic>
        <p:sp>
          <p:nvSpPr>
            <p:cNvPr id="25" name="d-fine_slogan" hidden="1"/>
            <p:cNvSpPr txBox="1"/>
            <p:nvPr userDrawn="1"/>
          </p:nvSpPr>
          <p:spPr bwMode="gray">
            <a:xfrm>
              <a:off x="6606470" y="6046668"/>
              <a:ext cx="2701283" cy="153888"/>
            </a:xfrm>
            <a:prstGeom prst="rect">
              <a:avLst/>
            </a:prstGeom>
            <a:noFill/>
          </p:spPr>
          <p:txBody>
            <a:bodyPr wrap="square" lIns="0" tIns="0" rIns="0" bIns="0" rtlCol="0" anchor="b" anchorCtr="0">
              <a:noAutofit/>
            </a:bodyPr>
            <a:lstStyle/>
            <a:p>
              <a:pPr algn="r"/>
              <a:r>
                <a:rPr lang="de-DE" sz="100" b="1" err="1">
                  <a:solidFill>
                    <a:schemeClr val="tx1"/>
                  </a:solidFill>
                  <a:latin typeface="+mn-lt"/>
                </a:rPr>
                <a:t>analytical</a:t>
              </a:r>
              <a:r>
                <a:rPr lang="de-DE" sz="100" b="1">
                  <a:solidFill>
                    <a:schemeClr val="tx1"/>
                  </a:solidFill>
                  <a:latin typeface="+mn-lt"/>
                </a:rPr>
                <a:t>. quantitative. </a:t>
              </a:r>
              <a:r>
                <a:rPr lang="de-DE" sz="100" b="1" err="1">
                  <a:solidFill>
                    <a:schemeClr val="tx1"/>
                  </a:solidFill>
                  <a:latin typeface="+mn-lt"/>
                </a:rPr>
                <a:t>tech</a:t>
              </a:r>
              <a:r>
                <a:rPr lang="de-DE" sz="100" b="1">
                  <a:solidFill>
                    <a:schemeClr val="tx1"/>
                  </a:solidFill>
                  <a:latin typeface="+mn-lt"/>
                </a:rPr>
                <a:t>.</a:t>
              </a:r>
            </a:p>
          </p:txBody>
        </p:sp>
      </p:grpSp>
      <p:pic>
        <p:nvPicPr>
          <p:cNvPr id="42" name="d-fine_dark_Italian"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4278" y="4906800"/>
            <a:ext cx="2373236" cy="849706"/>
          </a:xfrm>
          <a:prstGeom prst="rect">
            <a:avLst/>
          </a:prstGeom>
        </p:spPr>
      </p:pic>
      <p:pic>
        <p:nvPicPr>
          <p:cNvPr id="41" name="d-fine_light_Italian"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074278" y="4906800"/>
            <a:ext cx="2373236" cy="849706"/>
          </a:xfrm>
          <a:prstGeom prst="rect">
            <a:avLst/>
          </a:prstGeom>
        </p:spPr>
      </p:pic>
      <p:pic>
        <p:nvPicPr>
          <p:cNvPr id="32" name="d-fine_dark_English" hidden="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488800" y="4906800"/>
            <a:ext cx="1958645" cy="849706"/>
          </a:xfrm>
          <a:prstGeom prst="rect">
            <a:avLst/>
          </a:prstGeom>
          <a:solidFill>
            <a:schemeClr val="accent4"/>
          </a:solidFill>
        </p:spPr>
      </p:pic>
      <p:pic>
        <p:nvPicPr>
          <p:cNvPr id="33" name="d-fine_light_English"/>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488800" y="4906800"/>
            <a:ext cx="1958645" cy="849706"/>
          </a:xfrm>
          <a:prstGeom prst="rect">
            <a:avLst/>
          </a:prstGeom>
          <a:solidFill>
            <a:schemeClr val="bg1"/>
          </a:solidFill>
        </p:spPr>
      </p:pic>
      <p:pic>
        <p:nvPicPr>
          <p:cNvPr id="34" name="d-fine_dark_German" hidden="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934400" y="4906800"/>
            <a:ext cx="2513114" cy="849706"/>
          </a:xfrm>
          <a:prstGeom prst="rect">
            <a:avLst/>
          </a:prstGeom>
          <a:solidFill>
            <a:schemeClr val="accent4"/>
          </a:solidFill>
        </p:spPr>
      </p:pic>
      <p:pic>
        <p:nvPicPr>
          <p:cNvPr id="35" name="d-fine_light_German" hidden="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34400" y="4906800"/>
            <a:ext cx="2513114" cy="849706"/>
          </a:xfrm>
          <a:prstGeom prst="rect">
            <a:avLst/>
          </a:prstGeom>
          <a:solidFill>
            <a:schemeClr val="bg1"/>
          </a:solidFill>
        </p:spPr>
      </p:pic>
      <p:pic>
        <p:nvPicPr>
          <p:cNvPr id="27" name="d-fine_logo_only_light" hidden="1">
            <a:extLst>
              <a:ext uri="{FF2B5EF4-FFF2-40B4-BE49-F238E27FC236}">
                <a16:creationId xmlns:a16="http://schemas.microsoft.com/office/drawing/2014/main" id="{70D8B4CD-EF2F-4DB3-BD56-6A4244C0115F}"/>
              </a:ext>
            </a:extLst>
          </p:cNvPr>
          <p:cNvPicPr preferRelativeResize="0">
            <a:picLocks/>
          </p:cNvPicPr>
          <p:nvPr userDrawn="1"/>
        </p:nvPicPr>
        <p:blipFill>
          <a:blip r:embed="rId9" cstate="screen">
            <a:extLst>
              <a:ext uri="{28A0092B-C50C-407E-A947-70E740481C1C}">
                <a14:useLocalDpi xmlns:a14="http://schemas.microsoft.com/office/drawing/2010/main"/>
              </a:ext>
            </a:extLst>
          </a:blip>
          <a:stretch>
            <a:fillRect/>
          </a:stretch>
        </p:blipFill>
        <p:spPr>
          <a:xfrm>
            <a:off x="3909600" y="2631600"/>
            <a:ext cx="3355200" cy="1018800"/>
          </a:xfrm>
          <a:prstGeom prst="rect">
            <a:avLst/>
          </a:prstGeom>
        </p:spPr>
      </p:pic>
      <p:pic>
        <p:nvPicPr>
          <p:cNvPr id="30" name="d-fine_logo_only_dark" hidden="1">
            <a:extLst>
              <a:ext uri="{FF2B5EF4-FFF2-40B4-BE49-F238E27FC236}">
                <a16:creationId xmlns:a16="http://schemas.microsoft.com/office/drawing/2014/main" id="{EA5AC6E8-8680-4663-8D04-290512F99908}"/>
              </a:ext>
            </a:extLst>
          </p:cNvPr>
          <p:cNvPicPr preferRelativeResize="0">
            <a:picLocks/>
          </p:cNvPicPr>
          <p:nvPr userDrawn="1"/>
        </p:nvPicPr>
        <p:blipFill>
          <a:blip r:embed="rId10">
            <a:extLst>
              <a:ext uri="{28A0092B-C50C-407E-A947-70E740481C1C}">
                <a14:useLocalDpi xmlns:a14="http://schemas.microsoft.com/office/drawing/2010/main" val="0"/>
              </a:ext>
            </a:extLst>
          </a:blip>
          <a:stretch>
            <a:fillRect/>
          </a:stretch>
        </p:blipFill>
        <p:spPr>
          <a:xfrm>
            <a:off x="3909600" y="2631600"/>
            <a:ext cx="3355200" cy="1018800"/>
          </a:xfrm>
          <a:prstGeom prst="rect">
            <a:avLst/>
          </a:prstGeom>
        </p:spPr>
      </p:pic>
      <p:pic>
        <p:nvPicPr>
          <p:cNvPr id="4" name="d-fine_light_logo_slogan_Italian" hidden="1"/>
          <p:cNvPicPr>
            <a:picLocks/>
          </p:cNvPicPr>
          <p:nvPr userDrawn="1"/>
        </p:nvPicPr>
        <p:blipFill>
          <a:blip r:embed="rId11" cstate="screen">
            <a:extLst>
              <a:ext uri="{28A0092B-C50C-407E-A947-70E740481C1C}">
                <a14:useLocalDpi xmlns:a14="http://schemas.microsoft.com/office/drawing/2010/main"/>
              </a:ext>
            </a:extLst>
          </a:blip>
          <a:stretch>
            <a:fillRect/>
          </a:stretch>
        </p:blipFill>
        <p:spPr>
          <a:xfrm>
            <a:off x="1440000" y="1947600"/>
            <a:ext cx="1706400" cy="2127601"/>
          </a:xfrm>
          <a:prstGeom prst="rect">
            <a:avLst/>
          </a:prstGeom>
        </p:spPr>
      </p:pic>
      <p:pic>
        <p:nvPicPr>
          <p:cNvPr id="5" name="d-fine_dark_logo_slogan_Italian" hidden="1"/>
          <p:cNvPicPr>
            <a:picLocks/>
          </p:cNvPicPr>
          <p:nvPr userDrawn="1"/>
        </p:nvPicPr>
        <p:blipFill>
          <a:blip r:embed="rId12" cstate="screen">
            <a:extLst>
              <a:ext uri="{28A0092B-C50C-407E-A947-70E740481C1C}">
                <a14:useLocalDpi xmlns:a14="http://schemas.microsoft.com/office/drawing/2010/main"/>
              </a:ext>
            </a:extLst>
          </a:blip>
          <a:stretch>
            <a:fillRect/>
          </a:stretch>
        </p:blipFill>
        <p:spPr>
          <a:xfrm>
            <a:off x="1440000" y="1947600"/>
            <a:ext cx="1706400" cy="2127601"/>
          </a:xfrm>
          <a:prstGeom prst="rect">
            <a:avLst/>
          </a:prstGeom>
        </p:spPr>
      </p:pic>
      <p:pic>
        <p:nvPicPr>
          <p:cNvPr id="29" name="d-fine_light_logo_slogan_English" hidden="1">
            <a:extLst>
              <a:ext uri="{FF2B5EF4-FFF2-40B4-BE49-F238E27FC236}">
                <a16:creationId xmlns:a16="http://schemas.microsoft.com/office/drawing/2014/main" id="{60324876-845F-441A-AB02-A9FCCC1DDDD0}"/>
              </a:ext>
            </a:extLst>
          </p:cNvPr>
          <p:cNvPicPr preferRelativeResize="0">
            <a:picLocks/>
          </p:cNvPicPr>
          <p:nvPr userDrawn="1"/>
        </p:nvPicPr>
        <p:blipFill>
          <a:blip r:embed="rId13" cstate="screen">
            <a:extLst>
              <a:ext uri="{28A0092B-C50C-407E-A947-70E740481C1C}">
                <a14:useLocalDpi xmlns:a14="http://schemas.microsoft.com/office/drawing/2010/main"/>
              </a:ext>
            </a:extLst>
          </a:blip>
          <a:stretch>
            <a:fillRect/>
          </a:stretch>
        </p:blipFill>
        <p:spPr>
          <a:xfrm>
            <a:off x="1440000" y="1947600"/>
            <a:ext cx="1706400" cy="2127601"/>
          </a:xfrm>
          <a:prstGeom prst="rect">
            <a:avLst/>
          </a:prstGeom>
        </p:spPr>
      </p:pic>
      <p:pic>
        <p:nvPicPr>
          <p:cNvPr id="31" name="d-fine_dark_logo_slogan_English" hidden="1">
            <a:extLst>
              <a:ext uri="{FF2B5EF4-FFF2-40B4-BE49-F238E27FC236}">
                <a16:creationId xmlns:a16="http://schemas.microsoft.com/office/drawing/2014/main" id="{CDE2DF44-FF16-4954-9F9B-8A86DFDD0D46}"/>
              </a:ext>
            </a:extLst>
          </p:cNvPr>
          <p:cNvPicPr preferRelativeResize="0">
            <a:picLocks/>
          </p:cNvPicPr>
          <p:nvPr userDrawn="1"/>
        </p:nvPicPr>
        <p:blipFill>
          <a:blip r:embed="rId14">
            <a:extLst>
              <a:ext uri="{28A0092B-C50C-407E-A947-70E740481C1C}">
                <a14:useLocalDpi xmlns:a14="http://schemas.microsoft.com/office/drawing/2010/main" val="0"/>
              </a:ext>
            </a:extLst>
          </a:blip>
          <a:stretch>
            <a:fillRect/>
          </a:stretch>
        </p:blipFill>
        <p:spPr>
          <a:xfrm>
            <a:off x="1440000" y="1947600"/>
            <a:ext cx="1706400" cy="2127601"/>
          </a:xfrm>
          <a:prstGeom prst="rect">
            <a:avLst/>
          </a:prstGeom>
        </p:spPr>
      </p:pic>
      <p:pic>
        <p:nvPicPr>
          <p:cNvPr id="36" name="d-fine_light_logo_slogan_German" hidden="1">
            <a:extLst>
              <a:ext uri="{FF2B5EF4-FFF2-40B4-BE49-F238E27FC236}">
                <a16:creationId xmlns:a16="http://schemas.microsoft.com/office/drawing/2014/main" id="{74D028E6-ACF0-4708-BCAF-A1C645A8187B}"/>
              </a:ext>
            </a:extLst>
          </p:cNvPr>
          <p:cNvPicPr preferRelativeResize="0">
            <a:picLocks/>
          </p:cNvPicPr>
          <p:nvPr userDrawn="1"/>
        </p:nvPicPr>
        <p:blipFill>
          <a:blip r:embed="rId15">
            <a:extLst>
              <a:ext uri="{28A0092B-C50C-407E-A947-70E740481C1C}">
                <a14:useLocalDpi xmlns:a14="http://schemas.microsoft.com/office/drawing/2010/main" val="0"/>
              </a:ext>
            </a:extLst>
          </a:blip>
          <a:stretch>
            <a:fillRect/>
          </a:stretch>
        </p:blipFill>
        <p:spPr>
          <a:xfrm>
            <a:off x="1440000" y="1947600"/>
            <a:ext cx="1951200" cy="2127601"/>
          </a:xfrm>
          <a:prstGeom prst="rect">
            <a:avLst/>
          </a:prstGeom>
        </p:spPr>
      </p:pic>
      <p:pic>
        <p:nvPicPr>
          <p:cNvPr id="37" name="d-fine_dark_logo_slogan_German" hidden="1">
            <a:extLst>
              <a:ext uri="{FF2B5EF4-FFF2-40B4-BE49-F238E27FC236}">
                <a16:creationId xmlns:a16="http://schemas.microsoft.com/office/drawing/2014/main" id="{95DD607C-1A52-4341-ABEC-91DD52BC80B6}"/>
              </a:ext>
            </a:extLst>
          </p:cNvPr>
          <p:cNvPicPr preferRelativeResize="0">
            <a:picLocks/>
          </p:cNvPicPr>
          <p:nvPr userDrawn="1"/>
        </p:nvPicPr>
        <p:blipFill>
          <a:blip r:embed="rId16">
            <a:extLst>
              <a:ext uri="{28A0092B-C50C-407E-A947-70E740481C1C}">
                <a14:useLocalDpi xmlns:a14="http://schemas.microsoft.com/office/drawing/2010/main" val="0"/>
              </a:ext>
            </a:extLst>
          </a:blip>
          <a:stretch>
            <a:fillRect/>
          </a:stretch>
        </p:blipFill>
        <p:spPr>
          <a:xfrm>
            <a:off x="1440000" y="1947600"/>
            <a:ext cx="1951200" cy="2127601"/>
          </a:xfrm>
          <a:prstGeom prst="rect">
            <a:avLst/>
          </a:prstGeom>
        </p:spPr>
      </p:pic>
      <p:pic>
        <p:nvPicPr>
          <p:cNvPr id="10" name="d-fine_personal_layout_Italian"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934400" y="4906800"/>
            <a:ext cx="2513114" cy="899675"/>
          </a:xfrm>
          <a:prstGeom prst="rect">
            <a:avLst/>
          </a:prstGeom>
        </p:spPr>
      </p:pic>
      <p:pic>
        <p:nvPicPr>
          <p:cNvPr id="45" name="d-fine_personal_layout_German" hidden="1">
            <a:extLst>
              <a:ext uri="{FF2B5EF4-FFF2-40B4-BE49-F238E27FC236}">
                <a16:creationId xmlns:a16="http://schemas.microsoft.com/office/drawing/2014/main" id="{913F4C77-521C-4BBF-84C6-0BFFCF1D6BE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34400" y="4906800"/>
            <a:ext cx="2513114" cy="849238"/>
          </a:xfrm>
          <a:prstGeom prst="rect">
            <a:avLst/>
          </a:prstGeom>
        </p:spPr>
      </p:pic>
      <p:pic>
        <p:nvPicPr>
          <p:cNvPr id="47" name="d-fine_personal_layout_English" hidden="1">
            <a:extLst>
              <a:ext uri="{FF2B5EF4-FFF2-40B4-BE49-F238E27FC236}">
                <a16:creationId xmlns:a16="http://schemas.microsoft.com/office/drawing/2014/main" id="{A2DAE8F8-6BCB-4CE4-BE57-0BA92BB9979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488800" y="4906800"/>
            <a:ext cx="1958645" cy="851998"/>
          </a:xfrm>
          <a:prstGeom prst="rect">
            <a:avLst/>
          </a:prstGeom>
        </p:spPr>
      </p:pic>
      <p:sp>
        <p:nvSpPr>
          <p:cNvPr id="39" name="top_right_triangle_finish"/>
          <p:cNvSpPr/>
          <p:nvPr userDrawn="1"/>
        </p:nvSpPr>
        <p:spPr bwMode="gray">
          <a:xfrm rot="10800000">
            <a:off x="7372800" y="0"/>
            <a:ext cx="3808800" cy="38088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07">
              <a:latin typeface="+mn-lt"/>
            </a:endParaRPr>
          </a:p>
        </p:txBody>
      </p:sp>
      <p:sp>
        <p:nvSpPr>
          <p:cNvPr id="26" name="top_left_triangle_finish" hidden="1">
            <a:extLst>
              <a:ext uri="{FF2B5EF4-FFF2-40B4-BE49-F238E27FC236}">
                <a16:creationId xmlns:a16="http://schemas.microsoft.com/office/drawing/2014/main" id="{2EA26E03-182B-4899-A863-C82B5D5DA9C1}"/>
              </a:ext>
            </a:extLst>
          </p:cNvPr>
          <p:cNvSpPr/>
          <p:nvPr userDrawn="1"/>
        </p:nvSpPr>
        <p:spPr bwMode="gray">
          <a:xfrm rot="5400000">
            <a:off x="2" y="4"/>
            <a:ext cx="1364804" cy="1364804"/>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
              <a:solidFill>
                <a:schemeClr val="accent2"/>
              </a:solidFill>
              <a:latin typeface="Roboto" panose="02000000000000000000" pitchFamily="2" charset="0"/>
              <a:ea typeface="Roboto" panose="02000000000000000000" pitchFamily="2" charset="0"/>
            </a:endParaRPr>
          </a:p>
        </p:txBody>
      </p:sp>
      <p:grpSp>
        <p:nvGrpSpPr>
          <p:cNvPr id="3" name="office_locations_group"/>
          <p:cNvGrpSpPr/>
          <p:nvPr userDrawn="1"/>
        </p:nvGrpSpPr>
        <p:grpSpPr>
          <a:xfrm>
            <a:off x="609600" y="3911600"/>
            <a:ext cx="6149326" cy="1561949"/>
            <a:chOff x="609601" y="4505618"/>
            <a:chExt cx="5450539" cy="1703942"/>
          </a:xfrm>
        </p:grpSpPr>
        <p:sp>
          <p:nvSpPr>
            <p:cNvPr id="50" name="office_locations_10"/>
            <p:cNvSpPr txBox="1"/>
            <p:nvPr/>
          </p:nvSpPr>
          <p:spPr bwMode="gray">
            <a:xfrm>
              <a:off x="3334869" y="6058470"/>
              <a:ext cx="1362635" cy="151090"/>
            </a:xfrm>
            <a:prstGeom prst="rect">
              <a:avLst/>
            </a:prstGeom>
            <a:noFill/>
          </p:spPr>
          <p:txBody>
            <a:bodyPr wrap="square" lIns="0" tIns="0" rIns="0" bIns="0" numCol="1" rtlCol="0" anchor="b">
              <a:spAutoFit/>
            </a:bodyPr>
            <a:lstStyle/>
            <a:p>
              <a:pPr marL="0" marR="0" lvl="0" indent="0" algn="l" defTabSz="22979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900" b="1" i="0" u="none" strike="noStrike" kern="1200" cap="none" spc="0" normalizeH="0" baseline="0" noProof="0">
                  <a:ln>
                    <a:noFill/>
                  </a:ln>
                  <a:solidFill>
                    <a:schemeClr val="accent6"/>
                  </a:solidFill>
                  <a:effectLst/>
                  <a:uLnTx/>
                  <a:uFillTx/>
                  <a:latin typeface="+mn-lt"/>
                  <a:ea typeface="+mn-ea"/>
                  <a:cs typeface="+mn-cs"/>
                </a:rPr>
                <a:t>Zurich</a:t>
              </a:r>
            </a:p>
          </p:txBody>
        </p:sp>
        <p:sp>
          <p:nvSpPr>
            <p:cNvPr id="51" name="office_locations_9"/>
            <p:cNvSpPr txBox="1"/>
            <p:nvPr/>
          </p:nvSpPr>
          <p:spPr bwMode="gray">
            <a:xfrm>
              <a:off x="1972236" y="6058470"/>
              <a:ext cx="1362635" cy="151090"/>
            </a:xfrm>
            <a:prstGeom prst="rect">
              <a:avLst/>
            </a:prstGeom>
            <a:noFill/>
          </p:spPr>
          <p:txBody>
            <a:bodyPr wrap="square" lIns="0" tIns="0" rIns="0" bIns="0" numCol="1" rtlCol="0" anchor="b">
              <a:spAutoFit/>
            </a:bodyPr>
            <a:lstStyle/>
            <a:p>
              <a:pPr marL="0" marR="0" lvl="0" indent="0" algn="l" defTabSz="22979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900" b="1" i="0" u="none" strike="noStrike" kern="1200" cap="none" spc="0" normalizeH="0" baseline="0" noProof="0">
                  <a:ln>
                    <a:noFill/>
                  </a:ln>
                  <a:solidFill>
                    <a:schemeClr val="accent6"/>
                  </a:solidFill>
                  <a:effectLst/>
                  <a:uLnTx/>
                  <a:uFillTx/>
                  <a:latin typeface="+mn-lt"/>
                  <a:ea typeface="+mn-ea"/>
                  <a:cs typeface="+mn-cs"/>
                </a:rPr>
                <a:t>Vienna</a:t>
              </a:r>
            </a:p>
          </p:txBody>
        </p:sp>
        <p:sp>
          <p:nvSpPr>
            <p:cNvPr id="52" name="office_locations_8"/>
            <p:cNvSpPr txBox="1"/>
            <p:nvPr userDrawn="1"/>
          </p:nvSpPr>
          <p:spPr bwMode="gray">
            <a:xfrm>
              <a:off x="609601" y="6058470"/>
              <a:ext cx="1362635" cy="151090"/>
            </a:xfrm>
            <a:prstGeom prst="rect">
              <a:avLst/>
            </a:prstGeom>
            <a:noFill/>
          </p:spPr>
          <p:txBody>
            <a:bodyPr wrap="square" lIns="0" tIns="0" rIns="0" bIns="0" numCol="1" rtlCol="0" anchor="b">
              <a:spAutoFit/>
            </a:bodyPr>
            <a:lstStyle/>
            <a:p>
              <a:pPr marL="0" marR="0" lvl="0" indent="0" algn="l" defTabSz="22979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900" b="1" i="0" u="none" strike="noStrike" kern="1200" cap="none" spc="0" normalizeH="0" baseline="0" noProof="0">
                  <a:ln>
                    <a:noFill/>
                  </a:ln>
                  <a:solidFill>
                    <a:schemeClr val="accent6"/>
                  </a:solidFill>
                  <a:effectLst/>
                  <a:uLnTx/>
                  <a:uFillTx/>
                  <a:latin typeface="+mn-lt"/>
                  <a:ea typeface="+mn-ea"/>
                  <a:cs typeface="+mn-cs"/>
                </a:rPr>
                <a:t>Utrecht</a:t>
              </a:r>
            </a:p>
          </p:txBody>
        </p:sp>
        <p:sp>
          <p:nvSpPr>
            <p:cNvPr id="48" name="office_locations_7"/>
            <p:cNvSpPr txBox="1"/>
            <p:nvPr/>
          </p:nvSpPr>
          <p:spPr bwMode="gray">
            <a:xfrm>
              <a:off x="4697505" y="5631935"/>
              <a:ext cx="1362635" cy="151090"/>
            </a:xfrm>
            <a:prstGeom prst="rect">
              <a:avLst/>
            </a:prstGeom>
            <a:noFill/>
          </p:spPr>
          <p:txBody>
            <a:bodyPr wrap="square" lIns="0" tIns="0" rIns="0" bIns="0" numCol="1" rtlCol="0" anchor="b">
              <a:spAutoFit/>
            </a:bodyPr>
            <a:lstStyle/>
            <a:p>
              <a:pPr marL="0" marR="0" lvl="0" indent="0" algn="l" defTabSz="22979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900" b="1" i="0" u="none" strike="noStrike" kern="1200" cap="none" spc="0" normalizeH="0" baseline="0" noProof="0">
                  <a:ln>
                    <a:noFill/>
                  </a:ln>
                  <a:solidFill>
                    <a:schemeClr val="accent6"/>
                  </a:solidFill>
                  <a:effectLst/>
                  <a:uLnTx/>
                  <a:uFillTx/>
                  <a:latin typeface="+mn-lt"/>
                  <a:ea typeface="+mn-ea"/>
                  <a:cs typeface="+mn-cs"/>
                </a:rPr>
                <a:t>Stockholm</a:t>
              </a:r>
            </a:p>
          </p:txBody>
        </p:sp>
        <p:sp>
          <p:nvSpPr>
            <p:cNvPr id="44" name="office_locations_6"/>
            <p:cNvSpPr txBox="1"/>
            <p:nvPr/>
          </p:nvSpPr>
          <p:spPr bwMode="gray">
            <a:xfrm>
              <a:off x="3334869" y="5631935"/>
              <a:ext cx="1362634" cy="151090"/>
            </a:xfrm>
            <a:prstGeom prst="rect">
              <a:avLst/>
            </a:prstGeom>
            <a:noFill/>
          </p:spPr>
          <p:txBody>
            <a:bodyPr wrap="square" lIns="0" tIns="0" rIns="0" bIns="0" numCol="1" rtlCol="0" anchor="b">
              <a:spAutoFit/>
            </a:bodyPr>
            <a:lstStyle/>
            <a:p>
              <a:pPr marL="0" marR="0" lvl="0" indent="0" algn="l" defTabSz="22979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900" b="1" i="0" u="none" strike="noStrike" kern="1200" cap="none" spc="0" normalizeH="0" baseline="0" noProof="0">
                  <a:ln>
                    <a:noFill/>
                  </a:ln>
                  <a:solidFill>
                    <a:schemeClr val="accent6"/>
                  </a:solidFill>
                  <a:effectLst/>
                  <a:uLnTx/>
                  <a:uFillTx/>
                  <a:latin typeface="+mn-lt"/>
                  <a:ea typeface="+mn-ea"/>
                  <a:cs typeface="+mn-cs"/>
                </a:rPr>
                <a:t>Munich</a:t>
              </a:r>
            </a:p>
          </p:txBody>
        </p:sp>
        <p:sp>
          <p:nvSpPr>
            <p:cNvPr id="49" name="office_locations_5"/>
            <p:cNvSpPr txBox="1"/>
            <p:nvPr/>
          </p:nvSpPr>
          <p:spPr bwMode="gray">
            <a:xfrm>
              <a:off x="1972235" y="5631935"/>
              <a:ext cx="1362634" cy="151090"/>
            </a:xfrm>
            <a:prstGeom prst="rect">
              <a:avLst/>
            </a:prstGeom>
            <a:noFill/>
          </p:spPr>
          <p:txBody>
            <a:bodyPr wrap="square" lIns="0" tIns="0" rIns="0" bIns="0" numCol="1" rtlCol="0" anchor="b">
              <a:spAutoFit/>
            </a:bodyPr>
            <a:lstStyle/>
            <a:p>
              <a:pPr marL="0" marR="0" lvl="0" indent="0" algn="l" defTabSz="22979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900" b="1" i="0" u="none" strike="noStrike" kern="1200" cap="none" spc="0" normalizeH="0" baseline="0" noProof="0">
                  <a:ln>
                    <a:noFill/>
                  </a:ln>
                  <a:solidFill>
                    <a:schemeClr val="accent6"/>
                  </a:solidFill>
                  <a:effectLst/>
                  <a:uLnTx/>
                  <a:uFillTx/>
                  <a:latin typeface="+mn-lt"/>
                  <a:ea typeface="+mn-ea"/>
                  <a:cs typeface="+mn-cs"/>
                </a:rPr>
                <a:t>Milan</a:t>
              </a:r>
            </a:p>
          </p:txBody>
        </p:sp>
        <p:sp>
          <p:nvSpPr>
            <p:cNvPr id="46" name="office_locations_4"/>
            <p:cNvSpPr txBox="1"/>
            <p:nvPr/>
          </p:nvSpPr>
          <p:spPr bwMode="gray">
            <a:xfrm>
              <a:off x="609601" y="5631935"/>
              <a:ext cx="1362634" cy="151090"/>
            </a:xfrm>
            <a:prstGeom prst="rect">
              <a:avLst/>
            </a:prstGeom>
            <a:noFill/>
          </p:spPr>
          <p:txBody>
            <a:bodyPr wrap="square" lIns="0" tIns="0" rIns="0" bIns="0" numCol="1" rtlCol="0" anchor="b">
              <a:spAutoFit/>
            </a:bodyPr>
            <a:lstStyle/>
            <a:p>
              <a:pPr marL="0" marR="0" lvl="0" indent="0" algn="l" defTabSz="22979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none" strike="noStrike" kern="1200" cap="none" spc="0" normalizeH="0" baseline="0" noProof="0">
                  <a:ln>
                    <a:noFill/>
                  </a:ln>
                  <a:solidFill>
                    <a:schemeClr val="accent6"/>
                  </a:solidFill>
                  <a:effectLst/>
                  <a:uLnTx/>
                  <a:uFillTx/>
                  <a:latin typeface="+mn-lt"/>
                  <a:ea typeface="+mn-ea"/>
                  <a:cs typeface="+mn-cs"/>
                </a:rPr>
                <a:t>London</a:t>
              </a:r>
              <a:endParaRPr kumimoji="0" lang="de-DE" sz="900" b="1" i="0" u="none" strike="noStrike" kern="1200" cap="none" spc="0" normalizeH="0" baseline="0" noProof="0">
                <a:ln>
                  <a:noFill/>
                </a:ln>
                <a:solidFill>
                  <a:schemeClr val="accent6"/>
                </a:solidFill>
                <a:effectLst/>
                <a:uLnTx/>
                <a:uFillTx/>
                <a:latin typeface="+mn-lt"/>
                <a:ea typeface="+mn-ea"/>
                <a:cs typeface="+mn-cs"/>
              </a:endParaRPr>
            </a:p>
          </p:txBody>
        </p:sp>
        <p:sp>
          <p:nvSpPr>
            <p:cNvPr id="53" name="office_locations_3">
              <a:extLst>
                <a:ext uri="{FF2B5EF4-FFF2-40B4-BE49-F238E27FC236}">
                  <a16:creationId xmlns:a16="http://schemas.microsoft.com/office/drawing/2014/main" id="{F28AD8B5-0642-41BB-BBAB-46C0EF69D627}"/>
                </a:ext>
              </a:extLst>
            </p:cNvPr>
            <p:cNvSpPr txBox="1"/>
            <p:nvPr/>
          </p:nvSpPr>
          <p:spPr bwMode="gray">
            <a:xfrm>
              <a:off x="4697503" y="5205400"/>
              <a:ext cx="1362634" cy="151090"/>
            </a:xfrm>
            <a:prstGeom prst="rect">
              <a:avLst/>
            </a:prstGeom>
            <a:noFill/>
          </p:spPr>
          <p:txBody>
            <a:bodyPr wrap="square" lIns="0" tIns="0" rIns="0" bIns="0" numCol="1" rtlCol="0" anchor="b">
              <a:spAutoFit/>
            </a:bodyPr>
            <a:lstStyle/>
            <a:p>
              <a:pPr marL="0" marR="0" lvl="0" indent="0" algn="l" defTabSz="22979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it-IT" sz="900" b="1" i="0" u="none" strike="noStrike" kern="1200" cap="none" spc="0" normalizeH="0" baseline="0" noProof="0">
                  <a:ln>
                    <a:noFill/>
                  </a:ln>
                  <a:solidFill>
                    <a:schemeClr val="accent6"/>
                  </a:solidFill>
                  <a:effectLst/>
                  <a:uLnTx/>
                  <a:uFillTx/>
                  <a:latin typeface="+mn-lt"/>
                  <a:ea typeface="+mn-ea"/>
                  <a:cs typeface="+mn-cs"/>
                </a:rPr>
                <a:t>Hamburg</a:t>
              </a:r>
              <a:endParaRPr kumimoji="0" lang="de-DE" sz="900" b="1" i="0" u="none" strike="noStrike" kern="1200" cap="none" spc="0" normalizeH="0" baseline="0" noProof="0">
                <a:ln>
                  <a:noFill/>
                </a:ln>
                <a:solidFill>
                  <a:schemeClr val="accent6"/>
                </a:solidFill>
                <a:effectLst/>
                <a:uLnTx/>
                <a:uFillTx/>
                <a:latin typeface="+mn-lt"/>
                <a:ea typeface="+mn-ea"/>
                <a:cs typeface="+mn-cs"/>
              </a:endParaRPr>
            </a:p>
          </p:txBody>
        </p:sp>
        <p:sp>
          <p:nvSpPr>
            <p:cNvPr id="56" name="office_locations_2"/>
            <p:cNvSpPr txBox="1"/>
            <p:nvPr/>
          </p:nvSpPr>
          <p:spPr bwMode="gray">
            <a:xfrm>
              <a:off x="3334869" y="5205400"/>
              <a:ext cx="1362634" cy="151090"/>
            </a:xfrm>
            <a:prstGeom prst="rect">
              <a:avLst/>
            </a:prstGeom>
            <a:noFill/>
          </p:spPr>
          <p:txBody>
            <a:bodyPr wrap="square" lIns="0" tIns="0" rIns="0" bIns="0" numCol="1" rtlCol="0" anchor="b">
              <a:spAutoFit/>
            </a:bodyPr>
            <a:lstStyle/>
            <a:p>
              <a:pPr marL="0" marR="0" lvl="0" indent="0" algn="l" defTabSz="22979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900" b="1" i="0" u="none" strike="noStrike" kern="1200" cap="none" spc="0" normalizeH="0" baseline="0" noProof="0">
                  <a:ln>
                    <a:noFill/>
                  </a:ln>
                  <a:solidFill>
                    <a:schemeClr val="accent6"/>
                  </a:solidFill>
                  <a:effectLst/>
                  <a:uLnTx/>
                  <a:uFillTx/>
                  <a:latin typeface="+mn-lt"/>
                  <a:ea typeface="+mn-ea"/>
                  <a:cs typeface="+mn-cs"/>
                </a:rPr>
                <a:t>Dusseldorf</a:t>
              </a:r>
            </a:p>
          </p:txBody>
        </p:sp>
        <p:sp>
          <p:nvSpPr>
            <p:cNvPr id="55" name="office_locations_1"/>
            <p:cNvSpPr txBox="1"/>
            <p:nvPr userDrawn="1"/>
          </p:nvSpPr>
          <p:spPr bwMode="gray">
            <a:xfrm>
              <a:off x="1972235" y="5205400"/>
              <a:ext cx="1362634" cy="151090"/>
            </a:xfrm>
            <a:prstGeom prst="rect">
              <a:avLst/>
            </a:prstGeom>
            <a:noFill/>
          </p:spPr>
          <p:txBody>
            <a:bodyPr wrap="square" lIns="0" tIns="0" rIns="0" bIns="0" numCol="1" rtlCol="0" anchor="b">
              <a:spAutoFit/>
            </a:bodyPr>
            <a:lstStyle/>
            <a:p>
              <a:pPr marL="0" marR="0" lvl="0" indent="0" algn="l" defTabSz="22979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900" b="1" i="0" u="none" strike="noStrike" kern="1200" cap="none" spc="0" normalizeH="0" baseline="0" noProof="0">
                  <a:ln>
                    <a:noFill/>
                  </a:ln>
                  <a:solidFill>
                    <a:schemeClr val="accent6"/>
                  </a:solidFill>
                  <a:effectLst/>
                  <a:uLnTx/>
                  <a:uFillTx/>
                  <a:latin typeface="+mn-lt"/>
                  <a:ea typeface="+mn-ea"/>
                  <a:cs typeface="+mn-cs"/>
                </a:rPr>
                <a:t>Berlin</a:t>
              </a:r>
            </a:p>
          </p:txBody>
        </p:sp>
        <p:sp>
          <p:nvSpPr>
            <p:cNvPr id="54" name="office_locations_current"/>
            <p:cNvSpPr txBox="1"/>
            <p:nvPr userDrawn="1"/>
          </p:nvSpPr>
          <p:spPr bwMode="gray">
            <a:xfrm>
              <a:off x="609601" y="5205400"/>
              <a:ext cx="1362634" cy="151090"/>
            </a:xfrm>
            <a:prstGeom prst="rect">
              <a:avLst/>
            </a:prstGeom>
            <a:noFill/>
          </p:spPr>
          <p:txBody>
            <a:bodyPr wrap="square" lIns="0" tIns="0" rIns="0" bIns="0" numCol="1" rtlCol="0" anchor="b">
              <a:spAutoFit/>
            </a:bodyPr>
            <a:lstStyle/>
            <a:p>
              <a:pPr marL="0" marR="0" lvl="0" indent="0" algn="l" defTabSz="22979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900" b="1" i="0" u="none" strike="noStrike" kern="1200" cap="none" spc="0" normalizeH="0" baseline="0" noProof="0">
                  <a:ln>
                    <a:noFill/>
                  </a:ln>
                  <a:solidFill>
                    <a:schemeClr val="accent1"/>
                  </a:solidFill>
                  <a:effectLst/>
                  <a:uLnTx/>
                  <a:uFillTx/>
                  <a:latin typeface="+mn-lt"/>
                  <a:ea typeface="+mn-ea"/>
                  <a:cs typeface="+mn-cs"/>
                </a:rPr>
                <a:t>Frankfurt</a:t>
              </a:r>
            </a:p>
          </p:txBody>
        </p:sp>
        <p:sp>
          <p:nvSpPr>
            <p:cNvPr id="58" name="office_locations_display"/>
            <p:cNvSpPr txBox="1"/>
            <p:nvPr/>
          </p:nvSpPr>
          <p:spPr bwMode="gray">
            <a:xfrm>
              <a:off x="609601" y="4505618"/>
              <a:ext cx="1492240" cy="604361"/>
            </a:xfrm>
            <a:prstGeom prst="rect">
              <a:avLst/>
            </a:prstGeom>
            <a:noFill/>
          </p:spPr>
          <p:txBody>
            <a:bodyPr wrap="square" lIns="0" tIns="0" rIns="0" bIns="0" numCol="1" rtlCol="0" anchor="b">
              <a:spAutoFit/>
            </a:bodyPr>
            <a:lstStyle/>
            <a:p>
              <a:pPr marL="0" marR="0" lvl="0" indent="0" algn="l" defTabSz="22979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900" b="0" i="0" u="none" strike="noStrike" kern="1200" cap="none" spc="0" normalizeH="0" baseline="0" noProof="0">
                  <a:ln>
                    <a:noFill/>
                  </a:ln>
                  <a:solidFill>
                    <a:schemeClr val="accent6"/>
                  </a:solidFill>
                  <a:effectLst/>
                  <a:uLnTx/>
                  <a:uFillTx/>
                  <a:latin typeface="+mn-lt"/>
                  <a:ea typeface="+mn-ea"/>
                  <a:cs typeface="+mn-cs"/>
                </a:rPr>
                <a:t>d-fine GmbH</a:t>
              </a:r>
            </a:p>
            <a:p>
              <a:pPr marL="0" marR="0" lvl="0" indent="0" algn="l" defTabSz="22979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900" b="0" i="0" u="none" strike="noStrike" kern="1200" cap="none" spc="0" normalizeH="0" baseline="0" noProof="0">
                  <a:ln>
                    <a:noFill/>
                  </a:ln>
                  <a:solidFill>
                    <a:schemeClr val="accent6"/>
                  </a:solidFill>
                  <a:effectLst/>
                  <a:uLnTx/>
                  <a:uFillTx/>
                  <a:latin typeface="+mn-lt"/>
                  <a:ea typeface="+mn-ea"/>
                  <a:cs typeface="+mn-cs"/>
                </a:rPr>
                <a:t>An der Hauptwache 7</a:t>
              </a:r>
            </a:p>
            <a:p>
              <a:pPr marL="0" marR="0" lvl="0" indent="0" algn="l" defTabSz="22979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900" b="0" i="0" u="none" strike="noStrike" kern="1200" cap="none" spc="0" normalizeH="0" baseline="0" noProof="0">
                  <a:ln>
                    <a:noFill/>
                  </a:ln>
                  <a:solidFill>
                    <a:schemeClr val="accent6"/>
                  </a:solidFill>
                  <a:effectLst/>
                  <a:uLnTx/>
                  <a:uFillTx/>
                  <a:latin typeface="+mn-lt"/>
                  <a:ea typeface="+mn-ea"/>
                  <a:cs typeface="+mn-cs"/>
                </a:rPr>
                <a:t>D-60313 Frankfurt/Main</a:t>
              </a:r>
            </a:p>
            <a:p>
              <a:pPr marL="0" marR="0" lvl="0" indent="0" algn="l" defTabSz="22979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900" b="0" i="0" u="none" strike="noStrike" kern="1200" cap="none" spc="0" normalizeH="0" baseline="0" noProof="0">
                  <a:ln>
                    <a:noFill/>
                  </a:ln>
                  <a:solidFill>
                    <a:schemeClr val="accent6"/>
                  </a:solidFill>
                  <a:effectLst/>
                  <a:uLnTx/>
                  <a:uFillTx/>
                  <a:latin typeface="+mn-lt"/>
                  <a:ea typeface="+mn-ea"/>
                  <a:cs typeface="+mn-cs"/>
                </a:rPr>
                <a:t>Germany</a:t>
              </a:r>
            </a:p>
          </p:txBody>
        </p:sp>
      </p:grpSp>
      <p:sp>
        <p:nvSpPr>
          <p:cNvPr id="57" name="head_office"/>
          <p:cNvSpPr txBox="1"/>
          <p:nvPr/>
        </p:nvSpPr>
        <p:spPr bwMode="gray">
          <a:xfrm>
            <a:off x="609600" y="5842000"/>
            <a:ext cx="6149169" cy="107722"/>
          </a:xfrm>
          <a:prstGeom prst="rect">
            <a:avLst/>
          </a:prstGeom>
          <a:noFill/>
        </p:spPr>
        <p:txBody>
          <a:bodyPr wrap="square" lIns="0" tIns="0" rIns="0" bIns="0" numCol="1" rtlCol="0" anchor="b">
            <a:spAutoFit/>
          </a:bodyPr>
          <a:lstStyle/>
          <a:p>
            <a:pPr marL="0" marR="0" lvl="0" indent="0" algn="l" defTabSz="22979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700" b="1" i="0" u="none" strike="noStrike" kern="1200" cap="none" spc="0" normalizeH="0" baseline="0" noProof="0">
                <a:ln>
                  <a:noFill/>
                </a:ln>
                <a:solidFill>
                  <a:schemeClr val="accent6"/>
                </a:solidFill>
                <a:effectLst/>
                <a:uLnTx/>
                <a:uFillTx/>
              </a:rPr>
              <a:t>d-fine GmbH </a:t>
            </a:r>
            <a:r>
              <a:rPr kumimoji="0" lang="de-DE" sz="700" b="0" i="0" u="none" strike="noStrike" kern="1200" cap="none" spc="0" normalizeH="0" baseline="0" noProof="0">
                <a:ln>
                  <a:noFill/>
                </a:ln>
                <a:solidFill>
                  <a:schemeClr val="accent6"/>
                </a:solidFill>
                <a:effectLst/>
                <a:uLnTx/>
                <a:uFillTx/>
              </a:rPr>
              <a:t>| An der Hauptwache 7 | D-60313 Frankfurt/Main</a:t>
            </a:r>
          </a:p>
        </p:txBody>
      </p:sp>
    </p:spTree>
    <p:extLst>
      <p:ext uri="{BB962C8B-B14F-4D97-AF65-F5344CB8AC3E}">
        <p14:creationId xmlns:p14="http://schemas.microsoft.com/office/powerpoint/2010/main" val="1805080197"/>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userDrawn="1">
            <p:custDataLst>
              <p:tags r:id="rId1"/>
            </p:custDataLst>
            <p:extLst>
              <p:ext uri="{D42A27DB-BD31-4B8C-83A1-F6EECF244321}">
                <p14:modId xmlns:p14="http://schemas.microsoft.com/office/powerpoint/2010/main" val="1928012733"/>
              </p:ext>
            </p:extLst>
          </p:nvPr>
        </p:nvGraphicFramePr>
        <p:xfrm>
          <a:off x="1792" y="1467"/>
          <a:ext cx="1793" cy="1456"/>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1" name="Object 20" hidden="1"/>
                      <p:cNvPicPr/>
                      <p:nvPr/>
                    </p:nvPicPr>
                    <p:blipFill>
                      <a:blip r:embed="rId5"/>
                      <a:stretch>
                        <a:fillRect/>
                      </a:stretch>
                    </p:blipFill>
                    <p:spPr>
                      <a:xfrm>
                        <a:off x="1792" y="1467"/>
                        <a:ext cx="1793" cy="1456"/>
                      </a:xfrm>
                      <a:prstGeom prst="rect">
                        <a:avLst/>
                      </a:prstGeom>
                    </p:spPr>
                  </p:pic>
                </p:oleObj>
              </mc:Fallback>
            </mc:AlternateContent>
          </a:graphicData>
        </a:graphic>
      </p:graphicFrame>
      <p:sp>
        <p:nvSpPr>
          <p:cNvPr id="20" name="Rectangle 19" hidden="1"/>
          <p:cNvSpPr/>
          <p:nvPr userDrawn="1">
            <p:custDataLst>
              <p:tags r:id="rId2"/>
            </p:custDataLst>
          </p:nvPr>
        </p:nvSpPr>
        <p:spPr bwMode="gray">
          <a:xfrm>
            <a:off x="20" y="22"/>
            <a:ext cx="179103" cy="145521"/>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413" b="0" i="0" baseline="0" err="1">
              <a:solidFill>
                <a:schemeClr val="tx1"/>
              </a:solidFill>
              <a:latin typeface="Roboto" panose="02000000000000000000" pitchFamily="2" charset="0"/>
              <a:ea typeface="+mj-ea"/>
              <a:cs typeface="+mj-cs"/>
              <a:sym typeface="Roboto" panose="02000000000000000000" pitchFamily="2" charset="0"/>
            </a:endParaRPr>
          </a:p>
        </p:txBody>
      </p:sp>
      <p:sp>
        <p:nvSpPr>
          <p:cNvPr id="12" name="background"/>
          <p:cNvSpPr/>
          <p:nvPr userDrawn="1"/>
        </p:nvSpPr>
        <p:spPr bwMode="gray">
          <a:xfrm>
            <a:off x="0" y="0"/>
            <a:ext cx="11176000" cy="6286500"/>
          </a:xfrm>
          <a:prstGeom prst="rect">
            <a:avLst/>
          </a:prstGeom>
          <a:solidFill>
            <a:schemeClr val="l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202462" rIns="430234" rtlCol="0" anchor="ctr"/>
          <a:lstStyle/>
          <a:p>
            <a:pPr algn="ctr"/>
            <a:endParaRPr lang="de-DE" sz="206">
              <a:solidFill>
                <a:schemeClr val="accent2"/>
              </a:solidFill>
              <a:latin typeface="+mn-lt"/>
            </a:endParaRPr>
          </a:p>
        </p:txBody>
      </p:sp>
      <p:sp>
        <p:nvSpPr>
          <p:cNvPr id="2" name="title_box"/>
          <p:cNvSpPr>
            <a:spLocks noGrp="1"/>
          </p:cNvSpPr>
          <p:nvPr userDrawn="1">
            <p:ph type="ctrTitle" hasCustomPrompt="1"/>
          </p:nvPr>
        </p:nvSpPr>
        <p:spPr bwMode="gray">
          <a:xfrm>
            <a:off x="727202" y="1244600"/>
            <a:ext cx="5097600" cy="957593"/>
          </a:xfrm>
          <a:prstGeom prst="rect">
            <a:avLst/>
          </a:prstGeom>
        </p:spPr>
        <p:txBody>
          <a:bodyPr wrap="square" lIns="0" tIns="0" rIns="0" bIns="0" anchor="t" anchorCtr="0">
            <a:noAutofit/>
          </a:bodyPr>
          <a:lstStyle>
            <a:lvl1pPr algn="l">
              <a:defRPr sz="3200" baseline="0">
                <a:latin typeface="+mn-lt"/>
              </a:defRPr>
            </a:lvl1pPr>
          </a:lstStyle>
          <a:p>
            <a:r>
              <a:rPr lang="de-DE" err="1"/>
              <a:t>Presentation</a:t>
            </a:r>
            <a:r>
              <a:rPr lang="de-DE"/>
              <a:t> Title</a:t>
            </a:r>
          </a:p>
        </p:txBody>
      </p:sp>
      <p:sp>
        <p:nvSpPr>
          <p:cNvPr id="3" name="subtitle_box"/>
          <p:cNvSpPr>
            <a:spLocks noGrp="1"/>
          </p:cNvSpPr>
          <p:nvPr userDrawn="1">
            <p:ph type="subTitle" idx="1" hasCustomPrompt="1"/>
          </p:nvPr>
        </p:nvSpPr>
        <p:spPr bwMode="gray">
          <a:xfrm>
            <a:off x="727202" y="2293188"/>
            <a:ext cx="4392001" cy="658800"/>
          </a:xfrm>
          <a:prstGeom prst="rect">
            <a:avLst/>
          </a:prstGeom>
        </p:spPr>
        <p:txBody>
          <a:bodyPr wrap="square" lIns="0" tIns="0" rIns="0" bIns="0">
            <a:noAutofit/>
          </a:bodyPr>
          <a:lstStyle>
            <a:lvl1pPr marL="0" indent="0" algn="l">
              <a:spcBef>
                <a:spcPts val="0"/>
              </a:spcBef>
              <a:buNone/>
              <a:defRPr sz="2200" baseline="0">
                <a:solidFill>
                  <a:schemeClr val="tx1"/>
                </a:solidFill>
                <a:latin typeface="Roboto Light" panose="02000000000000000000" pitchFamily="2" charset="0"/>
                <a:ea typeface="Roboto Light" panose="02000000000000000000" pitchFamily="2" charset="0"/>
              </a:defRPr>
            </a:lvl1pPr>
            <a:lvl2pPr marL="58376" indent="0" algn="ctr">
              <a:buNone/>
              <a:defRPr>
                <a:solidFill>
                  <a:schemeClr val="tx1">
                    <a:tint val="75000"/>
                  </a:schemeClr>
                </a:solidFill>
              </a:defRPr>
            </a:lvl2pPr>
            <a:lvl3pPr marL="116754" indent="0" algn="ctr">
              <a:buNone/>
              <a:defRPr>
                <a:solidFill>
                  <a:schemeClr val="tx1">
                    <a:tint val="75000"/>
                  </a:schemeClr>
                </a:solidFill>
              </a:defRPr>
            </a:lvl3pPr>
            <a:lvl4pPr marL="175129" indent="0" algn="ctr">
              <a:buNone/>
              <a:defRPr>
                <a:solidFill>
                  <a:schemeClr val="tx1">
                    <a:tint val="75000"/>
                  </a:schemeClr>
                </a:solidFill>
              </a:defRPr>
            </a:lvl4pPr>
            <a:lvl5pPr marL="233506" indent="0" algn="ctr">
              <a:buNone/>
              <a:defRPr>
                <a:solidFill>
                  <a:schemeClr val="tx1">
                    <a:tint val="75000"/>
                  </a:schemeClr>
                </a:solidFill>
              </a:defRPr>
            </a:lvl5pPr>
            <a:lvl6pPr marL="291883" indent="0" algn="ctr">
              <a:buNone/>
              <a:defRPr>
                <a:solidFill>
                  <a:schemeClr val="tx1">
                    <a:tint val="75000"/>
                  </a:schemeClr>
                </a:solidFill>
              </a:defRPr>
            </a:lvl6pPr>
            <a:lvl7pPr marL="350260" indent="0" algn="ctr">
              <a:buNone/>
              <a:defRPr>
                <a:solidFill>
                  <a:schemeClr val="tx1">
                    <a:tint val="75000"/>
                  </a:schemeClr>
                </a:solidFill>
              </a:defRPr>
            </a:lvl7pPr>
            <a:lvl8pPr marL="408636" indent="0" algn="ctr">
              <a:buNone/>
              <a:defRPr>
                <a:solidFill>
                  <a:schemeClr val="tx1">
                    <a:tint val="75000"/>
                  </a:schemeClr>
                </a:solidFill>
              </a:defRPr>
            </a:lvl8pPr>
            <a:lvl9pPr marL="467012" indent="0" algn="ctr">
              <a:buNone/>
              <a:defRPr>
                <a:solidFill>
                  <a:schemeClr val="tx1">
                    <a:tint val="75000"/>
                  </a:schemeClr>
                </a:solidFill>
              </a:defRPr>
            </a:lvl9pPr>
          </a:lstStyle>
          <a:p>
            <a:r>
              <a:rPr lang="de-DE" err="1"/>
              <a:t>Presentation</a:t>
            </a:r>
            <a:r>
              <a:rPr lang="de-DE"/>
              <a:t> </a:t>
            </a:r>
            <a:r>
              <a:rPr lang="de-DE" err="1"/>
              <a:t>Subtitle</a:t>
            </a:r>
            <a:endParaRPr lang="de-DE"/>
          </a:p>
        </p:txBody>
      </p:sp>
      <p:sp>
        <p:nvSpPr>
          <p:cNvPr id="9" name="orange_bar"/>
          <p:cNvSpPr/>
          <p:nvPr userDrawn="1"/>
        </p:nvSpPr>
        <p:spPr bwMode="gray">
          <a:xfrm>
            <a:off x="727202" y="925309"/>
            <a:ext cx="447954" cy="612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6">
              <a:latin typeface="+mn-lt"/>
            </a:endParaRPr>
          </a:p>
        </p:txBody>
      </p:sp>
      <p:sp>
        <p:nvSpPr>
          <p:cNvPr id="32" name="triangle_top_right" hidden="1"/>
          <p:cNvSpPr/>
          <p:nvPr userDrawn="1"/>
        </p:nvSpPr>
        <p:spPr>
          <a:xfrm rot="10800000">
            <a:off x="7146899" y="0"/>
            <a:ext cx="3081680" cy="3081680"/>
          </a:xfrm>
          <a:prstGeom prst="rtTriangl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6"/>
          </a:p>
        </p:txBody>
      </p:sp>
      <p:sp>
        <p:nvSpPr>
          <p:cNvPr id="33" name="triangle_top_left" hidden="1"/>
          <p:cNvSpPr/>
          <p:nvPr userDrawn="1"/>
        </p:nvSpPr>
        <p:spPr>
          <a:xfrm rot="5400000">
            <a:off x="0" y="0"/>
            <a:ext cx="1169721" cy="1169721"/>
          </a:xfrm>
          <a:prstGeom prst="rtTriangl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6"/>
          </a:p>
        </p:txBody>
      </p:sp>
      <p:sp>
        <p:nvSpPr>
          <p:cNvPr id="31" name="triangle_bottom_left"/>
          <p:cNvSpPr/>
          <p:nvPr userDrawn="1"/>
        </p:nvSpPr>
        <p:spPr bwMode="gray">
          <a:xfrm>
            <a:off x="0" y="2687955"/>
            <a:ext cx="3600000" cy="3600000"/>
          </a:xfrm>
          <a:prstGeom prst="rtTriangle">
            <a:avLst/>
          </a:prstGeom>
          <a:solidFill>
            <a:schemeClr val="l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6">
              <a:latin typeface="+mn-lt"/>
            </a:endParaRPr>
          </a:p>
        </p:txBody>
      </p:sp>
      <p:sp>
        <p:nvSpPr>
          <p:cNvPr id="29" name="triangle_bottom_right" hidden="1"/>
          <p:cNvSpPr/>
          <p:nvPr userDrawn="1"/>
        </p:nvSpPr>
        <p:spPr bwMode="gray">
          <a:xfrm flipH="1">
            <a:off x="4874095" y="1397018"/>
            <a:ext cx="6309224" cy="4893761"/>
          </a:xfrm>
          <a:prstGeom prst="rtTriangle">
            <a:avLst/>
          </a:prstGeom>
          <a:solidFill>
            <a:schemeClr val="dk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6">
              <a:latin typeface="+mn-lt"/>
            </a:endParaRPr>
          </a:p>
        </p:txBody>
      </p:sp>
      <p:sp>
        <p:nvSpPr>
          <p:cNvPr id="11" name="place_date"/>
          <p:cNvSpPr>
            <a:spLocks noGrp="1"/>
          </p:cNvSpPr>
          <p:nvPr userDrawn="1">
            <p:ph type="body" sz="quarter" idx="11" hasCustomPrompt="1"/>
          </p:nvPr>
        </p:nvSpPr>
        <p:spPr bwMode="white">
          <a:xfrm>
            <a:off x="727202" y="5428742"/>
            <a:ext cx="1620001" cy="327533"/>
          </a:xfrm>
          <a:prstGeom prst="rect">
            <a:avLst/>
          </a:prstGeom>
        </p:spPr>
        <p:txBody>
          <a:bodyPr lIns="0" tIns="0" rIns="0" bIns="0" anchor="b" anchorCtr="0">
            <a:noAutofit/>
          </a:bodyPr>
          <a:lstStyle>
            <a:lvl1pPr>
              <a:defRPr lang="en-US" sz="1000" smtClean="0">
                <a:solidFill>
                  <a:schemeClr val="lt1"/>
                </a:solidFill>
                <a:latin typeface="+mn-lt"/>
              </a:defRPr>
            </a:lvl1pPr>
            <a:lvl2pPr>
              <a:defRPr lang="en-US" sz="235" smtClean="0"/>
            </a:lvl2pPr>
            <a:lvl3pPr>
              <a:defRPr lang="en-US" sz="235" smtClean="0"/>
            </a:lvl3pPr>
            <a:lvl4pPr>
              <a:defRPr lang="en-US" sz="235" smtClean="0"/>
            </a:lvl4pPr>
            <a:lvl5pPr>
              <a:defRPr lang="de-DE" sz="235"/>
            </a:lvl5pPr>
          </a:lstStyle>
          <a:p>
            <a:pPr lvl="0">
              <a:lnSpc>
                <a:spcPts val="164"/>
              </a:lnSpc>
            </a:pPr>
            <a:r>
              <a:rPr lang="en-US"/>
              <a:t>Place, date</a:t>
            </a:r>
          </a:p>
        </p:txBody>
      </p:sp>
      <p:sp>
        <p:nvSpPr>
          <p:cNvPr id="22" name="cut_shape_right"/>
          <p:cNvSpPr/>
          <p:nvPr userDrawn="1"/>
        </p:nvSpPr>
        <p:spPr bwMode="gray">
          <a:xfrm>
            <a:off x="2001600" y="0"/>
            <a:ext cx="9176399" cy="6286500"/>
          </a:xfrm>
          <a:custGeom>
            <a:avLst/>
            <a:gdLst>
              <a:gd name="connsiteX0" fmla="*/ 5682306 w 8132466"/>
              <a:gd name="connsiteY0" fmla="*/ 0 h 6858001"/>
              <a:gd name="connsiteX1" fmla="*/ 0 w 8132466"/>
              <a:gd name="connsiteY1" fmla="*/ 6858001 h 6858001"/>
              <a:gd name="connsiteX2" fmla="*/ 0 w 8132466"/>
              <a:gd name="connsiteY2" fmla="*/ 6858001 h 6858001"/>
              <a:gd name="connsiteX3" fmla="*/ 0 w 8132466"/>
              <a:gd name="connsiteY3" fmla="*/ 6858001 h 6858001"/>
              <a:gd name="connsiteX4" fmla="*/ 0 w 8132466"/>
              <a:gd name="connsiteY4" fmla="*/ 6858001 h 6858001"/>
              <a:gd name="connsiteX5" fmla="*/ 6858000 w 8132466"/>
              <a:gd name="connsiteY5" fmla="*/ 6858001 h 6858001"/>
              <a:gd name="connsiteX6" fmla="*/ 8132466 w 8132466"/>
              <a:gd name="connsiteY6" fmla="*/ 6858001 h 6858001"/>
              <a:gd name="connsiteX7" fmla="*/ 8132466 w 8132466"/>
              <a:gd name="connsiteY7" fmla="*/ 1 h 6858001"/>
              <a:gd name="connsiteX0" fmla="*/ 6856409 w 8132466"/>
              <a:gd name="connsiteY0" fmla="*/ 0 h 6858001"/>
              <a:gd name="connsiteX1" fmla="*/ 0 w 8132466"/>
              <a:gd name="connsiteY1" fmla="*/ 6858001 h 6858001"/>
              <a:gd name="connsiteX2" fmla="*/ 0 w 8132466"/>
              <a:gd name="connsiteY2" fmla="*/ 6858001 h 6858001"/>
              <a:gd name="connsiteX3" fmla="*/ 0 w 8132466"/>
              <a:gd name="connsiteY3" fmla="*/ 6858001 h 6858001"/>
              <a:gd name="connsiteX4" fmla="*/ 0 w 8132466"/>
              <a:gd name="connsiteY4" fmla="*/ 6858001 h 6858001"/>
              <a:gd name="connsiteX5" fmla="*/ 6858000 w 8132466"/>
              <a:gd name="connsiteY5" fmla="*/ 6858001 h 6858001"/>
              <a:gd name="connsiteX6" fmla="*/ 8132466 w 8132466"/>
              <a:gd name="connsiteY6" fmla="*/ 6858001 h 6858001"/>
              <a:gd name="connsiteX7" fmla="*/ 8132466 w 8132466"/>
              <a:gd name="connsiteY7" fmla="*/ 1 h 6858001"/>
              <a:gd name="connsiteX0" fmla="*/ 5681087 w 8132466"/>
              <a:gd name="connsiteY0" fmla="*/ 0 h 6858001"/>
              <a:gd name="connsiteX1" fmla="*/ 0 w 8132466"/>
              <a:gd name="connsiteY1" fmla="*/ 6858001 h 6858001"/>
              <a:gd name="connsiteX2" fmla="*/ 0 w 8132466"/>
              <a:gd name="connsiteY2" fmla="*/ 6858001 h 6858001"/>
              <a:gd name="connsiteX3" fmla="*/ 0 w 8132466"/>
              <a:gd name="connsiteY3" fmla="*/ 6858001 h 6858001"/>
              <a:gd name="connsiteX4" fmla="*/ 0 w 8132466"/>
              <a:gd name="connsiteY4" fmla="*/ 6858001 h 6858001"/>
              <a:gd name="connsiteX5" fmla="*/ 6858000 w 8132466"/>
              <a:gd name="connsiteY5" fmla="*/ 6858001 h 6858001"/>
              <a:gd name="connsiteX6" fmla="*/ 8132466 w 8132466"/>
              <a:gd name="connsiteY6" fmla="*/ 6858001 h 6858001"/>
              <a:gd name="connsiteX7" fmla="*/ 8132466 w 8132466"/>
              <a:gd name="connsiteY7" fmla="*/ 1 h 6858001"/>
              <a:gd name="connsiteX0" fmla="*/ 5727164 w 8132466"/>
              <a:gd name="connsiteY0" fmla="*/ 0 h 6858002"/>
              <a:gd name="connsiteX1" fmla="*/ 0 w 8132466"/>
              <a:gd name="connsiteY1" fmla="*/ 6858002 h 6858002"/>
              <a:gd name="connsiteX2" fmla="*/ 0 w 8132466"/>
              <a:gd name="connsiteY2" fmla="*/ 6858002 h 6858002"/>
              <a:gd name="connsiteX3" fmla="*/ 0 w 8132466"/>
              <a:gd name="connsiteY3" fmla="*/ 6858002 h 6858002"/>
              <a:gd name="connsiteX4" fmla="*/ 0 w 8132466"/>
              <a:gd name="connsiteY4" fmla="*/ 6858002 h 6858002"/>
              <a:gd name="connsiteX5" fmla="*/ 6858000 w 8132466"/>
              <a:gd name="connsiteY5" fmla="*/ 6858002 h 6858002"/>
              <a:gd name="connsiteX6" fmla="*/ 8132466 w 8132466"/>
              <a:gd name="connsiteY6" fmla="*/ 6858002 h 6858002"/>
              <a:gd name="connsiteX7" fmla="*/ 8132466 w 8132466"/>
              <a:gd name="connsiteY7" fmla="*/ 2 h 6858002"/>
              <a:gd name="connsiteX0" fmla="*/ 5723663 w 8132466"/>
              <a:gd name="connsiteY0" fmla="*/ 0 h 6858003"/>
              <a:gd name="connsiteX1" fmla="*/ 0 w 8132466"/>
              <a:gd name="connsiteY1" fmla="*/ 6858003 h 6858003"/>
              <a:gd name="connsiteX2" fmla="*/ 0 w 8132466"/>
              <a:gd name="connsiteY2" fmla="*/ 6858003 h 6858003"/>
              <a:gd name="connsiteX3" fmla="*/ 0 w 8132466"/>
              <a:gd name="connsiteY3" fmla="*/ 6858003 h 6858003"/>
              <a:gd name="connsiteX4" fmla="*/ 0 w 8132466"/>
              <a:gd name="connsiteY4" fmla="*/ 6858003 h 6858003"/>
              <a:gd name="connsiteX5" fmla="*/ 6858000 w 8132466"/>
              <a:gd name="connsiteY5" fmla="*/ 6858003 h 6858003"/>
              <a:gd name="connsiteX6" fmla="*/ 8132466 w 8132466"/>
              <a:gd name="connsiteY6" fmla="*/ 6858003 h 6858003"/>
              <a:gd name="connsiteX7" fmla="*/ 8132466 w 8132466"/>
              <a:gd name="connsiteY7" fmla="*/ 3 h 6858003"/>
              <a:gd name="connsiteX0" fmla="*/ 5727164 w 8132466"/>
              <a:gd name="connsiteY0" fmla="*/ 0 h 6858004"/>
              <a:gd name="connsiteX1" fmla="*/ 0 w 8132466"/>
              <a:gd name="connsiteY1" fmla="*/ 6858004 h 6858004"/>
              <a:gd name="connsiteX2" fmla="*/ 0 w 8132466"/>
              <a:gd name="connsiteY2" fmla="*/ 6858004 h 6858004"/>
              <a:gd name="connsiteX3" fmla="*/ 0 w 8132466"/>
              <a:gd name="connsiteY3" fmla="*/ 6858004 h 6858004"/>
              <a:gd name="connsiteX4" fmla="*/ 0 w 8132466"/>
              <a:gd name="connsiteY4" fmla="*/ 6858004 h 6858004"/>
              <a:gd name="connsiteX5" fmla="*/ 6858000 w 8132466"/>
              <a:gd name="connsiteY5" fmla="*/ 6858004 h 6858004"/>
              <a:gd name="connsiteX6" fmla="*/ 8132466 w 8132466"/>
              <a:gd name="connsiteY6" fmla="*/ 6858004 h 6858004"/>
              <a:gd name="connsiteX7" fmla="*/ 8132466 w 8132466"/>
              <a:gd name="connsiteY7" fmla="*/ 4 h 6858004"/>
              <a:gd name="connsiteX0" fmla="*/ 5723663 w 8132466"/>
              <a:gd name="connsiteY0" fmla="*/ 0 h 6858005"/>
              <a:gd name="connsiteX1" fmla="*/ 0 w 8132466"/>
              <a:gd name="connsiteY1" fmla="*/ 6858005 h 6858005"/>
              <a:gd name="connsiteX2" fmla="*/ 0 w 8132466"/>
              <a:gd name="connsiteY2" fmla="*/ 6858005 h 6858005"/>
              <a:gd name="connsiteX3" fmla="*/ 0 w 8132466"/>
              <a:gd name="connsiteY3" fmla="*/ 6858005 h 6858005"/>
              <a:gd name="connsiteX4" fmla="*/ 0 w 8132466"/>
              <a:gd name="connsiteY4" fmla="*/ 6858005 h 6858005"/>
              <a:gd name="connsiteX5" fmla="*/ 6858000 w 8132466"/>
              <a:gd name="connsiteY5" fmla="*/ 6858005 h 6858005"/>
              <a:gd name="connsiteX6" fmla="*/ 8132466 w 8132466"/>
              <a:gd name="connsiteY6" fmla="*/ 6858005 h 6858005"/>
              <a:gd name="connsiteX7" fmla="*/ 8132466 w 8132466"/>
              <a:gd name="connsiteY7" fmla="*/ 5 h 6858005"/>
              <a:gd name="connsiteX0" fmla="*/ 5727164 w 8132466"/>
              <a:gd name="connsiteY0" fmla="*/ 0 h 6858006"/>
              <a:gd name="connsiteX1" fmla="*/ 0 w 8132466"/>
              <a:gd name="connsiteY1" fmla="*/ 6858006 h 6858006"/>
              <a:gd name="connsiteX2" fmla="*/ 0 w 8132466"/>
              <a:gd name="connsiteY2" fmla="*/ 6858006 h 6858006"/>
              <a:gd name="connsiteX3" fmla="*/ 0 w 8132466"/>
              <a:gd name="connsiteY3" fmla="*/ 6858006 h 6858006"/>
              <a:gd name="connsiteX4" fmla="*/ 0 w 8132466"/>
              <a:gd name="connsiteY4" fmla="*/ 6858006 h 6858006"/>
              <a:gd name="connsiteX5" fmla="*/ 6858000 w 8132466"/>
              <a:gd name="connsiteY5" fmla="*/ 6858006 h 6858006"/>
              <a:gd name="connsiteX6" fmla="*/ 8132466 w 8132466"/>
              <a:gd name="connsiteY6" fmla="*/ 6858006 h 6858006"/>
              <a:gd name="connsiteX7" fmla="*/ 8132466 w 8132466"/>
              <a:gd name="connsiteY7" fmla="*/ 6 h 6858006"/>
              <a:gd name="connsiteX0" fmla="*/ 5723663 w 8132466"/>
              <a:gd name="connsiteY0" fmla="*/ 0 h 6858007"/>
              <a:gd name="connsiteX1" fmla="*/ 0 w 8132466"/>
              <a:gd name="connsiteY1" fmla="*/ 6858007 h 6858007"/>
              <a:gd name="connsiteX2" fmla="*/ 0 w 8132466"/>
              <a:gd name="connsiteY2" fmla="*/ 6858007 h 6858007"/>
              <a:gd name="connsiteX3" fmla="*/ 0 w 8132466"/>
              <a:gd name="connsiteY3" fmla="*/ 6858007 h 6858007"/>
              <a:gd name="connsiteX4" fmla="*/ 0 w 8132466"/>
              <a:gd name="connsiteY4" fmla="*/ 6858007 h 6858007"/>
              <a:gd name="connsiteX5" fmla="*/ 6858000 w 8132466"/>
              <a:gd name="connsiteY5" fmla="*/ 6858007 h 6858007"/>
              <a:gd name="connsiteX6" fmla="*/ 8132466 w 8132466"/>
              <a:gd name="connsiteY6" fmla="*/ 6858007 h 6858007"/>
              <a:gd name="connsiteX7" fmla="*/ 8132466 w 8132466"/>
              <a:gd name="connsiteY7" fmla="*/ 7 h 6858007"/>
              <a:gd name="connsiteX0" fmla="*/ 5727164 w 8132466"/>
              <a:gd name="connsiteY0" fmla="*/ 0 h 6858008"/>
              <a:gd name="connsiteX1" fmla="*/ 0 w 8132466"/>
              <a:gd name="connsiteY1" fmla="*/ 6858008 h 6858008"/>
              <a:gd name="connsiteX2" fmla="*/ 0 w 8132466"/>
              <a:gd name="connsiteY2" fmla="*/ 6858008 h 6858008"/>
              <a:gd name="connsiteX3" fmla="*/ 0 w 8132466"/>
              <a:gd name="connsiteY3" fmla="*/ 6858008 h 6858008"/>
              <a:gd name="connsiteX4" fmla="*/ 0 w 8132466"/>
              <a:gd name="connsiteY4" fmla="*/ 6858008 h 6858008"/>
              <a:gd name="connsiteX5" fmla="*/ 6858000 w 8132466"/>
              <a:gd name="connsiteY5" fmla="*/ 6858008 h 6858008"/>
              <a:gd name="connsiteX6" fmla="*/ 8132466 w 8132466"/>
              <a:gd name="connsiteY6" fmla="*/ 6858008 h 6858008"/>
              <a:gd name="connsiteX7" fmla="*/ 8132466 w 8132466"/>
              <a:gd name="connsiteY7" fmla="*/ 8 h 6858008"/>
              <a:gd name="connsiteX0" fmla="*/ 5723663 w 8132466"/>
              <a:gd name="connsiteY0" fmla="*/ 0 h 6858009"/>
              <a:gd name="connsiteX1" fmla="*/ 0 w 8132466"/>
              <a:gd name="connsiteY1" fmla="*/ 6858009 h 6858009"/>
              <a:gd name="connsiteX2" fmla="*/ 0 w 8132466"/>
              <a:gd name="connsiteY2" fmla="*/ 6858009 h 6858009"/>
              <a:gd name="connsiteX3" fmla="*/ 0 w 8132466"/>
              <a:gd name="connsiteY3" fmla="*/ 6858009 h 6858009"/>
              <a:gd name="connsiteX4" fmla="*/ 0 w 8132466"/>
              <a:gd name="connsiteY4" fmla="*/ 6858009 h 6858009"/>
              <a:gd name="connsiteX5" fmla="*/ 6858000 w 8132466"/>
              <a:gd name="connsiteY5" fmla="*/ 6858009 h 6858009"/>
              <a:gd name="connsiteX6" fmla="*/ 8132466 w 8132466"/>
              <a:gd name="connsiteY6" fmla="*/ 6858009 h 6858009"/>
              <a:gd name="connsiteX7" fmla="*/ 8132466 w 8132466"/>
              <a:gd name="connsiteY7" fmla="*/ 9 h 6858009"/>
              <a:gd name="connsiteX0" fmla="*/ 5727164 w 8132466"/>
              <a:gd name="connsiteY0" fmla="*/ 0 h 6858010"/>
              <a:gd name="connsiteX1" fmla="*/ 0 w 8132466"/>
              <a:gd name="connsiteY1" fmla="*/ 6858010 h 6858010"/>
              <a:gd name="connsiteX2" fmla="*/ 0 w 8132466"/>
              <a:gd name="connsiteY2" fmla="*/ 6858010 h 6858010"/>
              <a:gd name="connsiteX3" fmla="*/ 0 w 8132466"/>
              <a:gd name="connsiteY3" fmla="*/ 6858010 h 6858010"/>
              <a:gd name="connsiteX4" fmla="*/ 0 w 8132466"/>
              <a:gd name="connsiteY4" fmla="*/ 6858010 h 6858010"/>
              <a:gd name="connsiteX5" fmla="*/ 6858000 w 8132466"/>
              <a:gd name="connsiteY5" fmla="*/ 6858010 h 6858010"/>
              <a:gd name="connsiteX6" fmla="*/ 8132466 w 8132466"/>
              <a:gd name="connsiteY6" fmla="*/ 6858010 h 6858010"/>
              <a:gd name="connsiteX7" fmla="*/ 8132466 w 8132466"/>
              <a:gd name="connsiteY7" fmla="*/ 10 h 6858010"/>
              <a:gd name="connsiteX0" fmla="*/ 5723663 w 8132466"/>
              <a:gd name="connsiteY0" fmla="*/ 0 h 6858011"/>
              <a:gd name="connsiteX1" fmla="*/ 0 w 8132466"/>
              <a:gd name="connsiteY1" fmla="*/ 6858011 h 6858011"/>
              <a:gd name="connsiteX2" fmla="*/ 0 w 8132466"/>
              <a:gd name="connsiteY2" fmla="*/ 6858011 h 6858011"/>
              <a:gd name="connsiteX3" fmla="*/ 0 w 8132466"/>
              <a:gd name="connsiteY3" fmla="*/ 6858011 h 6858011"/>
              <a:gd name="connsiteX4" fmla="*/ 0 w 8132466"/>
              <a:gd name="connsiteY4" fmla="*/ 6858011 h 6858011"/>
              <a:gd name="connsiteX5" fmla="*/ 6858000 w 8132466"/>
              <a:gd name="connsiteY5" fmla="*/ 6858011 h 6858011"/>
              <a:gd name="connsiteX6" fmla="*/ 8132466 w 8132466"/>
              <a:gd name="connsiteY6" fmla="*/ 6858011 h 6858011"/>
              <a:gd name="connsiteX7" fmla="*/ 8132466 w 8132466"/>
              <a:gd name="connsiteY7" fmla="*/ 11 h 6858011"/>
              <a:gd name="connsiteX0" fmla="*/ 5727164 w 8132466"/>
              <a:gd name="connsiteY0" fmla="*/ 0 h 6858012"/>
              <a:gd name="connsiteX1" fmla="*/ 0 w 8132466"/>
              <a:gd name="connsiteY1" fmla="*/ 6858012 h 6858012"/>
              <a:gd name="connsiteX2" fmla="*/ 0 w 8132466"/>
              <a:gd name="connsiteY2" fmla="*/ 6858012 h 6858012"/>
              <a:gd name="connsiteX3" fmla="*/ 0 w 8132466"/>
              <a:gd name="connsiteY3" fmla="*/ 6858012 h 6858012"/>
              <a:gd name="connsiteX4" fmla="*/ 0 w 8132466"/>
              <a:gd name="connsiteY4" fmla="*/ 6858012 h 6858012"/>
              <a:gd name="connsiteX5" fmla="*/ 6858000 w 8132466"/>
              <a:gd name="connsiteY5" fmla="*/ 6858012 h 6858012"/>
              <a:gd name="connsiteX6" fmla="*/ 8132466 w 8132466"/>
              <a:gd name="connsiteY6" fmla="*/ 6858012 h 6858012"/>
              <a:gd name="connsiteX7" fmla="*/ 8132466 w 8132466"/>
              <a:gd name="connsiteY7" fmla="*/ 12 h 6858012"/>
              <a:gd name="connsiteX0" fmla="*/ 6878264 w 8132466"/>
              <a:gd name="connsiteY0" fmla="*/ 0 h 6858013"/>
              <a:gd name="connsiteX1" fmla="*/ 0 w 8132466"/>
              <a:gd name="connsiteY1" fmla="*/ 6858013 h 6858013"/>
              <a:gd name="connsiteX2" fmla="*/ 0 w 8132466"/>
              <a:gd name="connsiteY2" fmla="*/ 6858013 h 6858013"/>
              <a:gd name="connsiteX3" fmla="*/ 0 w 8132466"/>
              <a:gd name="connsiteY3" fmla="*/ 6858013 h 6858013"/>
              <a:gd name="connsiteX4" fmla="*/ 0 w 8132466"/>
              <a:gd name="connsiteY4" fmla="*/ 6858013 h 6858013"/>
              <a:gd name="connsiteX5" fmla="*/ 6858000 w 8132466"/>
              <a:gd name="connsiteY5" fmla="*/ 6858013 h 6858013"/>
              <a:gd name="connsiteX6" fmla="*/ 8132466 w 8132466"/>
              <a:gd name="connsiteY6" fmla="*/ 6858013 h 6858013"/>
              <a:gd name="connsiteX7" fmla="*/ 8132466 w 8132466"/>
              <a:gd name="connsiteY7" fmla="*/ 13 h 6858013"/>
              <a:gd name="connsiteX0" fmla="*/ 5681087 w 8132466"/>
              <a:gd name="connsiteY0" fmla="*/ 0 h 6858013"/>
              <a:gd name="connsiteX1" fmla="*/ 0 w 8132466"/>
              <a:gd name="connsiteY1" fmla="*/ 6858013 h 6858013"/>
              <a:gd name="connsiteX2" fmla="*/ 0 w 8132466"/>
              <a:gd name="connsiteY2" fmla="*/ 6858013 h 6858013"/>
              <a:gd name="connsiteX3" fmla="*/ 0 w 8132466"/>
              <a:gd name="connsiteY3" fmla="*/ 6858013 h 6858013"/>
              <a:gd name="connsiteX4" fmla="*/ 0 w 8132466"/>
              <a:gd name="connsiteY4" fmla="*/ 6858013 h 6858013"/>
              <a:gd name="connsiteX5" fmla="*/ 6858000 w 8132466"/>
              <a:gd name="connsiteY5" fmla="*/ 6858013 h 6858013"/>
              <a:gd name="connsiteX6" fmla="*/ 8132466 w 8132466"/>
              <a:gd name="connsiteY6" fmla="*/ 6858013 h 6858013"/>
              <a:gd name="connsiteX7" fmla="*/ 8132466 w 8132466"/>
              <a:gd name="connsiteY7" fmla="*/ 13 h 6858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32466" h="6858013">
                <a:moveTo>
                  <a:pt x="5681087" y="0"/>
                </a:moveTo>
                <a:lnTo>
                  <a:pt x="0" y="6858013"/>
                </a:lnTo>
                <a:lnTo>
                  <a:pt x="0" y="6858013"/>
                </a:lnTo>
                <a:lnTo>
                  <a:pt x="0" y="6858013"/>
                </a:lnTo>
                <a:lnTo>
                  <a:pt x="0" y="6858013"/>
                </a:lnTo>
                <a:lnTo>
                  <a:pt x="6858000" y="6858013"/>
                </a:lnTo>
                <a:lnTo>
                  <a:pt x="8132466" y="6858013"/>
                </a:lnTo>
                <a:lnTo>
                  <a:pt x="8132466" y="13"/>
                </a:lnTo>
                <a:close/>
              </a:path>
            </a:pathLst>
          </a:custGeom>
          <a:solidFill>
            <a:schemeClr val="dk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51" tIns="4651" rIns="4651" bIns="4651" numCol="1" spcCol="0" rtlCol="0" fromWordArt="0" anchor="b" anchorCtr="0" forceAA="0" compatLnSpc="1">
            <a:prstTxWarp prst="textNoShape">
              <a:avLst/>
            </a:prstTxWarp>
            <a:noAutofit/>
          </a:bodyPr>
          <a:lstStyle/>
          <a:p>
            <a:pPr lvl="0" algn="r"/>
            <a:endParaRPr lang="de-DE" sz="181" err="1">
              <a:solidFill>
                <a:schemeClr val="tx1"/>
              </a:solidFill>
            </a:endParaRPr>
          </a:p>
        </p:txBody>
      </p:sp>
      <p:pic>
        <p:nvPicPr>
          <p:cNvPr id="13" name="d-fine_dark_English" hidden="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488800" y="4906800"/>
            <a:ext cx="1958645" cy="849706"/>
          </a:xfrm>
          <a:prstGeom prst="rect">
            <a:avLst/>
          </a:prstGeom>
          <a:solidFill>
            <a:schemeClr val="accent4"/>
          </a:solidFill>
        </p:spPr>
      </p:pic>
      <p:pic>
        <p:nvPicPr>
          <p:cNvPr id="7" name="d-fine_light_English"/>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488800" y="4906800"/>
            <a:ext cx="1958645" cy="849706"/>
          </a:xfrm>
          <a:prstGeom prst="rect">
            <a:avLst/>
          </a:prstGeom>
          <a:noFill/>
          <a:extLst>
            <a:ext uri="{909E8E84-426E-40DD-AFC4-6F175D3DCCD1}">
              <a14:hiddenFill xmlns:a14="http://schemas.microsoft.com/office/drawing/2010/main">
                <a:solidFill>
                  <a:schemeClr val="tx1"/>
                </a:solidFill>
              </a14:hiddenFill>
            </a:ext>
          </a:extLst>
        </p:spPr>
      </p:pic>
      <p:pic>
        <p:nvPicPr>
          <p:cNvPr id="8" name="d-fine_dark_German" hidden="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34400" y="4906800"/>
            <a:ext cx="2513114" cy="849706"/>
          </a:xfrm>
          <a:prstGeom prst="rect">
            <a:avLst/>
          </a:prstGeom>
          <a:solidFill>
            <a:schemeClr val="accent4"/>
          </a:solidFill>
        </p:spPr>
      </p:pic>
      <p:pic>
        <p:nvPicPr>
          <p:cNvPr id="6" name="d-fine_light_German" hidden="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934400" y="4906800"/>
            <a:ext cx="2513114" cy="849706"/>
          </a:xfrm>
          <a:prstGeom prst="rect">
            <a:avLst/>
          </a:prstGeom>
          <a:solidFill>
            <a:schemeClr val="tx1"/>
          </a:solidFill>
        </p:spPr>
      </p:pic>
      <p:pic>
        <p:nvPicPr>
          <p:cNvPr id="18" name="d-fine_dark_Italian" hidden="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8074278" y="4906800"/>
            <a:ext cx="2373236" cy="849706"/>
          </a:xfrm>
          <a:prstGeom prst="rect">
            <a:avLst/>
          </a:prstGeom>
        </p:spPr>
      </p:pic>
      <p:pic>
        <p:nvPicPr>
          <p:cNvPr id="4" name="d-fine_light_Italian" hidden="1"/>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8074278" y="4906800"/>
            <a:ext cx="2373236" cy="849706"/>
          </a:xfrm>
          <a:prstGeom prst="rect">
            <a:avLst/>
          </a:prstGeom>
        </p:spPr>
      </p:pic>
    </p:spTree>
    <p:extLst>
      <p:ext uri="{BB962C8B-B14F-4D97-AF65-F5344CB8AC3E}">
        <p14:creationId xmlns:p14="http://schemas.microsoft.com/office/powerpoint/2010/main" val="152914932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Kommunale-Wärme">
    <p:spTree>
      <p:nvGrpSpPr>
        <p:cNvPr id="1" name=""/>
        <p:cNvGrpSpPr/>
        <p:nvPr/>
      </p:nvGrpSpPr>
      <p:grpSpPr>
        <a:xfrm>
          <a:off x="0" y="0"/>
          <a:ext cx="0" cy="0"/>
          <a:chOff x="0" y="0"/>
          <a:chExt cx="0" cy="0"/>
        </a:xfrm>
      </p:grpSpPr>
      <p:cxnSp>
        <p:nvCxnSpPr>
          <p:cNvPr id="10" name="top_line"/>
          <p:cNvCxnSpPr/>
          <p:nvPr userDrawn="1"/>
        </p:nvCxnSpPr>
        <p:spPr bwMode="gray">
          <a:xfrm>
            <a:off x="208026" y="905002"/>
            <a:ext cx="9372600"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cxnSp>
        <p:nvCxnSpPr>
          <p:cNvPr id="13" name="bottom_line"/>
          <p:cNvCxnSpPr/>
          <p:nvPr userDrawn="1"/>
        </p:nvCxnSpPr>
        <p:spPr bwMode="gray">
          <a:xfrm>
            <a:off x="208026" y="6079109"/>
            <a:ext cx="9372600"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grpSp>
        <p:nvGrpSpPr>
          <p:cNvPr id="16" name="CA_marker_top_left"/>
          <p:cNvGrpSpPr/>
          <p:nvPr userDrawn="1"/>
        </p:nvGrpSpPr>
        <p:grpSpPr bwMode="gray">
          <a:xfrm>
            <a:off x="208800" y="-356400"/>
            <a:ext cx="964800" cy="262800"/>
            <a:chOff x="266700" y="-387424"/>
            <a:chExt cx="812096" cy="288032"/>
          </a:xfrm>
        </p:grpSpPr>
        <p:cxnSp>
          <p:nvCxnSpPr>
            <p:cNvPr id="5" name="Straight Connector 4"/>
            <p:cNvCxnSpPr/>
            <p:nvPr userDrawn="1"/>
          </p:nvCxnSpPr>
          <p:spPr bwMode="gray">
            <a:xfrm flipH="1" flipV="1">
              <a:off x="266700"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bwMode="gray">
            <a:xfrm>
              <a:off x="526604" y="-320401"/>
              <a:ext cx="552192" cy="153975"/>
            </a:xfrm>
            <a:prstGeom prst="rect">
              <a:avLst/>
            </a:prstGeom>
            <a:noFill/>
          </p:spPr>
          <p:txBody>
            <a:bodyPr wrap="none" lIns="0" tIns="0" rIns="0" bIns="0" rtlCol="0" anchor="ctr">
              <a:spAutoFit/>
            </a:bodyPr>
            <a:lstStyle/>
            <a:p>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a:t>
              </a:r>
              <a:endParaRPr lang="de-DE" sz="900">
                <a:solidFill>
                  <a:schemeClr val="accent6"/>
                </a:solidFill>
                <a:latin typeface="Roboto" panose="02000000000000000000" pitchFamily="2" charset="0"/>
              </a:endParaRPr>
            </a:p>
          </p:txBody>
        </p:sp>
      </p:grpSp>
      <p:grpSp>
        <p:nvGrpSpPr>
          <p:cNvPr id="21" name="CA_marker_bottom_left"/>
          <p:cNvGrpSpPr/>
          <p:nvPr userDrawn="1"/>
        </p:nvGrpSpPr>
        <p:grpSpPr bwMode="gray">
          <a:xfrm>
            <a:off x="208800" y="6379200"/>
            <a:ext cx="964800" cy="262800"/>
            <a:chOff x="266699" y="-387424"/>
            <a:chExt cx="812100" cy="288032"/>
          </a:xfrm>
        </p:grpSpPr>
        <p:cxnSp>
          <p:nvCxnSpPr>
            <p:cNvPr id="22" name="Straight Connector 21"/>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bwMode="gray">
            <a:xfrm>
              <a:off x="526604" y="-320401"/>
              <a:ext cx="552195" cy="153975"/>
            </a:xfrm>
            <a:prstGeom prst="rect">
              <a:avLst/>
            </a:prstGeom>
            <a:noFill/>
          </p:spPr>
          <p:txBody>
            <a:bodyPr wrap="none" lIns="0" tIns="0" rIns="0" bIns="0" rtlCol="0" anchor="ctr">
              <a:spAutoFit/>
            </a:bodyPr>
            <a:lstStyle/>
            <a:p>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a:t>
              </a:r>
              <a:endParaRPr lang="de-DE" sz="900">
                <a:solidFill>
                  <a:schemeClr val="accent6"/>
                </a:solidFill>
                <a:latin typeface="Roboto" panose="02000000000000000000" pitchFamily="2" charset="0"/>
              </a:endParaRPr>
            </a:p>
          </p:txBody>
        </p:sp>
      </p:grpSp>
      <p:grpSp>
        <p:nvGrpSpPr>
          <p:cNvPr id="37" name="CA_marker_top_right"/>
          <p:cNvGrpSpPr/>
          <p:nvPr userDrawn="1"/>
        </p:nvGrpSpPr>
        <p:grpSpPr bwMode="gray">
          <a:xfrm flipH="1">
            <a:off x="8614800" y="-356400"/>
            <a:ext cx="964800" cy="262800"/>
            <a:chOff x="266699" y="-387424"/>
            <a:chExt cx="1029346" cy="288032"/>
          </a:xfrm>
        </p:grpSpPr>
        <p:cxnSp>
          <p:nvCxnSpPr>
            <p:cNvPr id="38" name="Straight Connector 37"/>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userDrawn="1"/>
          </p:nvSpPr>
          <p:spPr bwMode="gray">
            <a:xfrm>
              <a:off x="679293" y="-320395"/>
              <a:ext cx="616752" cy="153975"/>
            </a:xfrm>
            <a:prstGeom prst="rect">
              <a:avLst/>
            </a:prstGeom>
            <a:noFill/>
          </p:spPr>
          <p:txBody>
            <a:bodyPr wrap="none" lIns="0" tIns="0" rIns="0" bIns="0" rtlCol="0" anchor="ctr">
              <a:spAutoFit/>
            </a:bodyPr>
            <a:lstStyle/>
            <a:p>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a:t>
              </a:r>
              <a:endParaRPr lang="de-DE" sz="900">
                <a:solidFill>
                  <a:schemeClr val="accent6"/>
                </a:solidFill>
                <a:latin typeface="Roboto" panose="02000000000000000000" pitchFamily="2" charset="0"/>
              </a:endParaRPr>
            </a:p>
          </p:txBody>
        </p:sp>
      </p:grpSp>
      <p:grpSp>
        <p:nvGrpSpPr>
          <p:cNvPr id="41" name="CA_marker_bottom_right"/>
          <p:cNvGrpSpPr/>
          <p:nvPr userDrawn="1"/>
        </p:nvGrpSpPr>
        <p:grpSpPr bwMode="gray">
          <a:xfrm flipH="1">
            <a:off x="8614800" y="6379200"/>
            <a:ext cx="964800" cy="262800"/>
            <a:chOff x="266699" y="-387424"/>
            <a:chExt cx="1029346" cy="288032"/>
          </a:xfrm>
        </p:grpSpPr>
        <p:cxnSp>
          <p:nvCxnSpPr>
            <p:cNvPr id="42" name="Straight Connector 41"/>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userDrawn="1"/>
          </p:nvSpPr>
          <p:spPr bwMode="gray">
            <a:xfrm>
              <a:off x="679293" y="-320395"/>
              <a:ext cx="616752" cy="153975"/>
            </a:xfrm>
            <a:prstGeom prst="rect">
              <a:avLst/>
            </a:prstGeom>
            <a:noFill/>
          </p:spPr>
          <p:txBody>
            <a:bodyPr wrap="none" lIns="0" tIns="0" rIns="0" bIns="0" rtlCol="0" anchor="ctr">
              <a:spAutoFit/>
            </a:bodyPr>
            <a:lstStyle/>
            <a:p>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a:t>
              </a:r>
              <a:endParaRPr lang="de-DE" sz="900">
                <a:solidFill>
                  <a:schemeClr val="accent6"/>
                </a:solidFill>
                <a:latin typeface="Roboto" panose="02000000000000000000" pitchFamily="2" charset="0"/>
              </a:endParaRPr>
            </a:p>
          </p:txBody>
        </p:sp>
      </p:grpSp>
      <p:grpSp>
        <p:nvGrpSpPr>
          <p:cNvPr id="7" name="CA_marker_left_bottom_NTHM"/>
          <p:cNvGrpSpPr/>
          <p:nvPr userDrawn="1"/>
        </p:nvGrpSpPr>
        <p:grpSpPr bwMode="gray">
          <a:xfrm>
            <a:off x="-475200" y="4615200"/>
            <a:ext cx="324000" cy="1400400"/>
            <a:chOff x="-420221" y="4770550"/>
            <a:chExt cx="288032" cy="1528650"/>
          </a:xfrm>
        </p:grpSpPr>
        <p:cxnSp>
          <p:nvCxnSpPr>
            <p:cNvPr id="47" name="Straight Connector 46"/>
            <p:cNvCxnSpPr/>
            <p:nvPr userDrawn="1"/>
          </p:nvCxnSpPr>
          <p:spPr bwMode="gray">
            <a:xfrm rot="5400000" flipH="1" flipV="1">
              <a:off x="-276206" y="61551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userDrawn="1"/>
          </p:nvCxnSpPr>
          <p:spPr bwMode="gray">
            <a:xfrm rot="16200000" flipH="1" flipV="1">
              <a:off x="-387108" y="6188296"/>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p:cNvSpPr txBox="1"/>
            <p:nvPr userDrawn="1"/>
          </p:nvSpPr>
          <p:spPr bwMode="gray">
            <a:xfrm>
              <a:off x="-364310" y="4770550"/>
              <a:ext cx="176211" cy="1297385"/>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no THM</a:t>
              </a:r>
              <a:endParaRPr lang="de-DE" sz="900">
                <a:solidFill>
                  <a:schemeClr val="accent6"/>
                </a:solidFill>
                <a:latin typeface="Roboto" panose="02000000000000000000" pitchFamily="2" charset="0"/>
              </a:endParaRPr>
            </a:p>
          </p:txBody>
        </p:sp>
      </p:grpSp>
      <p:grpSp>
        <p:nvGrpSpPr>
          <p:cNvPr id="4" name="CA_marker_left_top_ST"/>
          <p:cNvGrpSpPr/>
          <p:nvPr userDrawn="1"/>
        </p:nvGrpSpPr>
        <p:grpSpPr bwMode="gray">
          <a:xfrm>
            <a:off x="-752400" y="1436401"/>
            <a:ext cx="324000" cy="1724400"/>
            <a:chOff x="-667814" y="1764387"/>
            <a:chExt cx="288032" cy="1880637"/>
          </a:xfrm>
        </p:grpSpPr>
        <p:cxnSp>
          <p:nvCxnSpPr>
            <p:cNvPr id="57" name="Straight Connector 56"/>
            <p:cNvCxnSpPr/>
            <p:nvPr userDrawn="1"/>
          </p:nvCxnSpPr>
          <p:spPr bwMode="gray">
            <a:xfrm rot="5400000" flipH="1" flipV="1">
              <a:off x="-523799" y="1624077"/>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userDrawn="1"/>
          </p:nvCxnSpPr>
          <p:spPr bwMode="gray">
            <a:xfrm rot="5400000" flipH="1">
              <a:off x="-634701" y="187528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userDrawn="1"/>
          </p:nvSpPr>
          <p:spPr bwMode="gray">
            <a:xfrm>
              <a:off x="-611904" y="2051178"/>
              <a:ext cx="176211" cy="1593846"/>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with subtitle</a:t>
              </a:r>
              <a:endParaRPr lang="de-DE" sz="900">
                <a:solidFill>
                  <a:schemeClr val="accent6"/>
                </a:solidFill>
                <a:latin typeface="Roboto" panose="02000000000000000000" pitchFamily="2" charset="0"/>
              </a:endParaRPr>
            </a:p>
          </p:txBody>
        </p:sp>
      </p:grpSp>
      <p:grpSp>
        <p:nvGrpSpPr>
          <p:cNvPr id="6" name="CA_marker_left_bottom_THM"/>
          <p:cNvGrpSpPr/>
          <p:nvPr userDrawn="1"/>
        </p:nvGrpSpPr>
        <p:grpSpPr bwMode="gray">
          <a:xfrm>
            <a:off x="-752400" y="4057200"/>
            <a:ext cx="324000" cy="1494000"/>
            <a:chOff x="-667814" y="4138377"/>
            <a:chExt cx="288032" cy="1629264"/>
          </a:xfrm>
        </p:grpSpPr>
        <p:cxnSp>
          <p:nvCxnSpPr>
            <p:cNvPr id="61" name="Straight Connector 60"/>
            <p:cNvCxnSpPr/>
            <p:nvPr userDrawn="1"/>
          </p:nvCxnSpPr>
          <p:spPr bwMode="gray">
            <a:xfrm rot="5400000" flipH="1" flipV="1">
              <a:off x="-523799" y="5623625"/>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userDrawn="1"/>
          </p:nvCxnSpPr>
          <p:spPr bwMode="gray">
            <a:xfrm rot="16200000" flipH="1" flipV="1">
              <a:off x="-634701" y="5656737"/>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userDrawn="1"/>
          </p:nvSpPr>
          <p:spPr bwMode="gray">
            <a:xfrm>
              <a:off x="-611903" y="4138377"/>
              <a:ext cx="176211" cy="1398000"/>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with THM</a:t>
              </a:r>
              <a:endParaRPr lang="de-DE" sz="900">
                <a:solidFill>
                  <a:schemeClr val="accent6"/>
                </a:solidFill>
                <a:latin typeface="Roboto" panose="02000000000000000000" pitchFamily="2" charset="0"/>
              </a:endParaRPr>
            </a:p>
          </p:txBody>
        </p:sp>
      </p:grpSp>
      <p:grpSp>
        <p:nvGrpSpPr>
          <p:cNvPr id="15" name="CA_marker_right_top_NST"/>
          <p:cNvGrpSpPr/>
          <p:nvPr userDrawn="1"/>
        </p:nvGrpSpPr>
        <p:grpSpPr bwMode="gray">
          <a:xfrm>
            <a:off x="11325599" y="990000"/>
            <a:ext cx="324000" cy="1605600"/>
            <a:chOff x="10038191" y="1270000"/>
            <a:chExt cx="288032" cy="1752599"/>
          </a:xfrm>
        </p:grpSpPr>
        <p:cxnSp>
          <p:nvCxnSpPr>
            <p:cNvPr id="79" name="Straight Connector 78"/>
            <p:cNvCxnSpPr/>
            <p:nvPr userDrawn="1"/>
          </p:nvCxnSpPr>
          <p:spPr bwMode="gray">
            <a:xfrm rot="16200000" flipV="1">
              <a:off x="10182206" y="1129690"/>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userDrawn="1"/>
          </p:nvCxnSpPr>
          <p:spPr bwMode="gray">
            <a:xfrm rot="16200000">
              <a:off x="10071305" y="1380901"/>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p:cNvSpPr txBox="1"/>
            <p:nvPr userDrawn="1"/>
          </p:nvSpPr>
          <p:spPr bwMode="gray">
            <a:xfrm flipH="1">
              <a:off x="10094101" y="1556791"/>
              <a:ext cx="176211" cy="1465808"/>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no subtitle</a:t>
              </a:r>
              <a:endParaRPr lang="de-DE" sz="900">
                <a:solidFill>
                  <a:schemeClr val="accent6"/>
                </a:solidFill>
                <a:latin typeface="Roboto" panose="02000000000000000000" pitchFamily="2" charset="0"/>
              </a:endParaRPr>
            </a:p>
          </p:txBody>
        </p:sp>
      </p:grpSp>
      <p:grpSp>
        <p:nvGrpSpPr>
          <p:cNvPr id="9" name="CA_marker_right_bottom_NTHM"/>
          <p:cNvGrpSpPr/>
          <p:nvPr userDrawn="1"/>
        </p:nvGrpSpPr>
        <p:grpSpPr bwMode="gray">
          <a:xfrm>
            <a:off x="11325599" y="4615200"/>
            <a:ext cx="324000" cy="1400400"/>
            <a:chOff x="10038191" y="4770550"/>
            <a:chExt cx="288032" cy="1528650"/>
          </a:xfrm>
        </p:grpSpPr>
        <p:cxnSp>
          <p:nvCxnSpPr>
            <p:cNvPr id="76" name="Straight Connector 75"/>
            <p:cNvCxnSpPr/>
            <p:nvPr userDrawn="1"/>
          </p:nvCxnSpPr>
          <p:spPr bwMode="gray">
            <a:xfrm rot="16200000" flipV="1">
              <a:off x="10182206" y="61551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userDrawn="1"/>
          </p:nvCxnSpPr>
          <p:spPr bwMode="gray">
            <a:xfrm rot="5400000" flipV="1">
              <a:off x="10071305" y="6188296"/>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userDrawn="1"/>
          </p:nvSpPr>
          <p:spPr bwMode="gray">
            <a:xfrm flipH="1">
              <a:off x="10094100" y="4770550"/>
              <a:ext cx="176211" cy="1297385"/>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no THM</a:t>
              </a:r>
              <a:endParaRPr lang="de-DE" sz="900">
                <a:solidFill>
                  <a:schemeClr val="accent6"/>
                </a:solidFill>
                <a:latin typeface="Roboto" panose="02000000000000000000" pitchFamily="2" charset="0"/>
              </a:endParaRPr>
            </a:p>
          </p:txBody>
        </p:sp>
      </p:grpSp>
      <p:grpSp>
        <p:nvGrpSpPr>
          <p:cNvPr id="14" name="CA_marker_right_top_ST"/>
          <p:cNvGrpSpPr/>
          <p:nvPr userDrawn="1"/>
        </p:nvGrpSpPr>
        <p:grpSpPr bwMode="gray">
          <a:xfrm>
            <a:off x="11606400" y="1436401"/>
            <a:ext cx="324000" cy="1724400"/>
            <a:chOff x="10285784" y="1764387"/>
            <a:chExt cx="288032" cy="1880637"/>
          </a:xfrm>
        </p:grpSpPr>
        <p:cxnSp>
          <p:nvCxnSpPr>
            <p:cNvPr id="73" name="Straight Connector 72"/>
            <p:cNvCxnSpPr/>
            <p:nvPr userDrawn="1"/>
          </p:nvCxnSpPr>
          <p:spPr bwMode="gray">
            <a:xfrm rot="16200000" flipV="1">
              <a:off x="10429799" y="1624077"/>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userDrawn="1"/>
          </p:nvCxnSpPr>
          <p:spPr bwMode="gray">
            <a:xfrm rot="16200000">
              <a:off x="10318898" y="187528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p:cNvSpPr txBox="1"/>
            <p:nvPr userDrawn="1"/>
          </p:nvSpPr>
          <p:spPr bwMode="gray">
            <a:xfrm flipH="1">
              <a:off x="10341694" y="2051178"/>
              <a:ext cx="176211" cy="1593846"/>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with subtitle</a:t>
              </a:r>
              <a:endParaRPr lang="de-DE" sz="900">
                <a:solidFill>
                  <a:schemeClr val="accent6"/>
                </a:solidFill>
                <a:latin typeface="Roboto" panose="02000000000000000000" pitchFamily="2" charset="0"/>
              </a:endParaRPr>
            </a:p>
          </p:txBody>
        </p:sp>
      </p:grpSp>
      <p:grpSp>
        <p:nvGrpSpPr>
          <p:cNvPr id="8" name="CA_marker_right_bottom_THM"/>
          <p:cNvGrpSpPr/>
          <p:nvPr userDrawn="1"/>
        </p:nvGrpSpPr>
        <p:grpSpPr bwMode="gray">
          <a:xfrm>
            <a:off x="11606400" y="4057200"/>
            <a:ext cx="324000" cy="1494000"/>
            <a:chOff x="10285784" y="4138377"/>
            <a:chExt cx="288032" cy="1629264"/>
          </a:xfrm>
        </p:grpSpPr>
        <p:cxnSp>
          <p:nvCxnSpPr>
            <p:cNvPr id="70" name="Straight Connector 69"/>
            <p:cNvCxnSpPr/>
            <p:nvPr userDrawn="1"/>
          </p:nvCxnSpPr>
          <p:spPr bwMode="gray">
            <a:xfrm rot="16200000" flipV="1">
              <a:off x="10429799" y="5623625"/>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userDrawn="1"/>
          </p:nvCxnSpPr>
          <p:spPr bwMode="gray">
            <a:xfrm rot="5400000" flipV="1">
              <a:off x="10318898" y="5656737"/>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userDrawn="1"/>
          </p:nvSpPr>
          <p:spPr bwMode="gray">
            <a:xfrm flipH="1">
              <a:off x="10341693" y="4138377"/>
              <a:ext cx="176211" cy="1398000"/>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with THM</a:t>
              </a:r>
              <a:endParaRPr lang="de-DE" sz="900">
                <a:solidFill>
                  <a:schemeClr val="accent6"/>
                </a:solidFill>
                <a:latin typeface="Roboto" panose="02000000000000000000" pitchFamily="2" charset="0"/>
              </a:endParaRPr>
            </a:p>
          </p:txBody>
        </p:sp>
      </p:grpSp>
      <p:grpSp>
        <p:nvGrpSpPr>
          <p:cNvPr id="3" name="CA_marker_left_top_NST"/>
          <p:cNvGrpSpPr/>
          <p:nvPr userDrawn="1"/>
        </p:nvGrpSpPr>
        <p:grpSpPr bwMode="gray">
          <a:xfrm>
            <a:off x="-475200" y="990000"/>
            <a:ext cx="324000" cy="1605600"/>
            <a:chOff x="-420221" y="1269999"/>
            <a:chExt cx="288032" cy="1752600"/>
          </a:xfrm>
        </p:grpSpPr>
        <p:cxnSp>
          <p:nvCxnSpPr>
            <p:cNvPr id="35" name="Straight Arrow Connector 34"/>
            <p:cNvCxnSpPr/>
            <p:nvPr userDrawn="1"/>
          </p:nvCxnSpPr>
          <p:spPr bwMode="gray">
            <a:xfrm rot="5400000" flipH="1">
              <a:off x="-387108" y="1380901"/>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userDrawn="1"/>
          </p:nvSpPr>
          <p:spPr bwMode="gray">
            <a:xfrm>
              <a:off x="-364311" y="1556791"/>
              <a:ext cx="176211" cy="1465808"/>
            </a:xfrm>
            <a:prstGeom prst="rect">
              <a:avLst/>
            </a:prstGeom>
            <a:noFill/>
          </p:spPr>
          <p:txBody>
            <a:bodyPr vert="vert" wrap="square" lIns="0" tIns="0" rIns="0" bIns="0" rtlCol="0" anchor="ctr">
              <a:noAutofit/>
            </a:bodyPr>
            <a:lstStyle/>
            <a:p>
              <a:pPr algn="l"/>
              <a:r>
                <a:rPr lang="en-US" sz="900">
                  <a:solidFill>
                    <a:schemeClr val="accent6"/>
                  </a:solidFill>
                  <a:latin typeface="Roboto" panose="02000000000000000000" pitchFamily="2" charset="0"/>
                </a:rPr>
                <a:t>Content</a:t>
              </a:r>
              <a:r>
                <a:rPr lang="en-US" sz="900" baseline="0">
                  <a:solidFill>
                    <a:schemeClr val="accent6"/>
                  </a:solidFill>
                  <a:latin typeface="Roboto" panose="02000000000000000000" pitchFamily="2" charset="0"/>
                </a:rPr>
                <a:t> area no subtitle</a:t>
              </a:r>
              <a:endParaRPr lang="de-DE" sz="900">
                <a:solidFill>
                  <a:schemeClr val="accent6"/>
                </a:solidFill>
                <a:latin typeface="Roboto" panose="02000000000000000000" pitchFamily="2" charset="0"/>
              </a:endParaRPr>
            </a:p>
          </p:txBody>
        </p:sp>
        <p:cxnSp>
          <p:nvCxnSpPr>
            <p:cNvPr id="87" name="Straight Connector 86"/>
            <p:cNvCxnSpPr/>
            <p:nvPr userDrawn="1"/>
          </p:nvCxnSpPr>
          <p:spPr bwMode="gray">
            <a:xfrm rot="5400000" flipH="1" flipV="1">
              <a:off x="-276206" y="11259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0" name="Slide Number Placeholder 19"/>
          <p:cNvSpPr>
            <a:spLocks noGrp="1"/>
          </p:cNvSpPr>
          <p:nvPr>
            <p:ph type="sldNum" sz="quarter" idx="11"/>
          </p:nvPr>
        </p:nvSpPr>
        <p:spPr>
          <a:xfrm>
            <a:off x="10328401" y="5760000"/>
            <a:ext cx="698400" cy="280800"/>
          </a:xfrm>
        </p:spPr>
        <p:txBody>
          <a:bodyPr anchor="ctr"/>
          <a:lstStyle>
            <a:lvl1pPr>
              <a:defRPr sz="900">
                <a:solidFill>
                  <a:srgbClr val="99B1B9"/>
                </a:solidFill>
                <a:latin typeface="Roboto" panose="02000000000000000000" pitchFamily="2" charset="0"/>
              </a:defRPr>
            </a:lvl1pPr>
          </a:lstStyle>
          <a:p>
            <a:endParaRPr lang="de-DE"/>
          </a:p>
          <a:p>
            <a:fld id="{24C420F5-194C-40F2-A080-C5F3EDD89037}" type="slidenum">
              <a:rPr lang="de-DE" smtClean="0"/>
              <a:pPr/>
              <a:t>‹Nr.›</a:t>
            </a:fld>
            <a:endParaRPr lang="de-DE"/>
          </a:p>
        </p:txBody>
      </p:sp>
      <p:sp>
        <p:nvSpPr>
          <p:cNvPr id="88" name="header_box">
            <a:extLst>
              <a:ext uri="{FF2B5EF4-FFF2-40B4-BE49-F238E27FC236}">
                <a16:creationId xmlns:a16="http://schemas.microsoft.com/office/drawing/2014/main" id="{D550724F-2D95-4804-A0F3-9F15622FD50E}"/>
              </a:ext>
            </a:extLst>
          </p:cNvPr>
          <p:cNvSpPr>
            <a:spLocks noGrp="1"/>
          </p:cNvSpPr>
          <p:nvPr>
            <p:ph type="title"/>
          </p:nvPr>
        </p:nvSpPr>
        <p:spPr>
          <a:xfrm>
            <a:off x="208026" y="136779"/>
            <a:ext cx="9375521" cy="676910"/>
          </a:xfrm>
          <a:prstGeom prst="rect">
            <a:avLst/>
          </a:prstGeom>
        </p:spPr>
        <p:txBody>
          <a:bodyPr lIns="0" tIns="0" rIns="0" bIns="0" anchor="b"/>
          <a:lstStyle>
            <a:lvl1pPr>
              <a:defRPr sz="2000">
                <a:latin typeface="Roboto" panose="02000000000000000000" pitchFamily="2" charset="0"/>
              </a:defRPr>
            </a:lvl1pPr>
          </a:lstStyle>
          <a:p>
            <a:r>
              <a:rPr lang="en-US"/>
              <a:t>Click to edit Master title style</a:t>
            </a:r>
          </a:p>
        </p:txBody>
      </p:sp>
      <p:sp>
        <p:nvSpPr>
          <p:cNvPr id="2" name="gray_info_panel">
            <a:extLst>
              <a:ext uri="{FF2B5EF4-FFF2-40B4-BE49-F238E27FC236}">
                <a16:creationId xmlns:a16="http://schemas.microsoft.com/office/drawing/2014/main" id="{0E2FF4A5-DE1F-9567-3D53-BA9C8C9B6952}"/>
              </a:ext>
            </a:extLst>
          </p:cNvPr>
          <p:cNvSpPr/>
          <p:nvPr userDrawn="1"/>
        </p:nvSpPr>
        <p:spPr bwMode="gray">
          <a:xfrm>
            <a:off x="9819448" y="-2"/>
            <a:ext cx="1387348" cy="6286500"/>
          </a:xfrm>
          <a:prstGeom prst="rect">
            <a:avLst/>
          </a:prstGeom>
          <a:solidFill>
            <a:srgbClr val="EFEEEB"/>
          </a:solidFill>
          <a:ln w="9525" cap="flat" cmpd="sng" algn="ctr">
            <a:noFill/>
            <a:prstDash val="solid"/>
          </a:ln>
          <a:effectLst/>
          <a:extLs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cxnSp>
        <p:nvCxnSpPr>
          <p:cNvPr id="12" name="bottom_right_line">
            <a:extLst>
              <a:ext uri="{FF2B5EF4-FFF2-40B4-BE49-F238E27FC236}">
                <a16:creationId xmlns:a16="http://schemas.microsoft.com/office/drawing/2014/main" id="{1991EB0A-A3BB-A473-0EE2-9C72B73C9762}"/>
              </a:ext>
            </a:extLst>
          </p:cNvPr>
          <p:cNvCxnSpPr/>
          <p:nvPr userDrawn="1"/>
        </p:nvCxnSpPr>
        <p:spPr>
          <a:xfrm>
            <a:off x="9936607" y="6079109"/>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cxnSp>
        <p:nvCxnSpPr>
          <p:cNvPr id="19" name="bottom_right_line_2">
            <a:extLst>
              <a:ext uri="{FF2B5EF4-FFF2-40B4-BE49-F238E27FC236}">
                <a16:creationId xmlns:a16="http://schemas.microsoft.com/office/drawing/2014/main" id="{F86C81E4-5B08-0ED9-2516-360DF7FC2F70}"/>
              </a:ext>
            </a:extLst>
          </p:cNvPr>
          <p:cNvCxnSpPr/>
          <p:nvPr userDrawn="1"/>
        </p:nvCxnSpPr>
        <p:spPr>
          <a:xfrm>
            <a:off x="9936607" y="5507609"/>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cxnSp>
        <p:nvCxnSpPr>
          <p:cNvPr id="25" name="top_right_line">
            <a:extLst>
              <a:ext uri="{FF2B5EF4-FFF2-40B4-BE49-F238E27FC236}">
                <a16:creationId xmlns:a16="http://schemas.microsoft.com/office/drawing/2014/main" id="{733A4AB8-C1C2-9AC8-ECAF-209688BD7E20}"/>
              </a:ext>
            </a:extLst>
          </p:cNvPr>
          <p:cNvCxnSpPr/>
          <p:nvPr userDrawn="1"/>
        </p:nvCxnSpPr>
        <p:spPr>
          <a:xfrm>
            <a:off x="9936607" y="905002"/>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sp>
        <p:nvSpPr>
          <p:cNvPr id="28" name="Footer Placeholder 27">
            <a:extLst>
              <a:ext uri="{FF2B5EF4-FFF2-40B4-BE49-F238E27FC236}">
                <a16:creationId xmlns:a16="http://schemas.microsoft.com/office/drawing/2014/main" id="{8325D9C0-BA77-02C6-E235-6D60A6A438A9}"/>
              </a:ext>
            </a:extLst>
          </p:cNvPr>
          <p:cNvSpPr>
            <a:spLocks noGrp="1"/>
          </p:cNvSpPr>
          <p:nvPr>
            <p:ph type="ftr" sz="quarter" idx="12"/>
          </p:nvPr>
        </p:nvSpPr>
        <p:spPr>
          <a:xfrm>
            <a:off x="9936000" y="5760000"/>
            <a:ext cx="773400" cy="277200"/>
          </a:xfrm>
        </p:spPr>
        <p:txBody>
          <a:bodyPr anchor="ctr"/>
          <a:lstStyle>
            <a:lvl1pPr>
              <a:defRPr sz="900">
                <a:solidFill>
                  <a:srgbClr val="99B1B9"/>
                </a:solidFill>
                <a:latin typeface="Roboto" panose="02000000000000000000" pitchFamily="2" charset="0"/>
              </a:defRPr>
            </a:lvl1pPr>
          </a:lstStyle>
          <a:p>
            <a:r>
              <a:rPr lang="de-DE"/>
              <a:t>© 2026</a:t>
            </a:r>
          </a:p>
          <a:p>
            <a:r>
              <a:rPr lang="de-DE"/>
              <a:t>d-fine</a:t>
            </a:r>
          </a:p>
        </p:txBody>
      </p:sp>
      <p:sp>
        <p:nvSpPr>
          <p:cNvPr id="29" name="Text Placeholder 28">
            <a:extLst>
              <a:ext uri="{FF2B5EF4-FFF2-40B4-BE49-F238E27FC236}">
                <a16:creationId xmlns:a16="http://schemas.microsoft.com/office/drawing/2014/main" id="{B85C36D9-DD0B-7BA5-ECF4-7D23120F13E0}"/>
              </a:ext>
            </a:extLst>
          </p:cNvPr>
          <p:cNvSpPr>
            <a:spLocks noGrp="1"/>
          </p:cNvSpPr>
          <p:nvPr>
            <p:ph type="body" sz="quarter" idx="13" hasCustomPrompt="1"/>
          </p:nvPr>
        </p:nvSpPr>
        <p:spPr>
          <a:xfrm>
            <a:off x="207963" y="1066800"/>
            <a:ext cx="9366250" cy="4745038"/>
          </a:xfrm>
          <a:prstGeom prst="rect">
            <a:avLst/>
          </a:prstGeom>
        </p:spPr>
        <p:txBody>
          <a:bodyPr/>
          <a:lstStyle>
            <a:lvl1pPr>
              <a:defRPr sz="2000"/>
            </a:lvl1pPr>
            <a:lvl2pPr marL="374731" indent="-342900">
              <a:buFont typeface="Wingdings" panose="05000000000000000000" pitchFamily="2" charset="2"/>
              <a:buChar char="§"/>
              <a:defRPr sz="1800">
                <a:latin typeface="Roboto" panose="02000000000000000000" pitchFamily="2" charset="0"/>
              </a:defRPr>
            </a:lvl2pPr>
            <a:lvl3pPr marL="406563" indent="-342900">
              <a:buFont typeface="Wingdings" panose="05000000000000000000" pitchFamily="2" charset="2"/>
              <a:buChar char="§"/>
              <a:defRPr sz="1800"/>
            </a:lvl3pPr>
            <a:lvl4pPr marL="438394" indent="-342900">
              <a:buFont typeface="Wingdings" panose="05000000000000000000" pitchFamily="2" charset="2"/>
              <a:buChar char="§"/>
              <a:defRPr sz="1800"/>
            </a:lvl4pPr>
            <a:lvl5pPr marL="470039" indent="-342900">
              <a:buFont typeface="Wingdings" panose="05000000000000000000" pitchFamily="2" charset="2"/>
              <a:buChar char="§"/>
              <a:defRPr sz="1800"/>
            </a:lvl5pPr>
          </a:lstStyle>
          <a:p>
            <a:pPr lvl="1"/>
            <a:r>
              <a:rPr lang="en-US"/>
              <a:t>First level</a:t>
            </a:r>
          </a:p>
        </p:txBody>
      </p:sp>
      <p:cxnSp>
        <p:nvCxnSpPr>
          <p:cNvPr id="69" name="title_seperator_16_9">
            <a:extLst>
              <a:ext uri="{FF2B5EF4-FFF2-40B4-BE49-F238E27FC236}">
                <a16:creationId xmlns:a16="http://schemas.microsoft.com/office/drawing/2014/main" id="{879F3993-BFD6-F372-757F-B8DCC836C064}"/>
              </a:ext>
            </a:extLst>
          </p:cNvPr>
          <p:cNvCxnSpPr/>
          <p:nvPr userDrawn="1"/>
        </p:nvCxnSpPr>
        <p:spPr>
          <a:xfrm>
            <a:off x="9937242" y="1730502"/>
            <a:ext cx="1091438" cy="0"/>
          </a:xfrm>
          <a:prstGeom prst="line">
            <a:avLst/>
          </a:prstGeom>
          <a:ln>
            <a:solidFill>
              <a:srgbClr val="99B1B9"/>
            </a:solidFill>
          </a:ln>
        </p:spPr>
        <p:style>
          <a:lnRef idx="1">
            <a:schemeClr val="accent1"/>
          </a:lnRef>
          <a:fillRef idx="0">
            <a:schemeClr val="accent1"/>
          </a:fillRef>
          <a:effectRef idx="0">
            <a:schemeClr val="accent1"/>
          </a:effectRef>
          <a:fontRef idx="minor">
            <a:schemeClr val="tx1"/>
          </a:fontRef>
        </p:style>
      </p:cxnSp>
      <p:pic>
        <p:nvPicPr>
          <p:cNvPr id="99" name="Graphic 98">
            <a:extLst>
              <a:ext uri="{FF2B5EF4-FFF2-40B4-BE49-F238E27FC236}">
                <a16:creationId xmlns:a16="http://schemas.microsoft.com/office/drawing/2014/main" id="{117155A6-03F1-4FF0-88B1-D1C88701718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2713" y="194333"/>
            <a:ext cx="519225" cy="626831"/>
          </a:xfrm>
          <a:prstGeom prst="rect">
            <a:avLst/>
          </a:prstGeom>
        </p:spPr>
      </p:pic>
      <p:sp>
        <p:nvSpPr>
          <p:cNvPr id="30" name="pres_title_box">
            <a:extLst>
              <a:ext uri="{FF2B5EF4-FFF2-40B4-BE49-F238E27FC236}">
                <a16:creationId xmlns:a16="http://schemas.microsoft.com/office/drawing/2014/main" id="{C9A15522-141D-B625-53C8-3818AE7BDEA0}"/>
              </a:ext>
            </a:extLst>
          </p:cNvPr>
          <p:cNvSpPr txBox="1"/>
          <p:nvPr userDrawn="1"/>
        </p:nvSpPr>
        <p:spPr>
          <a:xfrm>
            <a:off x="9937241" y="1016000"/>
            <a:ext cx="1089559" cy="508000"/>
          </a:xfrm>
          <a:prstGeom prst="rect">
            <a:avLst/>
          </a:prstGeom>
          <a:noFill/>
        </p:spPr>
        <p:txBody>
          <a:bodyPr vert="horz" wrap="square" lIns="0" tIns="0" rIns="0" bIns="0" rtlCol="0" anchor="t">
            <a:noAutofit/>
          </a:bodyPr>
          <a:lstStyle/>
          <a:p>
            <a:r>
              <a:rPr lang="de-DE" sz="1000">
                <a:solidFill>
                  <a:srgbClr val="99B1B9"/>
                </a:solidFill>
                <a:latin typeface="Roboto" panose="02000000000000000000" pitchFamily="2" charset="0"/>
              </a:rPr>
              <a:t>Stand und Ausblick zur Kommunalen Wärmeplanung (KWP)</a:t>
            </a:r>
          </a:p>
        </p:txBody>
      </p:sp>
      <p:pic>
        <p:nvPicPr>
          <p:cNvPr id="33" name="Picture 32" descr="A logo with text on it&#10;&#10;AI-generated content may be incorrect.">
            <a:extLst>
              <a:ext uri="{FF2B5EF4-FFF2-40B4-BE49-F238E27FC236}">
                <a16:creationId xmlns:a16="http://schemas.microsoft.com/office/drawing/2014/main" id="{1B5DD84E-57FB-E57E-60EC-D2A5626827B5}"/>
              </a:ext>
            </a:extLst>
          </p:cNvPr>
          <p:cNvPicPr>
            <a:picLocks noChangeAspect="1"/>
          </p:cNvPicPr>
          <p:nvPr userDrawn="1"/>
        </p:nvPicPr>
        <p:blipFill>
          <a:blip r:embed="rId4" cstate="screen">
            <a:clrChange>
              <a:clrFrom>
                <a:srgbClr val="FFFFFF"/>
              </a:clrFrom>
              <a:clrTo>
                <a:srgbClr val="FFFFFF">
                  <a:alpha val="0"/>
                </a:srgbClr>
              </a:clrTo>
            </a:clrChange>
            <a:alphaModFix/>
            <a:extLst>
              <a:ext uri="{28A0092B-C50C-407E-A947-70E740481C1C}">
                <a14:useLocalDpi xmlns:a14="http://schemas.microsoft.com/office/drawing/2010/main"/>
              </a:ext>
            </a:extLst>
          </a:blip>
          <a:stretch>
            <a:fillRect/>
          </a:stretch>
        </p:blipFill>
        <p:spPr>
          <a:xfrm>
            <a:off x="9933394" y="4764692"/>
            <a:ext cx="1080000" cy="487059"/>
          </a:xfrm>
          <a:prstGeom prst="rect">
            <a:avLst/>
          </a:prstGeom>
        </p:spPr>
      </p:pic>
      <p:grpSp>
        <p:nvGrpSpPr>
          <p:cNvPr id="26" name="Group 25">
            <a:extLst>
              <a:ext uri="{FF2B5EF4-FFF2-40B4-BE49-F238E27FC236}">
                <a16:creationId xmlns:a16="http://schemas.microsoft.com/office/drawing/2014/main" id="{C382344D-43FE-4423-7C8B-933A633B8A73}"/>
              </a:ext>
            </a:extLst>
          </p:cNvPr>
          <p:cNvGrpSpPr/>
          <p:nvPr userDrawn="1"/>
        </p:nvGrpSpPr>
        <p:grpSpPr>
          <a:xfrm>
            <a:off x="9931177" y="1937004"/>
            <a:ext cx="1080504" cy="276292"/>
            <a:chOff x="9946297" y="1937004"/>
            <a:chExt cx="1080504" cy="276292"/>
          </a:xfrm>
        </p:grpSpPr>
        <p:sp>
          <p:nvSpPr>
            <p:cNvPr id="31" name="Rectangle 30">
              <a:extLst>
                <a:ext uri="{FF2B5EF4-FFF2-40B4-BE49-F238E27FC236}">
                  <a16:creationId xmlns:a16="http://schemas.microsoft.com/office/drawing/2014/main" id="{39884891-C7A1-DA59-66EA-09AF6B890CDF}"/>
                </a:ext>
              </a:extLst>
            </p:cNvPr>
            <p:cNvSpPr/>
            <p:nvPr/>
          </p:nvSpPr>
          <p:spPr bwMode="gray">
            <a:xfrm>
              <a:off x="9946297" y="1937004"/>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32" name="Rectangle 31">
              <a:extLst>
                <a:ext uri="{FF2B5EF4-FFF2-40B4-BE49-F238E27FC236}">
                  <a16:creationId xmlns:a16="http://schemas.microsoft.com/office/drawing/2014/main" id="{C441DD67-3F9B-42E2-ACA7-146B5FB5D794}"/>
                </a:ext>
              </a:extLst>
            </p:cNvPr>
            <p:cNvSpPr/>
            <p:nvPr/>
          </p:nvSpPr>
          <p:spPr bwMode="gray">
            <a:xfrm>
              <a:off x="10064456" y="1937004"/>
              <a:ext cx="962345"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lvl="0"/>
              <a:r>
                <a:rPr lang="de-DE" sz="900">
                  <a:solidFill>
                    <a:schemeClr val="accent6"/>
                  </a:solidFill>
                  <a:latin typeface="Roboto" panose="02000000000000000000" pitchFamily="2" charset="0"/>
                </a:rPr>
                <a:t>Über uns</a:t>
              </a:r>
            </a:p>
          </p:txBody>
        </p:sp>
      </p:grpSp>
      <p:grpSp>
        <p:nvGrpSpPr>
          <p:cNvPr id="34" name="Group 33">
            <a:extLst>
              <a:ext uri="{FF2B5EF4-FFF2-40B4-BE49-F238E27FC236}">
                <a16:creationId xmlns:a16="http://schemas.microsoft.com/office/drawing/2014/main" id="{8C03EEEA-C24B-464F-10BE-A7730D377B72}"/>
              </a:ext>
            </a:extLst>
          </p:cNvPr>
          <p:cNvGrpSpPr/>
          <p:nvPr userDrawn="1"/>
        </p:nvGrpSpPr>
        <p:grpSpPr>
          <a:xfrm>
            <a:off x="9931177" y="2617079"/>
            <a:ext cx="1114790" cy="276293"/>
            <a:chOff x="9946297" y="2260358"/>
            <a:chExt cx="1114790" cy="276293"/>
          </a:xfrm>
        </p:grpSpPr>
        <p:sp>
          <p:nvSpPr>
            <p:cNvPr id="45" name="Rectangle 44">
              <a:extLst>
                <a:ext uri="{FF2B5EF4-FFF2-40B4-BE49-F238E27FC236}">
                  <a16:creationId xmlns:a16="http://schemas.microsoft.com/office/drawing/2014/main" id="{6A558D01-9E97-0D85-E5BB-DEAD8448497C}"/>
                </a:ext>
              </a:extLst>
            </p:cNvPr>
            <p:cNvSpPr/>
            <p:nvPr/>
          </p:nvSpPr>
          <p:spPr bwMode="gray">
            <a:xfrm>
              <a:off x="9946297" y="2260359"/>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46" name="Rectangle 45">
              <a:extLst>
                <a:ext uri="{FF2B5EF4-FFF2-40B4-BE49-F238E27FC236}">
                  <a16:creationId xmlns:a16="http://schemas.microsoft.com/office/drawing/2014/main" id="{EA365161-B1B3-3F88-9F3D-65AC279A2E0C}"/>
                </a:ext>
              </a:extLst>
            </p:cNvPr>
            <p:cNvSpPr/>
            <p:nvPr/>
          </p:nvSpPr>
          <p:spPr bwMode="gray">
            <a:xfrm>
              <a:off x="10064456" y="2260358"/>
              <a:ext cx="996631"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Aktueller politischer Rahmen</a:t>
              </a:r>
            </a:p>
          </p:txBody>
        </p:sp>
      </p:grpSp>
      <p:grpSp>
        <p:nvGrpSpPr>
          <p:cNvPr id="50" name="Group 49">
            <a:extLst>
              <a:ext uri="{FF2B5EF4-FFF2-40B4-BE49-F238E27FC236}">
                <a16:creationId xmlns:a16="http://schemas.microsoft.com/office/drawing/2014/main" id="{4072D822-8698-7F50-57BD-9E3667E91FFA}"/>
              </a:ext>
            </a:extLst>
          </p:cNvPr>
          <p:cNvGrpSpPr/>
          <p:nvPr userDrawn="1"/>
        </p:nvGrpSpPr>
        <p:grpSpPr>
          <a:xfrm>
            <a:off x="9931177" y="3294945"/>
            <a:ext cx="1080504" cy="276293"/>
            <a:chOff x="9946297" y="2583712"/>
            <a:chExt cx="1080504" cy="276293"/>
          </a:xfrm>
        </p:grpSpPr>
        <p:sp>
          <p:nvSpPr>
            <p:cNvPr id="51" name="Rectangle 50">
              <a:extLst>
                <a:ext uri="{FF2B5EF4-FFF2-40B4-BE49-F238E27FC236}">
                  <a16:creationId xmlns:a16="http://schemas.microsoft.com/office/drawing/2014/main" id="{86B7FF91-0385-F61B-2AA6-4E308B5DF40F}"/>
                </a:ext>
              </a:extLst>
            </p:cNvPr>
            <p:cNvSpPr/>
            <p:nvPr/>
          </p:nvSpPr>
          <p:spPr bwMode="gray">
            <a:xfrm>
              <a:off x="9946297" y="2583713"/>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52" name="Rectangle 51">
              <a:extLst>
                <a:ext uri="{FF2B5EF4-FFF2-40B4-BE49-F238E27FC236}">
                  <a16:creationId xmlns:a16="http://schemas.microsoft.com/office/drawing/2014/main" id="{449D5706-5120-FDE6-73E4-A8E77E62CDAF}"/>
                </a:ext>
              </a:extLst>
            </p:cNvPr>
            <p:cNvSpPr/>
            <p:nvPr/>
          </p:nvSpPr>
          <p:spPr bwMode="gray">
            <a:xfrm>
              <a:off x="10064456" y="2583712"/>
              <a:ext cx="962345"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Zielszenario</a:t>
              </a:r>
            </a:p>
          </p:txBody>
        </p:sp>
      </p:grpSp>
      <p:grpSp>
        <p:nvGrpSpPr>
          <p:cNvPr id="53" name="Group 52">
            <a:extLst>
              <a:ext uri="{FF2B5EF4-FFF2-40B4-BE49-F238E27FC236}">
                <a16:creationId xmlns:a16="http://schemas.microsoft.com/office/drawing/2014/main" id="{B387E15F-DBDF-87A7-9C81-6809E3CA7E2A}"/>
              </a:ext>
            </a:extLst>
          </p:cNvPr>
          <p:cNvGrpSpPr/>
          <p:nvPr userDrawn="1"/>
        </p:nvGrpSpPr>
        <p:grpSpPr>
          <a:xfrm>
            <a:off x="9931177" y="3637252"/>
            <a:ext cx="1239797" cy="276293"/>
            <a:chOff x="9946297" y="2907066"/>
            <a:chExt cx="1080504" cy="276293"/>
          </a:xfrm>
        </p:grpSpPr>
        <p:sp>
          <p:nvSpPr>
            <p:cNvPr id="54" name="Rectangle 53">
              <a:extLst>
                <a:ext uri="{FF2B5EF4-FFF2-40B4-BE49-F238E27FC236}">
                  <a16:creationId xmlns:a16="http://schemas.microsoft.com/office/drawing/2014/main" id="{D8EF3E2C-8F9F-4D1E-527D-502A95D1D7A8}"/>
                </a:ext>
              </a:extLst>
            </p:cNvPr>
            <p:cNvSpPr/>
            <p:nvPr/>
          </p:nvSpPr>
          <p:spPr bwMode="gray">
            <a:xfrm>
              <a:off x="9946297" y="2907067"/>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55" name="Rectangle 54">
              <a:extLst>
                <a:ext uri="{FF2B5EF4-FFF2-40B4-BE49-F238E27FC236}">
                  <a16:creationId xmlns:a16="http://schemas.microsoft.com/office/drawing/2014/main" id="{3C7CF041-F944-4B61-9EFF-6695CA5F2600}"/>
                </a:ext>
              </a:extLst>
            </p:cNvPr>
            <p:cNvSpPr/>
            <p:nvPr/>
          </p:nvSpPr>
          <p:spPr bwMode="gray">
            <a:xfrm>
              <a:off x="10064456" y="2907066"/>
              <a:ext cx="962345"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Zusammenfassung und Ausblick</a:t>
              </a:r>
            </a:p>
          </p:txBody>
        </p:sp>
      </p:grpSp>
      <p:grpSp>
        <p:nvGrpSpPr>
          <p:cNvPr id="56" name="Group 55">
            <a:extLst>
              <a:ext uri="{FF2B5EF4-FFF2-40B4-BE49-F238E27FC236}">
                <a16:creationId xmlns:a16="http://schemas.microsoft.com/office/drawing/2014/main" id="{04A3040B-E8E3-1267-3577-171851644570}"/>
              </a:ext>
            </a:extLst>
          </p:cNvPr>
          <p:cNvGrpSpPr/>
          <p:nvPr userDrawn="1"/>
        </p:nvGrpSpPr>
        <p:grpSpPr>
          <a:xfrm>
            <a:off x="9931177" y="2274772"/>
            <a:ext cx="1114790" cy="276293"/>
            <a:chOff x="9946297" y="2260358"/>
            <a:chExt cx="1114790" cy="276293"/>
          </a:xfrm>
        </p:grpSpPr>
        <p:sp>
          <p:nvSpPr>
            <p:cNvPr id="60" name="Rectangle 59">
              <a:extLst>
                <a:ext uri="{FF2B5EF4-FFF2-40B4-BE49-F238E27FC236}">
                  <a16:creationId xmlns:a16="http://schemas.microsoft.com/office/drawing/2014/main" id="{1DE6A8A4-8C8E-0BC2-1443-1E6751CFEC37}"/>
                </a:ext>
              </a:extLst>
            </p:cNvPr>
            <p:cNvSpPr/>
            <p:nvPr/>
          </p:nvSpPr>
          <p:spPr bwMode="gray">
            <a:xfrm>
              <a:off x="9946297" y="2260359"/>
              <a:ext cx="36000" cy="27629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64" name="Rectangle 63">
              <a:extLst>
                <a:ext uri="{FF2B5EF4-FFF2-40B4-BE49-F238E27FC236}">
                  <a16:creationId xmlns:a16="http://schemas.microsoft.com/office/drawing/2014/main" id="{BF04A4EE-6D8B-0999-E2BA-C9AA6C9677E4}"/>
                </a:ext>
              </a:extLst>
            </p:cNvPr>
            <p:cNvSpPr/>
            <p:nvPr/>
          </p:nvSpPr>
          <p:spPr bwMode="gray">
            <a:xfrm>
              <a:off x="10064456" y="2260358"/>
              <a:ext cx="996631"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tx1"/>
                  </a:solidFill>
                  <a:latin typeface="Roboto" panose="02000000000000000000" pitchFamily="2" charset="0"/>
                </a:rPr>
                <a:t>Hintergrund der KWP</a:t>
              </a:r>
            </a:p>
          </p:txBody>
        </p:sp>
      </p:grpSp>
      <p:grpSp>
        <p:nvGrpSpPr>
          <p:cNvPr id="65" name="Group 64">
            <a:extLst>
              <a:ext uri="{FF2B5EF4-FFF2-40B4-BE49-F238E27FC236}">
                <a16:creationId xmlns:a16="http://schemas.microsoft.com/office/drawing/2014/main" id="{3A1A4E5F-69AC-51E5-1ADD-EF99C1166254}"/>
              </a:ext>
            </a:extLst>
          </p:cNvPr>
          <p:cNvGrpSpPr/>
          <p:nvPr userDrawn="1"/>
        </p:nvGrpSpPr>
        <p:grpSpPr>
          <a:xfrm>
            <a:off x="9931177" y="2952637"/>
            <a:ext cx="1114790" cy="276293"/>
            <a:chOff x="9946297" y="2260358"/>
            <a:chExt cx="1114790" cy="276293"/>
          </a:xfrm>
        </p:grpSpPr>
        <p:sp>
          <p:nvSpPr>
            <p:cNvPr id="92" name="Rectangle 91">
              <a:extLst>
                <a:ext uri="{FF2B5EF4-FFF2-40B4-BE49-F238E27FC236}">
                  <a16:creationId xmlns:a16="http://schemas.microsoft.com/office/drawing/2014/main" id="{36B4F66E-2458-3598-F2C3-41A867CD7DEC}"/>
                </a:ext>
              </a:extLst>
            </p:cNvPr>
            <p:cNvSpPr/>
            <p:nvPr/>
          </p:nvSpPr>
          <p:spPr bwMode="gray">
            <a:xfrm>
              <a:off x="9946297" y="2260359"/>
              <a:ext cx="36000" cy="27629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93" name="Rectangle 92">
              <a:extLst>
                <a:ext uri="{FF2B5EF4-FFF2-40B4-BE49-F238E27FC236}">
                  <a16:creationId xmlns:a16="http://schemas.microsoft.com/office/drawing/2014/main" id="{4650C209-68CA-002F-D3AD-F091C6C0E03A}"/>
                </a:ext>
              </a:extLst>
            </p:cNvPr>
            <p:cNvSpPr/>
            <p:nvPr/>
          </p:nvSpPr>
          <p:spPr bwMode="gray">
            <a:xfrm>
              <a:off x="10064456" y="2260358"/>
              <a:ext cx="996631" cy="2762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de-DE" sz="900">
                  <a:solidFill>
                    <a:schemeClr val="accent6"/>
                  </a:solidFill>
                  <a:latin typeface="Roboto" panose="02000000000000000000" pitchFamily="2" charset="0"/>
                </a:rPr>
                <a:t>Bestands- und Potenzialanalyse</a:t>
              </a:r>
            </a:p>
          </p:txBody>
        </p:sp>
      </p:grpSp>
    </p:spTree>
    <p:extLst>
      <p:ext uri="{BB962C8B-B14F-4D97-AF65-F5344CB8AC3E}">
        <p14:creationId xmlns:p14="http://schemas.microsoft.com/office/powerpoint/2010/main" val="2377484157"/>
      </p:ext>
    </p:extLst>
  </p:cSld>
  <p:clrMapOvr>
    <a:masterClrMapping/>
  </p:clrMapOvr>
  <p:hf hdr="0" dt="0"/>
  <p:extLst>
    <p:ext uri="{DCECCB84-F9BA-43D5-87BE-67443E8EF086}">
      <p15:sldGuideLst xmlns:p15="http://schemas.microsoft.com/office/powerpoint/2012/main">
        <p15:guide id="2" pos="214">
          <p15:clr>
            <a:srgbClr val="A4A3A4"/>
          </p15:clr>
        </p15:guide>
        <p15:guide id="3" pos="7728">
          <p15:clr>
            <a:srgbClr val="A4A3A4"/>
          </p15:clr>
        </p15:guide>
        <p15:guide id="4" orient="horz" pos="672">
          <p15:clr>
            <a:srgbClr val="A4A3A4"/>
          </p15:clr>
        </p15:guide>
        <p15:guide id="5" orient="horz" pos="933">
          <p15:clr>
            <a:srgbClr val="A4A3A4"/>
          </p15:clr>
        </p15:guide>
        <p15:guide id="6" orient="horz" pos="3053">
          <p15:clr>
            <a:srgbClr val="A4A3A4"/>
          </p15:clr>
        </p15:guide>
        <p15:guide id="7" orient="horz" pos="3334">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9"/>
            </p:custDataLst>
            <p:extLst>
              <p:ext uri="{D42A27DB-BD31-4B8C-83A1-F6EECF244321}">
                <p14:modId xmlns:p14="http://schemas.microsoft.com/office/powerpoint/2010/main" val="914665506"/>
              </p:ext>
            </p:extLst>
          </p:nvPr>
        </p:nvGraphicFramePr>
        <p:xfrm>
          <a:off x="1792" y="1467"/>
          <a:ext cx="1793" cy="1456"/>
        </p:xfrm>
        <a:graphic>
          <a:graphicData uri="http://schemas.openxmlformats.org/presentationml/2006/ole">
            <mc:AlternateContent xmlns:mc="http://schemas.openxmlformats.org/markup-compatibility/2006">
              <mc:Choice xmlns:v="urn:schemas-microsoft-com:vml" Requires="v">
                <p:oleObj name="think-cell Slide" r:id="rId21" imgW="306" imgH="306" progId="TCLayout.ActiveDocument.1">
                  <p:embed/>
                </p:oleObj>
              </mc:Choice>
              <mc:Fallback>
                <p:oleObj name="think-cell Slide" r:id="rId21" imgW="306" imgH="306" progId="TCLayout.ActiveDocument.1">
                  <p:embed/>
                  <p:pic>
                    <p:nvPicPr>
                      <p:cNvPr id="2" name="Object 1" hidden="1"/>
                      <p:cNvPicPr/>
                      <p:nvPr/>
                    </p:nvPicPr>
                    <p:blipFill>
                      <a:blip r:embed="rId22"/>
                      <a:stretch>
                        <a:fillRect/>
                      </a:stretch>
                    </p:blipFill>
                    <p:spPr>
                      <a:xfrm>
                        <a:off x="1792" y="1467"/>
                        <a:ext cx="1793" cy="1456"/>
                      </a:xfrm>
                      <a:prstGeom prst="rect">
                        <a:avLst/>
                      </a:prstGeom>
                    </p:spPr>
                  </p:pic>
                </p:oleObj>
              </mc:Fallback>
            </mc:AlternateContent>
          </a:graphicData>
        </a:graphic>
      </p:graphicFrame>
      <p:sp>
        <p:nvSpPr>
          <p:cNvPr id="3" name="copyright"/>
          <p:cNvSpPr>
            <a:spLocks noGrp="1"/>
          </p:cNvSpPr>
          <p:nvPr>
            <p:ph type="ftr" sz="quarter" idx="3"/>
          </p:nvPr>
        </p:nvSpPr>
        <p:spPr bwMode="gray">
          <a:xfrm>
            <a:off x="300893" y="5890684"/>
            <a:ext cx="1719385" cy="197490"/>
          </a:xfrm>
          <a:prstGeom prst="rect">
            <a:avLst/>
          </a:prstGeom>
        </p:spPr>
        <p:txBody>
          <a:bodyPr vert="horz" lIns="0" tIns="0" rIns="0" bIns="0" rtlCol="0" anchor="ctr">
            <a:noAutofit/>
          </a:bodyPr>
          <a:lstStyle>
            <a:lvl1pPr algn="l">
              <a:defRPr sz="100">
                <a:solidFill>
                  <a:schemeClr val="tx1"/>
                </a:solidFill>
                <a:latin typeface="+mn-lt"/>
              </a:defRPr>
            </a:lvl1pPr>
          </a:lstStyle>
          <a:p>
            <a:endParaRPr lang="de-DE"/>
          </a:p>
          <a:p>
            <a:r>
              <a:rPr lang="de-DE"/>
              <a:t>© 2022 d-fine</a:t>
            </a:r>
          </a:p>
        </p:txBody>
      </p:sp>
      <p:sp>
        <p:nvSpPr>
          <p:cNvPr id="4" name="page_number"/>
          <p:cNvSpPr>
            <a:spLocks noGrp="1"/>
          </p:cNvSpPr>
          <p:nvPr>
            <p:ph type="sldNum" sz="quarter" idx="4"/>
          </p:nvPr>
        </p:nvSpPr>
        <p:spPr bwMode="gray">
          <a:xfrm>
            <a:off x="9155725" y="5890684"/>
            <a:ext cx="1719385" cy="197490"/>
          </a:xfrm>
          <a:prstGeom prst="rect">
            <a:avLst/>
          </a:prstGeom>
        </p:spPr>
        <p:txBody>
          <a:bodyPr vert="horz" lIns="0" tIns="0" rIns="0" bIns="0" rtlCol="0" anchor="ctr">
            <a:noAutofit/>
          </a:bodyPr>
          <a:lstStyle>
            <a:lvl1pPr algn="r">
              <a:defRPr sz="100">
                <a:solidFill>
                  <a:schemeClr val="tx1"/>
                </a:solidFill>
                <a:latin typeface="+mn-lt"/>
              </a:defRPr>
            </a:lvl1pPr>
          </a:lstStyle>
          <a:p>
            <a:endParaRPr lang="de-DE"/>
          </a:p>
          <a:p>
            <a:fld id="{1B55C882-083C-4829-B2D6-E03DED63596C}" type="slidenum">
              <a:rPr lang="de-DE" smtClean="0"/>
              <a:pPr/>
              <a:t>‹Nr.›</a:t>
            </a:fld>
            <a:endParaRPr lang="de-DE"/>
          </a:p>
        </p:txBody>
      </p:sp>
      <p:graphicFrame>
        <p:nvGraphicFramePr>
          <p:cNvPr id="5" name="Object 4" hidden="1">
            <a:extLst>
              <a:ext uri="{FF2B5EF4-FFF2-40B4-BE49-F238E27FC236}">
                <a16:creationId xmlns:a16="http://schemas.microsoft.com/office/drawing/2014/main" id="{1FB2F5AA-D8A1-F0D8-2DF2-C5857BEEFE22}"/>
              </a:ext>
            </a:extLst>
          </p:cNvPr>
          <p:cNvGraphicFramePr>
            <a:graphicFrameLocks noChangeAspect="1"/>
          </p:cNvGraphicFramePr>
          <p:nvPr>
            <p:custDataLst>
              <p:tags r:id="rId20"/>
            </p:custDataLst>
            <p:extLst>
              <p:ext uri="{D42A27DB-BD31-4B8C-83A1-F6EECF244321}">
                <p14:modId xmlns:p14="http://schemas.microsoft.com/office/powerpoint/2010/main" val="914665506"/>
              </p:ext>
            </p:extLst>
          </p:nvPr>
        </p:nvGraphicFramePr>
        <p:xfrm>
          <a:off x="1792" y="1467"/>
          <a:ext cx="1793" cy="1456"/>
        </p:xfrm>
        <a:graphic>
          <a:graphicData uri="http://schemas.openxmlformats.org/presentationml/2006/ole">
            <mc:AlternateContent xmlns:mc="http://schemas.openxmlformats.org/markup-compatibility/2006">
              <mc:Choice xmlns:v="urn:schemas-microsoft-com:vml" Requires="v">
                <p:oleObj name="think-cell Slide" r:id="rId21" imgW="306" imgH="306" progId="TCLayout.ActiveDocument.1">
                  <p:embed/>
                </p:oleObj>
              </mc:Choice>
              <mc:Fallback>
                <p:oleObj name="think-cell Slide" r:id="rId21" imgW="306" imgH="306" progId="TCLayout.ActiveDocument.1">
                  <p:embed/>
                  <p:pic>
                    <p:nvPicPr>
                      <p:cNvPr id="5" name="Object 4" hidden="1">
                        <a:extLst>
                          <a:ext uri="{FF2B5EF4-FFF2-40B4-BE49-F238E27FC236}">
                            <a16:creationId xmlns:a16="http://schemas.microsoft.com/office/drawing/2014/main" id="{1FB2F5AA-D8A1-F0D8-2DF2-C5857BEEFE22}"/>
                          </a:ext>
                        </a:extLst>
                      </p:cNvPr>
                      <p:cNvPicPr/>
                      <p:nvPr/>
                    </p:nvPicPr>
                    <p:blipFill>
                      <a:blip r:embed="rId22"/>
                      <a:stretch>
                        <a:fillRect/>
                      </a:stretch>
                    </p:blipFill>
                    <p:spPr>
                      <a:xfrm>
                        <a:off x="1792" y="1467"/>
                        <a:ext cx="1793" cy="1456"/>
                      </a:xfrm>
                      <a:prstGeom prst="rect">
                        <a:avLst/>
                      </a:prstGeom>
                    </p:spPr>
                  </p:pic>
                </p:oleObj>
              </mc:Fallback>
            </mc:AlternateContent>
          </a:graphicData>
        </a:graphic>
      </p:graphicFrame>
    </p:spTree>
    <p:extLst>
      <p:ext uri="{BB962C8B-B14F-4D97-AF65-F5344CB8AC3E}">
        <p14:creationId xmlns:p14="http://schemas.microsoft.com/office/powerpoint/2010/main" val="1013100094"/>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3" r:id="rId8"/>
    <p:sldLayoutId id="2147483716" r:id="rId9"/>
    <p:sldLayoutId id="2147483720" r:id="rId10"/>
    <p:sldLayoutId id="2147483717" r:id="rId11"/>
    <p:sldLayoutId id="2147483718" r:id="rId12"/>
    <p:sldLayoutId id="2147483719" r:id="rId13"/>
    <p:sldLayoutId id="2147483721" r:id="rId14"/>
    <p:sldLayoutId id="2147483722" r:id="rId15"/>
    <p:sldLayoutId id="2147483723" r:id="rId16"/>
    <p:sldLayoutId id="2147483724" r:id="rId17"/>
  </p:sldLayoutIdLst>
  <p:hf hdr="0" dt="0"/>
  <p:txStyles>
    <p:titleStyle>
      <a:lvl1pPr algn="l" defTabSz="116754" rtl="0" eaLnBrk="1" latinLnBrk="0" hangingPunct="1">
        <a:spcBef>
          <a:spcPct val="0"/>
        </a:spcBef>
        <a:buNone/>
        <a:defRPr sz="270" kern="1200">
          <a:solidFill>
            <a:schemeClr val="tx1"/>
          </a:solidFill>
          <a:latin typeface="+mj-lt"/>
          <a:ea typeface="+mj-ea"/>
          <a:cs typeface="+mj-cs"/>
        </a:defRPr>
      </a:lvl1pPr>
    </p:titleStyle>
    <p:bodyStyle>
      <a:lvl1pPr marL="0" indent="0" algn="l" defTabSz="116754" rtl="0" eaLnBrk="1" latinLnBrk="0" hangingPunct="1">
        <a:spcBef>
          <a:spcPct val="20000"/>
        </a:spcBef>
        <a:buFont typeface="Arial" panose="020B0604020202020204" pitchFamily="34" charset="0"/>
        <a:buNone/>
        <a:defRPr sz="164" kern="1200">
          <a:solidFill>
            <a:schemeClr val="tx1"/>
          </a:solidFill>
          <a:latin typeface="+mn-lt"/>
          <a:ea typeface="+mn-ea"/>
          <a:cs typeface="+mn-cs"/>
        </a:defRPr>
      </a:lvl1pPr>
      <a:lvl2pPr marL="31831" indent="0" algn="l" defTabSz="116754" rtl="0" eaLnBrk="1" latinLnBrk="0" hangingPunct="1">
        <a:spcBef>
          <a:spcPct val="20000"/>
        </a:spcBef>
        <a:buFont typeface="Arial" panose="020B0604020202020204" pitchFamily="34" charset="0"/>
        <a:buNone/>
        <a:defRPr sz="164" kern="1200">
          <a:solidFill>
            <a:schemeClr val="tx1"/>
          </a:solidFill>
          <a:latin typeface="+mn-lt"/>
          <a:ea typeface="+mn-ea"/>
          <a:cs typeface="+mn-cs"/>
        </a:defRPr>
      </a:lvl2pPr>
      <a:lvl3pPr marL="63663" indent="0" algn="l" defTabSz="116754" rtl="0" eaLnBrk="1" latinLnBrk="0" hangingPunct="1">
        <a:spcBef>
          <a:spcPct val="20000"/>
        </a:spcBef>
        <a:buFont typeface="Arial" panose="020B0604020202020204" pitchFamily="34" charset="0"/>
        <a:buNone/>
        <a:defRPr sz="164" kern="1200">
          <a:solidFill>
            <a:schemeClr val="tx1"/>
          </a:solidFill>
          <a:latin typeface="+mn-lt"/>
          <a:ea typeface="+mn-ea"/>
          <a:cs typeface="+mn-cs"/>
        </a:defRPr>
      </a:lvl3pPr>
      <a:lvl4pPr marL="95494" indent="0" algn="l" defTabSz="116754" rtl="0" eaLnBrk="1" latinLnBrk="0" hangingPunct="1">
        <a:spcBef>
          <a:spcPct val="20000"/>
        </a:spcBef>
        <a:buFont typeface="Arial" panose="020B0604020202020204" pitchFamily="34" charset="0"/>
        <a:buNone/>
        <a:defRPr sz="164" kern="1200">
          <a:solidFill>
            <a:schemeClr val="tx1"/>
          </a:solidFill>
          <a:latin typeface="+mn-lt"/>
          <a:ea typeface="+mn-ea"/>
          <a:cs typeface="+mn-cs"/>
        </a:defRPr>
      </a:lvl4pPr>
      <a:lvl5pPr marL="127139" indent="0" algn="l" defTabSz="116754" rtl="0" eaLnBrk="1" latinLnBrk="0" hangingPunct="1">
        <a:spcBef>
          <a:spcPct val="20000"/>
        </a:spcBef>
        <a:buFont typeface="Arial" panose="020B0604020202020204" pitchFamily="34" charset="0"/>
        <a:buNone/>
        <a:defRPr sz="164" kern="1200">
          <a:solidFill>
            <a:schemeClr val="tx1"/>
          </a:solidFill>
          <a:latin typeface="+mn-lt"/>
          <a:ea typeface="+mn-ea"/>
          <a:cs typeface="+mn-cs"/>
        </a:defRPr>
      </a:lvl5pPr>
      <a:lvl6pPr marL="321071" indent="-29189" algn="l" defTabSz="116754" rtl="0" eaLnBrk="1" latinLnBrk="0" hangingPunct="1">
        <a:spcBef>
          <a:spcPct val="20000"/>
        </a:spcBef>
        <a:buFont typeface="Arial" panose="020B0604020202020204" pitchFamily="34" charset="0"/>
        <a:buChar char="•"/>
        <a:defRPr sz="259" kern="1200">
          <a:solidFill>
            <a:schemeClr val="tx1"/>
          </a:solidFill>
          <a:latin typeface="+mn-lt"/>
          <a:ea typeface="+mn-ea"/>
          <a:cs typeface="+mn-cs"/>
        </a:defRPr>
      </a:lvl6pPr>
      <a:lvl7pPr marL="379448" indent="-29189" algn="l" defTabSz="116754" rtl="0" eaLnBrk="1" latinLnBrk="0" hangingPunct="1">
        <a:spcBef>
          <a:spcPct val="20000"/>
        </a:spcBef>
        <a:buFont typeface="Arial" panose="020B0604020202020204" pitchFamily="34" charset="0"/>
        <a:buChar char="•"/>
        <a:defRPr sz="259" kern="1200">
          <a:solidFill>
            <a:schemeClr val="tx1"/>
          </a:solidFill>
          <a:latin typeface="+mn-lt"/>
          <a:ea typeface="+mn-ea"/>
          <a:cs typeface="+mn-cs"/>
        </a:defRPr>
      </a:lvl7pPr>
      <a:lvl8pPr marL="437824" indent="-29189" algn="l" defTabSz="116754" rtl="0" eaLnBrk="1" latinLnBrk="0" hangingPunct="1">
        <a:spcBef>
          <a:spcPct val="20000"/>
        </a:spcBef>
        <a:buFont typeface="Arial" panose="020B0604020202020204" pitchFamily="34" charset="0"/>
        <a:buChar char="•"/>
        <a:defRPr sz="259" kern="1200">
          <a:solidFill>
            <a:schemeClr val="tx1"/>
          </a:solidFill>
          <a:latin typeface="+mn-lt"/>
          <a:ea typeface="+mn-ea"/>
          <a:cs typeface="+mn-cs"/>
        </a:defRPr>
      </a:lvl8pPr>
      <a:lvl9pPr marL="496201" indent="-29189" algn="l" defTabSz="116754" rtl="0" eaLnBrk="1" latinLnBrk="0" hangingPunct="1">
        <a:spcBef>
          <a:spcPct val="20000"/>
        </a:spcBef>
        <a:buFont typeface="Arial" panose="020B0604020202020204" pitchFamily="34" charset="0"/>
        <a:buChar char="•"/>
        <a:defRPr sz="259" kern="1200">
          <a:solidFill>
            <a:schemeClr val="tx1"/>
          </a:solidFill>
          <a:latin typeface="+mn-lt"/>
          <a:ea typeface="+mn-ea"/>
          <a:cs typeface="+mn-cs"/>
        </a:defRPr>
      </a:lvl9pPr>
    </p:bodyStyle>
    <p:otherStyle>
      <a:defPPr>
        <a:defRPr lang="de-DE"/>
      </a:defPPr>
      <a:lvl1pPr marL="0" algn="l" defTabSz="116754" rtl="0" eaLnBrk="1" latinLnBrk="0" hangingPunct="1">
        <a:defRPr sz="235" kern="1200">
          <a:solidFill>
            <a:schemeClr val="tx1"/>
          </a:solidFill>
          <a:latin typeface="+mn-lt"/>
          <a:ea typeface="+mn-ea"/>
          <a:cs typeface="+mn-cs"/>
        </a:defRPr>
      </a:lvl1pPr>
      <a:lvl2pPr marL="58376" algn="l" defTabSz="116754" rtl="0" eaLnBrk="1" latinLnBrk="0" hangingPunct="1">
        <a:defRPr sz="235" kern="1200">
          <a:solidFill>
            <a:schemeClr val="tx1"/>
          </a:solidFill>
          <a:latin typeface="+mn-lt"/>
          <a:ea typeface="+mn-ea"/>
          <a:cs typeface="+mn-cs"/>
        </a:defRPr>
      </a:lvl2pPr>
      <a:lvl3pPr marL="116754" algn="l" defTabSz="116754" rtl="0" eaLnBrk="1" latinLnBrk="0" hangingPunct="1">
        <a:defRPr sz="235" kern="1200">
          <a:solidFill>
            <a:schemeClr val="tx1"/>
          </a:solidFill>
          <a:latin typeface="+mn-lt"/>
          <a:ea typeface="+mn-ea"/>
          <a:cs typeface="+mn-cs"/>
        </a:defRPr>
      </a:lvl3pPr>
      <a:lvl4pPr marL="175129" algn="l" defTabSz="116754" rtl="0" eaLnBrk="1" latinLnBrk="0" hangingPunct="1">
        <a:defRPr sz="235" kern="1200">
          <a:solidFill>
            <a:schemeClr val="tx1"/>
          </a:solidFill>
          <a:latin typeface="+mn-lt"/>
          <a:ea typeface="+mn-ea"/>
          <a:cs typeface="+mn-cs"/>
        </a:defRPr>
      </a:lvl4pPr>
      <a:lvl5pPr marL="233506" algn="l" defTabSz="116754" rtl="0" eaLnBrk="1" latinLnBrk="0" hangingPunct="1">
        <a:defRPr sz="235" kern="1200">
          <a:solidFill>
            <a:schemeClr val="tx1"/>
          </a:solidFill>
          <a:latin typeface="+mn-lt"/>
          <a:ea typeface="+mn-ea"/>
          <a:cs typeface="+mn-cs"/>
        </a:defRPr>
      </a:lvl5pPr>
      <a:lvl6pPr marL="291883" algn="l" defTabSz="116754" rtl="0" eaLnBrk="1" latinLnBrk="0" hangingPunct="1">
        <a:defRPr sz="235" kern="1200">
          <a:solidFill>
            <a:schemeClr val="tx1"/>
          </a:solidFill>
          <a:latin typeface="+mn-lt"/>
          <a:ea typeface="+mn-ea"/>
          <a:cs typeface="+mn-cs"/>
        </a:defRPr>
      </a:lvl6pPr>
      <a:lvl7pPr marL="350260" algn="l" defTabSz="116754" rtl="0" eaLnBrk="1" latinLnBrk="0" hangingPunct="1">
        <a:defRPr sz="235" kern="1200">
          <a:solidFill>
            <a:schemeClr val="tx1"/>
          </a:solidFill>
          <a:latin typeface="+mn-lt"/>
          <a:ea typeface="+mn-ea"/>
          <a:cs typeface="+mn-cs"/>
        </a:defRPr>
      </a:lvl7pPr>
      <a:lvl8pPr marL="408636" algn="l" defTabSz="116754" rtl="0" eaLnBrk="1" latinLnBrk="0" hangingPunct="1">
        <a:defRPr sz="235" kern="1200">
          <a:solidFill>
            <a:schemeClr val="tx1"/>
          </a:solidFill>
          <a:latin typeface="+mn-lt"/>
          <a:ea typeface="+mn-ea"/>
          <a:cs typeface="+mn-cs"/>
        </a:defRPr>
      </a:lvl8pPr>
      <a:lvl9pPr marL="467012" algn="l" defTabSz="116754" rtl="0" eaLnBrk="1" latinLnBrk="0" hangingPunct="1">
        <a:defRPr sz="23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38.png"/></Relationships>
</file>

<file path=ppt/slides/_rels/slide1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png"/><Relationship Id="rId1" Type="http://schemas.openxmlformats.org/officeDocument/2006/relationships/slideLayout" Target="../slideLayouts/slideLayout17.xml"/><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9.png"/><Relationship Id="rId1" Type="http://schemas.openxmlformats.org/officeDocument/2006/relationships/slideLayout" Target="../slideLayouts/slideLayout17.xml"/><Relationship Id="rId6" Type="http://schemas.openxmlformats.org/officeDocument/2006/relationships/image" Target="../media/image32.jpeg"/><Relationship Id="rId5" Type="http://schemas.openxmlformats.org/officeDocument/2006/relationships/image" Target="../media/image44.png"/><Relationship Id="rId4" Type="http://schemas.openxmlformats.org/officeDocument/2006/relationships/image" Target="../media/image43.png"/></Relationships>
</file>

<file path=ppt/slides/_rels/slide1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45.png"/></Relationships>
</file>

<file path=ppt/slides/_rels/slide16.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slide" Target="slide4.xml"/><Relationship Id="rId1" Type="http://schemas.openxmlformats.org/officeDocument/2006/relationships/slideLayout" Target="../slideLayouts/slideLayout16.xml"/><Relationship Id="rId6" Type="http://schemas.openxmlformats.org/officeDocument/2006/relationships/slide" Target="slide55.xml"/><Relationship Id="rId5" Type="http://schemas.openxmlformats.org/officeDocument/2006/relationships/slide" Target="slide42.xml"/><Relationship Id="rId4" Type="http://schemas.openxmlformats.org/officeDocument/2006/relationships/slide" Target="slide30.xml"/></Relationships>
</file>

<file path=ppt/slides/_rels/slide17.xml.rels><?xml version="1.0" encoding="UTF-8" standalone="yes"?>
<Relationships xmlns="http://schemas.openxmlformats.org/package/2006/relationships"><Relationship Id="rId8" Type="http://schemas.openxmlformats.org/officeDocument/2006/relationships/image" Target="../media/image47.jpeg"/><Relationship Id="rId13" Type="http://schemas.openxmlformats.org/officeDocument/2006/relationships/image" Target="../media/image52.jpeg"/><Relationship Id="rId3" Type="http://schemas.openxmlformats.org/officeDocument/2006/relationships/tags" Target="../tags/tag14.xml"/><Relationship Id="rId7" Type="http://schemas.openxmlformats.org/officeDocument/2006/relationships/image" Target="../media/image46.png"/><Relationship Id="rId12" Type="http://schemas.openxmlformats.org/officeDocument/2006/relationships/image" Target="../media/image51.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Layout" Target="../slideLayouts/slideLayout15.xml"/><Relationship Id="rId11" Type="http://schemas.openxmlformats.org/officeDocument/2006/relationships/image" Target="../media/image50.png"/><Relationship Id="rId5" Type="http://schemas.openxmlformats.org/officeDocument/2006/relationships/tags" Target="../tags/tag16.xml"/><Relationship Id="rId10" Type="http://schemas.openxmlformats.org/officeDocument/2006/relationships/image" Target="../media/image49.jpeg"/><Relationship Id="rId4" Type="http://schemas.openxmlformats.org/officeDocument/2006/relationships/tags" Target="../tags/tag15.xml"/><Relationship Id="rId9" Type="http://schemas.openxmlformats.org/officeDocument/2006/relationships/image" Target="../media/image48.jpeg"/></Relationships>
</file>

<file path=ppt/slides/_rels/slide18.xml.rels><?xml version="1.0" encoding="UTF-8" standalone="yes"?>
<Relationships xmlns="http://schemas.openxmlformats.org/package/2006/relationships"><Relationship Id="rId13" Type="http://schemas.openxmlformats.org/officeDocument/2006/relationships/tags" Target="../tags/tag29.xml"/><Relationship Id="rId18" Type="http://schemas.openxmlformats.org/officeDocument/2006/relationships/tags" Target="../tags/tag34.xml"/><Relationship Id="rId26" Type="http://schemas.openxmlformats.org/officeDocument/2006/relationships/tags" Target="../tags/tag42.xml"/><Relationship Id="rId39" Type="http://schemas.openxmlformats.org/officeDocument/2006/relationships/tags" Target="../tags/tag55.xml"/><Relationship Id="rId21" Type="http://schemas.openxmlformats.org/officeDocument/2006/relationships/tags" Target="../tags/tag37.xml"/><Relationship Id="rId34" Type="http://schemas.openxmlformats.org/officeDocument/2006/relationships/tags" Target="../tags/tag50.xml"/><Relationship Id="rId42" Type="http://schemas.openxmlformats.org/officeDocument/2006/relationships/tags" Target="../tags/tag58.xml"/><Relationship Id="rId47" Type="http://schemas.openxmlformats.org/officeDocument/2006/relationships/tags" Target="../tags/tag63.xml"/><Relationship Id="rId50" Type="http://schemas.openxmlformats.org/officeDocument/2006/relationships/tags" Target="../tags/tag66.xml"/><Relationship Id="rId55" Type="http://schemas.openxmlformats.org/officeDocument/2006/relationships/tags" Target="../tags/tag71.xml"/><Relationship Id="rId63" Type="http://schemas.openxmlformats.org/officeDocument/2006/relationships/tags" Target="../tags/tag79.xml"/><Relationship Id="rId68" Type="http://schemas.openxmlformats.org/officeDocument/2006/relationships/tags" Target="../tags/tag84.xml"/><Relationship Id="rId76" Type="http://schemas.openxmlformats.org/officeDocument/2006/relationships/tags" Target="../tags/tag92.xml"/><Relationship Id="rId84" Type="http://schemas.openxmlformats.org/officeDocument/2006/relationships/slideLayout" Target="../slideLayouts/slideLayout15.xml"/><Relationship Id="rId7" Type="http://schemas.openxmlformats.org/officeDocument/2006/relationships/tags" Target="../tags/tag23.xml"/><Relationship Id="rId71" Type="http://schemas.openxmlformats.org/officeDocument/2006/relationships/tags" Target="../tags/tag87.xml"/><Relationship Id="rId2" Type="http://schemas.openxmlformats.org/officeDocument/2006/relationships/tags" Target="../tags/tag18.xml"/><Relationship Id="rId16" Type="http://schemas.openxmlformats.org/officeDocument/2006/relationships/tags" Target="../tags/tag32.xml"/><Relationship Id="rId29" Type="http://schemas.openxmlformats.org/officeDocument/2006/relationships/tags" Target="../tags/tag45.xml"/><Relationship Id="rId11" Type="http://schemas.openxmlformats.org/officeDocument/2006/relationships/tags" Target="../tags/tag27.xml"/><Relationship Id="rId24" Type="http://schemas.openxmlformats.org/officeDocument/2006/relationships/tags" Target="../tags/tag40.xml"/><Relationship Id="rId32" Type="http://schemas.openxmlformats.org/officeDocument/2006/relationships/tags" Target="../tags/tag48.xml"/><Relationship Id="rId37" Type="http://schemas.openxmlformats.org/officeDocument/2006/relationships/tags" Target="../tags/tag53.xml"/><Relationship Id="rId40" Type="http://schemas.openxmlformats.org/officeDocument/2006/relationships/tags" Target="../tags/tag56.xml"/><Relationship Id="rId45" Type="http://schemas.openxmlformats.org/officeDocument/2006/relationships/tags" Target="../tags/tag61.xml"/><Relationship Id="rId53" Type="http://schemas.openxmlformats.org/officeDocument/2006/relationships/tags" Target="../tags/tag69.xml"/><Relationship Id="rId58" Type="http://schemas.openxmlformats.org/officeDocument/2006/relationships/tags" Target="../tags/tag74.xml"/><Relationship Id="rId66" Type="http://schemas.openxmlformats.org/officeDocument/2006/relationships/tags" Target="../tags/tag82.xml"/><Relationship Id="rId74" Type="http://schemas.openxmlformats.org/officeDocument/2006/relationships/tags" Target="../tags/tag90.xml"/><Relationship Id="rId79" Type="http://schemas.openxmlformats.org/officeDocument/2006/relationships/tags" Target="../tags/tag95.xml"/><Relationship Id="rId5" Type="http://schemas.openxmlformats.org/officeDocument/2006/relationships/tags" Target="../tags/tag21.xml"/><Relationship Id="rId61" Type="http://schemas.openxmlformats.org/officeDocument/2006/relationships/tags" Target="../tags/tag77.xml"/><Relationship Id="rId82" Type="http://schemas.openxmlformats.org/officeDocument/2006/relationships/tags" Target="../tags/tag98.xml"/><Relationship Id="rId19" Type="http://schemas.openxmlformats.org/officeDocument/2006/relationships/tags" Target="../tags/tag35.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tags" Target="../tags/tag38.xml"/><Relationship Id="rId27" Type="http://schemas.openxmlformats.org/officeDocument/2006/relationships/tags" Target="../tags/tag43.xml"/><Relationship Id="rId30" Type="http://schemas.openxmlformats.org/officeDocument/2006/relationships/tags" Target="../tags/tag46.xml"/><Relationship Id="rId35" Type="http://schemas.openxmlformats.org/officeDocument/2006/relationships/tags" Target="../tags/tag51.xml"/><Relationship Id="rId43" Type="http://schemas.openxmlformats.org/officeDocument/2006/relationships/tags" Target="../tags/tag59.xml"/><Relationship Id="rId48" Type="http://schemas.openxmlformats.org/officeDocument/2006/relationships/tags" Target="../tags/tag64.xml"/><Relationship Id="rId56" Type="http://schemas.openxmlformats.org/officeDocument/2006/relationships/tags" Target="../tags/tag72.xml"/><Relationship Id="rId64" Type="http://schemas.openxmlformats.org/officeDocument/2006/relationships/tags" Target="../tags/tag80.xml"/><Relationship Id="rId69" Type="http://schemas.openxmlformats.org/officeDocument/2006/relationships/tags" Target="../tags/tag85.xml"/><Relationship Id="rId77" Type="http://schemas.openxmlformats.org/officeDocument/2006/relationships/tags" Target="../tags/tag93.xml"/><Relationship Id="rId8" Type="http://schemas.openxmlformats.org/officeDocument/2006/relationships/tags" Target="../tags/tag24.xml"/><Relationship Id="rId51" Type="http://schemas.openxmlformats.org/officeDocument/2006/relationships/tags" Target="../tags/tag67.xml"/><Relationship Id="rId72" Type="http://schemas.openxmlformats.org/officeDocument/2006/relationships/tags" Target="../tags/tag88.xml"/><Relationship Id="rId80" Type="http://schemas.openxmlformats.org/officeDocument/2006/relationships/tags" Target="../tags/tag96.xml"/><Relationship Id="rId85" Type="http://schemas.openxmlformats.org/officeDocument/2006/relationships/image" Target="../media/image53.png"/><Relationship Id="rId3" Type="http://schemas.openxmlformats.org/officeDocument/2006/relationships/tags" Target="../tags/tag19.xml"/><Relationship Id="rId12" Type="http://schemas.openxmlformats.org/officeDocument/2006/relationships/tags" Target="../tags/tag28.xml"/><Relationship Id="rId17" Type="http://schemas.openxmlformats.org/officeDocument/2006/relationships/tags" Target="../tags/tag33.xml"/><Relationship Id="rId25" Type="http://schemas.openxmlformats.org/officeDocument/2006/relationships/tags" Target="../tags/tag41.xml"/><Relationship Id="rId33" Type="http://schemas.openxmlformats.org/officeDocument/2006/relationships/tags" Target="../tags/tag49.xml"/><Relationship Id="rId38" Type="http://schemas.openxmlformats.org/officeDocument/2006/relationships/tags" Target="../tags/tag54.xml"/><Relationship Id="rId46" Type="http://schemas.openxmlformats.org/officeDocument/2006/relationships/tags" Target="../tags/tag62.xml"/><Relationship Id="rId59" Type="http://schemas.openxmlformats.org/officeDocument/2006/relationships/tags" Target="../tags/tag75.xml"/><Relationship Id="rId67" Type="http://schemas.openxmlformats.org/officeDocument/2006/relationships/tags" Target="../tags/tag83.xml"/><Relationship Id="rId20" Type="http://schemas.openxmlformats.org/officeDocument/2006/relationships/tags" Target="../tags/tag36.xml"/><Relationship Id="rId41" Type="http://schemas.openxmlformats.org/officeDocument/2006/relationships/tags" Target="../tags/tag57.xml"/><Relationship Id="rId54" Type="http://schemas.openxmlformats.org/officeDocument/2006/relationships/tags" Target="../tags/tag70.xml"/><Relationship Id="rId62" Type="http://schemas.openxmlformats.org/officeDocument/2006/relationships/tags" Target="../tags/tag78.xml"/><Relationship Id="rId70" Type="http://schemas.openxmlformats.org/officeDocument/2006/relationships/tags" Target="../tags/tag86.xml"/><Relationship Id="rId75" Type="http://schemas.openxmlformats.org/officeDocument/2006/relationships/tags" Target="../tags/tag91.xml"/><Relationship Id="rId83" Type="http://schemas.openxmlformats.org/officeDocument/2006/relationships/tags" Target="../tags/tag99.xml"/><Relationship Id="rId1" Type="http://schemas.openxmlformats.org/officeDocument/2006/relationships/tags" Target="../tags/tag17.xml"/><Relationship Id="rId6" Type="http://schemas.openxmlformats.org/officeDocument/2006/relationships/tags" Target="../tags/tag22.xml"/><Relationship Id="rId15" Type="http://schemas.openxmlformats.org/officeDocument/2006/relationships/tags" Target="../tags/tag31.xml"/><Relationship Id="rId23" Type="http://schemas.openxmlformats.org/officeDocument/2006/relationships/tags" Target="../tags/tag39.xml"/><Relationship Id="rId28" Type="http://schemas.openxmlformats.org/officeDocument/2006/relationships/tags" Target="../tags/tag44.xml"/><Relationship Id="rId36" Type="http://schemas.openxmlformats.org/officeDocument/2006/relationships/tags" Target="../tags/tag52.xml"/><Relationship Id="rId49" Type="http://schemas.openxmlformats.org/officeDocument/2006/relationships/tags" Target="../tags/tag65.xml"/><Relationship Id="rId57" Type="http://schemas.openxmlformats.org/officeDocument/2006/relationships/tags" Target="../tags/tag73.xml"/><Relationship Id="rId10" Type="http://schemas.openxmlformats.org/officeDocument/2006/relationships/tags" Target="../tags/tag26.xml"/><Relationship Id="rId31" Type="http://schemas.openxmlformats.org/officeDocument/2006/relationships/tags" Target="../tags/tag47.xml"/><Relationship Id="rId44" Type="http://schemas.openxmlformats.org/officeDocument/2006/relationships/tags" Target="../tags/tag60.xml"/><Relationship Id="rId52" Type="http://schemas.openxmlformats.org/officeDocument/2006/relationships/tags" Target="../tags/tag68.xml"/><Relationship Id="rId60" Type="http://schemas.openxmlformats.org/officeDocument/2006/relationships/tags" Target="../tags/tag76.xml"/><Relationship Id="rId65" Type="http://schemas.openxmlformats.org/officeDocument/2006/relationships/tags" Target="../tags/tag81.xml"/><Relationship Id="rId73" Type="http://schemas.openxmlformats.org/officeDocument/2006/relationships/tags" Target="../tags/tag89.xml"/><Relationship Id="rId78" Type="http://schemas.openxmlformats.org/officeDocument/2006/relationships/tags" Target="../tags/tag94.xml"/><Relationship Id="rId81" Type="http://schemas.openxmlformats.org/officeDocument/2006/relationships/tags" Target="../tags/tag9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slide" Target="slide4.xml"/><Relationship Id="rId1" Type="http://schemas.openxmlformats.org/officeDocument/2006/relationships/slideLayout" Target="../slideLayouts/slideLayout16.xml"/><Relationship Id="rId6" Type="http://schemas.openxmlformats.org/officeDocument/2006/relationships/slide" Target="slide55.xml"/><Relationship Id="rId5" Type="http://schemas.openxmlformats.org/officeDocument/2006/relationships/slide" Target="slide42.xml"/><Relationship Id="rId4" Type="http://schemas.openxmlformats.org/officeDocument/2006/relationships/slide" Target="slide30.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hemeOverride" Target="../theme/themeOverride1.xml"/></Relationships>
</file>

<file path=ppt/slides/_rels/slide21.xml.rels><?xml version="1.0" encoding="UTF-8" standalone="yes"?>
<Relationships xmlns="http://schemas.openxmlformats.org/package/2006/relationships"><Relationship Id="rId13" Type="http://schemas.openxmlformats.org/officeDocument/2006/relationships/tags" Target="../tags/tag112.xml"/><Relationship Id="rId18" Type="http://schemas.openxmlformats.org/officeDocument/2006/relationships/tags" Target="../tags/tag117.xml"/><Relationship Id="rId26" Type="http://schemas.openxmlformats.org/officeDocument/2006/relationships/image" Target="../media/image59.svg"/><Relationship Id="rId39" Type="http://schemas.openxmlformats.org/officeDocument/2006/relationships/image" Target="../media/image72.png"/><Relationship Id="rId21" Type="http://schemas.openxmlformats.org/officeDocument/2006/relationships/image" Target="../media/image54.png"/><Relationship Id="rId34" Type="http://schemas.openxmlformats.org/officeDocument/2006/relationships/image" Target="../media/image67.svg"/><Relationship Id="rId42" Type="http://schemas.openxmlformats.org/officeDocument/2006/relationships/image" Target="../media/image75.png"/><Relationship Id="rId47" Type="http://schemas.openxmlformats.org/officeDocument/2006/relationships/image" Target="../media/image80.svg"/><Relationship Id="rId50" Type="http://schemas.openxmlformats.org/officeDocument/2006/relationships/image" Target="../media/image83.png"/><Relationship Id="rId55" Type="http://schemas.openxmlformats.org/officeDocument/2006/relationships/image" Target="../media/image88.png"/><Relationship Id="rId7" Type="http://schemas.openxmlformats.org/officeDocument/2006/relationships/tags" Target="../tags/tag106.xml"/><Relationship Id="rId2" Type="http://schemas.openxmlformats.org/officeDocument/2006/relationships/tags" Target="../tags/tag101.xml"/><Relationship Id="rId16" Type="http://schemas.openxmlformats.org/officeDocument/2006/relationships/tags" Target="../tags/tag115.xml"/><Relationship Id="rId20" Type="http://schemas.openxmlformats.org/officeDocument/2006/relationships/slideLayout" Target="../slideLayouts/slideLayout9.xml"/><Relationship Id="rId29" Type="http://schemas.openxmlformats.org/officeDocument/2006/relationships/image" Target="../media/image62.png"/><Relationship Id="rId41" Type="http://schemas.openxmlformats.org/officeDocument/2006/relationships/image" Target="../media/image74.svg"/><Relationship Id="rId54" Type="http://schemas.openxmlformats.org/officeDocument/2006/relationships/image" Target="../media/image87.svg"/><Relationship Id="rId62" Type="http://schemas.openxmlformats.org/officeDocument/2006/relationships/image" Target="../media/image95.svg"/><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tags" Target="../tags/tag110.xml"/><Relationship Id="rId24" Type="http://schemas.openxmlformats.org/officeDocument/2006/relationships/image" Target="../media/image57.svg"/><Relationship Id="rId32" Type="http://schemas.openxmlformats.org/officeDocument/2006/relationships/image" Target="../media/image65.svg"/><Relationship Id="rId37" Type="http://schemas.openxmlformats.org/officeDocument/2006/relationships/image" Target="../media/image70.png"/><Relationship Id="rId40" Type="http://schemas.openxmlformats.org/officeDocument/2006/relationships/image" Target="../media/image73.png"/><Relationship Id="rId45" Type="http://schemas.openxmlformats.org/officeDocument/2006/relationships/image" Target="../media/image78.svg"/><Relationship Id="rId53" Type="http://schemas.openxmlformats.org/officeDocument/2006/relationships/image" Target="../media/image86.png"/><Relationship Id="rId58" Type="http://schemas.openxmlformats.org/officeDocument/2006/relationships/image" Target="../media/image91.svg"/><Relationship Id="rId5" Type="http://schemas.openxmlformats.org/officeDocument/2006/relationships/tags" Target="../tags/tag104.xml"/><Relationship Id="rId15" Type="http://schemas.openxmlformats.org/officeDocument/2006/relationships/tags" Target="../tags/tag114.xml"/><Relationship Id="rId23" Type="http://schemas.openxmlformats.org/officeDocument/2006/relationships/image" Target="../media/image56.png"/><Relationship Id="rId28" Type="http://schemas.openxmlformats.org/officeDocument/2006/relationships/image" Target="../media/image61.svg"/><Relationship Id="rId36" Type="http://schemas.openxmlformats.org/officeDocument/2006/relationships/image" Target="../media/image69.svg"/><Relationship Id="rId49" Type="http://schemas.openxmlformats.org/officeDocument/2006/relationships/image" Target="../media/image82.png"/><Relationship Id="rId57" Type="http://schemas.openxmlformats.org/officeDocument/2006/relationships/image" Target="../media/image90.png"/><Relationship Id="rId61" Type="http://schemas.openxmlformats.org/officeDocument/2006/relationships/image" Target="../media/image94.png"/><Relationship Id="rId10" Type="http://schemas.openxmlformats.org/officeDocument/2006/relationships/tags" Target="../tags/tag109.xml"/><Relationship Id="rId19" Type="http://schemas.openxmlformats.org/officeDocument/2006/relationships/tags" Target="../tags/tag118.xml"/><Relationship Id="rId31" Type="http://schemas.openxmlformats.org/officeDocument/2006/relationships/image" Target="../media/image64.png"/><Relationship Id="rId44" Type="http://schemas.openxmlformats.org/officeDocument/2006/relationships/image" Target="../media/image77.png"/><Relationship Id="rId52" Type="http://schemas.openxmlformats.org/officeDocument/2006/relationships/image" Target="../media/image85.svg"/><Relationship Id="rId60" Type="http://schemas.openxmlformats.org/officeDocument/2006/relationships/image" Target="../media/image93.svg"/><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 Id="rId22" Type="http://schemas.openxmlformats.org/officeDocument/2006/relationships/image" Target="../media/image55.svg"/><Relationship Id="rId27" Type="http://schemas.openxmlformats.org/officeDocument/2006/relationships/image" Target="../media/image60.png"/><Relationship Id="rId30" Type="http://schemas.openxmlformats.org/officeDocument/2006/relationships/image" Target="../media/image63.svg"/><Relationship Id="rId35" Type="http://schemas.openxmlformats.org/officeDocument/2006/relationships/image" Target="../media/image68.png"/><Relationship Id="rId43" Type="http://schemas.openxmlformats.org/officeDocument/2006/relationships/image" Target="../media/image76.svg"/><Relationship Id="rId48" Type="http://schemas.openxmlformats.org/officeDocument/2006/relationships/image" Target="../media/image81.png"/><Relationship Id="rId56" Type="http://schemas.openxmlformats.org/officeDocument/2006/relationships/image" Target="../media/image89.svg"/><Relationship Id="rId8" Type="http://schemas.openxmlformats.org/officeDocument/2006/relationships/tags" Target="../tags/tag107.xml"/><Relationship Id="rId51" Type="http://schemas.openxmlformats.org/officeDocument/2006/relationships/image" Target="../media/image84.png"/><Relationship Id="rId3" Type="http://schemas.openxmlformats.org/officeDocument/2006/relationships/tags" Target="../tags/tag102.xml"/><Relationship Id="rId12" Type="http://schemas.openxmlformats.org/officeDocument/2006/relationships/tags" Target="../tags/tag111.xml"/><Relationship Id="rId17" Type="http://schemas.openxmlformats.org/officeDocument/2006/relationships/tags" Target="../tags/tag116.xml"/><Relationship Id="rId25" Type="http://schemas.openxmlformats.org/officeDocument/2006/relationships/image" Target="../media/image58.png"/><Relationship Id="rId33" Type="http://schemas.openxmlformats.org/officeDocument/2006/relationships/image" Target="../media/image66.png"/><Relationship Id="rId38" Type="http://schemas.openxmlformats.org/officeDocument/2006/relationships/image" Target="../media/image71.svg"/><Relationship Id="rId46" Type="http://schemas.openxmlformats.org/officeDocument/2006/relationships/image" Target="../media/image79.png"/><Relationship Id="rId59" Type="http://schemas.openxmlformats.org/officeDocument/2006/relationships/image" Target="../media/image92.png"/></Relationships>
</file>

<file path=ppt/slides/_rels/slide22.xml.rels><?xml version="1.0" encoding="UTF-8" standalone="yes"?>
<Relationships xmlns="http://schemas.openxmlformats.org/package/2006/relationships"><Relationship Id="rId13" Type="http://schemas.openxmlformats.org/officeDocument/2006/relationships/tags" Target="../tags/tag131.xml"/><Relationship Id="rId18" Type="http://schemas.openxmlformats.org/officeDocument/2006/relationships/tags" Target="../tags/tag136.xml"/><Relationship Id="rId26" Type="http://schemas.openxmlformats.org/officeDocument/2006/relationships/image" Target="../media/image59.svg"/><Relationship Id="rId39" Type="http://schemas.openxmlformats.org/officeDocument/2006/relationships/image" Target="../media/image72.png"/><Relationship Id="rId21" Type="http://schemas.openxmlformats.org/officeDocument/2006/relationships/image" Target="../media/image54.png"/><Relationship Id="rId34" Type="http://schemas.openxmlformats.org/officeDocument/2006/relationships/image" Target="../media/image67.svg"/><Relationship Id="rId42" Type="http://schemas.openxmlformats.org/officeDocument/2006/relationships/image" Target="../media/image75.png"/><Relationship Id="rId47" Type="http://schemas.openxmlformats.org/officeDocument/2006/relationships/image" Target="../media/image80.svg"/><Relationship Id="rId50" Type="http://schemas.openxmlformats.org/officeDocument/2006/relationships/image" Target="../media/image83.png"/><Relationship Id="rId55" Type="http://schemas.openxmlformats.org/officeDocument/2006/relationships/image" Target="../media/image88.png"/><Relationship Id="rId7" Type="http://schemas.openxmlformats.org/officeDocument/2006/relationships/tags" Target="../tags/tag125.xml"/><Relationship Id="rId2" Type="http://schemas.openxmlformats.org/officeDocument/2006/relationships/tags" Target="../tags/tag120.xml"/><Relationship Id="rId16" Type="http://schemas.openxmlformats.org/officeDocument/2006/relationships/tags" Target="../tags/tag134.xml"/><Relationship Id="rId20" Type="http://schemas.openxmlformats.org/officeDocument/2006/relationships/slideLayout" Target="../slideLayouts/slideLayout9.xml"/><Relationship Id="rId29" Type="http://schemas.openxmlformats.org/officeDocument/2006/relationships/image" Target="../media/image62.png"/><Relationship Id="rId41" Type="http://schemas.openxmlformats.org/officeDocument/2006/relationships/image" Target="../media/image74.svg"/><Relationship Id="rId54" Type="http://schemas.openxmlformats.org/officeDocument/2006/relationships/image" Target="../media/image87.svg"/><Relationship Id="rId62" Type="http://schemas.openxmlformats.org/officeDocument/2006/relationships/image" Target="../media/image95.svg"/><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tags" Target="../tags/tag129.xml"/><Relationship Id="rId24" Type="http://schemas.openxmlformats.org/officeDocument/2006/relationships/image" Target="../media/image57.svg"/><Relationship Id="rId32" Type="http://schemas.openxmlformats.org/officeDocument/2006/relationships/image" Target="../media/image65.svg"/><Relationship Id="rId37" Type="http://schemas.openxmlformats.org/officeDocument/2006/relationships/image" Target="../media/image70.png"/><Relationship Id="rId40" Type="http://schemas.openxmlformats.org/officeDocument/2006/relationships/image" Target="../media/image73.png"/><Relationship Id="rId45" Type="http://schemas.openxmlformats.org/officeDocument/2006/relationships/image" Target="../media/image78.svg"/><Relationship Id="rId53" Type="http://schemas.openxmlformats.org/officeDocument/2006/relationships/image" Target="../media/image86.png"/><Relationship Id="rId58" Type="http://schemas.openxmlformats.org/officeDocument/2006/relationships/image" Target="../media/image91.svg"/><Relationship Id="rId5" Type="http://schemas.openxmlformats.org/officeDocument/2006/relationships/tags" Target="../tags/tag123.xml"/><Relationship Id="rId15" Type="http://schemas.openxmlformats.org/officeDocument/2006/relationships/tags" Target="../tags/tag133.xml"/><Relationship Id="rId23" Type="http://schemas.openxmlformats.org/officeDocument/2006/relationships/image" Target="../media/image56.png"/><Relationship Id="rId28" Type="http://schemas.openxmlformats.org/officeDocument/2006/relationships/image" Target="../media/image61.svg"/><Relationship Id="rId36" Type="http://schemas.openxmlformats.org/officeDocument/2006/relationships/image" Target="../media/image69.svg"/><Relationship Id="rId49" Type="http://schemas.openxmlformats.org/officeDocument/2006/relationships/image" Target="../media/image82.png"/><Relationship Id="rId57" Type="http://schemas.openxmlformats.org/officeDocument/2006/relationships/image" Target="../media/image90.png"/><Relationship Id="rId61" Type="http://schemas.openxmlformats.org/officeDocument/2006/relationships/image" Target="../media/image94.png"/><Relationship Id="rId10" Type="http://schemas.openxmlformats.org/officeDocument/2006/relationships/tags" Target="../tags/tag128.xml"/><Relationship Id="rId19" Type="http://schemas.openxmlformats.org/officeDocument/2006/relationships/tags" Target="../tags/tag137.xml"/><Relationship Id="rId31" Type="http://schemas.openxmlformats.org/officeDocument/2006/relationships/image" Target="../media/image64.png"/><Relationship Id="rId44" Type="http://schemas.openxmlformats.org/officeDocument/2006/relationships/image" Target="../media/image77.png"/><Relationship Id="rId52" Type="http://schemas.openxmlformats.org/officeDocument/2006/relationships/image" Target="../media/image85.svg"/><Relationship Id="rId60" Type="http://schemas.openxmlformats.org/officeDocument/2006/relationships/image" Target="../media/image93.svg"/><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 Id="rId22" Type="http://schemas.openxmlformats.org/officeDocument/2006/relationships/image" Target="../media/image55.svg"/><Relationship Id="rId27" Type="http://schemas.openxmlformats.org/officeDocument/2006/relationships/image" Target="../media/image60.png"/><Relationship Id="rId30" Type="http://schemas.openxmlformats.org/officeDocument/2006/relationships/image" Target="../media/image63.svg"/><Relationship Id="rId35" Type="http://schemas.openxmlformats.org/officeDocument/2006/relationships/image" Target="../media/image68.png"/><Relationship Id="rId43" Type="http://schemas.openxmlformats.org/officeDocument/2006/relationships/image" Target="../media/image76.svg"/><Relationship Id="rId48" Type="http://schemas.openxmlformats.org/officeDocument/2006/relationships/image" Target="../media/image81.png"/><Relationship Id="rId56" Type="http://schemas.openxmlformats.org/officeDocument/2006/relationships/image" Target="../media/image89.svg"/><Relationship Id="rId8" Type="http://schemas.openxmlformats.org/officeDocument/2006/relationships/tags" Target="../tags/tag126.xml"/><Relationship Id="rId51" Type="http://schemas.openxmlformats.org/officeDocument/2006/relationships/image" Target="../media/image84.png"/><Relationship Id="rId3" Type="http://schemas.openxmlformats.org/officeDocument/2006/relationships/tags" Target="../tags/tag121.xml"/><Relationship Id="rId12" Type="http://schemas.openxmlformats.org/officeDocument/2006/relationships/tags" Target="../tags/tag130.xml"/><Relationship Id="rId17" Type="http://schemas.openxmlformats.org/officeDocument/2006/relationships/tags" Target="../tags/tag135.xml"/><Relationship Id="rId25" Type="http://schemas.openxmlformats.org/officeDocument/2006/relationships/image" Target="../media/image58.png"/><Relationship Id="rId33" Type="http://schemas.openxmlformats.org/officeDocument/2006/relationships/image" Target="../media/image66.png"/><Relationship Id="rId38" Type="http://schemas.openxmlformats.org/officeDocument/2006/relationships/image" Target="../media/image71.svg"/><Relationship Id="rId46" Type="http://schemas.openxmlformats.org/officeDocument/2006/relationships/image" Target="../media/image79.png"/><Relationship Id="rId59" Type="http://schemas.openxmlformats.org/officeDocument/2006/relationships/image" Target="../media/image92.png"/></Relationships>
</file>

<file path=ppt/slides/_rels/slide23.xml.rels><?xml version="1.0" encoding="UTF-8" standalone="yes"?>
<Relationships xmlns="http://schemas.openxmlformats.org/package/2006/relationships"><Relationship Id="rId13" Type="http://schemas.openxmlformats.org/officeDocument/2006/relationships/tags" Target="../tags/tag150.xml"/><Relationship Id="rId18" Type="http://schemas.openxmlformats.org/officeDocument/2006/relationships/tags" Target="../tags/tag155.xml"/><Relationship Id="rId26" Type="http://schemas.openxmlformats.org/officeDocument/2006/relationships/image" Target="../media/image59.svg"/><Relationship Id="rId39" Type="http://schemas.openxmlformats.org/officeDocument/2006/relationships/image" Target="../media/image72.png"/><Relationship Id="rId21" Type="http://schemas.openxmlformats.org/officeDocument/2006/relationships/image" Target="../media/image54.png"/><Relationship Id="rId34" Type="http://schemas.openxmlformats.org/officeDocument/2006/relationships/image" Target="../media/image67.svg"/><Relationship Id="rId42" Type="http://schemas.openxmlformats.org/officeDocument/2006/relationships/image" Target="../media/image75.png"/><Relationship Id="rId47" Type="http://schemas.openxmlformats.org/officeDocument/2006/relationships/image" Target="../media/image80.svg"/><Relationship Id="rId50" Type="http://schemas.openxmlformats.org/officeDocument/2006/relationships/image" Target="../media/image83.png"/><Relationship Id="rId55" Type="http://schemas.openxmlformats.org/officeDocument/2006/relationships/image" Target="../media/image88.png"/><Relationship Id="rId7" Type="http://schemas.openxmlformats.org/officeDocument/2006/relationships/tags" Target="../tags/tag144.xml"/><Relationship Id="rId2" Type="http://schemas.openxmlformats.org/officeDocument/2006/relationships/tags" Target="../tags/tag139.xml"/><Relationship Id="rId16" Type="http://schemas.openxmlformats.org/officeDocument/2006/relationships/tags" Target="../tags/tag153.xml"/><Relationship Id="rId20" Type="http://schemas.openxmlformats.org/officeDocument/2006/relationships/slideLayout" Target="../slideLayouts/slideLayout9.xml"/><Relationship Id="rId29" Type="http://schemas.openxmlformats.org/officeDocument/2006/relationships/image" Target="../media/image62.png"/><Relationship Id="rId41" Type="http://schemas.openxmlformats.org/officeDocument/2006/relationships/image" Target="../media/image74.svg"/><Relationship Id="rId54" Type="http://schemas.openxmlformats.org/officeDocument/2006/relationships/image" Target="../media/image87.svg"/><Relationship Id="rId62" Type="http://schemas.openxmlformats.org/officeDocument/2006/relationships/image" Target="../media/image95.svg"/><Relationship Id="rId1" Type="http://schemas.openxmlformats.org/officeDocument/2006/relationships/tags" Target="../tags/tag138.xml"/><Relationship Id="rId6" Type="http://schemas.openxmlformats.org/officeDocument/2006/relationships/tags" Target="../tags/tag143.xml"/><Relationship Id="rId11" Type="http://schemas.openxmlformats.org/officeDocument/2006/relationships/tags" Target="../tags/tag148.xml"/><Relationship Id="rId24" Type="http://schemas.openxmlformats.org/officeDocument/2006/relationships/image" Target="../media/image57.svg"/><Relationship Id="rId32" Type="http://schemas.openxmlformats.org/officeDocument/2006/relationships/image" Target="../media/image65.svg"/><Relationship Id="rId37" Type="http://schemas.openxmlformats.org/officeDocument/2006/relationships/image" Target="../media/image70.png"/><Relationship Id="rId40" Type="http://schemas.openxmlformats.org/officeDocument/2006/relationships/image" Target="../media/image73.png"/><Relationship Id="rId45" Type="http://schemas.openxmlformats.org/officeDocument/2006/relationships/image" Target="../media/image78.svg"/><Relationship Id="rId53" Type="http://schemas.openxmlformats.org/officeDocument/2006/relationships/image" Target="../media/image86.png"/><Relationship Id="rId58" Type="http://schemas.openxmlformats.org/officeDocument/2006/relationships/image" Target="../media/image91.svg"/><Relationship Id="rId5" Type="http://schemas.openxmlformats.org/officeDocument/2006/relationships/tags" Target="../tags/tag142.xml"/><Relationship Id="rId15" Type="http://schemas.openxmlformats.org/officeDocument/2006/relationships/tags" Target="../tags/tag152.xml"/><Relationship Id="rId23" Type="http://schemas.openxmlformats.org/officeDocument/2006/relationships/image" Target="../media/image56.png"/><Relationship Id="rId28" Type="http://schemas.openxmlformats.org/officeDocument/2006/relationships/image" Target="../media/image61.svg"/><Relationship Id="rId36" Type="http://schemas.openxmlformats.org/officeDocument/2006/relationships/image" Target="../media/image69.svg"/><Relationship Id="rId49" Type="http://schemas.openxmlformats.org/officeDocument/2006/relationships/image" Target="../media/image82.png"/><Relationship Id="rId57" Type="http://schemas.openxmlformats.org/officeDocument/2006/relationships/image" Target="../media/image90.png"/><Relationship Id="rId61" Type="http://schemas.openxmlformats.org/officeDocument/2006/relationships/image" Target="../media/image94.png"/><Relationship Id="rId10" Type="http://schemas.openxmlformats.org/officeDocument/2006/relationships/tags" Target="../tags/tag147.xml"/><Relationship Id="rId19" Type="http://schemas.openxmlformats.org/officeDocument/2006/relationships/tags" Target="../tags/tag156.xml"/><Relationship Id="rId31" Type="http://schemas.openxmlformats.org/officeDocument/2006/relationships/image" Target="../media/image64.png"/><Relationship Id="rId44" Type="http://schemas.openxmlformats.org/officeDocument/2006/relationships/image" Target="../media/image77.png"/><Relationship Id="rId52" Type="http://schemas.openxmlformats.org/officeDocument/2006/relationships/image" Target="../media/image85.svg"/><Relationship Id="rId60" Type="http://schemas.openxmlformats.org/officeDocument/2006/relationships/image" Target="../media/image93.svg"/><Relationship Id="rId4" Type="http://schemas.openxmlformats.org/officeDocument/2006/relationships/tags" Target="../tags/tag141.xml"/><Relationship Id="rId9" Type="http://schemas.openxmlformats.org/officeDocument/2006/relationships/tags" Target="../tags/tag146.xml"/><Relationship Id="rId14" Type="http://schemas.openxmlformats.org/officeDocument/2006/relationships/tags" Target="../tags/tag151.xml"/><Relationship Id="rId22" Type="http://schemas.openxmlformats.org/officeDocument/2006/relationships/image" Target="../media/image55.svg"/><Relationship Id="rId27" Type="http://schemas.openxmlformats.org/officeDocument/2006/relationships/image" Target="../media/image60.png"/><Relationship Id="rId30" Type="http://schemas.openxmlformats.org/officeDocument/2006/relationships/image" Target="../media/image63.svg"/><Relationship Id="rId35" Type="http://schemas.openxmlformats.org/officeDocument/2006/relationships/image" Target="../media/image68.png"/><Relationship Id="rId43" Type="http://schemas.openxmlformats.org/officeDocument/2006/relationships/image" Target="../media/image76.svg"/><Relationship Id="rId48" Type="http://schemas.openxmlformats.org/officeDocument/2006/relationships/image" Target="../media/image81.png"/><Relationship Id="rId56" Type="http://schemas.openxmlformats.org/officeDocument/2006/relationships/image" Target="../media/image89.svg"/><Relationship Id="rId8" Type="http://schemas.openxmlformats.org/officeDocument/2006/relationships/tags" Target="../tags/tag145.xml"/><Relationship Id="rId51" Type="http://schemas.openxmlformats.org/officeDocument/2006/relationships/image" Target="../media/image84.png"/><Relationship Id="rId3" Type="http://schemas.openxmlformats.org/officeDocument/2006/relationships/tags" Target="../tags/tag140.xml"/><Relationship Id="rId12" Type="http://schemas.openxmlformats.org/officeDocument/2006/relationships/tags" Target="../tags/tag149.xml"/><Relationship Id="rId17" Type="http://schemas.openxmlformats.org/officeDocument/2006/relationships/tags" Target="../tags/tag154.xml"/><Relationship Id="rId25" Type="http://schemas.openxmlformats.org/officeDocument/2006/relationships/image" Target="../media/image58.png"/><Relationship Id="rId33" Type="http://schemas.openxmlformats.org/officeDocument/2006/relationships/image" Target="../media/image66.png"/><Relationship Id="rId38" Type="http://schemas.openxmlformats.org/officeDocument/2006/relationships/image" Target="../media/image71.svg"/><Relationship Id="rId46" Type="http://schemas.openxmlformats.org/officeDocument/2006/relationships/image" Target="../media/image79.png"/><Relationship Id="rId59" Type="http://schemas.openxmlformats.org/officeDocument/2006/relationships/image" Target="../media/image92.png"/></Relationships>
</file>

<file path=ppt/slides/_rels/slide24.xml.rels><?xml version="1.0" encoding="UTF-8" standalone="yes"?>
<Relationships xmlns="http://schemas.openxmlformats.org/package/2006/relationships"><Relationship Id="rId13" Type="http://schemas.openxmlformats.org/officeDocument/2006/relationships/tags" Target="../tags/tag169.xml"/><Relationship Id="rId18" Type="http://schemas.openxmlformats.org/officeDocument/2006/relationships/image" Target="../media/image54.png"/><Relationship Id="rId26" Type="http://schemas.openxmlformats.org/officeDocument/2006/relationships/image" Target="../media/image62.png"/><Relationship Id="rId39" Type="http://schemas.openxmlformats.org/officeDocument/2006/relationships/image" Target="../media/image75.png"/><Relationship Id="rId3" Type="http://schemas.openxmlformats.org/officeDocument/2006/relationships/tags" Target="../tags/tag159.xml"/><Relationship Id="rId21" Type="http://schemas.openxmlformats.org/officeDocument/2006/relationships/image" Target="../media/image57.svg"/><Relationship Id="rId34" Type="http://schemas.openxmlformats.org/officeDocument/2006/relationships/image" Target="../media/image70.png"/><Relationship Id="rId42" Type="http://schemas.openxmlformats.org/officeDocument/2006/relationships/image" Target="../media/image78.svg"/><Relationship Id="rId47" Type="http://schemas.openxmlformats.org/officeDocument/2006/relationships/image" Target="../media/image83.png"/><Relationship Id="rId50" Type="http://schemas.openxmlformats.org/officeDocument/2006/relationships/image" Target="../media/image98.png"/><Relationship Id="rId7" Type="http://schemas.openxmlformats.org/officeDocument/2006/relationships/tags" Target="../tags/tag163.xml"/><Relationship Id="rId12" Type="http://schemas.openxmlformats.org/officeDocument/2006/relationships/tags" Target="../tags/tag168.xml"/><Relationship Id="rId17" Type="http://schemas.openxmlformats.org/officeDocument/2006/relationships/notesSlide" Target="../notesSlides/notesSlide4.xml"/><Relationship Id="rId25" Type="http://schemas.openxmlformats.org/officeDocument/2006/relationships/image" Target="../media/image61.svg"/><Relationship Id="rId33" Type="http://schemas.openxmlformats.org/officeDocument/2006/relationships/image" Target="../media/image69.svg"/><Relationship Id="rId38" Type="http://schemas.openxmlformats.org/officeDocument/2006/relationships/image" Target="../media/image74.svg"/><Relationship Id="rId46" Type="http://schemas.openxmlformats.org/officeDocument/2006/relationships/image" Target="../media/image82.png"/><Relationship Id="rId2" Type="http://schemas.openxmlformats.org/officeDocument/2006/relationships/tags" Target="../tags/tag158.xml"/><Relationship Id="rId16" Type="http://schemas.openxmlformats.org/officeDocument/2006/relationships/slideLayout" Target="../slideLayouts/slideLayout9.xml"/><Relationship Id="rId20" Type="http://schemas.openxmlformats.org/officeDocument/2006/relationships/image" Target="../media/image56.png"/><Relationship Id="rId29" Type="http://schemas.openxmlformats.org/officeDocument/2006/relationships/image" Target="../media/image65.svg"/><Relationship Id="rId41" Type="http://schemas.openxmlformats.org/officeDocument/2006/relationships/image" Target="../media/image77.png"/><Relationship Id="rId1" Type="http://schemas.openxmlformats.org/officeDocument/2006/relationships/tags" Target="../tags/tag157.xml"/><Relationship Id="rId6" Type="http://schemas.openxmlformats.org/officeDocument/2006/relationships/tags" Target="../tags/tag162.xml"/><Relationship Id="rId11" Type="http://schemas.openxmlformats.org/officeDocument/2006/relationships/tags" Target="../tags/tag167.xml"/><Relationship Id="rId24" Type="http://schemas.openxmlformats.org/officeDocument/2006/relationships/image" Target="../media/image60.png"/><Relationship Id="rId32" Type="http://schemas.openxmlformats.org/officeDocument/2006/relationships/image" Target="../media/image68.png"/><Relationship Id="rId37" Type="http://schemas.openxmlformats.org/officeDocument/2006/relationships/image" Target="../media/image73.png"/><Relationship Id="rId40" Type="http://schemas.openxmlformats.org/officeDocument/2006/relationships/image" Target="../media/image76.svg"/><Relationship Id="rId45" Type="http://schemas.openxmlformats.org/officeDocument/2006/relationships/image" Target="../media/image81.png"/><Relationship Id="rId53" Type="http://schemas.openxmlformats.org/officeDocument/2006/relationships/image" Target="../media/image101.svg"/><Relationship Id="rId5" Type="http://schemas.openxmlformats.org/officeDocument/2006/relationships/tags" Target="../tags/tag161.xml"/><Relationship Id="rId15" Type="http://schemas.openxmlformats.org/officeDocument/2006/relationships/tags" Target="../tags/tag171.xml"/><Relationship Id="rId23" Type="http://schemas.openxmlformats.org/officeDocument/2006/relationships/image" Target="../media/image59.svg"/><Relationship Id="rId28" Type="http://schemas.openxmlformats.org/officeDocument/2006/relationships/image" Target="../media/image64.png"/><Relationship Id="rId36" Type="http://schemas.openxmlformats.org/officeDocument/2006/relationships/image" Target="../media/image72.png"/><Relationship Id="rId49" Type="http://schemas.openxmlformats.org/officeDocument/2006/relationships/image" Target="../media/image97.svg"/><Relationship Id="rId10" Type="http://schemas.openxmlformats.org/officeDocument/2006/relationships/tags" Target="../tags/tag166.xml"/><Relationship Id="rId19" Type="http://schemas.openxmlformats.org/officeDocument/2006/relationships/image" Target="../media/image55.svg"/><Relationship Id="rId31" Type="http://schemas.openxmlformats.org/officeDocument/2006/relationships/image" Target="../media/image67.svg"/><Relationship Id="rId44" Type="http://schemas.openxmlformats.org/officeDocument/2006/relationships/image" Target="../media/image80.svg"/><Relationship Id="rId52" Type="http://schemas.openxmlformats.org/officeDocument/2006/relationships/image" Target="../media/image100.png"/><Relationship Id="rId4" Type="http://schemas.openxmlformats.org/officeDocument/2006/relationships/tags" Target="../tags/tag160.xml"/><Relationship Id="rId9" Type="http://schemas.openxmlformats.org/officeDocument/2006/relationships/tags" Target="../tags/tag165.xml"/><Relationship Id="rId14" Type="http://schemas.openxmlformats.org/officeDocument/2006/relationships/tags" Target="../tags/tag170.xml"/><Relationship Id="rId22" Type="http://schemas.openxmlformats.org/officeDocument/2006/relationships/image" Target="../media/image58.png"/><Relationship Id="rId27" Type="http://schemas.openxmlformats.org/officeDocument/2006/relationships/image" Target="../media/image63.svg"/><Relationship Id="rId30" Type="http://schemas.openxmlformats.org/officeDocument/2006/relationships/image" Target="../media/image66.png"/><Relationship Id="rId35" Type="http://schemas.openxmlformats.org/officeDocument/2006/relationships/image" Target="../media/image71.svg"/><Relationship Id="rId43" Type="http://schemas.openxmlformats.org/officeDocument/2006/relationships/image" Target="../media/image79.png"/><Relationship Id="rId48" Type="http://schemas.openxmlformats.org/officeDocument/2006/relationships/image" Target="../media/image96.png"/><Relationship Id="rId8" Type="http://schemas.openxmlformats.org/officeDocument/2006/relationships/tags" Target="../tags/tag164.xml"/><Relationship Id="rId51" Type="http://schemas.openxmlformats.org/officeDocument/2006/relationships/image" Target="../media/image99.sv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8" Type="http://schemas.openxmlformats.org/officeDocument/2006/relationships/tags" Target="../tags/tag179.xml"/><Relationship Id="rId13" Type="http://schemas.openxmlformats.org/officeDocument/2006/relationships/tags" Target="../tags/tag184.xml"/><Relationship Id="rId18" Type="http://schemas.openxmlformats.org/officeDocument/2006/relationships/tags" Target="../tags/tag189.xml"/><Relationship Id="rId26" Type="http://schemas.openxmlformats.org/officeDocument/2006/relationships/image" Target="../media/image104.png"/><Relationship Id="rId3" Type="http://schemas.openxmlformats.org/officeDocument/2006/relationships/tags" Target="../tags/tag174.xml"/><Relationship Id="rId21" Type="http://schemas.openxmlformats.org/officeDocument/2006/relationships/tags" Target="../tags/tag192.xml"/><Relationship Id="rId7" Type="http://schemas.openxmlformats.org/officeDocument/2006/relationships/tags" Target="../tags/tag178.xml"/><Relationship Id="rId12" Type="http://schemas.openxmlformats.org/officeDocument/2006/relationships/tags" Target="../tags/tag183.xml"/><Relationship Id="rId17" Type="http://schemas.openxmlformats.org/officeDocument/2006/relationships/tags" Target="../tags/tag188.xml"/><Relationship Id="rId25" Type="http://schemas.openxmlformats.org/officeDocument/2006/relationships/image" Target="../media/image103.svg"/><Relationship Id="rId33" Type="http://schemas.microsoft.com/office/2007/relationships/hdphoto" Target="../media/hdphoto1.wdp"/><Relationship Id="rId2" Type="http://schemas.openxmlformats.org/officeDocument/2006/relationships/tags" Target="../tags/tag173.xml"/><Relationship Id="rId16" Type="http://schemas.openxmlformats.org/officeDocument/2006/relationships/tags" Target="../tags/tag187.xml"/><Relationship Id="rId20" Type="http://schemas.openxmlformats.org/officeDocument/2006/relationships/tags" Target="../tags/tag191.xml"/><Relationship Id="rId29" Type="http://schemas.openxmlformats.org/officeDocument/2006/relationships/image" Target="../media/image107.svg"/><Relationship Id="rId1" Type="http://schemas.openxmlformats.org/officeDocument/2006/relationships/tags" Target="../tags/tag172.xml"/><Relationship Id="rId6" Type="http://schemas.openxmlformats.org/officeDocument/2006/relationships/tags" Target="../tags/tag177.xml"/><Relationship Id="rId11" Type="http://schemas.openxmlformats.org/officeDocument/2006/relationships/tags" Target="../tags/tag182.xml"/><Relationship Id="rId24" Type="http://schemas.openxmlformats.org/officeDocument/2006/relationships/image" Target="../media/image102.png"/><Relationship Id="rId32" Type="http://schemas.openxmlformats.org/officeDocument/2006/relationships/image" Target="../media/image110.png"/><Relationship Id="rId5" Type="http://schemas.openxmlformats.org/officeDocument/2006/relationships/tags" Target="../tags/tag176.xml"/><Relationship Id="rId15" Type="http://schemas.openxmlformats.org/officeDocument/2006/relationships/tags" Target="../tags/tag186.xml"/><Relationship Id="rId23" Type="http://schemas.openxmlformats.org/officeDocument/2006/relationships/notesSlide" Target="../notesSlides/notesSlide5.xml"/><Relationship Id="rId28" Type="http://schemas.openxmlformats.org/officeDocument/2006/relationships/image" Target="../media/image106.png"/><Relationship Id="rId10" Type="http://schemas.openxmlformats.org/officeDocument/2006/relationships/tags" Target="../tags/tag181.xml"/><Relationship Id="rId19" Type="http://schemas.openxmlformats.org/officeDocument/2006/relationships/tags" Target="../tags/tag190.xml"/><Relationship Id="rId31" Type="http://schemas.openxmlformats.org/officeDocument/2006/relationships/image" Target="../media/image109.svg"/><Relationship Id="rId4" Type="http://schemas.openxmlformats.org/officeDocument/2006/relationships/tags" Target="../tags/tag175.xml"/><Relationship Id="rId9" Type="http://schemas.openxmlformats.org/officeDocument/2006/relationships/tags" Target="../tags/tag180.xml"/><Relationship Id="rId14" Type="http://schemas.openxmlformats.org/officeDocument/2006/relationships/tags" Target="../tags/tag185.xml"/><Relationship Id="rId22" Type="http://schemas.openxmlformats.org/officeDocument/2006/relationships/slideLayout" Target="../slideLayouts/slideLayout11.xml"/><Relationship Id="rId27" Type="http://schemas.openxmlformats.org/officeDocument/2006/relationships/image" Target="../media/image105.svg"/><Relationship Id="rId30" Type="http://schemas.openxmlformats.org/officeDocument/2006/relationships/image" Target="../media/image108.png"/></Relationships>
</file>

<file path=ppt/slides/_rels/slide27.xml.rels><?xml version="1.0" encoding="UTF-8" standalone="yes"?>
<Relationships xmlns="http://schemas.openxmlformats.org/package/2006/relationships"><Relationship Id="rId8" Type="http://schemas.openxmlformats.org/officeDocument/2006/relationships/tags" Target="../tags/tag200.xml"/><Relationship Id="rId13" Type="http://schemas.openxmlformats.org/officeDocument/2006/relationships/tags" Target="../tags/tag205.xml"/><Relationship Id="rId18" Type="http://schemas.openxmlformats.org/officeDocument/2006/relationships/tags" Target="../tags/tag210.xml"/><Relationship Id="rId26" Type="http://schemas.openxmlformats.org/officeDocument/2006/relationships/image" Target="../media/image114.svg"/><Relationship Id="rId39" Type="http://schemas.openxmlformats.org/officeDocument/2006/relationships/image" Target="../media/image127.png"/><Relationship Id="rId3" Type="http://schemas.openxmlformats.org/officeDocument/2006/relationships/tags" Target="../tags/tag195.xml"/><Relationship Id="rId21" Type="http://schemas.openxmlformats.org/officeDocument/2006/relationships/image" Target="../media/image111.png"/><Relationship Id="rId34" Type="http://schemas.openxmlformats.org/officeDocument/2006/relationships/image" Target="../media/image122.svg"/><Relationship Id="rId42" Type="http://schemas.openxmlformats.org/officeDocument/2006/relationships/image" Target="../media/image130.svg"/><Relationship Id="rId7" Type="http://schemas.openxmlformats.org/officeDocument/2006/relationships/tags" Target="../tags/tag199.xml"/><Relationship Id="rId12" Type="http://schemas.openxmlformats.org/officeDocument/2006/relationships/tags" Target="../tags/tag204.xml"/><Relationship Id="rId17" Type="http://schemas.openxmlformats.org/officeDocument/2006/relationships/tags" Target="../tags/tag209.xml"/><Relationship Id="rId25" Type="http://schemas.openxmlformats.org/officeDocument/2006/relationships/image" Target="../media/image113.png"/><Relationship Id="rId33" Type="http://schemas.openxmlformats.org/officeDocument/2006/relationships/image" Target="../media/image121.png"/><Relationship Id="rId38" Type="http://schemas.openxmlformats.org/officeDocument/2006/relationships/image" Target="../media/image126.svg"/><Relationship Id="rId2" Type="http://schemas.openxmlformats.org/officeDocument/2006/relationships/tags" Target="../tags/tag194.xml"/><Relationship Id="rId16" Type="http://schemas.openxmlformats.org/officeDocument/2006/relationships/tags" Target="../tags/tag208.xml"/><Relationship Id="rId20" Type="http://schemas.openxmlformats.org/officeDocument/2006/relationships/notesSlide" Target="../notesSlides/notesSlide6.xml"/><Relationship Id="rId29" Type="http://schemas.openxmlformats.org/officeDocument/2006/relationships/image" Target="../media/image117.png"/><Relationship Id="rId41" Type="http://schemas.openxmlformats.org/officeDocument/2006/relationships/image" Target="../media/image129.png"/><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tags" Target="../tags/tag203.xml"/><Relationship Id="rId24" Type="http://schemas.openxmlformats.org/officeDocument/2006/relationships/image" Target="../media/image93.svg"/><Relationship Id="rId32" Type="http://schemas.openxmlformats.org/officeDocument/2006/relationships/image" Target="../media/image120.svg"/><Relationship Id="rId37" Type="http://schemas.openxmlformats.org/officeDocument/2006/relationships/image" Target="../media/image125.png"/><Relationship Id="rId40" Type="http://schemas.openxmlformats.org/officeDocument/2006/relationships/image" Target="../media/image128.svg"/><Relationship Id="rId5" Type="http://schemas.openxmlformats.org/officeDocument/2006/relationships/tags" Target="../tags/tag197.xml"/><Relationship Id="rId15" Type="http://schemas.openxmlformats.org/officeDocument/2006/relationships/tags" Target="../tags/tag207.xml"/><Relationship Id="rId23" Type="http://schemas.openxmlformats.org/officeDocument/2006/relationships/image" Target="../media/image92.png"/><Relationship Id="rId28" Type="http://schemas.openxmlformats.org/officeDocument/2006/relationships/image" Target="../media/image116.svg"/><Relationship Id="rId36" Type="http://schemas.openxmlformats.org/officeDocument/2006/relationships/image" Target="../media/image124.svg"/><Relationship Id="rId10" Type="http://schemas.openxmlformats.org/officeDocument/2006/relationships/tags" Target="../tags/tag202.xml"/><Relationship Id="rId19" Type="http://schemas.openxmlformats.org/officeDocument/2006/relationships/slideLayout" Target="../slideLayouts/slideLayout11.xml"/><Relationship Id="rId31" Type="http://schemas.openxmlformats.org/officeDocument/2006/relationships/image" Target="../media/image119.png"/><Relationship Id="rId44" Type="http://schemas.openxmlformats.org/officeDocument/2006/relationships/image" Target="../media/image132.svg"/><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tags" Target="../tags/tag206.xml"/><Relationship Id="rId22" Type="http://schemas.openxmlformats.org/officeDocument/2006/relationships/image" Target="../media/image112.svg"/><Relationship Id="rId27" Type="http://schemas.openxmlformats.org/officeDocument/2006/relationships/image" Target="../media/image115.png"/><Relationship Id="rId30" Type="http://schemas.openxmlformats.org/officeDocument/2006/relationships/image" Target="../media/image118.svg"/><Relationship Id="rId35" Type="http://schemas.openxmlformats.org/officeDocument/2006/relationships/image" Target="../media/image123.png"/><Relationship Id="rId43" Type="http://schemas.openxmlformats.org/officeDocument/2006/relationships/image" Target="../media/image131.png"/></Relationships>
</file>

<file path=ppt/slides/_rels/slide28.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tags" Target="../tags/tag213.xml"/><Relationship Id="rId7" Type="http://schemas.openxmlformats.org/officeDocument/2006/relationships/image" Target="../media/image134.svg"/><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image" Target="../media/image133.png"/><Relationship Id="rId11" Type="http://schemas.openxmlformats.org/officeDocument/2006/relationships/image" Target="../media/image138.svg"/><Relationship Id="rId5" Type="http://schemas.openxmlformats.org/officeDocument/2006/relationships/notesSlide" Target="../notesSlides/notesSlide7.xml"/><Relationship Id="rId10" Type="http://schemas.openxmlformats.org/officeDocument/2006/relationships/image" Target="../media/image137.png"/><Relationship Id="rId4" Type="http://schemas.openxmlformats.org/officeDocument/2006/relationships/slideLayout" Target="../slideLayouts/slideLayout11.xml"/><Relationship Id="rId9" Type="http://schemas.openxmlformats.org/officeDocument/2006/relationships/image" Target="../media/image136.svg"/></Relationships>
</file>

<file path=ppt/slides/_rels/slide29.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slide" Target="slide4.xml"/><Relationship Id="rId1" Type="http://schemas.openxmlformats.org/officeDocument/2006/relationships/slideLayout" Target="../slideLayouts/slideLayout16.xml"/><Relationship Id="rId6" Type="http://schemas.openxmlformats.org/officeDocument/2006/relationships/slide" Target="slide55.xml"/><Relationship Id="rId5" Type="http://schemas.openxmlformats.org/officeDocument/2006/relationships/slide" Target="slide42.xml"/><Relationship Id="rId4" Type="http://schemas.openxmlformats.org/officeDocument/2006/relationships/slide" Target="slide30.xml"/></Relationships>
</file>

<file path=ppt/slides/_rels/slide3.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slide" Target="slide4.xml"/><Relationship Id="rId1" Type="http://schemas.openxmlformats.org/officeDocument/2006/relationships/slideLayout" Target="../slideLayouts/slideLayout16.xml"/><Relationship Id="rId6" Type="http://schemas.openxmlformats.org/officeDocument/2006/relationships/slide" Target="slide55.xml"/><Relationship Id="rId5" Type="http://schemas.openxmlformats.org/officeDocument/2006/relationships/slide" Target="slide42.xml"/><Relationship Id="rId4" Type="http://schemas.openxmlformats.org/officeDocument/2006/relationships/slide" Target="slide3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image" Target="../media/image57.svg"/><Relationship Id="rId18" Type="http://schemas.openxmlformats.org/officeDocument/2006/relationships/image" Target="../media/image111.png"/><Relationship Id="rId3" Type="http://schemas.openxmlformats.org/officeDocument/2006/relationships/tags" Target="../tags/tag216.xml"/><Relationship Id="rId21" Type="http://schemas.openxmlformats.org/officeDocument/2006/relationships/image" Target="../media/image143.svg"/><Relationship Id="rId7" Type="http://schemas.openxmlformats.org/officeDocument/2006/relationships/tags" Target="../tags/tag220.xml"/><Relationship Id="rId12" Type="http://schemas.openxmlformats.org/officeDocument/2006/relationships/image" Target="../media/image56.png"/><Relationship Id="rId17" Type="http://schemas.openxmlformats.org/officeDocument/2006/relationships/image" Target="../media/image140.svg"/><Relationship Id="rId25" Type="http://schemas.openxmlformats.org/officeDocument/2006/relationships/image" Target="../media/image147.svg"/><Relationship Id="rId2" Type="http://schemas.openxmlformats.org/officeDocument/2006/relationships/tags" Target="../tags/tag215.xml"/><Relationship Id="rId16" Type="http://schemas.openxmlformats.org/officeDocument/2006/relationships/image" Target="../media/image139.png"/><Relationship Id="rId20" Type="http://schemas.openxmlformats.org/officeDocument/2006/relationships/image" Target="../media/image142.png"/><Relationship Id="rId1" Type="http://schemas.openxmlformats.org/officeDocument/2006/relationships/tags" Target="../tags/tag214.xml"/><Relationship Id="rId6" Type="http://schemas.openxmlformats.org/officeDocument/2006/relationships/tags" Target="../tags/tag219.xml"/><Relationship Id="rId11" Type="http://schemas.openxmlformats.org/officeDocument/2006/relationships/image" Target="../media/image55.svg"/><Relationship Id="rId24" Type="http://schemas.openxmlformats.org/officeDocument/2006/relationships/image" Target="../media/image146.png"/><Relationship Id="rId5" Type="http://schemas.openxmlformats.org/officeDocument/2006/relationships/tags" Target="../tags/tag218.xml"/><Relationship Id="rId15" Type="http://schemas.openxmlformats.org/officeDocument/2006/relationships/image" Target="../media/image71.svg"/><Relationship Id="rId23" Type="http://schemas.openxmlformats.org/officeDocument/2006/relationships/image" Target="../media/image145.svg"/><Relationship Id="rId10" Type="http://schemas.openxmlformats.org/officeDocument/2006/relationships/image" Target="../media/image54.png"/><Relationship Id="rId19" Type="http://schemas.openxmlformats.org/officeDocument/2006/relationships/image" Target="../media/image141.svg"/><Relationship Id="rId4" Type="http://schemas.openxmlformats.org/officeDocument/2006/relationships/tags" Target="../tags/tag217.xml"/><Relationship Id="rId9" Type="http://schemas.openxmlformats.org/officeDocument/2006/relationships/slideLayout" Target="../slideLayouts/slideLayout12.xml"/><Relationship Id="rId14" Type="http://schemas.openxmlformats.org/officeDocument/2006/relationships/image" Target="../media/image70.png"/><Relationship Id="rId22" Type="http://schemas.openxmlformats.org/officeDocument/2006/relationships/image" Target="../media/image144.png"/></Relationships>
</file>

<file path=ppt/slides/_rels/slide33.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image" Target="../media/image75.png"/><Relationship Id="rId18" Type="http://schemas.openxmlformats.org/officeDocument/2006/relationships/image" Target="../media/image153.svg"/><Relationship Id="rId3" Type="http://schemas.openxmlformats.org/officeDocument/2006/relationships/tags" Target="../tags/tag224.xml"/><Relationship Id="rId21" Type="http://schemas.openxmlformats.org/officeDocument/2006/relationships/image" Target="../media/image156.png"/><Relationship Id="rId7" Type="http://schemas.openxmlformats.org/officeDocument/2006/relationships/tags" Target="../tags/tag228.xml"/><Relationship Id="rId12" Type="http://schemas.openxmlformats.org/officeDocument/2006/relationships/image" Target="../media/image149.png"/><Relationship Id="rId17" Type="http://schemas.openxmlformats.org/officeDocument/2006/relationships/image" Target="../media/image152.png"/><Relationship Id="rId2" Type="http://schemas.openxmlformats.org/officeDocument/2006/relationships/tags" Target="../tags/tag223.xml"/><Relationship Id="rId16" Type="http://schemas.openxmlformats.org/officeDocument/2006/relationships/image" Target="../media/image151.svg"/><Relationship Id="rId20" Type="http://schemas.openxmlformats.org/officeDocument/2006/relationships/image" Target="../media/image155.png"/><Relationship Id="rId1" Type="http://schemas.openxmlformats.org/officeDocument/2006/relationships/tags" Target="../tags/tag222.xml"/><Relationship Id="rId6" Type="http://schemas.openxmlformats.org/officeDocument/2006/relationships/tags" Target="../tags/tag227.xml"/><Relationship Id="rId11" Type="http://schemas.openxmlformats.org/officeDocument/2006/relationships/image" Target="../media/image148.png"/><Relationship Id="rId5" Type="http://schemas.openxmlformats.org/officeDocument/2006/relationships/tags" Target="../tags/tag226.xml"/><Relationship Id="rId15" Type="http://schemas.openxmlformats.org/officeDocument/2006/relationships/image" Target="../media/image150.png"/><Relationship Id="rId10" Type="http://schemas.openxmlformats.org/officeDocument/2006/relationships/slideLayout" Target="../slideLayouts/slideLayout12.xml"/><Relationship Id="rId19" Type="http://schemas.openxmlformats.org/officeDocument/2006/relationships/image" Target="../media/image154.png"/><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image" Target="../media/image76.svg"/></Relationships>
</file>

<file path=ppt/slides/_rels/slide34.xml.rels><?xml version="1.0" encoding="UTF-8" standalone="yes"?>
<Relationships xmlns="http://schemas.openxmlformats.org/package/2006/relationships"><Relationship Id="rId8" Type="http://schemas.openxmlformats.org/officeDocument/2006/relationships/image" Target="../media/image157.png"/><Relationship Id="rId13" Type="http://schemas.openxmlformats.org/officeDocument/2006/relationships/image" Target="../media/image161.png"/><Relationship Id="rId3" Type="http://schemas.openxmlformats.org/officeDocument/2006/relationships/tags" Target="../tags/tag233.xml"/><Relationship Id="rId7" Type="http://schemas.openxmlformats.org/officeDocument/2006/relationships/slideLayout" Target="../slideLayouts/slideLayout12.xml"/><Relationship Id="rId12" Type="http://schemas.openxmlformats.org/officeDocument/2006/relationships/image" Target="../media/image160.svg"/><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tags" Target="../tags/tag236.xml"/><Relationship Id="rId11" Type="http://schemas.openxmlformats.org/officeDocument/2006/relationships/image" Target="../media/image58.png"/><Relationship Id="rId5" Type="http://schemas.openxmlformats.org/officeDocument/2006/relationships/tags" Target="../tags/tag235.xml"/><Relationship Id="rId10" Type="http://schemas.openxmlformats.org/officeDocument/2006/relationships/image" Target="../media/image159.svg"/><Relationship Id="rId4" Type="http://schemas.openxmlformats.org/officeDocument/2006/relationships/tags" Target="../tags/tag234.xml"/><Relationship Id="rId9" Type="http://schemas.openxmlformats.org/officeDocument/2006/relationships/image" Target="../media/image158.png"/><Relationship Id="rId14" Type="http://schemas.openxmlformats.org/officeDocument/2006/relationships/image" Target="../media/image162.png"/></Relationships>
</file>

<file path=ppt/slides/_rels/slide35.xml.rels><?xml version="1.0" encoding="UTF-8" standalone="yes"?>
<Relationships xmlns="http://schemas.openxmlformats.org/package/2006/relationships"><Relationship Id="rId8" Type="http://schemas.openxmlformats.org/officeDocument/2006/relationships/image" Target="../media/image168.png"/><Relationship Id="rId3" Type="http://schemas.openxmlformats.org/officeDocument/2006/relationships/image" Target="../media/image163.png"/><Relationship Id="rId7" Type="http://schemas.openxmlformats.org/officeDocument/2006/relationships/image" Target="../media/image167.png"/><Relationship Id="rId2" Type="http://schemas.openxmlformats.org/officeDocument/2006/relationships/slideLayout" Target="../slideLayouts/slideLayout12.xml"/><Relationship Id="rId1" Type="http://schemas.openxmlformats.org/officeDocument/2006/relationships/tags" Target="../tags/tag237.xml"/><Relationship Id="rId6" Type="http://schemas.openxmlformats.org/officeDocument/2006/relationships/image" Target="../media/image166.png"/><Relationship Id="rId5" Type="http://schemas.openxmlformats.org/officeDocument/2006/relationships/image" Target="../media/image165.png"/><Relationship Id="rId4" Type="http://schemas.openxmlformats.org/officeDocument/2006/relationships/image" Target="../media/image164.png"/></Relationships>
</file>

<file path=ppt/slides/_rels/slide36.xml.rels><?xml version="1.0" encoding="UTF-8" standalone="yes"?>
<Relationships xmlns="http://schemas.openxmlformats.org/package/2006/relationships"><Relationship Id="rId8" Type="http://schemas.openxmlformats.org/officeDocument/2006/relationships/tags" Target="../tags/tag245.xml"/><Relationship Id="rId13" Type="http://schemas.openxmlformats.org/officeDocument/2006/relationships/tags" Target="../tags/tag250.xml"/><Relationship Id="rId18" Type="http://schemas.openxmlformats.org/officeDocument/2006/relationships/tags" Target="../tags/tag255.xml"/><Relationship Id="rId26" Type="http://schemas.openxmlformats.org/officeDocument/2006/relationships/tags" Target="../tags/tag263.xml"/><Relationship Id="rId3" Type="http://schemas.openxmlformats.org/officeDocument/2006/relationships/tags" Target="../tags/tag240.xml"/><Relationship Id="rId21" Type="http://schemas.openxmlformats.org/officeDocument/2006/relationships/tags" Target="../tags/tag258.xml"/><Relationship Id="rId34" Type="http://schemas.openxmlformats.org/officeDocument/2006/relationships/image" Target="../media/image172.png"/><Relationship Id="rId7" Type="http://schemas.openxmlformats.org/officeDocument/2006/relationships/tags" Target="../tags/tag244.xml"/><Relationship Id="rId12" Type="http://schemas.openxmlformats.org/officeDocument/2006/relationships/tags" Target="../tags/tag249.xml"/><Relationship Id="rId17" Type="http://schemas.openxmlformats.org/officeDocument/2006/relationships/tags" Target="../tags/tag254.xml"/><Relationship Id="rId25" Type="http://schemas.openxmlformats.org/officeDocument/2006/relationships/tags" Target="../tags/tag262.xml"/><Relationship Id="rId33" Type="http://schemas.openxmlformats.org/officeDocument/2006/relationships/image" Target="../media/image171.png"/><Relationship Id="rId2" Type="http://schemas.openxmlformats.org/officeDocument/2006/relationships/tags" Target="../tags/tag239.xml"/><Relationship Id="rId16" Type="http://schemas.openxmlformats.org/officeDocument/2006/relationships/tags" Target="../tags/tag253.xml"/><Relationship Id="rId20" Type="http://schemas.openxmlformats.org/officeDocument/2006/relationships/tags" Target="../tags/tag257.xml"/><Relationship Id="rId29" Type="http://schemas.openxmlformats.org/officeDocument/2006/relationships/notesSlide" Target="../notesSlides/notesSlide8.xml"/><Relationship Id="rId1" Type="http://schemas.openxmlformats.org/officeDocument/2006/relationships/tags" Target="../tags/tag238.xml"/><Relationship Id="rId6" Type="http://schemas.openxmlformats.org/officeDocument/2006/relationships/tags" Target="../tags/tag243.xml"/><Relationship Id="rId11" Type="http://schemas.openxmlformats.org/officeDocument/2006/relationships/tags" Target="../tags/tag248.xml"/><Relationship Id="rId24" Type="http://schemas.openxmlformats.org/officeDocument/2006/relationships/tags" Target="../tags/tag261.xml"/><Relationship Id="rId32" Type="http://schemas.openxmlformats.org/officeDocument/2006/relationships/hyperlink" Target="https://qgiscloud.com/dfine_webgistest/QGIS_cloud_Rheda_Wiedenbrueck/?l=Sektoren!%2CBaualtersklasse!%2CAbsolute%20W%C3%A4rmenachfrage%20heute%2CEnergietr%C3%A4ger!%2CW%C3%A4rmeverbrauchsdichte%20heute!%2CPhotovoltaik!%2CSanierungspotenzial!%2CUmweltw%C3%A4rme!%2CSolarthermie!%2CGeothermie!%2CBiomasse!%2CRheda-Wiedenbr%C3%BCck%20Umriss%2COpenStreetMap&amp;t=QGIS_cloud_Rheda_Wiedenbrueck&amp;e=894752%2C6759245%2C942377%2C6785624" TargetMode="External"/><Relationship Id="rId5" Type="http://schemas.openxmlformats.org/officeDocument/2006/relationships/tags" Target="../tags/tag242.xml"/><Relationship Id="rId15" Type="http://schemas.openxmlformats.org/officeDocument/2006/relationships/tags" Target="../tags/tag252.xml"/><Relationship Id="rId23" Type="http://schemas.openxmlformats.org/officeDocument/2006/relationships/tags" Target="../tags/tag260.xml"/><Relationship Id="rId28" Type="http://schemas.openxmlformats.org/officeDocument/2006/relationships/slideLayout" Target="../slideLayouts/slideLayout12.xml"/><Relationship Id="rId10" Type="http://schemas.openxmlformats.org/officeDocument/2006/relationships/tags" Target="../tags/tag247.xml"/><Relationship Id="rId19" Type="http://schemas.openxmlformats.org/officeDocument/2006/relationships/tags" Target="../tags/tag256.xml"/><Relationship Id="rId31" Type="http://schemas.openxmlformats.org/officeDocument/2006/relationships/image" Target="../media/image170.svg"/><Relationship Id="rId4" Type="http://schemas.openxmlformats.org/officeDocument/2006/relationships/tags" Target="../tags/tag241.xml"/><Relationship Id="rId9" Type="http://schemas.openxmlformats.org/officeDocument/2006/relationships/tags" Target="../tags/tag246.xml"/><Relationship Id="rId14" Type="http://schemas.openxmlformats.org/officeDocument/2006/relationships/tags" Target="../tags/tag251.xml"/><Relationship Id="rId22" Type="http://schemas.openxmlformats.org/officeDocument/2006/relationships/tags" Target="../tags/tag259.xml"/><Relationship Id="rId27" Type="http://schemas.openxmlformats.org/officeDocument/2006/relationships/tags" Target="../tags/tag264.xml"/><Relationship Id="rId30" Type="http://schemas.openxmlformats.org/officeDocument/2006/relationships/image" Target="../media/image169.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8" Type="http://schemas.openxmlformats.org/officeDocument/2006/relationships/image" Target="../media/image139.png"/><Relationship Id="rId13" Type="http://schemas.openxmlformats.org/officeDocument/2006/relationships/image" Target="../media/image176.svg"/><Relationship Id="rId18" Type="http://schemas.openxmlformats.org/officeDocument/2006/relationships/image" Target="../media/image70.png"/><Relationship Id="rId3" Type="http://schemas.openxmlformats.org/officeDocument/2006/relationships/tags" Target="../tags/tag267.xml"/><Relationship Id="rId7" Type="http://schemas.openxmlformats.org/officeDocument/2006/relationships/slideLayout" Target="../slideLayouts/slideLayout12.xml"/><Relationship Id="rId12" Type="http://schemas.openxmlformats.org/officeDocument/2006/relationships/image" Target="../media/image175.png"/><Relationship Id="rId17" Type="http://schemas.openxmlformats.org/officeDocument/2006/relationships/image" Target="../media/image57.svg"/><Relationship Id="rId2" Type="http://schemas.openxmlformats.org/officeDocument/2006/relationships/tags" Target="../tags/tag266.xml"/><Relationship Id="rId16" Type="http://schemas.openxmlformats.org/officeDocument/2006/relationships/image" Target="../media/image56.png"/><Relationship Id="rId1" Type="http://schemas.openxmlformats.org/officeDocument/2006/relationships/tags" Target="../tags/tag265.xml"/><Relationship Id="rId6" Type="http://schemas.openxmlformats.org/officeDocument/2006/relationships/tags" Target="../tags/tag270.xml"/><Relationship Id="rId11" Type="http://schemas.openxmlformats.org/officeDocument/2006/relationships/image" Target="../media/image174.svg"/><Relationship Id="rId5" Type="http://schemas.openxmlformats.org/officeDocument/2006/relationships/tags" Target="../tags/tag269.xml"/><Relationship Id="rId15" Type="http://schemas.openxmlformats.org/officeDocument/2006/relationships/image" Target="../media/image55.svg"/><Relationship Id="rId10" Type="http://schemas.openxmlformats.org/officeDocument/2006/relationships/image" Target="../media/image173.png"/><Relationship Id="rId19" Type="http://schemas.openxmlformats.org/officeDocument/2006/relationships/image" Target="../media/image71.svg"/><Relationship Id="rId4" Type="http://schemas.openxmlformats.org/officeDocument/2006/relationships/tags" Target="../tags/tag268.xml"/><Relationship Id="rId9" Type="http://schemas.openxmlformats.org/officeDocument/2006/relationships/image" Target="../media/image140.svg"/><Relationship Id="rId14" Type="http://schemas.openxmlformats.org/officeDocument/2006/relationships/image" Target="../media/image54.png"/></Relationships>
</file>

<file path=ppt/slides/_rels/slide39.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181.png"/><Relationship Id="rId3" Type="http://schemas.openxmlformats.org/officeDocument/2006/relationships/tags" Target="../tags/tag273.xml"/><Relationship Id="rId7" Type="http://schemas.openxmlformats.org/officeDocument/2006/relationships/image" Target="../media/image73.png"/><Relationship Id="rId12" Type="http://schemas.openxmlformats.org/officeDocument/2006/relationships/image" Target="../media/image180.png"/><Relationship Id="rId2" Type="http://schemas.openxmlformats.org/officeDocument/2006/relationships/tags" Target="../tags/tag272.xml"/><Relationship Id="rId1" Type="http://schemas.openxmlformats.org/officeDocument/2006/relationships/tags" Target="../tags/tag271.xml"/><Relationship Id="rId6" Type="http://schemas.openxmlformats.org/officeDocument/2006/relationships/notesSlide" Target="../notesSlides/notesSlide9.xml"/><Relationship Id="rId11" Type="http://schemas.openxmlformats.org/officeDocument/2006/relationships/image" Target="../media/image179.svg"/><Relationship Id="rId5" Type="http://schemas.openxmlformats.org/officeDocument/2006/relationships/slideLayout" Target="../slideLayouts/slideLayout12.xml"/><Relationship Id="rId10" Type="http://schemas.openxmlformats.org/officeDocument/2006/relationships/image" Target="../media/image178.png"/><Relationship Id="rId4" Type="http://schemas.openxmlformats.org/officeDocument/2006/relationships/tags" Target="../tags/tag274.xml"/><Relationship Id="rId9" Type="http://schemas.openxmlformats.org/officeDocument/2006/relationships/image" Target="../media/image17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tags" Target="../tags/tag277.xml"/><Relationship Id="rId7" Type="http://schemas.openxmlformats.org/officeDocument/2006/relationships/image" Target="../media/image177.png"/><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image" Target="../media/image182.png"/><Relationship Id="rId11" Type="http://schemas.openxmlformats.org/officeDocument/2006/relationships/image" Target="../media/image179.svg"/><Relationship Id="rId5" Type="http://schemas.openxmlformats.org/officeDocument/2006/relationships/notesSlide" Target="../notesSlides/notesSlide10.xml"/><Relationship Id="rId10" Type="http://schemas.openxmlformats.org/officeDocument/2006/relationships/image" Target="../media/image178.png"/><Relationship Id="rId4" Type="http://schemas.openxmlformats.org/officeDocument/2006/relationships/slideLayout" Target="../slideLayouts/slideLayout12.xml"/><Relationship Id="rId9" Type="http://schemas.openxmlformats.org/officeDocument/2006/relationships/image" Target="../media/image74.svg"/></Relationships>
</file>

<file path=ppt/slides/_rels/slide41.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slide" Target="slide4.xml"/><Relationship Id="rId1" Type="http://schemas.openxmlformats.org/officeDocument/2006/relationships/slideLayout" Target="../slideLayouts/slideLayout16.xml"/><Relationship Id="rId6" Type="http://schemas.openxmlformats.org/officeDocument/2006/relationships/slide" Target="slide55.xml"/><Relationship Id="rId5" Type="http://schemas.openxmlformats.org/officeDocument/2006/relationships/slide" Target="slide42.xml"/><Relationship Id="rId4" Type="http://schemas.openxmlformats.org/officeDocument/2006/relationships/slide" Target="slide3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slideLayout" Target="../slideLayouts/slideLayout10.xml"/><Relationship Id="rId18" Type="http://schemas.openxmlformats.org/officeDocument/2006/relationships/image" Target="../media/image54.png"/><Relationship Id="rId26" Type="http://schemas.openxmlformats.org/officeDocument/2006/relationships/image" Target="../media/image144.png"/><Relationship Id="rId3" Type="http://schemas.openxmlformats.org/officeDocument/2006/relationships/tags" Target="../tags/tag280.xml"/><Relationship Id="rId21" Type="http://schemas.openxmlformats.org/officeDocument/2006/relationships/image" Target="../media/image57.svg"/><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40.svg"/><Relationship Id="rId25" Type="http://schemas.openxmlformats.org/officeDocument/2006/relationships/image" Target="../media/image143.svg"/><Relationship Id="rId2" Type="http://schemas.openxmlformats.org/officeDocument/2006/relationships/tags" Target="../tags/tag279.xml"/><Relationship Id="rId16" Type="http://schemas.openxmlformats.org/officeDocument/2006/relationships/image" Target="../media/image139.png"/><Relationship Id="rId20" Type="http://schemas.openxmlformats.org/officeDocument/2006/relationships/image" Target="../media/image56.png"/><Relationship Id="rId1" Type="http://schemas.openxmlformats.org/officeDocument/2006/relationships/tags" Target="../tags/tag278.xml"/><Relationship Id="rId6" Type="http://schemas.openxmlformats.org/officeDocument/2006/relationships/tags" Target="../tags/tag283.xml"/><Relationship Id="rId11" Type="http://schemas.openxmlformats.org/officeDocument/2006/relationships/tags" Target="../tags/tag288.xml"/><Relationship Id="rId24" Type="http://schemas.openxmlformats.org/officeDocument/2006/relationships/image" Target="../media/image142.png"/><Relationship Id="rId5" Type="http://schemas.openxmlformats.org/officeDocument/2006/relationships/tags" Target="../tags/tag282.xml"/><Relationship Id="rId15" Type="http://schemas.openxmlformats.org/officeDocument/2006/relationships/image" Target="../media/image147.svg"/><Relationship Id="rId23" Type="http://schemas.openxmlformats.org/officeDocument/2006/relationships/image" Target="../media/image71.svg"/><Relationship Id="rId10" Type="http://schemas.openxmlformats.org/officeDocument/2006/relationships/tags" Target="../tags/tag287.xml"/><Relationship Id="rId19" Type="http://schemas.openxmlformats.org/officeDocument/2006/relationships/image" Target="../media/image55.svg"/><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image" Target="../media/image146.png"/><Relationship Id="rId22" Type="http://schemas.openxmlformats.org/officeDocument/2006/relationships/image" Target="../media/image70.png"/><Relationship Id="rId27" Type="http://schemas.openxmlformats.org/officeDocument/2006/relationships/image" Target="../media/image145.svg"/></Relationships>
</file>

<file path=ppt/slides/_rels/slide45.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image" Target="../media/image76.svg"/><Relationship Id="rId18" Type="http://schemas.openxmlformats.org/officeDocument/2006/relationships/image" Target="../media/image187.png"/><Relationship Id="rId3" Type="http://schemas.openxmlformats.org/officeDocument/2006/relationships/tags" Target="../tags/tag292.xml"/><Relationship Id="rId21" Type="http://schemas.openxmlformats.org/officeDocument/2006/relationships/image" Target="../media/image190.svg"/><Relationship Id="rId7" Type="http://schemas.openxmlformats.org/officeDocument/2006/relationships/tags" Target="../tags/tag296.xml"/><Relationship Id="rId12" Type="http://schemas.openxmlformats.org/officeDocument/2006/relationships/image" Target="../media/image75.png"/><Relationship Id="rId17" Type="http://schemas.openxmlformats.org/officeDocument/2006/relationships/image" Target="../media/image186.svg"/><Relationship Id="rId25" Type="http://schemas.openxmlformats.org/officeDocument/2006/relationships/image" Target="../media/image192.svg"/><Relationship Id="rId2" Type="http://schemas.openxmlformats.org/officeDocument/2006/relationships/tags" Target="../tags/tag291.xml"/><Relationship Id="rId16" Type="http://schemas.openxmlformats.org/officeDocument/2006/relationships/image" Target="../media/image185.png"/><Relationship Id="rId20" Type="http://schemas.openxmlformats.org/officeDocument/2006/relationships/image" Target="../media/image189.png"/><Relationship Id="rId1" Type="http://schemas.openxmlformats.org/officeDocument/2006/relationships/tags" Target="../tags/tag290.xml"/><Relationship Id="rId6" Type="http://schemas.openxmlformats.org/officeDocument/2006/relationships/tags" Target="../tags/tag295.xml"/><Relationship Id="rId11" Type="http://schemas.openxmlformats.org/officeDocument/2006/relationships/image" Target="../media/image184.svg"/><Relationship Id="rId24" Type="http://schemas.openxmlformats.org/officeDocument/2006/relationships/image" Target="../media/image191.png"/><Relationship Id="rId5" Type="http://schemas.openxmlformats.org/officeDocument/2006/relationships/tags" Target="../tags/tag294.xml"/><Relationship Id="rId15" Type="http://schemas.openxmlformats.org/officeDocument/2006/relationships/image" Target="../media/image160.svg"/><Relationship Id="rId23" Type="http://schemas.openxmlformats.org/officeDocument/2006/relationships/image" Target="../media/image159.svg"/><Relationship Id="rId10" Type="http://schemas.openxmlformats.org/officeDocument/2006/relationships/image" Target="../media/image183.png"/><Relationship Id="rId19" Type="http://schemas.openxmlformats.org/officeDocument/2006/relationships/image" Target="../media/image188.svg"/><Relationship Id="rId4" Type="http://schemas.openxmlformats.org/officeDocument/2006/relationships/tags" Target="../tags/tag293.xml"/><Relationship Id="rId9" Type="http://schemas.openxmlformats.org/officeDocument/2006/relationships/notesSlide" Target="../notesSlides/notesSlide11.xml"/><Relationship Id="rId14" Type="http://schemas.openxmlformats.org/officeDocument/2006/relationships/image" Target="../media/image58.png"/><Relationship Id="rId22" Type="http://schemas.openxmlformats.org/officeDocument/2006/relationships/image" Target="../media/image158.png"/></Relationships>
</file>

<file path=ppt/slides/_rels/slide46.xml.rels><?xml version="1.0" encoding="UTF-8" standalone="yes"?>
<Relationships xmlns="http://schemas.openxmlformats.org/package/2006/relationships"><Relationship Id="rId8" Type="http://schemas.openxmlformats.org/officeDocument/2006/relationships/image" Target="../media/image197.png"/><Relationship Id="rId3" Type="http://schemas.openxmlformats.org/officeDocument/2006/relationships/notesSlide" Target="../notesSlides/notesSlide12.xml"/><Relationship Id="rId7" Type="http://schemas.openxmlformats.org/officeDocument/2006/relationships/image" Target="../media/image196.png"/><Relationship Id="rId2" Type="http://schemas.openxmlformats.org/officeDocument/2006/relationships/slideLayout" Target="../slideLayouts/slideLayout10.xml"/><Relationship Id="rId1" Type="http://schemas.openxmlformats.org/officeDocument/2006/relationships/tags" Target="../tags/tag297.xml"/><Relationship Id="rId6" Type="http://schemas.openxmlformats.org/officeDocument/2006/relationships/image" Target="../media/image195.png"/><Relationship Id="rId5" Type="http://schemas.openxmlformats.org/officeDocument/2006/relationships/image" Target="../media/image194.png"/><Relationship Id="rId4" Type="http://schemas.openxmlformats.org/officeDocument/2006/relationships/image" Target="../media/image193.png"/></Relationships>
</file>

<file path=ppt/slides/_rels/slide47.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slideLayout" Target="../slideLayouts/slideLayout10.xml"/><Relationship Id="rId1" Type="http://schemas.openxmlformats.org/officeDocument/2006/relationships/tags" Target="../tags/tag298.xml"/><Relationship Id="rId6" Type="http://schemas.openxmlformats.org/officeDocument/2006/relationships/image" Target="../media/image201.png"/><Relationship Id="rId5" Type="http://schemas.openxmlformats.org/officeDocument/2006/relationships/image" Target="../media/image200.svg"/><Relationship Id="rId4" Type="http://schemas.openxmlformats.org/officeDocument/2006/relationships/image" Target="../media/image199.png"/></Relationships>
</file>

<file path=ppt/slides/_rels/slide48.xml.rels><?xml version="1.0" encoding="UTF-8" standalone="yes"?>
<Relationships xmlns="http://schemas.openxmlformats.org/package/2006/relationships"><Relationship Id="rId8" Type="http://schemas.openxmlformats.org/officeDocument/2006/relationships/image" Target="../media/image203.png"/><Relationship Id="rId3" Type="http://schemas.openxmlformats.org/officeDocument/2006/relationships/slideLayout" Target="../slideLayouts/slideLayout10.xml"/><Relationship Id="rId7" Type="http://schemas.openxmlformats.org/officeDocument/2006/relationships/image" Target="../media/image200.svg"/><Relationship Id="rId2" Type="http://schemas.openxmlformats.org/officeDocument/2006/relationships/tags" Target="../tags/tag300.xml"/><Relationship Id="rId1" Type="http://schemas.openxmlformats.org/officeDocument/2006/relationships/tags" Target="../tags/tag299.xml"/><Relationship Id="rId6" Type="http://schemas.openxmlformats.org/officeDocument/2006/relationships/image" Target="../media/image199.png"/><Relationship Id="rId5" Type="http://schemas.openxmlformats.org/officeDocument/2006/relationships/image" Target="../media/image202.png"/><Relationship Id="rId4" Type="http://schemas.openxmlformats.org/officeDocument/2006/relationships/image" Target="../media/image198.png"/></Relationships>
</file>

<file path=ppt/slides/_rels/slide49.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slideLayout" Target="../slideLayouts/slideLayout10.xml"/><Relationship Id="rId1" Type="http://schemas.openxmlformats.org/officeDocument/2006/relationships/tags" Target="../tags/tag301.xml"/><Relationship Id="rId6" Type="http://schemas.openxmlformats.org/officeDocument/2006/relationships/image" Target="../media/image200.svg"/><Relationship Id="rId5" Type="http://schemas.openxmlformats.org/officeDocument/2006/relationships/image" Target="../media/image199.png"/><Relationship Id="rId4" Type="http://schemas.openxmlformats.org/officeDocument/2006/relationships/image" Target="../media/image204.png"/></Relationships>
</file>

<file path=ppt/slides/_rels/slide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Layout" Target="../slideLayouts/slideLayout1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jpeg"/></Relationships>
</file>

<file path=ppt/slides/_rels/slide50.xml.rels><?xml version="1.0" encoding="UTF-8" standalone="yes"?>
<Relationships xmlns="http://schemas.openxmlformats.org/package/2006/relationships"><Relationship Id="rId8" Type="http://schemas.openxmlformats.org/officeDocument/2006/relationships/image" Target="../media/image206.svg"/><Relationship Id="rId3" Type="http://schemas.openxmlformats.org/officeDocument/2006/relationships/tags" Target="../tags/tag304.xml"/><Relationship Id="rId7" Type="http://schemas.openxmlformats.org/officeDocument/2006/relationships/image" Target="../media/image205.png"/><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notesSlide" Target="../notesSlides/notesSlide13.xml"/><Relationship Id="rId5" Type="http://schemas.openxmlformats.org/officeDocument/2006/relationships/slideLayout" Target="../slideLayouts/slideLayout10.xml"/><Relationship Id="rId4" Type="http://schemas.openxmlformats.org/officeDocument/2006/relationships/tags" Target="../tags/tag305.xml"/><Relationship Id="rId9" Type="http://schemas.openxmlformats.org/officeDocument/2006/relationships/image" Target="../media/image207.png"/></Relationships>
</file>

<file path=ppt/slides/_rels/slide51.xml.rels><?xml version="1.0" encoding="UTF-8" standalone="yes"?>
<Relationships xmlns="http://schemas.openxmlformats.org/package/2006/relationships"><Relationship Id="rId8" Type="http://schemas.openxmlformats.org/officeDocument/2006/relationships/image" Target="../media/image206.svg"/><Relationship Id="rId3" Type="http://schemas.openxmlformats.org/officeDocument/2006/relationships/tags" Target="../tags/tag308.xml"/><Relationship Id="rId7" Type="http://schemas.openxmlformats.org/officeDocument/2006/relationships/image" Target="../media/image205.png"/><Relationship Id="rId2" Type="http://schemas.openxmlformats.org/officeDocument/2006/relationships/tags" Target="../tags/tag307.xml"/><Relationship Id="rId1" Type="http://schemas.openxmlformats.org/officeDocument/2006/relationships/tags" Target="../tags/tag306.xml"/><Relationship Id="rId6" Type="http://schemas.openxmlformats.org/officeDocument/2006/relationships/notesSlide" Target="../notesSlides/notesSlide14.xml"/><Relationship Id="rId5" Type="http://schemas.openxmlformats.org/officeDocument/2006/relationships/slideLayout" Target="../slideLayouts/slideLayout10.xml"/><Relationship Id="rId4" Type="http://schemas.openxmlformats.org/officeDocument/2006/relationships/tags" Target="../tags/tag309.xml"/><Relationship Id="rId9" Type="http://schemas.openxmlformats.org/officeDocument/2006/relationships/image" Target="../media/image208.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8" Type="http://schemas.openxmlformats.org/officeDocument/2006/relationships/tags" Target="../tags/tag317.xml"/><Relationship Id="rId13" Type="http://schemas.openxmlformats.org/officeDocument/2006/relationships/notesSlide" Target="../notesSlides/notesSlide15.xml"/><Relationship Id="rId18" Type="http://schemas.openxmlformats.org/officeDocument/2006/relationships/image" Target="../media/image213.png"/><Relationship Id="rId3" Type="http://schemas.openxmlformats.org/officeDocument/2006/relationships/tags" Target="../tags/tag312.xml"/><Relationship Id="rId7" Type="http://schemas.openxmlformats.org/officeDocument/2006/relationships/tags" Target="../tags/tag316.xml"/><Relationship Id="rId12" Type="http://schemas.openxmlformats.org/officeDocument/2006/relationships/slideLayout" Target="../slideLayouts/slideLayout10.xml"/><Relationship Id="rId17" Type="http://schemas.openxmlformats.org/officeDocument/2006/relationships/image" Target="../media/image212.svg"/><Relationship Id="rId2" Type="http://schemas.openxmlformats.org/officeDocument/2006/relationships/tags" Target="../tags/tag311.xml"/><Relationship Id="rId16" Type="http://schemas.openxmlformats.org/officeDocument/2006/relationships/image" Target="../media/image211.png"/><Relationship Id="rId1" Type="http://schemas.openxmlformats.org/officeDocument/2006/relationships/tags" Target="../tags/tag310.xml"/><Relationship Id="rId6" Type="http://schemas.openxmlformats.org/officeDocument/2006/relationships/tags" Target="../tags/tag315.xml"/><Relationship Id="rId11" Type="http://schemas.openxmlformats.org/officeDocument/2006/relationships/tags" Target="../tags/tag320.xml"/><Relationship Id="rId5" Type="http://schemas.openxmlformats.org/officeDocument/2006/relationships/tags" Target="../tags/tag314.xml"/><Relationship Id="rId15" Type="http://schemas.openxmlformats.org/officeDocument/2006/relationships/image" Target="../media/image210.svg"/><Relationship Id="rId10" Type="http://schemas.openxmlformats.org/officeDocument/2006/relationships/tags" Target="../tags/tag319.xml"/><Relationship Id="rId19" Type="http://schemas.openxmlformats.org/officeDocument/2006/relationships/image" Target="../media/image214.png"/><Relationship Id="rId4" Type="http://schemas.openxmlformats.org/officeDocument/2006/relationships/tags" Target="../tags/tag313.xml"/><Relationship Id="rId9" Type="http://schemas.openxmlformats.org/officeDocument/2006/relationships/tags" Target="../tags/tag318.xml"/><Relationship Id="rId14" Type="http://schemas.openxmlformats.org/officeDocument/2006/relationships/image" Target="../media/image209.png"/></Relationships>
</file>

<file path=ppt/slides/_rels/slide54.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slide" Target="slide4.xml"/><Relationship Id="rId1" Type="http://schemas.openxmlformats.org/officeDocument/2006/relationships/slideLayout" Target="../slideLayouts/slideLayout16.xml"/><Relationship Id="rId6" Type="http://schemas.openxmlformats.org/officeDocument/2006/relationships/slide" Target="slide55.xml"/><Relationship Id="rId5" Type="http://schemas.openxmlformats.org/officeDocument/2006/relationships/slide" Target="slide42.xml"/><Relationship Id="rId4" Type="http://schemas.openxmlformats.org/officeDocument/2006/relationships/slide" Target="slide3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tags" Target="../tags/tag333.xml"/><Relationship Id="rId18" Type="http://schemas.openxmlformats.org/officeDocument/2006/relationships/tags" Target="../tags/tag338.xml"/><Relationship Id="rId26" Type="http://schemas.openxmlformats.org/officeDocument/2006/relationships/image" Target="../media/image215.png"/><Relationship Id="rId3" Type="http://schemas.openxmlformats.org/officeDocument/2006/relationships/tags" Target="../tags/tag323.xml"/><Relationship Id="rId21" Type="http://schemas.openxmlformats.org/officeDocument/2006/relationships/tags" Target="../tags/tag341.xml"/><Relationship Id="rId34" Type="http://schemas.openxmlformats.org/officeDocument/2006/relationships/image" Target="../media/image223.png"/><Relationship Id="rId7" Type="http://schemas.openxmlformats.org/officeDocument/2006/relationships/tags" Target="../tags/tag327.xml"/><Relationship Id="rId12" Type="http://schemas.openxmlformats.org/officeDocument/2006/relationships/tags" Target="../tags/tag332.xml"/><Relationship Id="rId17" Type="http://schemas.openxmlformats.org/officeDocument/2006/relationships/tags" Target="../tags/tag337.xml"/><Relationship Id="rId25" Type="http://schemas.openxmlformats.org/officeDocument/2006/relationships/image" Target="../media/image206.svg"/><Relationship Id="rId33" Type="http://schemas.openxmlformats.org/officeDocument/2006/relationships/image" Target="../media/image222.svg"/><Relationship Id="rId2" Type="http://schemas.openxmlformats.org/officeDocument/2006/relationships/tags" Target="../tags/tag322.xml"/><Relationship Id="rId16" Type="http://schemas.openxmlformats.org/officeDocument/2006/relationships/tags" Target="../tags/tag336.xml"/><Relationship Id="rId20" Type="http://schemas.openxmlformats.org/officeDocument/2006/relationships/tags" Target="../tags/tag340.xml"/><Relationship Id="rId29" Type="http://schemas.openxmlformats.org/officeDocument/2006/relationships/image" Target="../media/image218.svg"/><Relationship Id="rId1" Type="http://schemas.openxmlformats.org/officeDocument/2006/relationships/tags" Target="../tags/tag321.xml"/><Relationship Id="rId6" Type="http://schemas.openxmlformats.org/officeDocument/2006/relationships/tags" Target="../tags/tag326.xml"/><Relationship Id="rId11" Type="http://schemas.openxmlformats.org/officeDocument/2006/relationships/tags" Target="../tags/tag331.xml"/><Relationship Id="rId24" Type="http://schemas.openxmlformats.org/officeDocument/2006/relationships/image" Target="../media/image205.png"/><Relationship Id="rId32" Type="http://schemas.openxmlformats.org/officeDocument/2006/relationships/image" Target="../media/image221.png"/><Relationship Id="rId37" Type="http://schemas.openxmlformats.org/officeDocument/2006/relationships/image" Target="../media/image226.svg"/><Relationship Id="rId5" Type="http://schemas.openxmlformats.org/officeDocument/2006/relationships/tags" Target="../tags/tag325.xml"/><Relationship Id="rId15" Type="http://schemas.openxmlformats.org/officeDocument/2006/relationships/tags" Target="../tags/tag335.xml"/><Relationship Id="rId23" Type="http://schemas.openxmlformats.org/officeDocument/2006/relationships/notesSlide" Target="../notesSlides/notesSlide16.xml"/><Relationship Id="rId28" Type="http://schemas.openxmlformats.org/officeDocument/2006/relationships/image" Target="../media/image217.png"/><Relationship Id="rId36" Type="http://schemas.openxmlformats.org/officeDocument/2006/relationships/image" Target="../media/image225.png"/><Relationship Id="rId10" Type="http://schemas.openxmlformats.org/officeDocument/2006/relationships/tags" Target="../tags/tag330.xml"/><Relationship Id="rId19" Type="http://schemas.openxmlformats.org/officeDocument/2006/relationships/tags" Target="../tags/tag339.xml"/><Relationship Id="rId31" Type="http://schemas.openxmlformats.org/officeDocument/2006/relationships/image" Target="../media/image220.svg"/><Relationship Id="rId4" Type="http://schemas.openxmlformats.org/officeDocument/2006/relationships/tags" Target="../tags/tag324.xml"/><Relationship Id="rId9" Type="http://schemas.openxmlformats.org/officeDocument/2006/relationships/tags" Target="../tags/tag329.xml"/><Relationship Id="rId14" Type="http://schemas.openxmlformats.org/officeDocument/2006/relationships/tags" Target="../tags/tag334.xml"/><Relationship Id="rId22" Type="http://schemas.openxmlformats.org/officeDocument/2006/relationships/slideLayout" Target="../slideLayouts/slideLayout13.xml"/><Relationship Id="rId27" Type="http://schemas.openxmlformats.org/officeDocument/2006/relationships/image" Target="../media/image216.svg"/><Relationship Id="rId30" Type="http://schemas.openxmlformats.org/officeDocument/2006/relationships/image" Target="../media/image219.png"/><Relationship Id="rId35" Type="http://schemas.openxmlformats.org/officeDocument/2006/relationships/image" Target="../media/image224.svg"/></Relationships>
</file>

<file path=ppt/slides/_rels/slide57.xml.rels><?xml version="1.0" encoding="UTF-8" standalone="yes"?>
<Relationships xmlns="http://schemas.openxmlformats.org/package/2006/relationships"><Relationship Id="rId8" Type="http://schemas.openxmlformats.org/officeDocument/2006/relationships/tags" Target="../tags/tag349.xml"/><Relationship Id="rId13" Type="http://schemas.openxmlformats.org/officeDocument/2006/relationships/notesSlide" Target="../notesSlides/notesSlide17.xml"/><Relationship Id="rId18" Type="http://schemas.openxmlformats.org/officeDocument/2006/relationships/image" Target="../media/image231.png"/><Relationship Id="rId3" Type="http://schemas.openxmlformats.org/officeDocument/2006/relationships/tags" Target="../tags/tag344.xml"/><Relationship Id="rId21" Type="http://schemas.openxmlformats.org/officeDocument/2006/relationships/image" Target="../media/image234.svg"/><Relationship Id="rId7" Type="http://schemas.openxmlformats.org/officeDocument/2006/relationships/tags" Target="../tags/tag348.xml"/><Relationship Id="rId12" Type="http://schemas.openxmlformats.org/officeDocument/2006/relationships/slideLayout" Target="../slideLayouts/slideLayout13.xml"/><Relationship Id="rId17" Type="http://schemas.openxmlformats.org/officeDocument/2006/relationships/image" Target="../media/image230.svg"/><Relationship Id="rId2" Type="http://schemas.openxmlformats.org/officeDocument/2006/relationships/tags" Target="../tags/tag343.xml"/><Relationship Id="rId16" Type="http://schemas.openxmlformats.org/officeDocument/2006/relationships/image" Target="../media/image229.png"/><Relationship Id="rId20" Type="http://schemas.openxmlformats.org/officeDocument/2006/relationships/image" Target="../media/image233.png"/><Relationship Id="rId1" Type="http://schemas.openxmlformats.org/officeDocument/2006/relationships/tags" Target="../tags/tag342.xml"/><Relationship Id="rId6" Type="http://schemas.openxmlformats.org/officeDocument/2006/relationships/tags" Target="../tags/tag347.xml"/><Relationship Id="rId11" Type="http://schemas.openxmlformats.org/officeDocument/2006/relationships/tags" Target="../tags/tag352.xml"/><Relationship Id="rId5" Type="http://schemas.openxmlformats.org/officeDocument/2006/relationships/tags" Target="../tags/tag346.xml"/><Relationship Id="rId15" Type="http://schemas.openxmlformats.org/officeDocument/2006/relationships/image" Target="../media/image228.svg"/><Relationship Id="rId10" Type="http://schemas.openxmlformats.org/officeDocument/2006/relationships/tags" Target="../tags/tag351.xml"/><Relationship Id="rId19" Type="http://schemas.openxmlformats.org/officeDocument/2006/relationships/image" Target="../media/image232.svg"/><Relationship Id="rId4" Type="http://schemas.openxmlformats.org/officeDocument/2006/relationships/tags" Target="../tags/tag345.xml"/><Relationship Id="rId9" Type="http://schemas.openxmlformats.org/officeDocument/2006/relationships/tags" Target="../tags/tag350.xml"/><Relationship Id="rId14" Type="http://schemas.openxmlformats.org/officeDocument/2006/relationships/image" Target="../media/image227.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image" Target="../media/image202.png"/><Relationship Id="rId7" Type="http://schemas.openxmlformats.org/officeDocument/2006/relationships/image" Target="../media/image237.svg"/><Relationship Id="rId2" Type="http://schemas.openxmlformats.org/officeDocument/2006/relationships/image" Target="../media/image235.png"/><Relationship Id="rId1" Type="http://schemas.openxmlformats.org/officeDocument/2006/relationships/slideLayout" Target="../slideLayouts/slideLayout13.xml"/><Relationship Id="rId6" Type="http://schemas.openxmlformats.org/officeDocument/2006/relationships/image" Target="../media/image236.png"/><Relationship Id="rId5" Type="http://schemas.openxmlformats.org/officeDocument/2006/relationships/image" Target="../media/image204.png"/><Relationship Id="rId4" Type="http://schemas.openxmlformats.org/officeDocument/2006/relationships/image" Target="../media/image203.png"/></Relationships>
</file>

<file path=ppt/slides/_rels/slide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16.xml"/><Relationship Id="rId4" Type="http://schemas.openxmlformats.org/officeDocument/2006/relationships/image" Target="../media/image28.png"/></Relationships>
</file>

<file path=ppt/slides/_rels/slide60.xml.rels><?xml version="1.0" encoding="UTF-8" standalone="yes"?>
<Relationships xmlns="http://schemas.openxmlformats.org/package/2006/relationships"><Relationship Id="rId3" Type="http://schemas.openxmlformats.org/officeDocument/2006/relationships/image" Target="../media/image238.jpeg"/><Relationship Id="rId7" Type="http://schemas.openxmlformats.org/officeDocument/2006/relationships/image" Target="../media/image237.svg"/><Relationship Id="rId2" Type="http://schemas.openxmlformats.org/officeDocument/2006/relationships/notesSlide" Target="../notesSlides/notesSlide18.xml"/><Relationship Id="rId1" Type="http://schemas.openxmlformats.org/officeDocument/2006/relationships/slideLayout" Target="../slideLayouts/slideLayout13.xml"/><Relationship Id="rId6" Type="http://schemas.openxmlformats.org/officeDocument/2006/relationships/image" Target="../media/image236.png"/><Relationship Id="rId5" Type="http://schemas.openxmlformats.org/officeDocument/2006/relationships/image" Target="../media/image240.jpeg"/><Relationship Id="rId4" Type="http://schemas.openxmlformats.org/officeDocument/2006/relationships/image" Target="../media/image239.jpeg"/></Relationships>
</file>

<file path=ppt/slides/_rels/slide61.xml.rels><?xml version="1.0" encoding="UTF-8" standalone="yes"?>
<Relationships xmlns="http://schemas.openxmlformats.org/package/2006/relationships"><Relationship Id="rId8" Type="http://schemas.openxmlformats.org/officeDocument/2006/relationships/slideLayout" Target="../slideLayouts/slideLayout6.xml"/><Relationship Id="rId13" Type="http://schemas.openxmlformats.org/officeDocument/2006/relationships/image" Target="../media/image244.jpeg"/><Relationship Id="rId3" Type="http://schemas.openxmlformats.org/officeDocument/2006/relationships/tags" Target="../tags/tag355.xml"/><Relationship Id="rId7" Type="http://schemas.openxmlformats.org/officeDocument/2006/relationships/tags" Target="../tags/tag359.xml"/><Relationship Id="rId12" Type="http://schemas.openxmlformats.org/officeDocument/2006/relationships/image" Target="../media/image243.jpeg"/><Relationship Id="rId2" Type="http://schemas.openxmlformats.org/officeDocument/2006/relationships/tags" Target="../tags/tag354.xml"/><Relationship Id="rId1" Type="http://schemas.openxmlformats.org/officeDocument/2006/relationships/tags" Target="../tags/tag353.xml"/><Relationship Id="rId6" Type="http://schemas.openxmlformats.org/officeDocument/2006/relationships/tags" Target="../tags/tag358.xml"/><Relationship Id="rId11" Type="http://schemas.openxmlformats.org/officeDocument/2006/relationships/image" Target="../media/image242.jpeg"/><Relationship Id="rId5" Type="http://schemas.openxmlformats.org/officeDocument/2006/relationships/tags" Target="../tags/tag357.xml"/><Relationship Id="rId15" Type="http://schemas.openxmlformats.org/officeDocument/2006/relationships/image" Target="../media/image52.jpeg"/><Relationship Id="rId10" Type="http://schemas.openxmlformats.org/officeDocument/2006/relationships/image" Target="../media/image241.jpeg"/><Relationship Id="rId4" Type="http://schemas.openxmlformats.org/officeDocument/2006/relationships/tags" Target="../tags/tag356.xml"/><Relationship Id="rId9" Type="http://schemas.openxmlformats.org/officeDocument/2006/relationships/notesSlide" Target="../notesSlides/notesSlide19.xml"/><Relationship Id="rId14" Type="http://schemas.openxmlformats.org/officeDocument/2006/relationships/image" Target="../media/image245.jpe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hyperlink" Target="https://www.tagesschau.de/wirtschaft/verbraucher/iea-oelkrise-tempolimit-homeoffice-reserven-100.html" TargetMode="External"/><Relationship Id="rId2" Type="http://schemas.openxmlformats.org/officeDocument/2006/relationships/image" Target="../media/image31.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EC8530-2B26-2919-A992-AF6C415C20D5}"/>
              </a:ext>
            </a:extLst>
          </p:cNvPr>
          <p:cNvSpPr>
            <a:spLocks noGrp="1"/>
          </p:cNvSpPr>
          <p:nvPr>
            <p:ph type="ctrTitle"/>
          </p:nvPr>
        </p:nvSpPr>
        <p:spPr>
          <a:xfrm>
            <a:off x="727202" y="1244600"/>
            <a:ext cx="5760684" cy="1382690"/>
          </a:xfrm>
        </p:spPr>
        <p:txBody>
          <a:bodyPr/>
          <a:lstStyle/>
          <a:p>
            <a:r>
              <a:rPr lang="de-DE" sz="3100">
                <a:latin typeface="Roboto" panose="02000000000000000000" pitchFamily="2" charset="0"/>
              </a:rPr>
              <a:t>Informationsveranstaltung zur Kommunalen Wärmeplanung i</a:t>
            </a:r>
            <a:r>
              <a:rPr lang="de-DE" sz="3100">
                <a:gradFill flip="none" rotWithShape="1">
                  <a:gsLst>
                    <a:gs pos="71000">
                      <a:schemeClr val="bg1"/>
                    </a:gs>
                    <a:gs pos="68000">
                      <a:schemeClr val="tx1"/>
                    </a:gs>
                    <a:gs pos="0">
                      <a:schemeClr val="tx1"/>
                    </a:gs>
                    <a:gs pos="100000">
                      <a:schemeClr val="bg1"/>
                    </a:gs>
                  </a:gsLst>
                  <a:path path="rect">
                    <a:fillToRect l="100000" t="100000"/>
                  </a:path>
                  <a:tileRect r="-100000" b="-100000"/>
                </a:gradFill>
                <a:latin typeface="Roboto" panose="02000000000000000000" pitchFamily="2" charset="0"/>
              </a:rPr>
              <a:t>n</a:t>
            </a:r>
            <a:r>
              <a:rPr lang="de-DE" sz="3100">
                <a:latin typeface="Roboto" panose="02000000000000000000" pitchFamily="2" charset="0"/>
              </a:rPr>
              <a:t> </a:t>
            </a:r>
            <a:br>
              <a:rPr lang="de-DE" sz="3100">
                <a:latin typeface="Roboto" panose="02000000000000000000" pitchFamily="2" charset="0"/>
              </a:rPr>
            </a:br>
            <a:r>
              <a:rPr lang="de-DE" sz="3100">
                <a:latin typeface="Roboto" panose="02000000000000000000" pitchFamily="2" charset="0"/>
              </a:rPr>
              <a:t>Rheda-Wiedenbrück</a:t>
            </a:r>
            <a:endParaRPr lang="en-US" sz="3100">
              <a:latin typeface="Roboto" panose="02000000000000000000" pitchFamily="2" charset="0"/>
            </a:endParaRPr>
          </a:p>
        </p:txBody>
      </p:sp>
      <p:sp>
        <p:nvSpPr>
          <p:cNvPr id="3" name="Subtitle 2">
            <a:extLst>
              <a:ext uri="{FF2B5EF4-FFF2-40B4-BE49-F238E27FC236}">
                <a16:creationId xmlns:a16="http://schemas.microsoft.com/office/drawing/2014/main" id="{7370305D-BFB4-DFE5-E100-74BA9785F8F4}"/>
              </a:ext>
            </a:extLst>
          </p:cNvPr>
          <p:cNvSpPr>
            <a:spLocks noGrp="1"/>
          </p:cNvSpPr>
          <p:nvPr>
            <p:ph type="subTitle" idx="1"/>
          </p:nvPr>
        </p:nvSpPr>
        <p:spPr>
          <a:xfrm>
            <a:off x="727202" y="2728617"/>
            <a:ext cx="4392001" cy="658800"/>
          </a:xfrm>
        </p:spPr>
        <p:txBody>
          <a:bodyPr/>
          <a:lstStyle/>
          <a:p>
            <a:r>
              <a:rPr lang="de-DE"/>
              <a:t>Aktueller Stand und Ausblick</a:t>
            </a:r>
            <a:endParaRPr lang="en-US"/>
          </a:p>
        </p:txBody>
      </p:sp>
      <p:sp>
        <p:nvSpPr>
          <p:cNvPr id="4" name="Text Placeholder 3">
            <a:extLst>
              <a:ext uri="{FF2B5EF4-FFF2-40B4-BE49-F238E27FC236}">
                <a16:creationId xmlns:a16="http://schemas.microsoft.com/office/drawing/2014/main" id="{E32D62D4-FC79-3138-1E0F-6C5A7149BF44}"/>
              </a:ext>
            </a:extLst>
          </p:cNvPr>
          <p:cNvSpPr>
            <a:spLocks noGrp="1"/>
          </p:cNvSpPr>
          <p:nvPr>
            <p:ph type="body" sz="quarter" idx="11"/>
          </p:nvPr>
        </p:nvSpPr>
        <p:spPr/>
        <p:txBody>
          <a:bodyPr/>
          <a:lstStyle/>
          <a:p>
            <a:r>
              <a:rPr lang="de-DE">
                <a:latin typeface="Roboto" panose="02000000000000000000" pitchFamily="2" charset="0"/>
              </a:rPr>
              <a:t>Rheda-Wiedenbrück, </a:t>
            </a:r>
            <a:r>
              <a:rPr lang="de-DE"/>
              <a:t>27</a:t>
            </a:r>
            <a:r>
              <a:rPr lang="de-DE">
                <a:latin typeface="Roboto" panose="02000000000000000000" pitchFamily="2" charset="0"/>
              </a:rPr>
              <a:t>.04.2026</a:t>
            </a:r>
            <a:endParaRPr lang="en-US">
              <a:latin typeface="Roboto" panose="02000000000000000000" pitchFamily="2" charset="0"/>
            </a:endParaRPr>
          </a:p>
        </p:txBody>
      </p:sp>
    </p:spTree>
    <p:extLst>
      <p:ext uri="{BB962C8B-B14F-4D97-AF65-F5344CB8AC3E}">
        <p14:creationId xmlns:p14="http://schemas.microsoft.com/office/powerpoint/2010/main" val="15053986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DE0A684F-D85D-1386-1D81-979EB4A26F91}"/>
              </a:ext>
            </a:extLst>
          </p:cNvPr>
          <p:cNvPicPr>
            <a:picLocks noChangeAspect="1"/>
          </p:cNvPicPr>
          <p:nvPr/>
        </p:nvPicPr>
        <p:blipFill>
          <a:blip r:embed="rId2"/>
          <a:stretch>
            <a:fillRect/>
          </a:stretch>
        </p:blipFill>
        <p:spPr>
          <a:xfrm>
            <a:off x="0" y="0"/>
            <a:ext cx="11176000" cy="6286500"/>
          </a:xfrm>
          <a:prstGeom prst="rect">
            <a:avLst/>
          </a:prstGeom>
        </p:spPr>
      </p:pic>
      <p:pic>
        <p:nvPicPr>
          <p:cNvPr id="4" name="Grafik 3">
            <a:extLst>
              <a:ext uri="{FF2B5EF4-FFF2-40B4-BE49-F238E27FC236}">
                <a16:creationId xmlns:a16="http://schemas.microsoft.com/office/drawing/2014/main" id="{173870A9-E38B-1767-599F-F8648811A4E8}"/>
              </a:ext>
            </a:extLst>
          </p:cNvPr>
          <p:cNvPicPr>
            <a:picLocks noChangeAspect="1"/>
          </p:cNvPicPr>
          <p:nvPr/>
        </p:nvPicPr>
        <p:blipFill>
          <a:blip r:embed="rId3"/>
          <a:stretch>
            <a:fillRect/>
          </a:stretch>
        </p:blipFill>
        <p:spPr>
          <a:xfrm>
            <a:off x="9598904" y="5077900"/>
            <a:ext cx="350531" cy="288172"/>
          </a:xfrm>
          <a:prstGeom prst="rect">
            <a:avLst/>
          </a:prstGeom>
        </p:spPr>
      </p:pic>
      <p:sp>
        <p:nvSpPr>
          <p:cNvPr id="5" name="Textfeld 4">
            <a:extLst>
              <a:ext uri="{FF2B5EF4-FFF2-40B4-BE49-F238E27FC236}">
                <a16:creationId xmlns:a16="http://schemas.microsoft.com/office/drawing/2014/main" id="{4ED4DA67-4012-BAE5-06C2-2893A901E319}"/>
              </a:ext>
            </a:extLst>
          </p:cNvPr>
          <p:cNvSpPr txBox="1"/>
          <p:nvPr/>
        </p:nvSpPr>
        <p:spPr>
          <a:xfrm>
            <a:off x="9519812" y="5077900"/>
            <a:ext cx="550151" cy="351506"/>
          </a:xfrm>
          <a:prstGeom prst="rect">
            <a:avLst/>
          </a:prstGeom>
          <a:noFill/>
        </p:spPr>
        <p:txBody>
          <a:bodyPr wrap="none" rtlCol="0">
            <a:spAutoFit/>
          </a:bodyPr>
          <a:lstStyle/>
          <a:p>
            <a:r>
              <a:rPr lang="de-DE" sz="1684" dirty="0">
                <a:solidFill>
                  <a:schemeClr val="bg1"/>
                </a:solidFill>
              </a:rPr>
              <a:t>425</a:t>
            </a:r>
          </a:p>
        </p:txBody>
      </p:sp>
    </p:spTree>
    <p:extLst>
      <p:ext uri="{BB962C8B-B14F-4D97-AF65-F5344CB8AC3E}">
        <p14:creationId xmlns:p14="http://schemas.microsoft.com/office/powerpoint/2010/main" val="12354868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D00F7574-4783-1B77-6760-995C70715CE5}"/>
              </a:ext>
            </a:extLst>
          </p:cNvPr>
          <p:cNvPicPr>
            <a:picLocks noChangeAspect="1"/>
          </p:cNvPicPr>
          <p:nvPr/>
        </p:nvPicPr>
        <p:blipFill>
          <a:blip r:embed="rId2"/>
          <a:stretch>
            <a:fillRect/>
          </a:stretch>
        </p:blipFill>
        <p:spPr>
          <a:xfrm>
            <a:off x="0" y="0"/>
            <a:ext cx="11203874" cy="6286500"/>
          </a:xfrm>
          <a:prstGeom prst="rect">
            <a:avLst/>
          </a:prstGeom>
        </p:spPr>
      </p:pic>
      <p:sp>
        <p:nvSpPr>
          <p:cNvPr id="2" name="Textfeld 1">
            <a:extLst>
              <a:ext uri="{FF2B5EF4-FFF2-40B4-BE49-F238E27FC236}">
                <a16:creationId xmlns:a16="http://schemas.microsoft.com/office/drawing/2014/main" id="{ED84096A-03E9-12AD-BFD7-2E359FE2AC23}"/>
              </a:ext>
            </a:extLst>
          </p:cNvPr>
          <p:cNvSpPr txBox="1"/>
          <p:nvPr/>
        </p:nvSpPr>
        <p:spPr>
          <a:xfrm>
            <a:off x="192786" y="100585"/>
            <a:ext cx="8326318" cy="487185"/>
          </a:xfrm>
          <a:prstGeom prst="rect">
            <a:avLst/>
          </a:prstGeom>
          <a:solidFill>
            <a:schemeClr val="accent2">
              <a:lumMod val="20000"/>
              <a:lumOff val="80000"/>
            </a:schemeClr>
          </a:solidFill>
        </p:spPr>
        <p:txBody>
          <a:bodyPr wrap="none" rtlCol="0">
            <a:spAutoFit/>
          </a:bodyPr>
          <a:lstStyle/>
          <a:p>
            <a:r>
              <a:rPr lang="de-DE" sz="1283" dirty="0"/>
              <a:t>Heute sind es bereits 1,48 Grad im Vergleich zu vorindustrieller Zeit (Referenz 1850 – 1900).</a:t>
            </a:r>
          </a:p>
          <a:p>
            <a:r>
              <a:rPr lang="de-DE" sz="1283" dirty="0"/>
              <a:t>Das Ziel, das sich die Weltgemeinschaft gesteckt hat, sind  max.1,5 Grad Erhöhung (UN-Klimagipfel Paris 2015).</a:t>
            </a:r>
          </a:p>
        </p:txBody>
      </p:sp>
    </p:spTree>
    <p:extLst>
      <p:ext uri="{BB962C8B-B14F-4D97-AF65-F5344CB8AC3E}">
        <p14:creationId xmlns:p14="http://schemas.microsoft.com/office/powerpoint/2010/main" val="21252721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0CE29C-3C4D-3866-3F18-9F93F03C0B33}"/>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2D496610-C68B-8FB5-4627-4982E2C5F6D0}"/>
              </a:ext>
            </a:extLst>
          </p:cNvPr>
          <p:cNvPicPr>
            <a:picLocks noChangeAspect="1"/>
          </p:cNvPicPr>
          <p:nvPr/>
        </p:nvPicPr>
        <p:blipFill>
          <a:blip r:embed="rId3"/>
          <a:srcRect r="425" b="-1"/>
          <a:stretch/>
        </p:blipFill>
        <p:spPr>
          <a:xfrm>
            <a:off x="18" y="0"/>
            <a:ext cx="11175982" cy="6285325"/>
          </a:xfrm>
          <a:prstGeom prst="rect">
            <a:avLst/>
          </a:prstGeom>
        </p:spPr>
      </p:pic>
      <p:sp>
        <p:nvSpPr>
          <p:cNvPr id="2" name="Textfeld 1">
            <a:extLst>
              <a:ext uri="{FF2B5EF4-FFF2-40B4-BE49-F238E27FC236}">
                <a16:creationId xmlns:a16="http://schemas.microsoft.com/office/drawing/2014/main" id="{CD357964-0851-5395-F526-89128FF8423B}"/>
              </a:ext>
            </a:extLst>
          </p:cNvPr>
          <p:cNvSpPr txBox="1"/>
          <p:nvPr/>
        </p:nvSpPr>
        <p:spPr>
          <a:xfrm>
            <a:off x="7960598" y="250888"/>
            <a:ext cx="2568332" cy="1305229"/>
          </a:xfrm>
          <a:prstGeom prst="rect">
            <a:avLst/>
          </a:prstGeom>
          <a:noFill/>
        </p:spPr>
        <p:txBody>
          <a:bodyPr wrap="none" rtlCol="0">
            <a:spAutoFit/>
          </a:bodyPr>
          <a:lstStyle/>
          <a:p>
            <a:r>
              <a:rPr lang="de-DE" sz="2383" u="sng" dirty="0">
                <a:solidFill>
                  <a:schemeClr val="bg1"/>
                </a:solidFill>
              </a:rPr>
              <a:t>Atmosphäre</a:t>
            </a:r>
          </a:p>
          <a:p>
            <a:r>
              <a:rPr lang="de-DE" sz="1833" dirty="0">
                <a:solidFill>
                  <a:schemeClr val="bg1"/>
                </a:solidFill>
              </a:rPr>
              <a:t>78% Stickstoff</a:t>
            </a:r>
          </a:p>
          <a:p>
            <a:r>
              <a:rPr lang="de-DE" sz="1833" dirty="0">
                <a:solidFill>
                  <a:schemeClr val="bg1"/>
                </a:solidFill>
              </a:rPr>
              <a:t>21% Sauerstoff</a:t>
            </a:r>
          </a:p>
          <a:p>
            <a:r>
              <a:rPr lang="de-DE" sz="1833" dirty="0">
                <a:solidFill>
                  <a:schemeClr val="bg1"/>
                </a:solidFill>
              </a:rPr>
              <a:t>0,028 % CO</a:t>
            </a:r>
            <a:r>
              <a:rPr lang="de-DE" sz="1833" baseline="-25000" dirty="0">
                <a:solidFill>
                  <a:schemeClr val="bg1"/>
                </a:solidFill>
              </a:rPr>
              <a:t>2 </a:t>
            </a:r>
            <a:r>
              <a:rPr lang="de-DE" sz="1833" dirty="0">
                <a:solidFill>
                  <a:schemeClr val="bg1"/>
                </a:solidFill>
              </a:rPr>
              <a:t>(280 ppm)</a:t>
            </a:r>
          </a:p>
        </p:txBody>
      </p:sp>
      <p:sp>
        <p:nvSpPr>
          <p:cNvPr id="7" name="Textfeld 6">
            <a:extLst>
              <a:ext uri="{FF2B5EF4-FFF2-40B4-BE49-F238E27FC236}">
                <a16:creationId xmlns:a16="http://schemas.microsoft.com/office/drawing/2014/main" id="{C47F66E6-EAEF-0FA7-4AF1-D665749DE656}"/>
              </a:ext>
            </a:extLst>
          </p:cNvPr>
          <p:cNvSpPr txBox="1"/>
          <p:nvPr/>
        </p:nvSpPr>
        <p:spPr>
          <a:xfrm>
            <a:off x="7960598" y="1806765"/>
            <a:ext cx="2202847" cy="374398"/>
          </a:xfrm>
          <a:prstGeom prst="rect">
            <a:avLst/>
          </a:prstGeom>
          <a:noFill/>
        </p:spPr>
        <p:txBody>
          <a:bodyPr wrap="none" rtlCol="0">
            <a:spAutoFit/>
          </a:bodyPr>
          <a:lstStyle/>
          <a:p>
            <a:r>
              <a:rPr lang="de-DE" sz="1833" dirty="0">
                <a:solidFill>
                  <a:schemeClr val="bg1"/>
                </a:solidFill>
                <a:sym typeface="Wingdings" panose="05000000000000000000" pitchFamily="2" charset="2"/>
              </a:rPr>
              <a:t>jetzt: 0,0425 % CO</a:t>
            </a:r>
            <a:r>
              <a:rPr lang="de-DE" sz="1833" baseline="-25000" dirty="0">
                <a:solidFill>
                  <a:schemeClr val="bg1"/>
                </a:solidFill>
                <a:sym typeface="Wingdings" panose="05000000000000000000" pitchFamily="2" charset="2"/>
              </a:rPr>
              <a:t>2</a:t>
            </a:r>
            <a:r>
              <a:rPr lang="de-DE" sz="1833" dirty="0">
                <a:solidFill>
                  <a:schemeClr val="bg1"/>
                </a:solidFill>
                <a:sym typeface="Wingdings" panose="05000000000000000000" pitchFamily="2" charset="2"/>
              </a:rPr>
              <a:t> </a:t>
            </a:r>
            <a:endParaRPr lang="de-DE" sz="1833" dirty="0">
              <a:solidFill>
                <a:schemeClr val="bg1"/>
              </a:solidFill>
            </a:endParaRPr>
          </a:p>
        </p:txBody>
      </p:sp>
      <p:sp>
        <p:nvSpPr>
          <p:cNvPr id="9" name="Bogen 8">
            <a:extLst>
              <a:ext uri="{FF2B5EF4-FFF2-40B4-BE49-F238E27FC236}">
                <a16:creationId xmlns:a16="http://schemas.microsoft.com/office/drawing/2014/main" id="{618D3861-9939-DD71-1C46-F9E20C549D08}"/>
              </a:ext>
            </a:extLst>
          </p:cNvPr>
          <p:cNvSpPr/>
          <p:nvPr/>
        </p:nvSpPr>
        <p:spPr>
          <a:xfrm rot="20714104">
            <a:off x="3909187" y="925639"/>
            <a:ext cx="1882251" cy="4112768"/>
          </a:xfrm>
          <a:prstGeom prst="arc">
            <a:avLst>
              <a:gd name="adj1" fmla="val 16372979"/>
              <a:gd name="adj2" fmla="val 0"/>
            </a:avLst>
          </a:prstGeom>
          <a:ln>
            <a:solidFill>
              <a:srgbClr val="00B0F0"/>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sz="1684"/>
          </a:p>
        </p:txBody>
      </p:sp>
      <p:cxnSp>
        <p:nvCxnSpPr>
          <p:cNvPr id="11" name="Gerade Verbindung mit Pfeil 10">
            <a:extLst>
              <a:ext uri="{FF2B5EF4-FFF2-40B4-BE49-F238E27FC236}">
                <a16:creationId xmlns:a16="http://schemas.microsoft.com/office/drawing/2014/main" id="{CE0F6456-BF39-510F-650F-390BC1BE1B5C}"/>
              </a:ext>
            </a:extLst>
          </p:cNvPr>
          <p:cNvCxnSpPr>
            <a:cxnSpLocks/>
          </p:cNvCxnSpPr>
          <p:nvPr/>
        </p:nvCxnSpPr>
        <p:spPr>
          <a:xfrm flipH="1">
            <a:off x="4978383" y="1078753"/>
            <a:ext cx="1668018" cy="728012"/>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6" name="Gerade Verbindung mit Pfeil 15">
            <a:extLst>
              <a:ext uri="{FF2B5EF4-FFF2-40B4-BE49-F238E27FC236}">
                <a16:creationId xmlns:a16="http://schemas.microsoft.com/office/drawing/2014/main" id="{CB411765-78E0-ADAD-2A1B-E3326E650B45}"/>
              </a:ext>
            </a:extLst>
          </p:cNvPr>
          <p:cNvCxnSpPr>
            <a:cxnSpLocks/>
          </p:cNvCxnSpPr>
          <p:nvPr/>
        </p:nvCxnSpPr>
        <p:spPr>
          <a:xfrm flipH="1">
            <a:off x="5173832" y="1492360"/>
            <a:ext cx="1668018" cy="728012"/>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22" name="Gerade Verbindung mit Pfeil 21">
            <a:extLst>
              <a:ext uri="{FF2B5EF4-FFF2-40B4-BE49-F238E27FC236}">
                <a16:creationId xmlns:a16="http://schemas.microsoft.com/office/drawing/2014/main" id="{6E7730C9-9D63-C77D-FC8A-2F9529F819C3}"/>
              </a:ext>
            </a:extLst>
          </p:cNvPr>
          <p:cNvCxnSpPr>
            <a:cxnSpLocks/>
          </p:cNvCxnSpPr>
          <p:nvPr/>
        </p:nvCxnSpPr>
        <p:spPr>
          <a:xfrm flipV="1">
            <a:off x="4978383" y="236148"/>
            <a:ext cx="2355912" cy="152745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25" name="Gerade Verbindung mit Pfeil 24">
            <a:extLst>
              <a:ext uri="{FF2B5EF4-FFF2-40B4-BE49-F238E27FC236}">
                <a16:creationId xmlns:a16="http://schemas.microsoft.com/office/drawing/2014/main" id="{B5A64337-7226-4AB0-6050-28AE8C4EBDFA}"/>
              </a:ext>
            </a:extLst>
          </p:cNvPr>
          <p:cNvCxnSpPr>
            <a:cxnSpLocks/>
          </p:cNvCxnSpPr>
          <p:nvPr/>
        </p:nvCxnSpPr>
        <p:spPr>
          <a:xfrm>
            <a:off x="5184397" y="2258850"/>
            <a:ext cx="403603" cy="12469"/>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36" name="Gerade Verbindung mit Pfeil 35">
            <a:extLst>
              <a:ext uri="{FF2B5EF4-FFF2-40B4-BE49-F238E27FC236}">
                <a16:creationId xmlns:a16="http://schemas.microsoft.com/office/drawing/2014/main" id="{08749CE9-80CB-663F-6ADA-61E42520D2CF}"/>
              </a:ext>
            </a:extLst>
          </p:cNvPr>
          <p:cNvCxnSpPr>
            <a:cxnSpLocks/>
          </p:cNvCxnSpPr>
          <p:nvPr/>
        </p:nvCxnSpPr>
        <p:spPr>
          <a:xfrm flipH="1">
            <a:off x="5298951" y="2314808"/>
            <a:ext cx="289049" cy="201306"/>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39" name="Gerade Verbindung mit Pfeil 38">
            <a:extLst>
              <a:ext uri="{FF2B5EF4-FFF2-40B4-BE49-F238E27FC236}">
                <a16:creationId xmlns:a16="http://schemas.microsoft.com/office/drawing/2014/main" id="{979ABDD0-806A-BB4C-C95C-511659E21D08}"/>
              </a:ext>
            </a:extLst>
          </p:cNvPr>
          <p:cNvCxnSpPr>
            <a:cxnSpLocks/>
          </p:cNvCxnSpPr>
          <p:nvPr/>
        </p:nvCxnSpPr>
        <p:spPr>
          <a:xfrm flipV="1">
            <a:off x="5326604" y="2314807"/>
            <a:ext cx="3197892" cy="253149"/>
          </a:xfrm>
          <a:prstGeom prst="straightConnector1">
            <a:avLst/>
          </a:prstGeom>
          <a:ln>
            <a:prstDash val="sysDash"/>
            <a:tailEnd type="triangle"/>
          </a:ln>
        </p:spPr>
        <p:style>
          <a:lnRef idx="3">
            <a:schemeClr val="accent2"/>
          </a:lnRef>
          <a:fillRef idx="0">
            <a:schemeClr val="accent2"/>
          </a:fillRef>
          <a:effectRef idx="2">
            <a:schemeClr val="accent2"/>
          </a:effectRef>
          <a:fontRef idx="minor">
            <a:schemeClr val="tx1"/>
          </a:fontRef>
        </p:style>
      </p:cxnSp>
      <p:sp>
        <p:nvSpPr>
          <p:cNvPr id="5" name="Textfeld 4">
            <a:extLst>
              <a:ext uri="{FF2B5EF4-FFF2-40B4-BE49-F238E27FC236}">
                <a16:creationId xmlns:a16="http://schemas.microsoft.com/office/drawing/2014/main" id="{77172F1D-8073-6F79-4C96-B1B177A72278}"/>
              </a:ext>
            </a:extLst>
          </p:cNvPr>
          <p:cNvSpPr txBox="1"/>
          <p:nvPr/>
        </p:nvSpPr>
        <p:spPr>
          <a:xfrm>
            <a:off x="9919421" y="1806765"/>
            <a:ext cx="1876436" cy="374398"/>
          </a:xfrm>
          <a:prstGeom prst="rect">
            <a:avLst/>
          </a:prstGeom>
          <a:noFill/>
        </p:spPr>
        <p:txBody>
          <a:bodyPr wrap="square">
            <a:spAutoFit/>
          </a:bodyPr>
          <a:lstStyle/>
          <a:p>
            <a:r>
              <a:rPr lang="de-DE" sz="1833" dirty="0">
                <a:solidFill>
                  <a:schemeClr val="bg1"/>
                </a:solidFill>
              </a:rPr>
              <a:t>(425 ppm)</a:t>
            </a:r>
            <a:endParaRPr lang="de-DE" sz="1833" dirty="0"/>
          </a:p>
        </p:txBody>
      </p:sp>
      <p:pic>
        <p:nvPicPr>
          <p:cNvPr id="15" name="Grafik 14">
            <a:extLst>
              <a:ext uri="{FF2B5EF4-FFF2-40B4-BE49-F238E27FC236}">
                <a16:creationId xmlns:a16="http://schemas.microsoft.com/office/drawing/2014/main" id="{17A7103E-13E8-49A0-9463-40F3F23198C5}"/>
              </a:ext>
            </a:extLst>
          </p:cNvPr>
          <p:cNvPicPr>
            <a:picLocks noChangeAspect="1"/>
          </p:cNvPicPr>
          <p:nvPr/>
        </p:nvPicPr>
        <p:blipFill>
          <a:blip r:embed="rId4"/>
          <a:stretch>
            <a:fillRect/>
          </a:stretch>
        </p:blipFill>
        <p:spPr>
          <a:xfrm>
            <a:off x="6591369" y="3921187"/>
            <a:ext cx="3803106" cy="2129166"/>
          </a:xfrm>
          <a:prstGeom prst="rect">
            <a:avLst/>
          </a:prstGeom>
        </p:spPr>
      </p:pic>
      <p:sp>
        <p:nvSpPr>
          <p:cNvPr id="4" name="Titel 1">
            <a:extLst>
              <a:ext uri="{FF2B5EF4-FFF2-40B4-BE49-F238E27FC236}">
                <a16:creationId xmlns:a16="http://schemas.microsoft.com/office/drawing/2014/main" id="{E53211E6-3182-95BC-59C1-76F35062FCDE}"/>
              </a:ext>
            </a:extLst>
          </p:cNvPr>
          <p:cNvSpPr txBox="1">
            <a:spLocks/>
          </p:cNvSpPr>
          <p:nvPr/>
        </p:nvSpPr>
        <p:spPr>
          <a:xfrm>
            <a:off x="4947899" y="5110458"/>
            <a:ext cx="1490005" cy="947397"/>
          </a:xfrm>
          <a:prstGeom prst="rect">
            <a:avLst/>
          </a:prstGeom>
          <a:solidFill>
            <a:schemeClr val="bg1"/>
          </a:solidFill>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1283" b="1" dirty="0">
                <a:solidFill>
                  <a:srgbClr val="336699"/>
                </a:solidFill>
                <a:latin typeface="+mn-lt"/>
                <a:ea typeface="+mn-ea"/>
                <a:cs typeface="+mn-cs"/>
              </a:rPr>
              <a:t>Eisbohrkern- Messungen</a:t>
            </a:r>
          </a:p>
          <a:p>
            <a:r>
              <a:rPr lang="de-DE" sz="1008" dirty="0"/>
              <a:t>liefern Zeitreihen, die Temperatur und CO</a:t>
            </a:r>
            <a:r>
              <a:rPr lang="de-DE" sz="1008" baseline="-25000" dirty="0"/>
              <a:t>2</a:t>
            </a:r>
            <a:r>
              <a:rPr lang="de-DE" sz="1008" dirty="0"/>
              <a:t> (in ppm) über sehr lange Zeiträume abbilden.</a:t>
            </a:r>
            <a:endParaRPr lang="de-DE" sz="1283" b="1" dirty="0">
              <a:solidFill>
                <a:srgbClr val="336699"/>
              </a:solidFill>
              <a:latin typeface="+mn-lt"/>
              <a:ea typeface="+mn-ea"/>
              <a:cs typeface="+mn-cs"/>
            </a:endParaRPr>
          </a:p>
          <a:p>
            <a:endParaRPr lang="de-DE" sz="1283" b="1" dirty="0">
              <a:solidFill>
                <a:srgbClr val="336699"/>
              </a:solidFill>
              <a:latin typeface="+mn-lt"/>
              <a:ea typeface="+mn-ea"/>
              <a:cs typeface="+mn-cs"/>
            </a:endParaRPr>
          </a:p>
          <a:p>
            <a:endParaRPr lang="de-DE" sz="1283" b="1" dirty="0">
              <a:solidFill>
                <a:srgbClr val="336699"/>
              </a:solidFill>
              <a:latin typeface="+mn-lt"/>
              <a:ea typeface="+mn-ea"/>
              <a:cs typeface="+mn-cs"/>
            </a:endParaRPr>
          </a:p>
        </p:txBody>
      </p:sp>
      <p:sp>
        <p:nvSpPr>
          <p:cNvPr id="6" name="Titel 1">
            <a:extLst>
              <a:ext uri="{FF2B5EF4-FFF2-40B4-BE49-F238E27FC236}">
                <a16:creationId xmlns:a16="http://schemas.microsoft.com/office/drawing/2014/main" id="{5D782177-84BF-411A-B970-8C14FE7AFA46}"/>
              </a:ext>
            </a:extLst>
          </p:cNvPr>
          <p:cNvSpPr txBox="1">
            <a:spLocks/>
          </p:cNvSpPr>
          <p:nvPr/>
        </p:nvSpPr>
        <p:spPr>
          <a:xfrm>
            <a:off x="8854937" y="2982023"/>
            <a:ext cx="2128967" cy="840743"/>
          </a:xfrm>
          <a:prstGeom prst="rect">
            <a:avLst/>
          </a:prstGeom>
          <a:solidFill>
            <a:schemeClr val="bg1"/>
          </a:solidFill>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1283" b="1" dirty="0">
                <a:solidFill>
                  <a:srgbClr val="336699"/>
                </a:solidFill>
                <a:latin typeface="+mn-lt"/>
                <a:ea typeface="+mn-ea"/>
                <a:cs typeface="+mn-cs"/>
              </a:rPr>
              <a:t>Konzentration CO</a:t>
            </a:r>
            <a:r>
              <a:rPr lang="de-DE" sz="1283" b="1" baseline="-25000" dirty="0">
                <a:solidFill>
                  <a:srgbClr val="336699"/>
                </a:solidFill>
                <a:latin typeface="+mn-lt"/>
                <a:ea typeface="+mn-ea"/>
                <a:cs typeface="+mn-cs"/>
              </a:rPr>
              <a:t>2</a:t>
            </a:r>
            <a:r>
              <a:rPr lang="de-DE" sz="1283" b="1" dirty="0">
                <a:solidFill>
                  <a:srgbClr val="336699"/>
                </a:solidFill>
                <a:latin typeface="+mn-lt"/>
                <a:ea typeface="+mn-ea"/>
                <a:cs typeface="+mn-cs"/>
              </a:rPr>
              <a:t> ppm (parts per million)</a:t>
            </a:r>
          </a:p>
          <a:p>
            <a:r>
              <a:rPr lang="de-DE" sz="1008" dirty="0"/>
              <a:t>angestiegen seit der Industrialisierung von 280 ppm auf 425 ppm</a:t>
            </a:r>
          </a:p>
          <a:p>
            <a:r>
              <a:rPr lang="de-DE" sz="1008" dirty="0"/>
              <a:t>im Jahr 2025.</a:t>
            </a:r>
          </a:p>
        </p:txBody>
      </p:sp>
    </p:spTree>
    <p:extLst>
      <p:ext uri="{BB962C8B-B14F-4D97-AF65-F5344CB8AC3E}">
        <p14:creationId xmlns:p14="http://schemas.microsoft.com/office/powerpoint/2010/main" val="558769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6" presetClass="entr" presetSubtype="21" fill="hold" nodeType="click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barn(inVertical)">
                                      <p:cBhvr>
                                        <p:cTn id="14" dur="500"/>
                                        <p:tgtEl>
                                          <p:spTgt spid="11"/>
                                        </p:tgtEl>
                                      </p:cBhvr>
                                    </p:animEffect>
                                  </p:childTnLst>
                                </p:cTn>
                              </p:par>
                            </p:childTnLst>
                          </p:cTn>
                        </p:par>
                      </p:childTnLst>
                    </p:cTn>
                  </p:par>
                  <p:par>
                    <p:cTn id="15" fill="hold">
                      <p:stCondLst>
                        <p:cond delay="indefinite"/>
                      </p:stCondLst>
                      <p:childTnLst>
                        <p:par>
                          <p:cTn id="16" fill="hold">
                            <p:stCondLst>
                              <p:cond delay="0"/>
                            </p:stCondLst>
                            <p:childTnLst>
                              <p:par>
                                <p:cTn id="17" presetID="16" presetClass="entr" presetSubtype="21" fill="hold" nodeType="click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barn(inVertical)">
                                      <p:cBhvr>
                                        <p:cTn id="19" dur="500"/>
                                        <p:tgtEl>
                                          <p:spTgt spid="22"/>
                                        </p:tgtEl>
                                      </p:cBhvr>
                                    </p:animEffect>
                                  </p:childTnLst>
                                </p:cTn>
                              </p:par>
                            </p:childTnLst>
                          </p:cTn>
                        </p:par>
                      </p:childTnLst>
                    </p:cTn>
                  </p:par>
                  <p:par>
                    <p:cTn id="20" fill="hold">
                      <p:stCondLst>
                        <p:cond delay="indefinite"/>
                      </p:stCondLst>
                      <p:childTnLst>
                        <p:par>
                          <p:cTn id="21" fill="hold">
                            <p:stCondLst>
                              <p:cond delay="0"/>
                            </p:stCondLst>
                            <p:childTnLst>
                              <p:par>
                                <p:cTn id="22" presetID="6" presetClass="entr" presetSubtype="16" fill="hold" grpId="0" nodeType="click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circle(in)">
                                      <p:cBhvr>
                                        <p:cTn id="24" dur="2000"/>
                                        <p:tgtEl>
                                          <p:spTgt spid="9"/>
                                        </p:tgtEl>
                                      </p:cBhvr>
                                    </p:animEffect>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barn(inVertical)">
                                      <p:cBhvr>
                                        <p:cTn id="29" dur="500"/>
                                        <p:tgtEl>
                                          <p:spTgt spid="16"/>
                                        </p:tgtEl>
                                      </p:cBhvr>
                                    </p:animEffect>
                                  </p:childTnLst>
                                </p:cTn>
                              </p:par>
                            </p:childTnLst>
                          </p:cTn>
                        </p:par>
                      </p:childTnLst>
                    </p:cTn>
                  </p:par>
                  <p:par>
                    <p:cTn id="30" fill="hold">
                      <p:stCondLst>
                        <p:cond delay="indefinite"/>
                      </p:stCondLst>
                      <p:childTnLst>
                        <p:par>
                          <p:cTn id="31" fill="hold">
                            <p:stCondLst>
                              <p:cond delay="0"/>
                            </p:stCondLst>
                            <p:childTnLst>
                              <p:par>
                                <p:cTn id="32" presetID="16" presetClass="entr" presetSubtype="21" fill="hold" nodeType="click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barn(inVertical)">
                                      <p:cBhvr>
                                        <p:cTn id="34" dur="500"/>
                                        <p:tgtEl>
                                          <p:spTgt spid="25"/>
                                        </p:tgtEl>
                                      </p:cBhvr>
                                    </p:animEffect>
                                  </p:childTnLst>
                                </p:cTn>
                              </p:par>
                            </p:childTnLst>
                          </p:cTn>
                        </p:par>
                      </p:childTnLst>
                    </p:cTn>
                  </p:par>
                  <p:par>
                    <p:cTn id="35" fill="hold">
                      <p:stCondLst>
                        <p:cond delay="indefinite"/>
                      </p:stCondLst>
                      <p:childTnLst>
                        <p:par>
                          <p:cTn id="36" fill="hold">
                            <p:stCondLst>
                              <p:cond delay="0"/>
                            </p:stCondLst>
                            <p:childTnLst>
                              <p:par>
                                <p:cTn id="37" presetID="16" presetClass="entr" presetSubtype="21" fill="hold" nodeType="clickEffect">
                                  <p:stCondLst>
                                    <p:cond delay="0"/>
                                  </p:stCondLst>
                                  <p:childTnLst>
                                    <p:set>
                                      <p:cBhvr>
                                        <p:cTn id="38" dur="1" fill="hold">
                                          <p:stCondLst>
                                            <p:cond delay="0"/>
                                          </p:stCondLst>
                                        </p:cTn>
                                        <p:tgtEl>
                                          <p:spTgt spid="36"/>
                                        </p:tgtEl>
                                        <p:attrNameLst>
                                          <p:attrName>style.visibility</p:attrName>
                                        </p:attrNameLst>
                                      </p:cBhvr>
                                      <p:to>
                                        <p:strVal val="visible"/>
                                      </p:to>
                                    </p:set>
                                    <p:animEffect transition="in" filter="barn(inVertical)">
                                      <p:cBhvr>
                                        <p:cTn id="39" dur="500"/>
                                        <p:tgtEl>
                                          <p:spTgt spid="36"/>
                                        </p:tgtEl>
                                      </p:cBhvr>
                                    </p:animEffect>
                                  </p:childTnLst>
                                </p:cTn>
                              </p:par>
                            </p:childTnLst>
                          </p:cTn>
                        </p:par>
                      </p:childTnLst>
                    </p:cTn>
                  </p:par>
                  <p:par>
                    <p:cTn id="40" fill="hold">
                      <p:stCondLst>
                        <p:cond delay="indefinite"/>
                      </p:stCondLst>
                      <p:childTnLst>
                        <p:par>
                          <p:cTn id="41" fill="hold">
                            <p:stCondLst>
                              <p:cond delay="0"/>
                            </p:stCondLst>
                            <p:childTnLst>
                              <p:par>
                                <p:cTn id="42" presetID="16" presetClass="entr" presetSubtype="21" fill="hold" nodeType="clickEffect">
                                  <p:stCondLst>
                                    <p:cond delay="0"/>
                                  </p:stCondLst>
                                  <p:childTnLst>
                                    <p:set>
                                      <p:cBhvr>
                                        <p:cTn id="43" dur="1" fill="hold">
                                          <p:stCondLst>
                                            <p:cond delay="0"/>
                                          </p:stCondLst>
                                        </p:cTn>
                                        <p:tgtEl>
                                          <p:spTgt spid="39"/>
                                        </p:tgtEl>
                                        <p:attrNameLst>
                                          <p:attrName>style.visibility</p:attrName>
                                        </p:attrNameLst>
                                      </p:cBhvr>
                                      <p:to>
                                        <p:strVal val="visible"/>
                                      </p:to>
                                    </p:set>
                                    <p:animEffect transition="in" filter="barn(inVertical)">
                                      <p:cBhvr>
                                        <p:cTn id="44" dur="500"/>
                                        <p:tgtEl>
                                          <p:spTgt spid="39"/>
                                        </p:tgtEl>
                                      </p:cBhvr>
                                    </p:animEffect>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2"/>
                                        </p:tgtEl>
                                        <p:attrNameLst>
                                          <p:attrName>style.visibility</p:attrName>
                                        </p:attrNameLst>
                                      </p:cBhvr>
                                      <p:to>
                                        <p:strVal val="visible"/>
                                      </p:to>
                                    </p:set>
                                    <p:animEffect transition="in" filter="fade">
                                      <p:cBhvr>
                                        <p:cTn id="49" dur="1000"/>
                                        <p:tgtEl>
                                          <p:spTgt spid="2"/>
                                        </p:tgtEl>
                                      </p:cBhvr>
                                    </p:animEffect>
                                    <p:anim calcmode="lin" valueType="num">
                                      <p:cBhvr>
                                        <p:cTn id="50" dur="1000" fill="hold"/>
                                        <p:tgtEl>
                                          <p:spTgt spid="2"/>
                                        </p:tgtEl>
                                        <p:attrNameLst>
                                          <p:attrName>ppt_x</p:attrName>
                                        </p:attrNameLst>
                                      </p:cBhvr>
                                      <p:tavLst>
                                        <p:tav tm="0">
                                          <p:val>
                                            <p:strVal val="#ppt_x"/>
                                          </p:val>
                                        </p:tav>
                                        <p:tav tm="100000">
                                          <p:val>
                                            <p:strVal val="#ppt_x"/>
                                          </p:val>
                                        </p:tav>
                                      </p:tavLst>
                                    </p:anim>
                                    <p:anim calcmode="lin" valueType="num">
                                      <p:cBhvr>
                                        <p:cTn id="51"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7"/>
                                        </p:tgtEl>
                                        <p:attrNameLst>
                                          <p:attrName>style.visibility</p:attrName>
                                        </p:attrNameLst>
                                      </p:cBhvr>
                                      <p:to>
                                        <p:strVal val="visible"/>
                                      </p:to>
                                    </p:set>
                                    <p:animEffect transition="in" filter="fade">
                                      <p:cBhvr>
                                        <p:cTn id="56" dur="1000"/>
                                        <p:tgtEl>
                                          <p:spTgt spid="7"/>
                                        </p:tgtEl>
                                      </p:cBhvr>
                                    </p:animEffect>
                                    <p:anim calcmode="lin" valueType="num">
                                      <p:cBhvr>
                                        <p:cTn id="57" dur="1000" fill="hold"/>
                                        <p:tgtEl>
                                          <p:spTgt spid="7"/>
                                        </p:tgtEl>
                                        <p:attrNameLst>
                                          <p:attrName>ppt_x</p:attrName>
                                        </p:attrNameLst>
                                      </p:cBhvr>
                                      <p:tavLst>
                                        <p:tav tm="0">
                                          <p:val>
                                            <p:strVal val="#ppt_x"/>
                                          </p:val>
                                        </p:tav>
                                        <p:tav tm="100000">
                                          <p:val>
                                            <p:strVal val="#ppt_x"/>
                                          </p:val>
                                        </p:tav>
                                      </p:tavLst>
                                    </p:anim>
                                    <p:anim calcmode="lin" valueType="num">
                                      <p:cBhvr>
                                        <p:cTn id="58" dur="1000" fill="hold"/>
                                        <p:tgtEl>
                                          <p:spTgt spid="7"/>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5"/>
                                        </p:tgtEl>
                                        <p:attrNameLst>
                                          <p:attrName>style.visibility</p:attrName>
                                        </p:attrNameLst>
                                      </p:cBhvr>
                                      <p:to>
                                        <p:strVal val="visible"/>
                                      </p:to>
                                    </p:set>
                                    <p:animEffect transition="in" filter="fade">
                                      <p:cBhvr>
                                        <p:cTn id="61" dur="1000"/>
                                        <p:tgtEl>
                                          <p:spTgt spid="5"/>
                                        </p:tgtEl>
                                      </p:cBhvr>
                                    </p:animEffect>
                                    <p:anim calcmode="lin" valueType="num">
                                      <p:cBhvr>
                                        <p:cTn id="62" dur="1000" fill="hold"/>
                                        <p:tgtEl>
                                          <p:spTgt spid="5"/>
                                        </p:tgtEl>
                                        <p:attrNameLst>
                                          <p:attrName>ppt_x</p:attrName>
                                        </p:attrNameLst>
                                      </p:cBhvr>
                                      <p:tavLst>
                                        <p:tav tm="0">
                                          <p:val>
                                            <p:strVal val="#ppt_x"/>
                                          </p:val>
                                        </p:tav>
                                        <p:tav tm="100000">
                                          <p:val>
                                            <p:strVal val="#ppt_x"/>
                                          </p:val>
                                        </p:tav>
                                      </p:tavLst>
                                    </p:anim>
                                    <p:anim calcmode="lin" valueType="num">
                                      <p:cBhvr>
                                        <p:cTn id="6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64" fill="hold">
                      <p:stCondLst>
                        <p:cond delay="indefinite"/>
                      </p:stCondLst>
                      <p:childTnLst>
                        <p:par>
                          <p:cTn id="65" fill="hold">
                            <p:stCondLst>
                              <p:cond delay="0"/>
                            </p:stCondLst>
                            <p:childTnLst>
                              <p:par>
                                <p:cTn id="66" presetID="16" presetClass="entr" presetSubtype="21" fill="hold" nodeType="clickEffect">
                                  <p:stCondLst>
                                    <p:cond delay="0"/>
                                  </p:stCondLst>
                                  <p:childTnLst>
                                    <p:set>
                                      <p:cBhvr>
                                        <p:cTn id="67" dur="1" fill="hold">
                                          <p:stCondLst>
                                            <p:cond delay="0"/>
                                          </p:stCondLst>
                                        </p:cTn>
                                        <p:tgtEl>
                                          <p:spTgt spid="15"/>
                                        </p:tgtEl>
                                        <p:attrNameLst>
                                          <p:attrName>style.visibility</p:attrName>
                                        </p:attrNameLst>
                                      </p:cBhvr>
                                      <p:to>
                                        <p:strVal val="visible"/>
                                      </p:to>
                                    </p:set>
                                    <p:animEffect transition="in" filter="barn(inVertical)">
                                      <p:cBhvr>
                                        <p:cTn id="6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p:bldP spid="9" grpId="0" animBg="1"/>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702100-4E41-EA8D-B095-DD861F90C1BC}"/>
            </a:ext>
          </a:extLst>
        </p:cNvPr>
        <p:cNvGrpSpPr/>
        <p:nvPr/>
      </p:nvGrpSpPr>
      <p:grpSpPr>
        <a:xfrm>
          <a:off x="0" y="0"/>
          <a:ext cx="0" cy="0"/>
          <a:chOff x="0" y="0"/>
          <a:chExt cx="0" cy="0"/>
        </a:xfrm>
      </p:grpSpPr>
      <p:sp>
        <p:nvSpPr>
          <p:cNvPr id="2" name="Textfeld 1">
            <a:extLst>
              <a:ext uri="{FF2B5EF4-FFF2-40B4-BE49-F238E27FC236}">
                <a16:creationId xmlns:a16="http://schemas.microsoft.com/office/drawing/2014/main" id="{543D037F-B318-900A-3C83-6DCF91FD8C92}"/>
              </a:ext>
            </a:extLst>
          </p:cNvPr>
          <p:cNvSpPr txBox="1"/>
          <p:nvPr/>
        </p:nvSpPr>
        <p:spPr>
          <a:xfrm>
            <a:off x="3177856" y="288881"/>
            <a:ext cx="4692311" cy="515526"/>
          </a:xfrm>
          <a:prstGeom prst="rect">
            <a:avLst/>
          </a:prstGeom>
          <a:noFill/>
        </p:spPr>
        <p:txBody>
          <a:bodyPr wrap="none" rtlCol="0">
            <a:spAutoFit/>
          </a:bodyPr>
          <a:lstStyle/>
          <a:p>
            <a:pPr algn="ctr"/>
            <a:r>
              <a:rPr lang="de-DE" sz="2750" b="1" dirty="0">
                <a:solidFill>
                  <a:srgbClr val="336699"/>
                </a:solidFill>
              </a:rPr>
              <a:t>Klimaneutralität – das heißt </a:t>
            </a:r>
          </a:p>
        </p:txBody>
      </p:sp>
      <p:pic>
        <p:nvPicPr>
          <p:cNvPr id="5" name="Grafik 4">
            <a:extLst>
              <a:ext uri="{FF2B5EF4-FFF2-40B4-BE49-F238E27FC236}">
                <a16:creationId xmlns:a16="http://schemas.microsoft.com/office/drawing/2014/main" id="{0E2D80E1-C7E9-610A-3D67-3C3362DA254A}"/>
              </a:ext>
            </a:extLst>
          </p:cNvPr>
          <p:cNvPicPr>
            <a:picLocks noChangeAspect="1"/>
          </p:cNvPicPr>
          <p:nvPr/>
        </p:nvPicPr>
        <p:blipFill>
          <a:blip r:embed="rId2"/>
          <a:stretch>
            <a:fillRect/>
          </a:stretch>
        </p:blipFill>
        <p:spPr>
          <a:xfrm>
            <a:off x="3946563" y="1222097"/>
            <a:ext cx="3061916" cy="1851120"/>
          </a:xfrm>
          <a:prstGeom prst="rect">
            <a:avLst/>
          </a:prstGeom>
        </p:spPr>
      </p:pic>
      <p:sp>
        <p:nvSpPr>
          <p:cNvPr id="7" name="Rechteck 6">
            <a:extLst>
              <a:ext uri="{FF2B5EF4-FFF2-40B4-BE49-F238E27FC236}">
                <a16:creationId xmlns:a16="http://schemas.microsoft.com/office/drawing/2014/main" id="{0C5A87CE-534C-6CB5-0A46-44A0AF1860FA}"/>
              </a:ext>
            </a:extLst>
          </p:cNvPr>
          <p:cNvSpPr/>
          <p:nvPr/>
        </p:nvSpPr>
        <p:spPr>
          <a:xfrm>
            <a:off x="1044089" y="953402"/>
            <a:ext cx="9210759" cy="374398"/>
          </a:xfrm>
          <a:prstGeom prst="rect">
            <a:avLst/>
          </a:prstGeom>
        </p:spPr>
        <p:txBody>
          <a:bodyPr wrap="square">
            <a:spAutoFit/>
          </a:bodyPr>
          <a:lstStyle/>
          <a:p>
            <a:pPr algn="ctr"/>
            <a:r>
              <a:rPr lang="de-DE" sz="1833" dirty="0"/>
              <a:t>Gleichgewicht zwischen Treibhausgas-Emissionen und deren Abbau.</a:t>
            </a:r>
          </a:p>
        </p:txBody>
      </p:sp>
      <p:sp>
        <p:nvSpPr>
          <p:cNvPr id="9" name="Rechteck 8">
            <a:extLst>
              <a:ext uri="{FF2B5EF4-FFF2-40B4-BE49-F238E27FC236}">
                <a16:creationId xmlns:a16="http://schemas.microsoft.com/office/drawing/2014/main" id="{64AC8782-D660-D3AF-FAA4-DD1FDF779162}"/>
              </a:ext>
            </a:extLst>
          </p:cNvPr>
          <p:cNvSpPr/>
          <p:nvPr/>
        </p:nvSpPr>
        <p:spPr>
          <a:xfrm>
            <a:off x="1498959" y="1789418"/>
            <a:ext cx="2971045" cy="938527"/>
          </a:xfrm>
          <a:prstGeom prst="rect">
            <a:avLst/>
          </a:prstGeom>
        </p:spPr>
        <p:txBody>
          <a:bodyPr wrap="square">
            <a:spAutoFit/>
          </a:bodyPr>
          <a:lstStyle/>
          <a:p>
            <a:pPr algn="ctr"/>
            <a:r>
              <a:rPr lang="de-DE" sz="1833" dirty="0"/>
              <a:t>Öl </a:t>
            </a:r>
          </a:p>
          <a:p>
            <a:pPr algn="ctr"/>
            <a:r>
              <a:rPr lang="de-DE" sz="1833" dirty="0"/>
              <a:t>Gas </a:t>
            </a:r>
          </a:p>
          <a:p>
            <a:pPr algn="ctr"/>
            <a:r>
              <a:rPr lang="de-DE" sz="1833" dirty="0"/>
              <a:t>Kohle</a:t>
            </a:r>
          </a:p>
        </p:txBody>
      </p:sp>
      <p:sp>
        <p:nvSpPr>
          <p:cNvPr id="10" name="Rechteck 9">
            <a:extLst>
              <a:ext uri="{FF2B5EF4-FFF2-40B4-BE49-F238E27FC236}">
                <a16:creationId xmlns:a16="http://schemas.microsoft.com/office/drawing/2014/main" id="{B48CB71F-19D4-14E0-6348-F8770C99420A}"/>
              </a:ext>
            </a:extLst>
          </p:cNvPr>
          <p:cNvSpPr/>
          <p:nvPr/>
        </p:nvSpPr>
        <p:spPr>
          <a:xfrm>
            <a:off x="6627531" y="1731182"/>
            <a:ext cx="2971045" cy="938527"/>
          </a:xfrm>
          <a:prstGeom prst="rect">
            <a:avLst/>
          </a:prstGeom>
        </p:spPr>
        <p:txBody>
          <a:bodyPr wrap="square">
            <a:spAutoFit/>
          </a:bodyPr>
          <a:lstStyle/>
          <a:p>
            <a:pPr algn="ctr"/>
            <a:r>
              <a:rPr lang="de-DE" sz="1833" dirty="0"/>
              <a:t>Moore </a:t>
            </a:r>
          </a:p>
          <a:p>
            <a:pPr algn="ctr"/>
            <a:r>
              <a:rPr lang="de-DE" sz="1833" dirty="0"/>
              <a:t>Meere </a:t>
            </a:r>
          </a:p>
          <a:p>
            <a:pPr algn="ctr"/>
            <a:r>
              <a:rPr lang="de-DE" sz="1833" dirty="0"/>
              <a:t>Wälder</a:t>
            </a:r>
          </a:p>
        </p:txBody>
      </p:sp>
      <p:sp>
        <p:nvSpPr>
          <p:cNvPr id="8" name="Textfeld 7">
            <a:extLst>
              <a:ext uri="{FF2B5EF4-FFF2-40B4-BE49-F238E27FC236}">
                <a16:creationId xmlns:a16="http://schemas.microsoft.com/office/drawing/2014/main" id="{AB4B1C36-E9F1-035E-3AF6-1A833F10194A}"/>
              </a:ext>
            </a:extLst>
          </p:cNvPr>
          <p:cNvSpPr txBox="1"/>
          <p:nvPr/>
        </p:nvSpPr>
        <p:spPr>
          <a:xfrm>
            <a:off x="-544830" y="3047487"/>
            <a:ext cx="12212573" cy="402739"/>
          </a:xfrm>
          <a:prstGeom prst="rect">
            <a:avLst/>
          </a:prstGeom>
          <a:noFill/>
        </p:spPr>
        <p:txBody>
          <a:bodyPr wrap="square">
            <a:spAutoFit/>
          </a:bodyPr>
          <a:lstStyle/>
          <a:p>
            <a:pPr algn="ctr"/>
            <a:r>
              <a:rPr lang="de-DE" sz="2017" b="1" dirty="0">
                <a:solidFill>
                  <a:srgbClr val="336699"/>
                </a:solidFill>
              </a:rPr>
              <a:t> das Zieljahr 2045 steht im Grundgesetz – die Bedeutung für den Wärmemarkt:</a:t>
            </a:r>
          </a:p>
        </p:txBody>
      </p:sp>
      <p:pic>
        <p:nvPicPr>
          <p:cNvPr id="13" name="Grafik 12" descr="Ein Bild, das Text, Schrift, Logo, Grafiken enthält.&#10;&#10;Automatisch generierte Beschreibung">
            <a:extLst>
              <a:ext uri="{FF2B5EF4-FFF2-40B4-BE49-F238E27FC236}">
                <a16:creationId xmlns:a16="http://schemas.microsoft.com/office/drawing/2014/main" id="{9317D10E-DF00-48C4-9647-4866DE181E7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34242" y="111170"/>
            <a:ext cx="1958427" cy="761747"/>
          </a:xfrm>
          <a:prstGeom prst="rect">
            <a:avLst/>
          </a:prstGeom>
        </p:spPr>
      </p:pic>
      <p:pic>
        <p:nvPicPr>
          <p:cNvPr id="16" name="Grafik 15">
            <a:extLst>
              <a:ext uri="{FF2B5EF4-FFF2-40B4-BE49-F238E27FC236}">
                <a16:creationId xmlns:a16="http://schemas.microsoft.com/office/drawing/2014/main" id="{A8DD899E-65EC-18CA-A937-621BEAAC1862}"/>
              </a:ext>
            </a:extLst>
          </p:cNvPr>
          <p:cNvPicPr>
            <a:picLocks noChangeAspect="1"/>
          </p:cNvPicPr>
          <p:nvPr/>
        </p:nvPicPr>
        <p:blipFill>
          <a:blip r:embed="rId4"/>
          <a:stretch>
            <a:fillRect/>
          </a:stretch>
        </p:blipFill>
        <p:spPr>
          <a:xfrm>
            <a:off x="3462092" y="3484229"/>
            <a:ext cx="4374750" cy="2734817"/>
          </a:xfrm>
          <a:prstGeom prst="rect">
            <a:avLst/>
          </a:prstGeom>
        </p:spPr>
      </p:pic>
      <p:sp>
        <p:nvSpPr>
          <p:cNvPr id="17" name="Textfeld 16">
            <a:extLst>
              <a:ext uri="{FF2B5EF4-FFF2-40B4-BE49-F238E27FC236}">
                <a16:creationId xmlns:a16="http://schemas.microsoft.com/office/drawing/2014/main" id="{041384B5-A430-E71B-FF86-7B4BB2492212}"/>
              </a:ext>
            </a:extLst>
          </p:cNvPr>
          <p:cNvSpPr txBox="1"/>
          <p:nvPr/>
        </p:nvSpPr>
        <p:spPr>
          <a:xfrm rot="16200000">
            <a:off x="10459565" y="5512207"/>
            <a:ext cx="906017" cy="247440"/>
          </a:xfrm>
          <a:prstGeom prst="rect">
            <a:avLst/>
          </a:prstGeom>
          <a:noFill/>
        </p:spPr>
        <p:txBody>
          <a:bodyPr wrap="none" rtlCol="0">
            <a:spAutoFit/>
          </a:bodyPr>
          <a:lstStyle/>
          <a:p>
            <a:r>
              <a:rPr lang="de-DE" sz="1008"/>
              <a:t>Quelle: Dena</a:t>
            </a:r>
          </a:p>
        </p:txBody>
      </p:sp>
    </p:spTree>
    <p:extLst>
      <p:ext uri="{BB962C8B-B14F-4D97-AF65-F5344CB8AC3E}">
        <p14:creationId xmlns:p14="http://schemas.microsoft.com/office/powerpoint/2010/main" val="894387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down)">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barn(inVertical)">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barn(inVertical)">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BC66C0-B77C-A4F5-AEB1-200BD382AD00}"/>
            </a:ext>
          </a:extLst>
        </p:cNvPr>
        <p:cNvGrpSpPr/>
        <p:nvPr/>
      </p:nvGrpSpPr>
      <p:grpSpPr>
        <a:xfrm>
          <a:off x="0" y="0"/>
          <a:ext cx="0" cy="0"/>
          <a:chOff x="0" y="0"/>
          <a:chExt cx="0" cy="0"/>
        </a:xfrm>
      </p:grpSpPr>
      <p:sp>
        <p:nvSpPr>
          <p:cNvPr id="2" name="Textfeld 1">
            <a:extLst>
              <a:ext uri="{FF2B5EF4-FFF2-40B4-BE49-F238E27FC236}">
                <a16:creationId xmlns:a16="http://schemas.microsoft.com/office/drawing/2014/main" id="{EBDD9E29-CEE3-4A06-8CF2-281B724664C9}"/>
              </a:ext>
            </a:extLst>
          </p:cNvPr>
          <p:cNvSpPr txBox="1"/>
          <p:nvPr/>
        </p:nvSpPr>
        <p:spPr>
          <a:xfrm>
            <a:off x="2487518" y="671017"/>
            <a:ext cx="5463355" cy="515526"/>
          </a:xfrm>
          <a:prstGeom prst="rect">
            <a:avLst/>
          </a:prstGeom>
          <a:noFill/>
        </p:spPr>
        <p:txBody>
          <a:bodyPr wrap="none" rtlCol="0">
            <a:spAutoFit/>
          </a:bodyPr>
          <a:lstStyle/>
          <a:p>
            <a:pPr algn="ctr"/>
            <a:r>
              <a:rPr lang="de-DE" sz="2750" b="1">
                <a:solidFill>
                  <a:srgbClr val="336699"/>
                </a:solidFill>
              </a:rPr>
              <a:t>Klimaneutralität - Was heißt das?</a:t>
            </a:r>
          </a:p>
        </p:txBody>
      </p:sp>
      <p:pic>
        <p:nvPicPr>
          <p:cNvPr id="5" name="Grafik 4">
            <a:extLst>
              <a:ext uri="{FF2B5EF4-FFF2-40B4-BE49-F238E27FC236}">
                <a16:creationId xmlns:a16="http://schemas.microsoft.com/office/drawing/2014/main" id="{6C9B4670-4F0A-19C2-D2A1-3878F5CF1357}"/>
              </a:ext>
            </a:extLst>
          </p:cNvPr>
          <p:cNvPicPr>
            <a:picLocks noChangeAspect="1"/>
          </p:cNvPicPr>
          <p:nvPr/>
        </p:nvPicPr>
        <p:blipFill>
          <a:blip r:embed="rId2"/>
          <a:stretch>
            <a:fillRect/>
          </a:stretch>
        </p:blipFill>
        <p:spPr>
          <a:xfrm>
            <a:off x="3806787" y="1859255"/>
            <a:ext cx="3061916" cy="1851120"/>
          </a:xfrm>
          <a:prstGeom prst="rect">
            <a:avLst/>
          </a:prstGeom>
        </p:spPr>
      </p:pic>
      <p:sp>
        <p:nvSpPr>
          <p:cNvPr id="7" name="Rechteck 6">
            <a:extLst>
              <a:ext uri="{FF2B5EF4-FFF2-40B4-BE49-F238E27FC236}">
                <a16:creationId xmlns:a16="http://schemas.microsoft.com/office/drawing/2014/main" id="{F59B93FC-CEE3-6C26-1557-EC28AFA76372}"/>
              </a:ext>
            </a:extLst>
          </p:cNvPr>
          <p:cNvSpPr/>
          <p:nvPr/>
        </p:nvSpPr>
        <p:spPr>
          <a:xfrm>
            <a:off x="613816" y="1452241"/>
            <a:ext cx="9210759" cy="374398"/>
          </a:xfrm>
          <a:prstGeom prst="rect">
            <a:avLst/>
          </a:prstGeom>
        </p:spPr>
        <p:txBody>
          <a:bodyPr wrap="square">
            <a:spAutoFit/>
          </a:bodyPr>
          <a:lstStyle/>
          <a:p>
            <a:pPr algn="ctr"/>
            <a:r>
              <a:rPr lang="de-DE" sz="1833" dirty="0"/>
              <a:t>Gleichgewicht zwischen Treibhausgas-Emissionen und deren Abbau.</a:t>
            </a:r>
          </a:p>
        </p:txBody>
      </p:sp>
      <p:sp>
        <p:nvSpPr>
          <p:cNvPr id="9" name="Rechteck 8">
            <a:extLst>
              <a:ext uri="{FF2B5EF4-FFF2-40B4-BE49-F238E27FC236}">
                <a16:creationId xmlns:a16="http://schemas.microsoft.com/office/drawing/2014/main" id="{136C0347-E91A-93AE-E46F-A79A93B8BE96}"/>
              </a:ext>
            </a:extLst>
          </p:cNvPr>
          <p:cNvSpPr/>
          <p:nvPr/>
        </p:nvSpPr>
        <p:spPr>
          <a:xfrm>
            <a:off x="1219409" y="2372338"/>
            <a:ext cx="2971045" cy="938527"/>
          </a:xfrm>
          <a:prstGeom prst="rect">
            <a:avLst/>
          </a:prstGeom>
        </p:spPr>
        <p:txBody>
          <a:bodyPr wrap="square">
            <a:spAutoFit/>
          </a:bodyPr>
          <a:lstStyle/>
          <a:p>
            <a:pPr algn="ctr"/>
            <a:r>
              <a:rPr lang="de-DE" sz="1833"/>
              <a:t>Öl </a:t>
            </a:r>
          </a:p>
          <a:p>
            <a:pPr algn="ctr"/>
            <a:r>
              <a:rPr lang="de-DE" sz="1833"/>
              <a:t>Gas </a:t>
            </a:r>
          </a:p>
          <a:p>
            <a:pPr algn="ctr"/>
            <a:r>
              <a:rPr lang="de-DE" sz="1833"/>
              <a:t>Kohle</a:t>
            </a:r>
          </a:p>
        </p:txBody>
      </p:sp>
      <p:sp>
        <p:nvSpPr>
          <p:cNvPr id="10" name="Rechteck 9">
            <a:extLst>
              <a:ext uri="{FF2B5EF4-FFF2-40B4-BE49-F238E27FC236}">
                <a16:creationId xmlns:a16="http://schemas.microsoft.com/office/drawing/2014/main" id="{28540A8E-2167-1AD0-0FC8-813A8CEDAD4F}"/>
              </a:ext>
            </a:extLst>
          </p:cNvPr>
          <p:cNvSpPr/>
          <p:nvPr/>
        </p:nvSpPr>
        <p:spPr>
          <a:xfrm>
            <a:off x="6485037" y="2300144"/>
            <a:ext cx="2971045" cy="938527"/>
          </a:xfrm>
          <a:prstGeom prst="rect">
            <a:avLst/>
          </a:prstGeom>
        </p:spPr>
        <p:txBody>
          <a:bodyPr wrap="square">
            <a:spAutoFit/>
          </a:bodyPr>
          <a:lstStyle/>
          <a:p>
            <a:pPr algn="ctr"/>
            <a:r>
              <a:rPr lang="de-DE" sz="1833"/>
              <a:t>Moore </a:t>
            </a:r>
          </a:p>
          <a:p>
            <a:pPr algn="ctr"/>
            <a:r>
              <a:rPr lang="de-DE" sz="1833"/>
              <a:t>Meere </a:t>
            </a:r>
          </a:p>
          <a:p>
            <a:pPr algn="ctr"/>
            <a:r>
              <a:rPr lang="de-DE" sz="1833"/>
              <a:t>Wälder</a:t>
            </a:r>
          </a:p>
        </p:txBody>
      </p:sp>
      <p:pic>
        <p:nvPicPr>
          <p:cNvPr id="3" name="Grafik 2">
            <a:extLst>
              <a:ext uri="{FF2B5EF4-FFF2-40B4-BE49-F238E27FC236}">
                <a16:creationId xmlns:a16="http://schemas.microsoft.com/office/drawing/2014/main" id="{F306DAE6-4E1F-37AC-3300-350753D46268}"/>
              </a:ext>
            </a:extLst>
          </p:cNvPr>
          <p:cNvPicPr>
            <a:picLocks noChangeAspect="1"/>
          </p:cNvPicPr>
          <p:nvPr/>
        </p:nvPicPr>
        <p:blipFill>
          <a:blip r:embed="rId3"/>
          <a:stretch>
            <a:fillRect/>
          </a:stretch>
        </p:blipFill>
        <p:spPr>
          <a:xfrm>
            <a:off x="857195" y="4761282"/>
            <a:ext cx="2105475" cy="1431269"/>
          </a:xfrm>
          <a:prstGeom prst="rect">
            <a:avLst/>
          </a:prstGeom>
        </p:spPr>
      </p:pic>
      <p:pic>
        <p:nvPicPr>
          <p:cNvPr id="6" name="Grafik 5">
            <a:extLst>
              <a:ext uri="{FF2B5EF4-FFF2-40B4-BE49-F238E27FC236}">
                <a16:creationId xmlns:a16="http://schemas.microsoft.com/office/drawing/2014/main" id="{F1B02D7E-5E6B-C790-D050-7AAC9CA674A4}"/>
              </a:ext>
            </a:extLst>
          </p:cNvPr>
          <p:cNvPicPr>
            <a:picLocks noChangeAspect="1"/>
          </p:cNvPicPr>
          <p:nvPr/>
        </p:nvPicPr>
        <p:blipFill>
          <a:blip r:embed="rId4"/>
          <a:stretch>
            <a:fillRect/>
          </a:stretch>
        </p:blipFill>
        <p:spPr>
          <a:xfrm>
            <a:off x="8031764" y="4741097"/>
            <a:ext cx="2092115" cy="1431269"/>
          </a:xfrm>
          <a:prstGeom prst="rect">
            <a:avLst/>
          </a:prstGeom>
        </p:spPr>
      </p:pic>
      <p:pic>
        <p:nvPicPr>
          <p:cNvPr id="11" name="Grafik 10">
            <a:extLst>
              <a:ext uri="{FF2B5EF4-FFF2-40B4-BE49-F238E27FC236}">
                <a16:creationId xmlns:a16="http://schemas.microsoft.com/office/drawing/2014/main" id="{4EDC0A79-23E7-8451-A624-4D0F4817C903}"/>
              </a:ext>
            </a:extLst>
          </p:cNvPr>
          <p:cNvPicPr>
            <a:picLocks noChangeAspect="1"/>
          </p:cNvPicPr>
          <p:nvPr/>
        </p:nvPicPr>
        <p:blipFill>
          <a:blip r:embed="rId5"/>
          <a:stretch>
            <a:fillRect/>
          </a:stretch>
        </p:blipFill>
        <p:spPr>
          <a:xfrm>
            <a:off x="4393829" y="4741097"/>
            <a:ext cx="2206776" cy="1431269"/>
          </a:xfrm>
          <a:prstGeom prst="rect">
            <a:avLst/>
          </a:prstGeom>
        </p:spPr>
      </p:pic>
      <p:sp>
        <p:nvSpPr>
          <p:cNvPr id="13" name="Textfeld 12">
            <a:extLst>
              <a:ext uri="{FF2B5EF4-FFF2-40B4-BE49-F238E27FC236}">
                <a16:creationId xmlns:a16="http://schemas.microsoft.com/office/drawing/2014/main" id="{83073873-79E6-E577-DE15-7DC181737642}"/>
              </a:ext>
            </a:extLst>
          </p:cNvPr>
          <p:cNvSpPr txBox="1"/>
          <p:nvPr/>
        </p:nvSpPr>
        <p:spPr>
          <a:xfrm>
            <a:off x="962206" y="3750623"/>
            <a:ext cx="2401890" cy="712952"/>
          </a:xfrm>
          <a:prstGeom prst="rect">
            <a:avLst/>
          </a:prstGeom>
          <a:noFill/>
        </p:spPr>
        <p:txBody>
          <a:bodyPr wrap="square">
            <a:spAutoFit/>
          </a:bodyPr>
          <a:lstStyle/>
          <a:p>
            <a:r>
              <a:rPr lang="de-DE" sz="2383" b="1" dirty="0">
                <a:solidFill>
                  <a:srgbClr val="00629B"/>
                </a:solidFill>
                <a:latin typeface="Calibri" panose="020F0502020204030204" pitchFamily="34" charset="0"/>
                <a:ea typeface="Calibri" panose="020F0502020204030204" pitchFamily="34" charset="0"/>
                <a:cs typeface="Times New Roman" panose="02020603050405020304" pitchFamily="18" charset="0"/>
              </a:rPr>
              <a:t>Stromwende</a:t>
            </a:r>
            <a:r>
              <a:rPr lang="de-DE" sz="1650" b="1" dirty="0">
                <a:solidFill>
                  <a:srgbClr val="C00000"/>
                </a:solidFill>
                <a:latin typeface="Calibri" panose="020F0502020204030204" pitchFamily="34" charset="0"/>
                <a:ea typeface="Calibri" panose="020F0502020204030204" pitchFamily="34" charset="0"/>
                <a:cs typeface="Times New Roman" panose="02020603050405020304" pitchFamily="18" charset="0"/>
              </a:rPr>
              <a:t>	</a:t>
            </a:r>
            <a:r>
              <a:rPr lang="de-DE" sz="1650" b="1" dirty="0">
                <a:solidFill>
                  <a:schemeClr val="accent4">
                    <a:lumMod val="25000"/>
                  </a:schemeClr>
                </a:solidFill>
                <a:latin typeface="Calibri" panose="020F0502020204030204" pitchFamily="34" charset="0"/>
                <a:ea typeface="Calibri" panose="020F0502020204030204" pitchFamily="34" charset="0"/>
                <a:cs typeface="Times New Roman" panose="02020603050405020304" pitchFamily="18" charset="0"/>
              </a:rPr>
              <a:t>	</a:t>
            </a:r>
            <a:endParaRPr lang="de-DE" sz="1684" dirty="0"/>
          </a:p>
        </p:txBody>
      </p:sp>
      <p:sp>
        <p:nvSpPr>
          <p:cNvPr id="14" name="Textfeld 13">
            <a:extLst>
              <a:ext uri="{FF2B5EF4-FFF2-40B4-BE49-F238E27FC236}">
                <a16:creationId xmlns:a16="http://schemas.microsoft.com/office/drawing/2014/main" id="{D63E5B9B-A464-D523-3EE3-08DB357E1D3F}"/>
              </a:ext>
            </a:extLst>
          </p:cNvPr>
          <p:cNvSpPr txBox="1"/>
          <p:nvPr/>
        </p:nvSpPr>
        <p:spPr>
          <a:xfrm>
            <a:off x="7943627" y="3732754"/>
            <a:ext cx="2401889" cy="712952"/>
          </a:xfrm>
          <a:prstGeom prst="rect">
            <a:avLst/>
          </a:prstGeom>
          <a:noFill/>
        </p:spPr>
        <p:txBody>
          <a:bodyPr wrap="square">
            <a:spAutoFit/>
          </a:bodyPr>
          <a:lstStyle/>
          <a:p>
            <a:r>
              <a:rPr lang="de-DE" sz="2383" b="1" dirty="0">
                <a:solidFill>
                  <a:srgbClr val="00629B"/>
                </a:solidFill>
                <a:latin typeface="Calibri" panose="020F0502020204030204" pitchFamily="34" charset="0"/>
                <a:ea typeface="Calibri" panose="020F0502020204030204" pitchFamily="34" charset="0"/>
                <a:cs typeface="Times New Roman" panose="02020603050405020304" pitchFamily="18" charset="0"/>
              </a:rPr>
              <a:t>Verkehrswende </a:t>
            </a:r>
            <a:r>
              <a:rPr lang="de-DE" sz="1650" b="1" dirty="0">
                <a:solidFill>
                  <a:schemeClr val="accent4">
                    <a:lumMod val="25000"/>
                  </a:schemeClr>
                </a:solidFill>
                <a:latin typeface="Calibri" panose="020F0502020204030204" pitchFamily="34" charset="0"/>
                <a:ea typeface="Calibri" panose="020F0502020204030204" pitchFamily="34" charset="0"/>
                <a:cs typeface="Times New Roman" panose="02020603050405020304" pitchFamily="18" charset="0"/>
              </a:rPr>
              <a:t>	</a:t>
            </a:r>
          </a:p>
        </p:txBody>
      </p:sp>
      <p:sp>
        <p:nvSpPr>
          <p:cNvPr id="15" name="Textfeld 14">
            <a:extLst>
              <a:ext uri="{FF2B5EF4-FFF2-40B4-BE49-F238E27FC236}">
                <a16:creationId xmlns:a16="http://schemas.microsoft.com/office/drawing/2014/main" id="{210DBA72-A9BF-E120-E68D-6C5B5464FDB2}"/>
              </a:ext>
            </a:extLst>
          </p:cNvPr>
          <p:cNvSpPr txBox="1"/>
          <p:nvPr/>
        </p:nvSpPr>
        <p:spPr>
          <a:xfrm>
            <a:off x="4400044" y="3750623"/>
            <a:ext cx="2137460" cy="459036"/>
          </a:xfrm>
          <a:prstGeom prst="rect">
            <a:avLst/>
          </a:prstGeom>
          <a:noFill/>
        </p:spPr>
        <p:txBody>
          <a:bodyPr wrap="square">
            <a:spAutoFit/>
          </a:bodyPr>
          <a:lstStyle/>
          <a:p>
            <a:r>
              <a:rPr lang="de-DE" sz="2383" b="1" dirty="0">
                <a:solidFill>
                  <a:srgbClr val="00629B"/>
                </a:solidFill>
                <a:latin typeface="Calibri" panose="020F0502020204030204" pitchFamily="34" charset="0"/>
                <a:ea typeface="Calibri" panose="020F0502020204030204" pitchFamily="34" charset="0"/>
                <a:cs typeface="Times New Roman" panose="02020603050405020304" pitchFamily="18" charset="0"/>
              </a:rPr>
              <a:t>Wärmewende</a:t>
            </a:r>
            <a:r>
              <a:rPr lang="de-DE" sz="1650" b="1" dirty="0">
                <a:solidFill>
                  <a:schemeClr val="accent4">
                    <a:lumMod val="25000"/>
                  </a:schemeClr>
                </a:solidFill>
                <a:latin typeface="Calibri" panose="020F0502020204030204" pitchFamily="34" charset="0"/>
                <a:ea typeface="Calibri" panose="020F0502020204030204" pitchFamily="34" charset="0"/>
                <a:cs typeface="Times New Roman" panose="02020603050405020304" pitchFamily="18" charset="0"/>
              </a:rPr>
              <a:t>	</a:t>
            </a:r>
            <a:endParaRPr lang="de-DE" sz="1684" dirty="0"/>
          </a:p>
        </p:txBody>
      </p:sp>
      <p:pic>
        <p:nvPicPr>
          <p:cNvPr id="4" name="Grafik 3" descr="Ein Bild, das Text, Schrift, Logo, Grafiken enthält.&#10;&#10;Automatisch generierte Beschreibung">
            <a:extLst>
              <a:ext uri="{FF2B5EF4-FFF2-40B4-BE49-F238E27FC236}">
                <a16:creationId xmlns:a16="http://schemas.microsoft.com/office/drawing/2014/main" id="{AB143953-ED19-D5E1-7EDE-2478BCF90D8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34242" y="111169"/>
            <a:ext cx="1958427" cy="761747"/>
          </a:xfrm>
          <a:prstGeom prst="rect">
            <a:avLst/>
          </a:prstGeom>
        </p:spPr>
      </p:pic>
      <p:sp>
        <p:nvSpPr>
          <p:cNvPr id="8" name="Textfeld 7">
            <a:extLst>
              <a:ext uri="{FF2B5EF4-FFF2-40B4-BE49-F238E27FC236}">
                <a16:creationId xmlns:a16="http://schemas.microsoft.com/office/drawing/2014/main" id="{887AAFD7-09DD-A49C-39C1-036EF9286EC7}"/>
              </a:ext>
            </a:extLst>
          </p:cNvPr>
          <p:cNvSpPr txBox="1"/>
          <p:nvPr/>
        </p:nvSpPr>
        <p:spPr>
          <a:xfrm>
            <a:off x="661928" y="4159710"/>
            <a:ext cx="2571538" cy="600164"/>
          </a:xfrm>
          <a:prstGeom prst="rect">
            <a:avLst/>
          </a:prstGeom>
          <a:noFill/>
        </p:spPr>
        <p:txBody>
          <a:bodyPr wrap="none" rtlCol="0">
            <a:spAutoFit/>
          </a:bodyPr>
          <a:lstStyle/>
          <a:p>
            <a:pPr algn="ctr"/>
            <a:r>
              <a:rPr lang="de-DE" sz="1100" dirty="0"/>
              <a:t>Eine Erfolgsgeschichte.</a:t>
            </a:r>
          </a:p>
          <a:p>
            <a:pPr algn="ctr"/>
            <a:r>
              <a:rPr lang="de-DE" sz="1100" dirty="0"/>
              <a:t>Heute mehr als 55% </a:t>
            </a:r>
          </a:p>
          <a:p>
            <a:pPr algn="ctr"/>
            <a:r>
              <a:rPr lang="de-DE" sz="1100" dirty="0"/>
              <a:t>Erneuerbare Energien im Stromsektor.</a:t>
            </a:r>
          </a:p>
        </p:txBody>
      </p:sp>
      <p:sp>
        <p:nvSpPr>
          <p:cNvPr id="12" name="Textfeld 11">
            <a:extLst>
              <a:ext uri="{FF2B5EF4-FFF2-40B4-BE49-F238E27FC236}">
                <a16:creationId xmlns:a16="http://schemas.microsoft.com/office/drawing/2014/main" id="{0BE63F7F-C54E-1C0E-8747-739B1BCD3099}"/>
              </a:ext>
            </a:extLst>
          </p:cNvPr>
          <p:cNvSpPr txBox="1"/>
          <p:nvPr/>
        </p:nvSpPr>
        <p:spPr>
          <a:xfrm>
            <a:off x="8216070" y="4208712"/>
            <a:ext cx="1651414" cy="261610"/>
          </a:xfrm>
          <a:prstGeom prst="rect">
            <a:avLst/>
          </a:prstGeom>
          <a:noFill/>
        </p:spPr>
        <p:txBody>
          <a:bodyPr wrap="none" rtlCol="0">
            <a:spAutoFit/>
          </a:bodyPr>
          <a:lstStyle/>
          <a:p>
            <a:pPr algn="ctr"/>
            <a:r>
              <a:rPr lang="de-DE" sz="1100" dirty="0"/>
              <a:t>Buchstäblich Stillstand.</a:t>
            </a:r>
          </a:p>
        </p:txBody>
      </p:sp>
      <p:sp>
        <p:nvSpPr>
          <p:cNvPr id="16" name="Textfeld 15">
            <a:extLst>
              <a:ext uri="{FF2B5EF4-FFF2-40B4-BE49-F238E27FC236}">
                <a16:creationId xmlns:a16="http://schemas.microsoft.com/office/drawing/2014/main" id="{BE9A5343-3CF3-DB00-39D9-532BE4F010E9}"/>
              </a:ext>
            </a:extLst>
          </p:cNvPr>
          <p:cNvSpPr txBox="1"/>
          <p:nvPr/>
        </p:nvSpPr>
        <p:spPr>
          <a:xfrm>
            <a:off x="4143128" y="4148627"/>
            <a:ext cx="2638864" cy="600164"/>
          </a:xfrm>
          <a:prstGeom prst="rect">
            <a:avLst/>
          </a:prstGeom>
          <a:noFill/>
        </p:spPr>
        <p:txBody>
          <a:bodyPr wrap="none" rtlCol="0">
            <a:spAutoFit/>
          </a:bodyPr>
          <a:lstStyle/>
          <a:p>
            <a:pPr algn="ctr"/>
            <a:r>
              <a:rPr lang="de-DE" sz="1100" dirty="0"/>
              <a:t>Start bundesweit 2024</a:t>
            </a:r>
          </a:p>
          <a:p>
            <a:pPr algn="ctr"/>
            <a:r>
              <a:rPr lang="de-DE" sz="1100" dirty="0"/>
              <a:t>Aktuell 18%</a:t>
            </a:r>
          </a:p>
          <a:p>
            <a:pPr algn="ctr"/>
            <a:r>
              <a:rPr lang="de-DE" sz="1100" dirty="0"/>
              <a:t>Erneuerbare Energien im Wärmesektor.</a:t>
            </a:r>
          </a:p>
        </p:txBody>
      </p:sp>
    </p:spTree>
    <p:extLst>
      <p:ext uri="{BB962C8B-B14F-4D97-AF65-F5344CB8AC3E}">
        <p14:creationId xmlns:p14="http://schemas.microsoft.com/office/powerpoint/2010/main" val="12280933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1000"/>
                                        <p:tgtEl>
                                          <p:spTgt spid="13"/>
                                        </p:tgtEl>
                                      </p:cBhvr>
                                    </p:animEffect>
                                    <p:anim calcmode="lin" valueType="num">
                                      <p:cBhvr>
                                        <p:cTn id="13" dur="1000" fill="hold"/>
                                        <p:tgtEl>
                                          <p:spTgt spid="13"/>
                                        </p:tgtEl>
                                        <p:attrNameLst>
                                          <p:attrName>ppt_x</p:attrName>
                                        </p:attrNameLst>
                                      </p:cBhvr>
                                      <p:tavLst>
                                        <p:tav tm="0">
                                          <p:val>
                                            <p:strVal val="#ppt_x"/>
                                          </p:val>
                                        </p:tav>
                                        <p:tav tm="100000">
                                          <p:val>
                                            <p:strVal val="#ppt_x"/>
                                          </p:val>
                                        </p:tav>
                                      </p:tavLst>
                                    </p:anim>
                                    <p:anim calcmode="lin" valueType="num">
                                      <p:cBhvr>
                                        <p:cTn id="14"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1000"/>
                                        <p:tgtEl>
                                          <p:spTgt spid="6"/>
                                        </p:tgtEl>
                                      </p:cBhvr>
                                    </p:animEffect>
                                    <p:anim calcmode="lin" valueType="num">
                                      <p:cBhvr>
                                        <p:cTn id="20" dur="1000" fill="hold"/>
                                        <p:tgtEl>
                                          <p:spTgt spid="6"/>
                                        </p:tgtEl>
                                        <p:attrNameLst>
                                          <p:attrName>ppt_x</p:attrName>
                                        </p:attrNameLst>
                                      </p:cBhvr>
                                      <p:tavLst>
                                        <p:tav tm="0">
                                          <p:val>
                                            <p:strVal val="#ppt_x"/>
                                          </p:val>
                                        </p:tav>
                                        <p:tav tm="100000">
                                          <p:val>
                                            <p:strVal val="#ppt_x"/>
                                          </p:val>
                                        </p:tav>
                                      </p:tavLst>
                                    </p:anim>
                                    <p:anim calcmode="lin" valueType="num">
                                      <p:cBhvr>
                                        <p:cTn id="21" dur="1000" fill="hold"/>
                                        <p:tgtEl>
                                          <p:spTgt spid="6"/>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1000"/>
                                        <p:tgtEl>
                                          <p:spTgt spid="14"/>
                                        </p:tgtEl>
                                      </p:cBhvr>
                                    </p:animEffect>
                                    <p:anim calcmode="lin" valueType="num">
                                      <p:cBhvr>
                                        <p:cTn id="25" dur="1000" fill="hold"/>
                                        <p:tgtEl>
                                          <p:spTgt spid="14"/>
                                        </p:tgtEl>
                                        <p:attrNameLst>
                                          <p:attrName>ppt_x</p:attrName>
                                        </p:attrNameLst>
                                      </p:cBhvr>
                                      <p:tavLst>
                                        <p:tav tm="0">
                                          <p:val>
                                            <p:strVal val="#ppt_x"/>
                                          </p:val>
                                        </p:tav>
                                        <p:tav tm="100000">
                                          <p:val>
                                            <p:strVal val="#ppt_x"/>
                                          </p:val>
                                        </p:tav>
                                      </p:tavLst>
                                    </p:anim>
                                    <p:anim calcmode="lin" valueType="num">
                                      <p:cBhvr>
                                        <p:cTn id="26"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1000"/>
                                        <p:tgtEl>
                                          <p:spTgt spid="11"/>
                                        </p:tgtEl>
                                      </p:cBhvr>
                                    </p:animEffect>
                                    <p:anim calcmode="lin" valueType="num">
                                      <p:cBhvr>
                                        <p:cTn id="32" dur="1000" fill="hold"/>
                                        <p:tgtEl>
                                          <p:spTgt spid="11"/>
                                        </p:tgtEl>
                                        <p:attrNameLst>
                                          <p:attrName>ppt_x</p:attrName>
                                        </p:attrNameLst>
                                      </p:cBhvr>
                                      <p:tavLst>
                                        <p:tav tm="0">
                                          <p:val>
                                            <p:strVal val="#ppt_x"/>
                                          </p:val>
                                        </p:tav>
                                        <p:tav tm="100000">
                                          <p:val>
                                            <p:strVal val="#ppt_x"/>
                                          </p:val>
                                        </p:tav>
                                      </p:tavLst>
                                    </p:anim>
                                    <p:anim calcmode="lin" valueType="num">
                                      <p:cBhvr>
                                        <p:cTn id="33" dur="1000" fill="hold"/>
                                        <p:tgtEl>
                                          <p:spTgt spid="11"/>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1000"/>
                                        <p:tgtEl>
                                          <p:spTgt spid="15"/>
                                        </p:tgtEl>
                                      </p:cBhvr>
                                    </p:animEffect>
                                    <p:anim calcmode="lin" valueType="num">
                                      <p:cBhvr>
                                        <p:cTn id="37" dur="1000" fill="hold"/>
                                        <p:tgtEl>
                                          <p:spTgt spid="15"/>
                                        </p:tgtEl>
                                        <p:attrNameLst>
                                          <p:attrName>ppt_x</p:attrName>
                                        </p:attrNameLst>
                                      </p:cBhvr>
                                      <p:tavLst>
                                        <p:tav tm="0">
                                          <p:val>
                                            <p:strVal val="#ppt_x"/>
                                          </p:val>
                                        </p:tav>
                                        <p:tav tm="100000">
                                          <p:val>
                                            <p:strVal val="#ppt_x"/>
                                          </p:val>
                                        </p:tav>
                                      </p:tavLst>
                                    </p:anim>
                                    <p:anim calcmode="lin" valueType="num">
                                      <p:cBhvr>
                                        <p:cTn id="38"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E1797778-E421-AD27-1148-92BF0865C388}"/>
              </a:ext>
            </a:extLst>
          </p:cNvPr>
          <p:cNvSpPr txBox="1"/>
          <p:nvPr/>
        </p:nvSpPr>
        <p:spPr>
          <a:xfrm>
            <a:off x="143242" y="726080"/>
            <a:ext cx="9042860" cy="1129220"/>
          </a:xfrm>
          <a:prstGeom prst="rect">
            <a:avLst/>
          </a:prstGeom>
          <a:noFill/>
        </p:spPr>
        <p:txBody>
          <a:bodyPr wrap="none" rtlCol="0">
            <a:spAutoFit/>
          </a:bodyPr>
          <a:lstStyle/>
          <a:p>
            <a:pPr algn="ctr"/>
            <a:r>
              <a:rPr lang="de-DE" sz="2750" b="1">
                <a:solidFill>
                  <a:srgbClr val="336699"/>
                </a:solidFill>
              </a:rPr>
              <a:t>Die Bedeutung der Raumwärme beim Energieverbrauch </a:t>
            </a:r>
          </a:p>
          <a:p>
            <a:pPr algn="ctr"/>
            <a:endParaRPr lang="de-DE" sz="2750" b="1">
              <a:solidFill>
                <a:srgbClr val="336699"/>
              </a:solidFill>
            </a:endParaRPr>
          </a:p>
          <a:p>
            <a:pPr algn="ctr"/>
            <a:endParaRPr lang="de-DE" sz="1238"/>
          </a:p>
        </p:txBody>
      </p:sp>
      <p:pic>
        <p:nvPicPr>
          <p:cNvPr id="5" name="Grafik 4" descr="Ein Bild, das Text, Schrift, Logo, Grafiken enthält.&#10;&#10;Automatisch generierte Beschreibung">
            <a:extLst>
              <a:ext uri="{FF2B5EF4-FFF2-40B4-BE49-F238E27FC236}">
                <a16:creationId xmlns:a16="http://schemas.microsoft.com/office/drawing/2014/main" id="{F827F278-D90F-C6B0-168D-7ADD4180444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34242" y="111170"/>
            <a:ext cx="1958427" cy="761747"/>
          </a:xfrm>
          <a:prstGeom prst="rect">
            <a:avLst/>
          </a:prstGeom>
        </p:spPr>
      </p:pic>
      <p:sp>
        <p:nvSpPr>
          <p:cNvPr id="6" name="Textfeld 5">
            <a:extLst>
              <a:ext uri="{FF2B5EF4-FFF2-40B4-BE49-F238E27FC236}">
                <a16:creationId xmlns:a16="http://schemas.microsoft.com/office/drawing/2014/main" id="{5426359A-BF95-A4BF-6E92-7191A28C9DC1}"/>
              </a:ext>
            </a:extLst>
          </p:cNvPr>
          <p:cNvSpPr txBox="1"/>
          <p:nvPr/>
        </p:nvSpPr>
        <p:spPr>
          <a:xfrm>
            <a:off x="7244145" y="2788918"/>
            <a:ext cx="3484817" cy="1467581"/>
          </a:xfrm>
          <a:prstGeom prst="rect">
            <a:avLst/>
          </a:prstGeom>
          <a:solidFill>
            <a:srgbClr val="FFCE33"/>
          </a:solidFill>
        </p:spPr>
        <p:txBody>
          <a:bodyPr wrap="square">
            <a:spAutoFit/>
          </a:bodyPr>
          <a:lstStyle/>
          <a:p>
            <a:pPr algn="l"/>
            <a:r>
              <a:rPr lang="de-DE" sz="1684" b="1">
                <a:solidFill>
                  <a:srgbClr val="1A171B"/>
                </a:solidFill>
                <a:latin typeface="Flexo"/>
              </a:rPr>
              <a:t>Unsere Aufgabe:</a:t>
            </a:r>
          </a:p>
          <a:p>
            <a:pPr marL="261954" indent="-261954">
              <a:buFont typeface="Wingdings" panose="05000000000000000000" pitchFamily="2" charset="2"/>
              <a:buChar char="à"/>
            </a:pPr>
            <a:r>
              <a:rPr lang="de-DE" sz="1684">
                <a:solidFill>
                  <a:srgbClr val="1A171B"/>
                </a:solidFill>
                <a:latin typeface="Flexo"/>
              </a:rPr>
              <a:t>Gebäude sanieren</a:t>
            </a:r>
          </a:p>
          <a:p>
            <a:pPr marL="261954" indent="-261954">
              <a:buFont typeface="Wingdings" panose="05000000000000000000" pitchFamily="2" charset="2"/>
              <a:buChar char="à"/>
            </a:pPr>
            <a:endParaRPr lang="de-DE" sz="1100">
              <a:solidFill>
                <a:srgbClr val="1A171B"/>
              </a:solidFill>
              <a:latin typeface="Flexo"/>
            </a:endParaRPr>
          </a:p>
          <a:p>
            <a:pPr marL="261954" indent="-261954">
              <a:buFont typeface="Wingdings" panose="05000000000000000000" pitchFamily="2" charset="2"/>
              <a:buChar char="à"/>
            </a:pPr>
            <a:r>
              <a:rPr lang="de-DE" sz="1684">
                <a:solidFill>
                  <a:srgbClr val="1A171B"/>
                </a:solidFill>
                <a:latin typeface="Flexo"/>
              </a:rPr>
              <a:t>Wärmenetze ausbauen</a:t>
            </a:r>
          </a:p>
          <a:p>
            <a:pPr marL="261954" indent="-261954">
              <a:buFont typeface="Wingdings" panose="05000000000000000000" pitchFamily="2" charset="2"/>
              <a:buChar char="à"/>
            </a:pPr>
            <a:endParaRPr lang="de-DE" sz="1100">
              <a:solidFill>
                <a:srgbClr val="1A171B"/>
              </a:solidFill>
              <a:latin typeface="Flexo"/>
            </a:endParaRPr>
          </a:p>
          <a:p>
            <a:pPr marL="261954" indent="-261954">
              <a:buFont typeface="Wingdings" panose="05000000000000000000" pitchFamily="2" charset="2"/>
              <a:buChar char="à"/>
            </a:pPr>
            <a:r>
              <a:rPr lang="de-DE" sz="1684">
                <a:solidFill>
                  <a:srgbClr val="1A171B"/>
                </a:solidFill>
                <a:latin typeface="Flexo"/>
              </a:rPr>
              <a:t>Öl- und Gaskessel ersetzen</a:t>
            </a:r>
          </a:p>
        </p:txBody>
      </p:sp>
      <p:sp>
        <p:nvSpPr>
          <p:cNvPr id="7" name="Textfeld 6">
            <a:extLst>
              <a:ext uri="{FF2B5EF4-FFF2-40B4-BE49-F238E27FC236}">
                <a16:creationId xmlns:a16="http://schemas.microsoft.com/office/drawing/2014/main" id="{BB391E22-560E-36D8-3680-78EF9FA86B74}"/>
              </a:ext>
            </a:extLst>
          </p:cNvPr>
          <p:cNvSpPr txBox="1"/>
          <p:nvPr/>
        </p:nvSpPr>
        <p:spPr>
          <a:xfrm>
            <a:off x="250495" y="5698899"/>
            <a:ext cx="2776722" cy="247440"/>
          </a:xfrm>
          <a:prstGeom prst="rect">
            <a:avLst/>
          </a:prstGeom>
          <a:noFill/>
        </p:spPr>
        <p:txBody>
          <a:bodyPr wrap="none" rtlCol="0">
            <a:spAutoFit/>
          </a:bodyPr>
          <a:lstStyle/>
          <a:p>
            <a:r>
              <a:rPr lang="de-DE" sz="1008"/>
              <a:t>Quelle: Heinrich-Böll-Stiftung 2026, UBA 2023</a:t>
            </a:r>
          </a:p>
        </p:txBody>
      </p:sp>
      <p:pic>
        <p:nvPicPr>
          <p:cNvPr id="8" name="Grafik 7">
            <a:extLst>
              <a:ext uri="{FF2B5EF4-FFF2-40B4-BE49-F238E27FC236}">
                <a16:creationId xmlns:a16="http://schemas.microsoft.com/office/drawing/2014/main" id="{F024F85F-DB62-71A3-0A0A-F57B5A280EB2}"/>
              </a:ext>
            </a:extLst>
          </p:cNvPr>
          <p:cNvPicPr>
            <a:picLocks noChangeAspect="1"/>
          </p:cNvPicPr>
          <p:nvPr/>
        </p:nvPicPr>
        <p:blipFill>
          <a:blip r:embed="rId4"/>
          <a:stretch>
            <a:fillRect/>
          </a:stretch>
        </p:blipFill>
        <p:spPr>
          <a:xfrm>
            <a:off x="905256" y="1165066"/>
            <a:ext cx="4547112" cy="4164434"/>
          </a:xfrm>
          <a:prstGeom prst="rect">
            <a:avLst/>
          </a:prstGeom>
        </p:spPr>
      </p:pic>
    </p:spTree>
    <p:extLst>
      <p:ext uri="{BB962C8B-B14F-4D97-AF65-F5344CB8AC3E}">
        <p14:creationId xmlns:p14="http://schemas.microsoft.com/office/powerpoint/2010/main" val="14191229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1000"/>
                                        <p:tgtEl>
                                          <p:spTgt spid="6"/>
                                        </p:tgtEl>
                                      </p:cBhvr>
                                    </p:animEffect>
                                    <p:anim calcmode="lin" valueType="num">
                                      <p:cBhvr>
                                        <p:cTn id="15" dur="1000" fill="hold"/>
                                        <p:tgtEl>
                                          <p:spTgt spid="6"/>
                                        </p:tgtEl>
                                        <p:attrNameLst>
                                          <p:attrName>ppt_x</p:attrName>
                                        </p:attrNameLst>
                                      </p:cBhvr>
                                      <p:tavLst>
                                        <p:tav tm="0">
                                          <p:val>
                                            <p:strVal val="#ppt_x"/>
                                          </p:val>
                                        </p:tav>
                                        <p:tav tm="100000">
                                          <p:val>
                                            <p:strVal val="#ppt_x"/>
                                          </p:val>
                                        </p:tav>
                                      </p:tavLst>
                                    </p:anim>
                                    <p:anim calcmode="lin" valueType="num">
                                      <p:cBhvr>
                                        <p:cTn id="1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6629A6-999C-62C7-1581-9D2E99EA915F}"/>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575C2CA8-9FD2-5C73-00D3-D38887FEE2D9}"/>
              </a:ext>
            </a:extLst>
          </p:cNvPr>
          <p:cNvSpPr/>
          <p:nvPr/>
        </p:nvSpPr>
        <p:spPr bwMode="gray">
          <a:xfrm>
            <a:off x="684000" y="1962000"/>
            <a:ext cx="98028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3" name="Slide Number Placeholder 2">
            <a:extLst>
              <a:ext uri="{FF2B5EF4-FFF2-40B4-BE49-F238E27FC236}">
                <a16:creationId xmlns:a16="http://schemas.microsoft.com/office/drawing/2014/main" id="{4A80E0C1-915E-9F07-A05C-1A31F0C1F15A}"/>
              </a:ext>
            </a:extLst>
          </p:cNvPr>
          <p:cNvSpPr>
            <a:spLocks noGrp="1"/>
          </p:cNvSpPr>
          <p:nvPr>
            <p:ph type="sldNum" sz="quarter" idx="12"/>
          </p:nvPr>
        </p:nvSpPr>
        <p:spPr/>
        <p:txBody>
          <a:bodyPr/>
          <a:lstStyle/>
          <a:p>
            <a:fld id="{AD1E7D88-B9F0-490E-9127-FC8A160405D5}" type="slidenum">
              <a:rPr lang="de-DE" smtClean="0"/>
              <a:t>16</a:t>
            </a:fld>
            <a:endParaRPr lang="de-DE"/>
          </a:p>
        </p:txBody>
      </p:sp>
      <p:cxnSp>
        <p:nvCxnSpPr>
          <p:cNvPr id="4" name="TopLine">
            <a:extLst>
              <a:ext uri="{FF2B5EF4-FFF2-40B4-BE49-F238E27FC236}">
                <a16:creationId xmlns:a16="http://schemas.microsoft.com/office/drawing/2014/main" id="{8331E873-D741-AE19-0E84-92363560D5B5}"/>
              </a:ext>
            </a:extLst>
          </p:cNvPr>
          <p:cNvCxnSpPr/>
          <p:nvPr/>
        </p:nvCxnSpPr>
        <p:spPr>
          <a:xfrm>
            <a:off x="684000" y="1512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5" name="index_0">
            <a:hlinkClick r:id="rId2" action="ppaction://hlinksldjump"/>
            <a:extLst>
              <a:ext uri="{FF2B5EF4-FFF2-40B4-BE49-F238E27FC236}">
                <a16:creationId xmlns:a16="http://schemas.microsoft.com/office/drawing/2014/main" id="{C82A34CC-2DE0-410A-166F-733D00709957}"/>
              </a:ext>
            </a:extLst>
          </p:cNvPr>
          <p:cNvSpPr txBox="1"/>
          <p:nvPr/>
        </p:nvSpPr>
        <p:spPr>
          <a:xfrm>
            <a:off x="684000" y="1520010"/>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Impulsvortrag: Hintergründe und Ziele der Kommunalen Wärmeplanung​</a:t>
            </a:r>
          </a:p>
        </p:txBody>
      </p:sp>
      <p:cxnSp>
        <p:nvCxnSpPr>
          <p:cNvPr id="6" name="Line_0">
            <a:extLst>
              <a:ext uri="{FF2B5EF4-FFF2-40B4-BE49-F238E27FC236}">
                <a16:creationId xmlns:a16="http://schemas.microsoft.com/office/drawing/2014/main" id="{258D5FFE-3415-D2BE-16B7-9BD382F9FEC0}"/>
              </a:ext>
            </a:extLst>
          </p:cNvPr>
          <p:cNvCxnSpPr/>
          <p:nvPr/>
        </p:nvCxnSpPr>
        <p:spPr>
          <a:xfrm>
            <a:off x="684000" y="1944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7" name="index_1">
            <a:hlinkClick r:id="rId3" action="ppaction://hlinksldjump"/>
            <a:extLst>
              <a:ext uri="{FF2B5EF4-FFF2-40B4-BE49-F238E27FC236}">
                <a16:creationId xmlns:a16="http://schemas.microsoft.com/office/drawing/2014/main" id="{7FDB832B-0A5A-865A-3391-61A505089798}"/>
              </a:ext>
            </a:extLst>
          </p:cNvPr>
          <p:cNvSpPr txBox="1"/>
          <p:nvPr/>
        </p:nvSpPr>
        <p:spPr>
          <a:xfrm>
            <a:off x="682400" y="1939800"/>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Was ist die Kommunale Wärmeplanung (KWP)?​</a:t>
            </a:r>
          </a:p>
        </p:txBody>
      </p:sp>
      <p:cxnSp>
        <p:nvCxnSpPr>
          <p:cNvPr id="12" name="Line_3">
            <a:extLst>
              <a:ext uri="{FF2B5EF4-FFF2-40B4-BE49-F238E27FC236}">
                <a16:creationId xmlns:a16="http://schemas.microsoft.com/office/drawing/2014/main" id="{D274A173-9470-3C9E-A924-EC42401848AC}"/>
              </a:ext>
            </a:extLst>
          </p:cNvPr>
          <p:cNvCxnSpPr/>
          <p:nvPr/>
        </p:nvCxnSpPr>
        <p:spPr>
          <a:xfrm>
            <a:off x="684000" y="3672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3" name="index_4">
            <a:hlinkClick r:id="rId4" action="ppaction://hlinksldjump"/>
            <a:extLst>
              <a:ext uri="{FF2B5EF4-FFF2-40B4-BE49-F238E27FC236}">
                <a16:creationId xmlns:a16="http://schemas.microsoft.com/office/drawing/2014/main" id="{C126A6F9-1B72-1FDB-3CDF-A8E4010A3B74}"/>
              </a:ext>
            </a:extLst>
          </p:cNvPr>
          <p:cNvSpPr txBox="1"/>
          <p:nvPr/>
        </p:nvSpPr>
        <p:spPr>
          <a:xfrm>
            <a:off x="684000" y="2372207"/>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Rückblick: Ergebnisse der Bestands- und Potenzialanalyse der KWP in Rheda-Wiedenbrück​</a:t>
            </a:r>
          </a:p>
        </p:txBody>
      </p:sp>
      <p:sp>
        <p:nvSpPr>
          <p:cNvPr id="19" name="index_7">
            <a:hlinkClick r:id="rId5" action="ppaction://hlinksldjump"/>
            <a:extLst>
              <a:ext uri="{FF2B5EF4-FFF2-40B4-BE49-F238E27FC236}">
                <a16:creationId xmlns:a16="http://schemas.microsoft.com/office/drawing/2014/main" id="{38629E80-516A-453D-0373-B3F5ADFF3C59}"/>
              </a:ext>
            </a:extLst>
          </p:cNvPr>
          <p:cNvSpPr txBox="1"/>
          <p:nvPr/>
        </p:nvSpPr>
        <p:spPr>
          <a:xfrm>
            <a:off x="684000" y="2816063"/>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Zielszenario und Maßnahmen</a:t>
            </a:r>
          </a:p>
        </p:txBody>
      </p:sp>
      <p:sp>
        <p:nvSpPr>
          <p:cNvPr id="25" name="Title 1">
            <a:extLst>
              <a:ext uri="{FF2B5EF4-FFF2-40B4-BE49-F238E27FC236}">
                <a16:creationId xmlns:a16="http://schemas.microsoft.com/office/drawing/2014/main" id="{E13B7FF1-199E-93E2-25B0-B3A00233BFB2}"/>
              </a:ext>
            </a:extLst>
          </p:cNvPr>
          <p:cNvSpPr txBox="1">
            <a:spLocks/>
          </p:cNvSpPr>
          <p:nvPr/>
        </p:nvSpPr>
        <p:spPr>
          <a:xfrm>
            <a:off x="687600" y="644400"/>
            <a:ext cx="9799200" cy="360000"/>
          </a:xfrm>
          <a:prstGeom prst="rect">
            <a:avLst/>
          </a:prstGeom>
        </p:spPr>
        <p:txBody>
          <a:bodyPr/>
          <a:lstStyle>
            <a:lvl1pPr algn="l" defTabSz="116754" rtl="0" eaLnBrk="1" latinLnBrk="0" hangingPunct="1">
              <a:spcBef>
                <a:spcPct val="0"/>
              </a:spcBef>
              <a:buNone/>
              <a:defRPr sz="270" kern="1200">
                <a:solidFill>
                  <a:schemeClr val="tx1"/>
                </a:solidFill>
                <a:latin typeface="+mj-lt"/>
                <a:ea typeface="+mj-ea"/>
                <a:cs typeface="+mj-cs"/>
              </a:defRPr>
            </a:lvl1pPr>
          </a:lstStyle>
          <a:p>
            <a:r>
              <a:rPr lang="de-DE" sz="2800"/>
              <a:t>Programm</a:t>
            </a:r>
          </a:p>
        </p:txBody>
      </p:sp>
      <p:sp>
        <p:nvSpPr>
          <p:cNvPr id="26" name="index_10">
            <a:hlinkClick r:id="rId6" action="ppaction://hlinksldjump"/>
            <a:extLst>
              <a:ext uri="{FF2B5EF4-FFF2-40B4-BE49-F238E27FC236}">
                <a16:creationId xmlns:a16="http://schemas.microsoft.com/office/drawing/2014/main" id="{B7C6C734-20A1-8D02-897C-9267234D15D1}"/>
              </a:ext>
            </a:extLst>
          </p:cNvPr>
          <p:cNvSpPr txBox="1"/>
          <p:nvPr/>
        </p:nvSpPr>
        <p:spPr>
          <a:xfrm>
            <a:off x="684000" y="3231150"/>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Zusammenfassung und Fazit​</a:t>
            </a:r>
          </a:p>
        </p:txBody>
      </p:sp>
      <p:cxnSp>
        <p:nvCxnSpPr>
          <p:cNvPr id="27" name="Line_3">
            <a:extLst>
              <a:ext uri="{FF2B5EF4-FFF2-40B4-BE49-F238E27FC236}">
                <a16:creationId xmlns:a16="http://schemas.microsoft.com/office/drawing/2014/main" id="{A5C5EF36-C3AF-451E-479F-24769E99F857}"/>
              </a:ext>
            </a:extLst>
          </p:cNvPr>
          <p:cNvCxnSpPr/>
          <p:nvPr/>
        </p:nvCxnSpPr>
        <p:spPr>
          <a:xfrm>
            <a:off x="682400" y="2376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Line_3">
            <a:extLst>
              <a:ext uri="{FF2B5EF4-FFF2-40B4-BE49-F238E27FC236}">
                <a16:creationId xmlns:a16="http://schemas.microsoft.com/office/drawing/2014/main" id="{E61E9E2C-359A-ADA9-B914-B32A3ED080F3}"/>
              </a:ext>
            </a:extLst>
          </p:cNvPr>
          <p:cNvCxnSpPr/>
          <p:nvPr/>
        </p:nvCxnSpPr>
        <p:spPr>
          <a:xfrm>
            <a:off x="684000" y="2808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Line_3">
            <a:extLst>
              <a:ext uri="{FF2B5EF4-FFF2-40B4-BE49-F238E27FC236}">
                <a16:creationId xmlns:a16="http://schemas.microsoft.com/office/drawing/2014/main" id="{02259298-C108-AA4A-D7B2-3A6D27D6D8CA}"/>
              </a:ext>
            </a:extLst>
          </p:cNvPr>
          <p:cNvCxnSpPr/>
          <p:nvPr/>
        </p:nvCxnSpPr>
        <p:spPr>
          <a:xfrm>
            <a:off x="684000" y="3240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15569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56621F-5A76-51B8-D7DA-10223E515DE8}"/>
              </a:ext>
            </a:extLst>
          </p:cNvPr>
          <p:cNvSpPr>
            <a:spLocks noGrp="1"/>
          </p:cNvSpPr>
          <p:nvPr>
            <p:ph type="title"/>
          </p:nvPr>
        </p:nvSpPr>
        <p:spPr/>
        <p:txBody>
          <a:bodyPr/>
          <a:lstStyle/>
          <a:p>
            <a:r>
              <a:rPr lang="de-DE" b="1">
                <a:latin typeface="Roboto" panose="02000000000000000000" pitchFamily="2" charset="0"/>
              </a:rPr>
              <a:t>Unser Team </a:t>
            </a:r>
            <a:r>
              <a:rPr lang="de-DE">
                <a:latin typeface="Roboto" panose="02000000000000000000" pitchFamily="2" charset="0"/>
              </a:rPr>
              <a:t>für Ihre Kommunale Wärmeplanung</a:t>
            </a:r>
          </a:p>
        </p:txBody>
      </p:sp>
      <p:grpSp>
        <p:nvGrpSpPr>
          <p:cNvPr id="5" name="Group 4">
            <a:extLst>
              <a:ext uri="{FF2B5EF4-FFF2-40B4-BE49-F238E27FC236}">
                <a16:creationId xmlns:a16="http://schemas.microsoft.com/office/drawing/2014/main" id="{457A5902-AB88-DBC3-EAFD-85C2C4DC5E07}"/>
              </a:ext>
            </a:extLst>
          </p:cNvPr>
          <p:cNvGrpSpPr/>
          <p:nvPr/>
        </p:nvGrpSpPr>
        <p:grpSpPr>
          <a:xfrm>
            <a:off x="6638955" y="2961318"/>
            <a:ext cx="2160000" cy="1224306"/>
            <a:chOff x="3364356" y="1628075"/>
            <a:chExt cx="2160000" cy="1224306"/>
          </a:xfrm>
        </p:grpSpPr>
        <p:pic>
          <p:nvPicPr>
            <p:cNvPr id="82" name="Picture 81" descr="Icon&#10;&#10;Description automatically generated">
              <a:extLst>
                <a:ext uri="{FF2B5EF4-FFF2-40B4-BE49-F238E27FC236}">
                  <a16:creationId xmlns:a16="http://schemas.microsoft.com/office/drawing/2014/main" id="{A3219D5F-9F42-601C-2954-3B88CDC8826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3569" y="1782049"/>
              <a:ext cx="461034" cy="144000"/>
            </a:xfrm>
            <a:prstGeom prst="rect">
              <a:avLst/>
            </a:prstGeom>
          </p:spPr>
        </p:pic>
        <p:sp>
          <p:nvSpPr>
            <p:cNvPr id="83" name="Rectangle 82">
              <a:extLst>
                <a:ext uri="{FF2B5EF4-FFF2-40B4-BE49-F238E27FC236}">
                  <a16:creationId xmlns:a16="http://schemas.microsoft.com/office/drawing/2014/main" id="{33C870AD-EDF5-55D2-608B-322F1EAE99EB}"/>
                </a:ext>
              </a:extLst>
            </p:cNvPr>
            <p:cNvSpPr/>
            <p:nvPr/>
          </p:nvSpPr>
          <p:spPr bwMode="gray">
            <a:xfrm>
              <a:off x="3364356" y="1628075"/>
              <a:ext cx="2160000" cy="108416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85" name="Contact_Box 2">
              <a:extLst>
                <a:ext uri="{FF2B5EF4-FFF2-40B4-BE49-F238E27FC236}">
                  <a16:creationId xmlns:a16="http://schemas.microsoft.com/office/drawing/2014/main" id="{735D93F4-A0C1-0DC9-1AED-65DA0BBF805E}"/>
                </a:ext>
              </a:extLst>
            </p:cNvPr>
            <p:cNvSpPr/>
            <p:nvPr>
              <p:custDataLst>
                <p:tags r:id="rId5"/>
              </p:custDataLst>
            </p:nvPr>
          </p:nvSpPr>
          <p:spPr bwMode="gray">
            <a:xfrm>
              <a:off x="3366086" y="2013690"/>
              <a:ext cx="2156539" cy="838691"/>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spAutoFit/>
            </a:bodyPr>
            <a:lstStyle/>
            <a:p>
              <a:pPr algn="ctr">
                <a:spcBef>
                  <a:spcPts val="300"/>
                </a:spcBef>
              </a:pPr>
              <a:r>
                <a:rPr lang="de-DE" sz="1400">
                  <a:solidFill>
                    <a:schemeClr val="tx1"/>
                  </a:solidFill>
                  <a:latin typeface="Roboto" panose="02000000000000000000" pitchFamily="2" charset="0"/>
                </a:rPr>
                <a:t>Weitere KWP-Mitarbeiterinnen und Mitarbeiter </a:t>
              </a:r>
              <a:r>
                <a:rPr lang="de-DE" sz="1000">
                  <a:solidFill>
                    <a:schemeClr val="tx1"/>
                  </a:solidFill>
                  <a:latin typeface="Roboto" panose="02000000000000000000" pitchFamily="2" charset="0"/>
                </a:rPr>
                <a:t>
</a:t>
              </a:r>
              <a:endParaRPr lang="de-DE" sz="1100">
                <a:solidFill>
                  <a:schemeClr val="tx1"/>
                </a:solidFill>
                <a:latin typeface="Roboto" panose="02000000000000000000" pitchFamily="2" charset="0"/>
              </a:endParaRPr>
            </a:p>
          </p:txBody>
        </p:sp>
      </p:grpSp>
      <p:grpSp>
        <p:nvGrpSpPr>
          <p:cNvPr id="86" name="Group 85">
            <a:extLst>
              <a:ext uri="{FF2B5EF4-FFF2-40B4-BE49-F238E27FC236}">
                <a16:creationId xmlns:a16="http://schemas.microsoft.com/office/drawing/2014/main" id="{90BEACCB-4A4D-B9A0-B550-B8698535FDC5}"/>
              </a:ext>
            </a:extLst>
          </p:cNvPr>
          <p:cNvGrpSpPr/>
          <p:nvPr/>
        </p:nvGrpSpPr>
        <p:grpSpPr>
          <a:xfrm>
            <a:off x="3641477" y="2609868"/>
            <a:ext cx="2161201" cy="1431663"/>
            <a:chOff x="5017973" y="889349"/>
            <a:chExt cx="2161201" cy="1431663"/>
          </a:xfrm>
        </p:grpSpPr>
        <p:sp>
          <p:nvSpPr>
            <p:cNvPr id="87" name="Textfeld 5">
              <a:extLst>
                <a:ext uri="{FF2B5EF4-FFF2-40B4-BE49-F238E27FC236}">
                  <a16:creationId xmlns:a16="http://schemas.microsoft.com/office/drawing/2014/main" id="{39A0002B-7A8B-F751-A576-68F5139107B8}"/>
                </a:ext>
              </a:extLst>
            </p:cNvPr>
            <p:cNvSpPr txBox="1"/>
            <p:nvPr/>
          </p:nvSpPr>
          <p:spPr>
            <a:xfrm>
              <a:off x="6695853" y="1307795"/>
              <a:ext cx="60157" cy="6875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l"/>
              <a:endParaRPr lang="de-DE" sz="1400"/>
            </a:p>
          </p:txBody>
        </p:sp>
        <p:sp>
          <p:nvSpPr>
            <p:cNvPr id="88" name="Rectangle 87">
              <a:extLst>
                <a:ext uri="{FF2B5EF4-FFF2-40B4-BE49-F238E27FC236}">
                  <a16:creationId xmlns:a16="http://schemas.microsoft.com/office/drawing/2014/main" id="{3A3E6987-17E8-CF89-9B18-91260774397F}"/>
                </a:ext>
              </a:extLst>
            </p:cNvPr>
            <p:cNvSpPr/>
            <p:nvPr/>
          </p:nvSpPr>
          <p:spPr bwMode="gray">
            <a:xfrm>
              <a:off x="5019174" y="1241012"/>
              <a:ext cx="2160000" cy="108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89" name="CV_picture_1">
              <a:extLst>
                <a:ext uri="{FF2B5EF4-FFF2-40B4-BE49-F238E27FC236}">
                  <a16:creationId xmlns:a16="http://schemas.microsoft.com/office/drawing/2014/main" id="{07514391-1F44-FAE5-51F8-B5E26D51E975}"/>
                </a:ext>
              </a:extLst>
            </p:cNvPr>
            <p:cNvPicPr>
              <a:picLocks/>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739174" y="889349"/>
              <a:ext cx="720000" cy="720000"/>
            </a:xfrm>
            <a:prstGeom prst="ellipse">
              <a:avLst/>
            </a:prstGeom>
            <a:solidFill>
              <a:schemeClr val="accent1">
                <a:alpha val="0"/>
              </a:schemeClr>
            </a:solidFill>
            <a:ln w="19050">
              <a:solidFill>
                <a:srgbClr val="EFEEEB"/>
              </a:solidFill>
            </a:ln>
          </p:spPr>
        </p:pic>
        <p:pic>
          <p:nvPicPr>
            <p:cNvPr id="90" name="Picture 89" descr="Icon&#10;&#10;Description automatically generated">
              <a:extLst>
                <a:ext uri="{FF2B5EF4-FFF2-40B4-BE49-F238E27FC236}">
                  <a16:creationId xmlns:a16="http://schemas.microsoft.com/office/drawing/2014/main" id="{99877270-E619-9E24-B3E9-4939BAFFE2C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527574" y="1314148"/>
              <a:ext cx="461034" cy="144000"/>
            </a:xfrm>
            <a:prstGeom prst="rect">
              <a:avLst/>
            </a:prstGeom>
          </p:spPr>
        </p:pic>
        <p:sp>
          <p:nvSpPr>
            <p:cNvPr id="91" name="Contact_Box 2">
              <a:extLst>
                <a:ext uri="{FF2B5EF4-FFF2-40B4-BE49-F238E27FC236}">
                  <a16:creationId xmlns:a16="http://schemas.microsoft.com/office/drawing/2014/main" id="{D7E35B06-F969-EBF8-F45F-D0E4E37283D8}"/>
                </a:ext>
              </a:extLst>
            </p:cNvPr>
            <p:cNvSpPr/>
            <p:nvPr>
              <p:custDataLst>
                <p:tags r:id="rId4"/>
              </p:custDataLst>
            </p:nvPr>
          </p:nvSpPr>
          <p:spPr bwMode="gray">
            <a:xfrm>
              <a:off x="5017973" y="1717349"/>
              <a:ext cx="2156539" cy="423193"/>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spAutoFit/>
            </a:bodyPr>
            <a:lstStyle/>
            <a:p>
              <a:pPr algn="ctr">
                <a:spcBef>
                  <a:spcPts val="300"/>
                </a:spcBef>
              </a:pPr>
              <a:r>
                <a:rPr lang="de-DE" sz="1400" b="1">
                  <a:solidFill>
                    <a:schemeClr val="tx1"/>
                  </a:solidFill>
                  <a:latin typeface="Roboto" panose="02000000000000000000" pitchFamily="2" charset="0"/>
                </a:rPr>
                <a:t>Dr.-Ing. Lukasz Brodecki</a:t>
              </a:r>
              <a:r>
                <a:rPr lang="de-DE" sz="1000">
                  <a:solidFill>
                    <a:schemeClr val="tx1"/>
                  </a:solidFill>
                  <a:latin typeface="Roboto" panose="02000000000000000000" pitchFamily="2" charset="0"/>
                </a:rPr>
                <a:t>
</a:t>
              </a:r>
              <a:r>
                <a:rPr lang="de-DE" sz="1100">
                  <a:solidFill>
                    <a:schemeClr val="tx1"/>
                  </a:solidFill>
                  <a:latin typeface="Roboto" panose="02000000000000000000" pitchFamily="2" charset="0"/>
                </a:rPr>
                <a:t>Experte für Wärmeplanung</a:t>
              </a:r>
            </a:p>
          </p:txBody>
        </p:sp>
      </p:grpSp>
      <p:grpSp>
        <p:nvGrpSpPr>
          <p:cNvPr id="93" name="Group 92">
            <a:extLst>
              <a:ext uri="{FF2B5EF4-FFF2-40B4-BE49-F238E27FC236}">
                <a16:creationId xmlns:a16="http://schemas.microsoft.com/office/drawing/2014/main" id="{8D413BD5-65EA-258F-5C6F-B85978BD705C}"/>
              </a:ext>
            </a:extLst>
          </p:cNvPr>
          <p:cNvGrpSpPr/>
          <p:nvPr/>
        </p:nvGrpSpPr>
        <p:grpSpPr>
          <a:xfrm>
            <a:off x="596030" y="2596255"/>
            <a:ext cx="2161201" cy="1431662"/>
            <a:chOff x="208026" y="4580863"/>
            <a:chExt cx="2161201" cy="1431662"/>
          </a:xfrm>
        </p:grpSpPr>
        <p:sp>
          <p:nvSpPr>
            <p:cNvPr id="94" name="Rectangle 93">
              <a:extLst>
                <a:ext uri="{FF2B5EF4-FFF2-40B4-BE49-F238E27FC236}">
                  <a16:creationId xmlns:a16="http://schemas.microsoft.com/office/drawing/2014/main" id="{426E92B3-97AE-845C-DDA1-A03CCFE9D6FA}"/>
                </a:ext>
              </a:extLst>
            </p:cNvPr>
            <p:cNvSpPr/>
            <p:nvPr/>
          </p:nvSpPr>
          <p:spPr bwMode="gray">
            <a:xfrm>
              <a:off x="209227" y="4932525"/>
              <a:ext cx="2160000" cy="108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95" name="Picture 94">
              <a:extLst>
                <a:ext uri="{FF2B5EF4-FFF2-40B4-BE49-F238E27FC236}">
                  <a16:creationId xmlns:a16="http://schemas.microsoft.com/office/drawing/2014/main" id="{7BCDA905-68C0-BBD7-D423-063ED68B608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929227" y="4580863"/>
              <a:ext cx="728909" cy="720000"/>
            </a:xfrm>
            <a:prstGeom prst="ellipse">
              <a:avLst/>
            </a:prstGeom>
            <a:ln w="19050">
              <a:solidFill>
                <a:srgbClr val="EFEEEB"/>
              </a:solidFill>
            </a:ln>
          </p:spPr>
        </p:pic>
        <p:pic>
          <p:nvPicPr>
            <p:cNvPr id="96" name="Picture 95" descr="Icon&#10;&#10;Description automatically generated">
              <a:extLst>
                <a:ext uri="{FF2B5EF4-FFF2-40B4-BE49-F238E27FC236}">
                  <a16:creationId xmlns:a16="http://schemas.microsoft.com/office/drawing/2014/main" id="{1CE09E9D-CC84-BC36-EBAF-F53FDE184B6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17627" y="5005662"/>
              <a:ext cx="461034" cy="144000"/>
            </a:xfrm>
            <a:prstGeom prst="rect">
              <a:avLst/>
            </a:prstGeom>
          </p:spPr>
        </p:pic>
        <p:sp>
          <p:nvSpPr>
            <p:cNvPr id="97" name="Contact_Box 2">
              <a:extLst>
                <a:ext uri="{FF2B5EF4-FFF2-40B4-BE49-F238E27FC236}">
                  <a16:creationId xmlns:a16="http://schemas.microsoft.com/office/drawing/2014/main" id="{78766E72-60DB-F6D2-D7FF-7141EC6DA4C2}"/>
                </a:ext>
              </a:extLst>
            </p:cNvPr>
            <p:cNvSpPr/>
            <p:nvPr>
              <p:custDataLst>
                <p:tags r:id="rId3"/>
              </p:custDataLst>
            </p:nvPr>
          </p:nvSpPr>
          <p:spPr bwMode="gray">
            <a:xfrm>
              <a:off x="208026" y="5408863"/>
              <a:ext cx="2156539" cy="423193"/>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spAutoFit/>
            </a:bodyPr>
            <a:lstStyle/>
            <a:p>
              <a:pPr algn="ctr">
                <a:spcBef>
                  <a:spcPts val="300"/>
                </a:spcBef>
              </a:pPr>
              <a:r>
                <a:rPr lang="de-DE" sz="1400" b="1">
                  <a:solidFill>
                    <a:schemeClr val="tx1"/>
                  </a:solidFill>
                  <a:latin typeface="Roboto" panose="02000000000000000000" pitchFamily="2" charset="0"/>
                </a:rPr>
                <a:t>Dr. Robert </a:t>
              </a:r>
              <a:r>
                <a:rPr lang="de-DE" sz="1400" b="1" err="1">
                  <a:solidFill>
                    <a:schemeClr val="tx1"/>
                  </a:solidFill>
                  <a:latin typeface="Roboto" panose="02000000000000000000" pitchFamily="2" charset="0"/>
                </a:rPr>
                <a:t>Beestermöller</a:t>
              </a:r>
              <a:r>
                <a:rPr lang="de-DE" sz="1000">
                  <a:solidFill>
                    <a:schemeClr val="tx1"/>
                  </a:solidFill>
                  <a:latin typeface="Roboto" panose="02000000000000000000" pitchFamily="2" charset="0"/>
                </a:rPr>
                <a:t>
</a:t>
              </a:r>
              <a:r>
                <a:rPr lang="de-DE" sz="1100">
                  <a:solidFill>
                    <a:schemeClr val="tx1"/>
                  </a:solidFill>
                  <a:latin typeface="Roboto" panose="02000000000000000000" pitchFamily="2" charset="0"/>
                </a:rPr>
                <a:t>Projektleiter</a:t>
              </a:r>
            </a:p>
          </p:txBody>
        </p:sp>
      </p:grpSp>
      <p:sp>
        <p:nvSpPr>
          <p:cNvPr id="9" name="Textfeld 5">
            <a:extLst>
              <a:ext uri="{FF2B5EF4-FFF2-40B4-BE49-F238E27FC236}">
                <a16:creationId xmlns:a16="http://schemas.microsoft.com/office/drawing/2014/main" id="{0689A68B-3C57-E032-975D-CA8B26D78581}"/>
              </a:ext>
            </a:extLst>
          </p:cNvPr>
          <p:cNvSpPr txBox="1"/>
          <p:nvPr/>
        </p:nvSpPr>
        <p:spPr>
          <a:xfrm>
            <a:off x="2215628" y="4169449"/>
            <a:ext cx="60157" cy="6875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l"/>
            <a:endParaRPr lang="de-DE" sz="1400"/>
          </a:p>
        </p:txBody>
      </p:sp>
      <p:sp>
        <p:nvSpPr>
          <p:cNvPr id="7" name="Textfeld 5">
            <a:extLst>
              <a:ext uri="{FF2B5EF4-FFF2-40B4-BE49-F238E27FC236}">
                <a16:creationId xmlns:a16="http://schemas.microsoft.com/office/drawing/2014/main" id="{6E1D1E19-DDE8-CA50-C3B7-196CA9A3D220}"/>
              </a:ext>
            </a:extLst>
          </p:cNvPr>
          <p:cNvSpPr txBox="1"/>
          <p:nvPr/>
        </p:nvSpPr>
        <p:spPr>
          <a:xfrm>
            <a:off x="5253774" y="4227605"/>
            <a:ext cx="60157" cy="6875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l"/>
            <a:endParaRPr lang="de-DE" sz="1400"/>
          </a:p>
        </p:txBody>
      </p:sp>
      <p:grpSp>
        <p:nvGrpSpPr>
          <p:cNvPr id="26" name="Group 25">
            <a:extLst>
              <a:ext uri="{FF2B5EF4-FFF2-40B4-BE49-F238E27FC236}">
                <a16:creationId xmlns:a16="http://schemas.microsoft.com/office/drawing/2014/main" id="{876276C4-D096-D065-A577-4DEAFC4574A8}"/>
              </a:ext>
            </a:extLst>
          </p:cNvPr>
          <p:cNvGrpSpPr/>
          <p:nvPr/>
        </p:nvGrpSpPr>
        <p:grpSpPr>
          <a:xfrm>
            <a:off x="6610351" y="2592803"/>
            <a:ext cx="808178" cy="1405474"/>
            <a:chOff x="8058043" y="1535747"/>
            <a:chExt cx="808178" cy="1405474"/>
          </a:xfrm>
        </p:grpSpPr>
        <p:sp>
          <p:nvSpPr>
            <p:cNvPr id="20" name="Textfeld 5">
              <a:extLst>
                <a:ext uri="{FF2B5EF4-FFF2-40B4-BE49-F238E27FC236}">
                  <a16:creationId xmlns:a16="http://schemas.microsoft.com/office/drawing/2014/main" id="{BE78A127-69ED-CA81-F84E-BD10CCC958D8}"/>
                </a:ext>
              </a:extLst>
            </p:cNvPr>
            <p:cNvSpPr txBox="1"/>
            <p:nvPr/>
          </p:nvSpPr>
          <p:spPr>
            <a:xfrm>
              <a:off x="8058043" y="2872470"/>
              <a:ext cx="60157" cy="6875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l"/>
              <a:endParaRPr lang="de-DE" sz="1400"/>
            </a:p>
          </p:txBody>
        </p:sp>
        <p:pic>
          <p:nvPicPr>
            <p:cNvPr id="25" name="Contact_picture_Maximilian.Frenzel@d-fine.com">
              <a:extLst>
                <a:ext uri="{FF2B5EF4-FFF2-40B4-BE49-F238E27FC236}">
                  <a16:creationId xmlns:a16="http://schemas.microsoft.com/office/drawing/2014/main" id="{3994ABA8-264D-E3BC-6D2E-B41A70FF7B57}"/>
                </a:ext>
              </a:extLst>
            </p:cNvPr>
            <p:cNvPicPr>
              <a:picLocks/>
            </p:cNvPicPr>
            <p:nvPr>
              <p:custDataLst>
                <p:tags r:id="rId2"/>
              </p:custDataLst>
            </p:nvPr>
          </p:nvPicPr>
          <p:blipFill>
            <a:blip r:embed="rId10" cstate="screen">
              <a:extLst>
                <a:ext uri="{28A0092B-C50C-407E-A947-70E740481C1C}">
                  <a14:useLocalDpi xmlns:a14="http://schemas.microsoft.com/office/drawing/2010/main"/>
                </a:ext>
              </a:extLst>
            </a:blip>
            <a:stretch>
              <a:fillRect/>
            </a:stretch>
          </p:blipFill>
          <p:spPr>
            <a:xfrm>
              <a:off x="8146221" y="1535747"/>
              <a:ext cx="720000" cy="720000"/>
            </a:xfrm>
            <a:prstGeom prst="ellipse">
              <a:avLst/>
            </a:prstGeom>
          </p:spPr>
        </p:pic>
      </p:grpSp>
      <p:sp>
        <p:nvSpPr>
          <p:cNvPr id="6" name="Footer Placeholder 5">
            <a:extLst>
              <a:ext uri="{FF2B5EF4-FFF2-40B4-BE49-F238E27FC236}">
                <a16:creationId xmlns:a16="http://schemas.microsoft.com/office/drawing/2014/main" id="{5626E242-6578-4AEB-4477-FDBD1607CC4D}"/>
              </a:ext>
            </a:extLst>
          </p:cNvPr>
          <p:cNvSpPr>
            <a:spLocks noGrp="1"/>
          </p:cNvSpPr>
          <p:nvPr>
            <p:ph type="ftr" sz="quarter" idx="12"/>
          </p:nvPr>
        </p:nvSpPr>
        <p:spPr/>
        <p:txBody>
          <a:bodyPr/>
          <a:lstStyle/>
          <a:p>
            <a:r>
              <a:rPr lang="de-DE"/>
              <a:t>© 2026</a:t>
            </a:r>
          </a:p>
          <a:p>
            <a:r>
              <a:rPr lang="de-DE"/>
              <a:t>d-fine</a:t>
            </a:r>
          </a:p>
        </p:txBody>
      </p:sp>
      <p:sp>
        <p:nvSpPr>
          <p:cNvPr id="17" name="Slide Number Placeholder 16">
            <a:extLst>
              <a:ext uri="{FF2B5EF4-FFF2-40B4-BE49-F238E27FC236}">
                <a16:creationId xmlns:a16="http://schemas.microsoft.com/office/drawing/2014/main" id="{BA6CBB4B-CB3D-76F3-637F-65D54259A2A9}"/>
              </a:ext>
            </a:extLst>
          </p:cNvPr>
          <p:cNvSpPr>
            <a:spLocks noGrp="1"/>
          </p:cNvSpPr>
          <p:nvPr>
            <p:ph type="sldNum" sz="quarter" idx="11"/>
          </p:nvPr>
        </p:nvSpPr>
        <p:spPr/>
        <p:txBody>
          <a:bodyPr/>
          <a:lstStyle/>
          <a:p>
            <a:endParaRPr lang="de-DE"/>
          </a:p>
          <a:p>
            <a:fld id="{24C420F5-194C-40F2-A080-C5F3EDD89037}" type="slidenum">
              <a:rPr lang="de-DE" smtClean="0"/>
              <a:pPr/>
              <a:t>17</a:t>
            </a:fld>
            <a:endParaRPr lang="de-DE"/>
          </a:p>
        </p:txBody>
      </p:sp>
      <p:pic>
        <p:nvPicPr>
          <p:cNvPr id="10" name="Grafik 12" descr="Ein Bild, das Person, Mann, drinnen, Musik enthält.&#10;&#10;Beschreibung automatisch generiert.">
            <a:extLst>
              <a:ext uri="{FF2B5EF4-FFF2-40B4-BE49-F238E27FC236}">
                <a16:creationId xmlns:a16="http://schemas.microsoft.com/office/drawing/2014/main" id="{5EDACD3E-F709-5916-1DE8-D6AC1D048791}"/>
              </a:ext>
            </a:extLst>
          </p:cNvPr>
          <p:cNvPicPr>
            <a:picLocks/>
          </p:cNvPicPr>
          <p:nvPr/>
        </p:nvPicPr>
        <p:blipFill>
          <a:blip r:embed="rId11"/>
          <a:stretch>
            <a:fillRect/>
          </a:stretch>
        </p:blipFill>
        <p:spPr>
          <a:xfrm>
            <a:off x="6978799" y="2579567"/>
            <a:ext cx="720000" cy="720000"/>
          </a:xfrm>
          <a:prstGeom prst="ellipse">
            <a:avLst/>
          </a:prstGeom>
          <a:ln w="19050">
            <a:noFill/>
          </a:ln>
        </p:spPr>
      </p:pic>
      <p:pic>
        <p:nvPicPr>
          <p:cNvPr id="8" name="Contact_picture_Hanno.Mueller@d-fine.com">
            <a:extLst>
              <a:ext uri="{FF2B5EF4-FFF2-40B4-BE49-F238E27FC236}">
                <a16:creationId xmlns:a16="http://schemas.microsoft.com/office/drawing/2014/main" id="{B535AC6A-201F-F8ED-DD32-F767BDA8F665}"/>
              </a:ext>
            </a:extLst>
          </p:cNvPr>
          <p:cNvPicPr>
            <a:picLocks/>
          </p:cNvPicPr>
          <p:nvPr>
            <p:custDataLst>
              <p:tags r:id="rId1"/>
            </p:custDataLst>
          </p:nvPr>
        </p:nvPicPr>
        <p:blipFill>
          <a:blip r:embed="rId12" cstate="screen">
            <a:extLst>
              <a:ext uri="{28A0092B-C50C-407E-A947-70E740481C1C}">
                <a14:useLocalDpi xmlns:a14="http://schemas.microsoft.com/office/drawing/2010/main"/>
              </a:ext>
            </a:extLst>
          </a:blip>
          <a:stretch>
            <a:fillRect/>
          </a:stretch>
        </p:blipFill>
        <p:spPr>
          <a:xfrm>
            <a:off x="7259069" y="2609868"/>
            <a:ext cx="720000" cy="720000"/>
          </a:xfrm>
          <a:prstGeom prst="ellipse">
            <a:avLst/>
          </a:prstGeom>
        </p:spPr>
      </p:pic>
      <p:pic>
        <p:nvPicPr>
          <p:cNvPr id="4" name="Picture 3" descr="A person smiling for a picture&#10;&#10;AI-generated content may be incorrect.">
            <a:extLst>
              <a:ext uri="{FF2B5EF4-FFF2-40B4-BE49-F238E27FC236}">
                <a16:creationId xmlns:a16="http://schemas.microsoft.com/office/drawing/2014/main" id="{F59F9101-B109-4CAC-3655-7B29E1B2B9E4}"/>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518415" y="2601318"/>
            <a:ext cx="720000" cy="7200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8115322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E21248-1FDD-5B21-0F27-A42ECEC0EB4F}"/>
              </a:ext>
            </a:extLst>
          </p:cNvPr>
          <p:cNvSpPr>
            <a:spLocks noGrp="1"/>
          </p:cNvSpPr>
          <p:nvPr>
            <p:ph type="sldNum" sz="quarter" idx="11"/>
          </p:nvPr>
        </p:nvSpPr>
        <p:spPr/>
        <p:txBody>
          <a:bodyPr/>
          <a:lstStyle/>
          <a:p>
            <a:endParaRPr lang="de-DE"/>
          </a:p>
          <a:p>
            <a:fld id="{24C420F5-194C-40F2-A080-C5F3EDD89037}" type="slidenum">
              <a:rPr lang="de-DE" smtClean="0"/>
              <a:pPr/>
              <a:t>18</a:t>
            </a:fld>
            <a:endParaRPr lang="de-DE"/>
          </a:p>
        </p:txBody>
      </p:sp>
      <p:sp>
        <p:nvSpPr>
          <p:cNvPr id="4" name="Footer Placeholder 3">
            <a:extLst>
              <a:ext uri="{FF2B5EF4-FFF2-40B4-BE49-F238E27FC236}">
                <a16:creationId xmlns:a16="http://schemas.microsoft.com/office/drawing/2014/main" id="{F8485C9B-8921-F3FB-5536-8A73408287BE}"/>
              </a:ext>
            </a:extLst>
          </p:cNvPr>
          <p:cNvSpPr>
            <a:spLocks noGrp="1"/>
          </p:cNvSpPr>
          <p:nvPr>
            <p:ph type="ftr" sz="quarter" idx="12"/>
          </p:nvPr>
        </p:nvSpPr>
        <p:spPr/>
        <p:txBody>
          <a:bodyPr/>
          <a:lstStyle/>
          <a:p>
            <a:r>
              <a:rPr lang="de-DE"/>
              <a:t>© 2026</a:t>
            </a:r>
          </a:p>
          <a:p>
            <a:r>
              <a:rPr lang="de-DE"/>
              <a:t>d-fine</a:t>
            </a:r>
          </a:p>
        </p:txBody>
      </p:sp>
      <p:grpSp>
        <p:nvGrpSpPr>
          <p:cNvPr id="6" name="team_grid">
            <a:extLst>
              <a:ext uri="{FF2B5EF4-FFF2-40B4-BE49-F238E27FC236}">
                <a16:creationId xmlns:a16="http://schemas.microsoft.com/office/drawing/2014/main" id="{C7E70BFE-AB77-9D9F-91DD-31635B132579}"/>
              </a:ext>
            </a:extLst>
          </p:cNvPr>
          <p:cNvGrpSpPr/>
          <p:nvPr/>
        </p:nvGrpSpPr>
        <p:grpSpPr>
          <a:xfrm>
            <a:off x="5703605" y="1442066"/>
            <a:ext cx="3869979" cy="2914823"/>
            <a:chOff x="5760249" y="1660550"/>
            <a:chExt cx="3869979" cy="2914823"/>
          </a:xfrm>
        </p:grpSpPr>
        <p:grpSp>
          <p:nvGrpSpPr>
            <p:cNvPr id="7" name="Group 6">
              <a:extLst>
                <a:ext uri="{FF2B5EF4-FFF2-40B4-BE49-F238E27FC236}">
                  <a16:creationId xmlns:a16="http://schemas.microsoft.com/office/drawing/2014/main" id="{3A4E269C-E55A-0928-2A13-F4B8A0266C81}"/>
                </a:ext>
              </a:extLst>
            </p:cNvPr>
            <p:cNvGrpSpPr>
              <a:grpSpLocks/>
            </p:cNvGrpSpPr>
            <p:nvPr/>
          </p:nvGrpSpPr>
          <p:grpSpPr bwMode="gray">
            <a:xfrm flipH="1">
              <a:off x="7496147" y="1660550"/>
              <a:ext cx="2134081" cy="2908473"/>
              <a:chOff x="266700" y="1585436"/>
              <a:chExt cx="2134081" cy="2908473"/>
            </a:xfrm>
            <a:noFill/>
          </p:grpSpPr>
          <p:grpSp>
            <p:nvGrpSpPr>
              <p:cNvPr id="727" name="Group 726">
                <a:extLst>
                  <a:ext uri="{FF2B5EF4-FFF2-40B4-BE49-F238E27FC236}">
                    <a16:creationId xmlns:a16="http://schemas.microsoft.com/office/drawing/2014/main" id="{166D83A0-9DC5-1953-6F32-966EE328F541}"/>
                  </a:ext>
                </a:extLst>
              </p:cNvPr>
              <p:cNvGrpSpPr>
                <a:grpSpLocks/>
              </p:cNvGrpSpPr>
              <p:nvPr/>
            </p:nvGrpSpPr>
            <p:grpSpPr bwMode="gray">
              <a:xfrm>
                <a:off x="700982" y="1623437"/>
                <a:ext cx="217142" cy="217142"/>
                <a:chOff x="902726" y="2088942"/>
                <a:chExt cx="330948" cy="330948"/>
              </a:xfrm>
              <a:grpFill/>
            </p:grpSpPr>
            <p:sp>
              <p:nvSpPr>
                <p:cNvPr id="1439" name="dfine_grid_single_shape_frame">
                  <a:extLst>
                    <a:ext uri="{FF2B5EF4-FFF2-40B4-BE49-F238E27FC236}">
                      <a16:creationId xmlns:a16="http://schemas.microsoft.com/office/drawing/2014/main" id="{5146BF29-05C0-1032-D1FF-DC1857680F25}"/>
                    </a:ext>
                  </a:extLst>
                </p:cNvPr>
                <p:cNvSpPr>
                  <a:spLocks/>
                </p:cNvSpPr>
                <p:nvPr>
                  <p:custDataLst>
                    <p:tags r:id="rId83"/>
                  </p:custDataLst>
                </p:nvPr>
              </p:nvSpPr>
              <p:spPr bwMode="gray">
                <a:xfrm>
                  <a:off x="902726"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40" name="Triangle_1">
                  <a:extLst>
                    <a:ext uri="{FF2B5EF4-FFF2-40B4-BE49-F238E27FC236}">
                      <a16:creationId xmlns:a16="http://schemas.microsoft.com/office/drawing/2014/main" id="{7BDE2EB6-FE8F-4F18-7E13-DB010C32970F}"/>
                    </a:ext>
                  </a:extLst>
                </p:cNvPr>
                <p:cNvSpPr>
                  <a:spLocks/>
                </p:cNvSpPr>
                <p:nvPr/>
              </p:nvSpPr>
              <p:spPr bwMode="gray">
                <a:xfrm rot="10800000">
                  <a:off x="902726"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41" name="Triangle_2">
                  <a:extLst>
                    <a:ext uri="{FF2B5EF4-FFF2-40B4-BE49-F238E27FC236}">
                      <a16:creationId xmlns:a16="http://schemas.microsoft.com/office/drawing/2014/main" id="{3E40FDE7-19D2-50F8-15F9-D81FE20C4AE0}"/>
                    </a:ext>
                  </a:extLst>
                </p:cNvPr>
                <p:cNvSpPr>
                  <a:spLocks/>
                </p:cNvSpPr>
                <p:nvPr/>
              </p:nvSpPr>
              <p:spPr bwMode="gray">
                <a:xfrm>
                  <a:off x="902726"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42" name="Triangle_3">
                  <a:extLst>
                    <a:ext uri="{FF2B5EF4-FFF2-40B4-BE49-F238E27FC236}">
                      <a16:creationId xmlns:a16="http://schemas.microsoft.com/office/drawing/2014/main" id="{9D336DDB-EFFD-2873-4F10-831113588BFF}"/>
                    </a:ext>
                  </a:extLst>
                </p:cNvPr>
                <p:cNvSpPr>
                  <a:spLocks/>
                </p:cNvSpPr>
                <p:nvPr/>
              </p:nvSpPr>
              <p:spPr bwMode="gray">
                <a:xfrm rot="5400000">
                  <a:off x="819989"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43" name="Triangle_4">
                  <a:extLst>
                    <a:ext uri="{FF2B5EF4-FFF2-40B4-BE49-F238E27FC236}">
                      <a16:creationId xmlns:a16="http://schemas.microsoft.com/office/drawing/2014/main" id="{09B05DA1-1F5D-E476-75D3-BA7C80BFAE32}"/>
                    </a:ext>
                  </a:extLst>
                </p:cNvPr>
                <p:cNvSpPr>
                  <a:spLocks/>
                </p:cNvSpPr>
                <p:nvPr/>
              </p:nvSpPr>
              <p:spPr bwMode="gray">
                <a:xfrm rot="16200000">
                  <a:off x="985463"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28" name="Group 727">
                <a:extLst>
                  <a:ext uri="{FF2B5EF4-FFF2-40B4-BE49-F238E27FC236}">
                    <a16:creationId xmlns:a16="http://schemas.microsoft.com/office/drawing/2014/main" id="{7653654D-16E7-16FF-0C28-053C594B273D}"/>
                  </a:ext>
                </a:extLst>
              </p:cNvPr>
              <p:cNvGrpSpPr>
                <a:grpSpLocks/>
              </p:cNvGrpSpPr>
              <p:nvPr/>
            </p:nvGrpSpPr>
            <p:grpSpPr bwMode="gray">
              <a:xfrm>
                <a:off x="700982" y="1840578"/>
                <a:ext cx="217142" cy="217142"/>
                <a:chOff x="902726" y="2419889"/>
                <a:chExt cx="330948" cy="330948"/>
              </a:xfrm>
              <a:grpFill/>
            </p:grpSpPr>
            <p:sp>
              <p:nvSpPr>
                <p:cNvPr id="1434" name="dfine_grid_single_shape_frame">
                  <a:extLst>
                    <a:ext uri="{FF2B5EF4-FFF2-40B4-BE49-F238E27FC236}">
                      <a16:creationId xmlns:a16="http://schemas.microsoft.com/office/drawing/2014/main" id="{7A0A3941-769C-FF7C-FC80-DF1C25A2D0F0}"/>
                    </a:ext>
                  </a:extLst>
                </p:cNvPr>
                <p:cNvSpPr>
                  <a:spLocks/>
                </p:cNvSpPr>
                <p:nvPr/>
              </p:nvSpPr>
              <p:spPr bwMode="gray">
                <a:xfrm>
                  <a:off x="902726"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35" name="Triangle_1">
                  <a:extLst>
                    <a:ext uri="{FF2B5EF4-FFF2-40B4-BE49-F238E27FC236}">
                      <a16:creationId xmlns:a16="http://schemas.microsoft.com/office/drawing/2014/main" id="{37A9DCBA-5588-FC67-07E1-2212ACBE7F6B}"/>
                    </a:ext>
                  </a:extLst>
                </p:cNvPr>
                <p:cNvSpPr>
                  <a:spLocks/>
                </p:cNvSpPr>
                <p:nvPr/>
              </p:nvSpPr>
              <p:spPr bwMode="gray">
                <a:xfrm rot="10800000">
                  <a:off x="902726"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36" name="Triangle_2">
                  <a:extLst>
                    <a:ext uri="{FF2B5EF4-FFF2-40B4-BE49-F238E27FC236}">
                      <a16:creationId xmlns:a16="http://schemas.microsoft.com/office/drawing/2014/main" id="{E072F648-80C9-A079-F939-C6C6E96366DE}"/>
                    </a:ext>
                  </a:extLst>
                </p:cNvPr>
                <p:cNvSpPr>
                  <a:spLocks/>
                </p:cNvSpPr>
                <p:nvPr/>
              </p:nvSpPr>
              <p:spPr bwMode="gray">
                <a:xfrm>
                  <a:off x="902726"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37" name="Triangle_3">
                  <a:extLst>
                    <a:ext uri="{FF2B5EF4-FFF2-40B4-BE49-F238E27FC236}">
                      <a16:creationId xmlns:a16="http://schemas.microsoft.com/office/drawing/2014/main" id="{E7B445C6-1DDE-DCD0-CBDB-220D70205CB2}"/>
                    </a:ext>
                  </a:extLst>
                </p:cNvPr>
                <p:cNvSpPr>
                  <a:spLocks/>
                </p:cNvSpPr>
                <p:nvPr/>
              </p:nvSpPr>
              <p:spPr bwMode="gray">
                <a:xfrm rot="5400000">
                  <a:off x="819989"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38" name="Triangle_4">
                  <a:extLst>
                    <a:ext uri="{FF2B5EF4-FFF2-40B4-BE49-F238E27FC236}">
                      <a16:creationId xmlns:a16="http://schemas.microsoft.com/office/drawing/2014/main" id="{0B346489-5A1F-B61D-B570-258AAD3B18CB}"/>
                    </a:ext>
                  </a:extLst>
                </p:cNvPr>
                <p:cNvSpPr>
                  <a:spLocks/>
                </p:cNvSpPr>
                <p:nvPr/>
              </p:nvSpPr>
              <p:spPr bwMode="gray">
                <a:xfrm rot="16200000">
                  <a:off x="98546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29" name="Group 728">
                <a:extLst>
                  <a:ext uri="{FF2B5EF4-FFF2-40B4-BE49-F238E27FC236}">
                    <a16:creationId xmlns:a16="http://schemas.microsoft.com/office/drawing/2014/main" id="{2CB756E0-B828-4E15-36C4-6221B2928ACA}"/>
                  </a:ext>
                </a:extLst>
              </p:cNvPr>
              <p:cNvGrpSpPr>
                <a:grpSpLocks/>
              </p:cNvGrpSpPr>
              <p:nvPr/>
            </p:nvGrpSpPr>
            <p:grpSpPr bwMode="gray">
              <a:xfrm>
                <a:off x="700982" y="2057719"/>
                <a:ext cx="217142" cy="217142"/>
                <a:chOff x="902726" y="2750836"/>
                <a:chExt cx="330948" cy="330948"/>
              </a:xfrm>
              <a:grpFill/>
            </p:grpSpPr>
            <p:sp>
              <p:nvSpPr>
                <p:cNvPr id="1429" name="dfine_grid_single_shape_frame">
                  <a:extLst>
                    <a:ext uri="{FF2B5EF4-FFF2-40B4-BE49-F238E27FC236}">
                      <a16:creationId xmlns:a16="http://schemas.microsoft.com/office/drawing/2014/main" id="{96FA7851-3CAD-5B2D-BB99-036AB337CB2F}"/>
                    </a:ext>
                  </a:extLst>
                </p:cNvPr>
                <p:cNvSpPr>
                  <a:spLocks/>
                </p:cNvSpPr>
                <p:nvPr/>
              </p:nvSpPr>
              <p:spPr bwMode="gray">
                <a:xfrm>
                  <a:off x="902726"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30" name="Triangle_1">
                  <a:extLst>
                    <a:ext uri="{FF2B5EF4-FFF2-40B4-BE49-F238E27FC236}">
                      <a16:creationId xmlns:a16="http://schemas.microsoft.com/office/drawing/2014/main" id="{399BBA96-4DF5-4795-9F60-EE13A4FC480B}"/>
                    </a:ext>
                  </a:extLst>
                </p:cNvPr>
                <p:cNvSpPr>
                  <a:spLocks/>
                </p:cNvSpPr>
                <p:nvPr/>
              </p:nvSpPr>
              <p:spPr bwMode="gray">
                <a:xfrm rot="10800000">
                  <a:off x="902726"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31" name="Triangle_2">
                  <a:extLst>
                    <a:ext uri="{FF2B5EF4-FFF2-40B4-BE49-F238E27FC236}">
                      <a16:creationId xmlns:a16="http://schemas.microsoft.com/office/drawing/2014/main" id="{E238FAAA-574C-AC2F-4701-CD91AC648710}"/>
                    </a:ext>
                  </a:extLst>
                </p:cNvPr>
                <p:cNvSpPr>
                  <a:spLocks/>
                </p:cNvSpPr>
                <p:nvPr/>
              </p:nvSpPr>
              <p:spPr bwMode="gray">
                <a:xfrm>
                  <a:off x="902726"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32" name="Triangle_3">
                  <a:extLst>
                    <a:ext uri="{FF2B5EF4-FFF2-40B4-BE49-F238E27FC236}">
                      <a16:creationId xmlns:a16="http://schemas.microsoft.com/office/drawing/2014/main" id="{AFC7649E-6E3E-D038-D614-CD449FC1618C}"/>
                    </a:ext>
                  </a:extLst>
                </p:cNvPr>
                <p:cNvSpPr>
                  <a:spLocks/>
                </p:cNvSpPr>
                <p:nvPr/>
              </p:nvSpPr>
              <p:spPr bwMode="gray">
                <a:xfrm rot="5400000">
                  <a:off x="819989"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33" name="Triangle_4">
                  <a:extLst>
                    <a:ext uri="{FF2B5EF4-FFF2-40B4-BE49-F238E27FC236}">
                      <a16:creationId xmlns:a16="http://schemas.microsoft.com/office/drawing/2014/main" id="{A8098662-6273-95CD-954B-A0CCC073B4E5}"/>
                    </a:ext>
                  </a:extLst>
                </p:cNvPr>
                <p:cNvSpPr>
                  <a:spLocks/>
                </p:cNvSpPr>
                <p:nvPr/>
              </p:nvSpPr>
              <p:spPr bwMode="gray">
                <a:xfrm rot="16200000">
                  <a:off x="98546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30" name="Group 729">
                <a:extLst>
                  <a:ext uri="{FF2B5EF4-FFF2-40B4-BE49-F238E27FC236}">
                    <a16:creationId xmlns:a16="http://schemas.microsoft.com/office/drawing/2014/main" id="{A9901210-4DB3-BADE-2D23-D36AF8A96A9C}"/>
                  </a:ext>
                </a:extLst>
              </p:cNvPr>
              <p:cNvGrpSpPr>
                <a:grpSpLocks/>
              </p:cNvGrpSpPr>
              <p:nvPr/>
            </p:nvGrpSpPr>
            <p:grpSpPr bwMode="gray">
              <a:xfrm>
                <a:off x="700982" y="2274860"/>
                <a:ext cx="217142" cy="217142"/>
                <a:chOff x="902726" y="3081783"/>
                <a:chExt cx="330948" cy="330948"/>
              </a:xfrm>
              <a:grpFill/>
            </p:grpSpPr>
            <p:sp>
              <p:nvSpPr>
                <p:cNvPr id="1424" name="dfine_grid_single_shape_frame">
                  <a:extLst>
                    <a:ext uri="{FF2B5EF4-FFF2-40B4-BE49-F238E27FC236}">
                      <a16:creationId xmlns:a16="http://schemas.microsoft.com/office/drawing/2014/main" id="{9BB4590B-AF54-8944-2C87-2B0BA7A8128F}"/>
                    </a:ext>
                  </a:extLst>
                </p:cNvPr>
                <p:cNvSpPr>
                  <a:spLocks/>
                </p:cNvSpPr>
                <p:nvPr/>
              </p:nvSpPr>
              <p:spPr bwMode="gray">
                <a:xfrm>
                  <a:off x="902726"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25" name="Triangle_1">
                  <a:extLst>
                    <a:ext uri="{FF2B5EF4-FFF2-40B4-BE49-F238E27FC236}">
                      <a16:creationId xmlns:a16="http://schemas.microsoft.com/office/drawing/2014/main" id="{E2103CE3-4880-34E3-FD40-A6835AAAC516}"/>
                    </a:ext>
                  </a:extLst>
                </p:cNvPr>
                <p:cNvSpPr>
                  <a:spLocks/>
                </p:cNvSpPr>
                <p:nvPr/>
              </p:nvSpPr>
              <p:spPr bwMode="gray">
                <a:xfrm rot="10800000">
                  <a:off x="902726"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26" name="Triangle_2">
                  <a:extLst>
                    <a:ext uri="{FF2B5EF4-FFF2-40B4-BE49-F238E27FC236}">
                      <a16:creationId xmlns:a16="http://schemas.microsoft.com/office/drawing/2014/main" id="{C99BBB3B-90A3-8BBA-3AEA-2BB19637A4B8}"/>
                    </a:ext>
                  </a:extLst>
                </p:cNvPr>
                <p:cNvSpPr>
                  <a:spLocks/>
                </p:cNvSpPr>
                <p:nvPr/>
              </p:nvSpPr>
              <p:spPr bwMode="gray">
                <a:xfrm>
                  <a:off x="902726"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27" name="Triangle_3">
                  <a:extLst>
                    <a:ext uri="{FF2B5EF4-FFF2-40B4-BE49-F238E27FC236}">
                      <a16:creationId xmlns:a16="http://schemas.microsoft.com/office/drawing/2014/main" id="{22867A83-1A9A-E0B1-846E-9E851C3949F4}"/>
                    </a:ext>
                  </a:extLst>
                </p:cNvPr>
                <p:cNvSpPr>
                  <a:spLocks/>
                </p:cNvSpPr>
                <p:nvPr/>
              </p:nvSpPr>
              <p:spPr bwMode="gray">
                <a:xfrm rot="5400000">
                  <a:off x="819989"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28" name="Triangle_4">
                  <a:extLst>
                    <a:ext uri="{FF2B5EF4-FFF2-40B4-BE49-F238E27FC236}">
                      <a16:creationId xmlns:a16="http://schemas.microsoft.com/office/drawing/2014/main" id="{3B9EDBF3-2E86-279A-033B-862A3D1DD333}"/>
                    </a:ext>
                  </a:extLst>
                </p:cNvPr>
                <p:cNvSpPr>
                  <a:spLocks/>
                </p:cNvSpPr>
                <p:nvPr/>
              </p:nvSpPr>
              <p:spPr bwMode="gray">
                <a:xfrm rot="16200000">
                  <a:off x="98546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31" name="Group 730">
                <a:extLst>
                  <a:ext uri="{FF2B5EF4-FFF2-40B4-BE49-F238E27FC236}">
                    <a16:creationId xmlns:a16="http://schemas.microsoft.com/office/drawing/2014/main" id="{5FD45B40-340C-5E5B-78FB-338BBC2FFCB2}"/>
                  </a:ext>
                </a:extLst>
              </p:cNvPr>
              <p:cNvGrpSpPr>
                <a:grpSpLocks/>
              </p:cNvGrpSpPr>
              <p:nvPr/>
            </p:nvGrpSpPr>
            <p:grpSpPr bwMode="gray">
              <a:xfrm>
                <a:off x="700982" y="2492001"/>
                <a:ext cx="217142" cy="217142"/>
                <a:chOff x="902726" y="3412730"/>
                <a:chExt cx="330948" cy="330948"/>
              </a:xfrm>
              <a:grpFill/>
            </p:grpSpPr>
            <p:sp>
              <p:nvSpPr>
                <p:cNvPr id="1419" name="dfine_grid_single_shape_frame">
                  <a:extLst>
                    <a:ext uri="{FF2B5EF4-FFF2-40B4-BE49-F238E27FC236}">
                      <a16:creationId xmlns:a16="http://schemas.microsoft.com/office/drawing/2014/main" id="{0E2DF407-308A-B01F-D76B-40DE36991477}"/>
                    </a:ext>
                  </a:extLst>
                </p:cNvPr>
                <p:cNvSpPr>
                  <a:spLocks/>
                </p:cNvSpPr>
                <p:nvPr/>
              </p:nvSpPr>
              <p:spPr bwMode="gray">
                <a:xfrm>
                  <a:off x="902726"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20" name="Triangle_1">
                  <a:extLst>
                    <a:ext uri="{FF2B5EF4-FFF2-40B4-BE49-F238E27FC236}">
                      <a16:creationId xmlns:a16="http://schemas.microsoft.com/office/drawing/2014/main" id="{6676AADE-7A25-D2B7-41EC-56A4164A2712}"/>
                    </a:ext>
                  </a:extLst>
                </p:cNvPr>
                <p:cNvSpPr>
                  <a:spLocks/>
                </p:cNvSpPr>
                <p:nvPr/>
              </p:nvSpPr>
              <p:spPr bwMode="gray">
                <a:xfrm rot="10800000">
                  <a:off x="902726"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21" name="Triangle_2">
                  <a:extLst>
                    <a:ext uri="{FF2B5EF4-FFF2-40B4-BE49-F238E27FC236}">
                      <a16:creationId xmlns:a16="http://schemas.microsoft.com/office/drawing/2014/main" id="{FBE977CA-6F68-1E3D-44FE-D30C8DD6FEFF}"/>
                    </a:ext>
                  </a:extLst>
                </p:cNvPr>
                <p:cNvSpPr>
                  <a:spLocks/>
                </p:cNvSpPr>
                <p:nvPr/>
              </p:nvSpPr>
              <p:spPr bwMode="gray">
                <a:xfrm>
                  <a:off x="902726"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22" name="Triangle_3">
                  <a:extLst>
                    <a:ext uri="{FF2B5EF4-FFF2-40B4-BE49-F238E27FC236}">
                      <a16:creationId xmlns:a16="http://schemas.microsoft.com/office/drawing/2014/main" id="{39FDC840-EBB7-212C-3F09-355C79728237}"/>
                    </a:ext>
                  </a:extLst>
                </p:cNvPr>
                <p:cNvSpPr>
                  <a:spLocks/>
                </p:cNvSpPr>
                <p:nvPr/>
              </p:nvSpPr>
              <p:spPr bwMode="gray">
                <a:xfrm rot="5400000">
                  <a:off x="819989"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23" name="Triangle_4">
                  <a:extLst>
                    <a:ext uri="{FF2B5EF4-FFF2-40B4-BE49-F238E27FC236}">
                      <a16:creationId xmlns:a16="http://schemas.microsoft.com/office/drawing/2014/main" id="{F89C6806-0804-C4A3-FAAF-48EEAD3576EE}"/>
                    </a:ext>
                  </a:extLst>
                </p:cNvPr>
                <p:cNvSpPr>
                  <a:spLocks/>
                </p:cNvSpPr>
                <p:nvPr/>
              </p:nvSpPr>
              <p:spPr bwMode="gray">
                <a:xfrm rot="16200000">
                  <a:off x="98546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32" name="Group 731">
                <a:extLst>
                  <a:ext uri="{FF2B5EF4-FFF2-40B4-BE49-F238E27FC236}">
                    <a16:creationId xmlns:a16="http://schemas.microsoft.com/office/drawing/2014/main" id="{DC934439-5A1C-4FA7-E644-31C703BA0200}"/>
                  </a:ext>
                </a:extLst>
              </p:cNvPr>
              <p:cNvGrpSpPr>
                <a:grpSpLocks/>
              </p:cNvGrpSpPr>
              <p:nvPr/>
            </p:nvGrpSpPr>
            <p:grpSpPr bwMode="gray">
              <a:xfrm>
                <a:off x="700982" y="2709142"/>
                <a:ext cx="217142" cy="217142"/>
                <a:chOff x="902726" y="3743677"/>
                <a:chExt cx="330948" cy="330948"/>
              </a:xfrm>
              <a:grpFill/>
            </p:grpSpPr>
            <p:sp>
              <p:nvSpPr>
                <p:cNvPr id="1414" name="dfine_grid_single_shape_frame">
                  <a:extLst>
                    <a:ext uri="{FF2B5EF4-FFF2-40B4-BE49-F238E27FC236}">
                      <a16:creationId xmlns:a16="http://schemas.microsoft.com/office/drawing/2014/main" id="{25C43566-8B5B-DE3F-EF53-2E8B75F08F69}"/>
                    </a:ext>
                  </a:extLst>
                </p:cNvPr>
                <p:cNvSpPr>
                  <a:spLocks/>
                </p:cNvSpPr>
                <p:nvPr/>
              </p:nvSpPr>
              <p:spPr bwMode="gray">
                <a:xfrm>
                  <a:off x="902726"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15" name="Triangle_1">
                  <a:extLst>
                    <a:ext uri="{FF2B5EF4-FFF2-40B4-BE49-F238E27FC236}">
                      <a16:creationId xmlns:a16="http://schemas.microsoft.com/office/drawing/2014/main" id="{C31FBF0B-1495-7FA8-615E-521AF98C01BD}"/>
                    </a:ext>
                  </a:extLst>
                </p:cNvPr>
                <p:cNvSpPr>
                  <a:spLocks/>
                </p:cNvSpPr>
                <p:nvPr/>
              </p:nvSpPr>
              <p:spPr bwMode="gray">
                <a:xfrm rot="10800000">
                  <a:off x="902726"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16" name="Triangle_2">
                  <a:extLst>
                    <a:ext uri="{FF2B5EF4-FFF2-40B4-BE49-F238E27FC236}">
                      <a16:creationId xmlns:a16="http://schemas.microsoft.com/office/drawing/2014/main" id="{C52A3004-2C76-E7C7-AB8A-6937710348B4}"/>
                    </a:ext>
                  </a:extLst>
                </p:cNvPr>
                <p:cNvSpPr>
                  <a:spLocks/>
                </p:cNvSpPr>
                <p:nvPr/>
              </p:nvSpPr>
              <p:spPr bwMode="gray">
                <a:xfrm>
                  <a:off x="902726"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17" name="Triangle_3">
                  <a:extLst>
                    <a:ext uri="{FF2B5EF4-FFF2-40B4-BE49-F238E27FC236}">
                      <a16:creationId xmlns:a16="http://schemas.microsoft.com/office/drawing/2014/main" id="{5145B89B-8BB6-F853-E7FB-A61AE1ACF006}"/>
                    </a:ext>
                  </a:extLst>
                </p:cNvPr>
                <p:cNvSpPr>
                  <a:spLocks/>
                </p:cNvSpPr>
                <p:nvPr/>
              </p:nvSpPr>
              <p:spPr bwMode="gray">
                <a:xfrm rot="5400000">
                  <a:off x="819989"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18" name="Triangle_4">
                  <a:extLst>
                    <a:ext uri="{FF2B5EF4-FFF2-40B4-BE49-F238E27FC236}">
                      <a16:creationId xmlns:a16="http://schemas.microsoft.com/office/drawing/2014/main" id="{BEF0DD40-3C6D-44D9-EE97-9835DD95AC02}"/>
                    </a:ext>
                  </a:extLst>
                </p:cNvPr>
                <p:cNvSpPr>
                  <a:spLocks/>
                </p:cNvSpPr>
                <p:nvPr/>
              </p:nvSpPr>
              <p:spPr bwMode="gray">
                <a:xfrm rot="16200000">
                  <a:off x="98546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33" name="Group 732">
                <a:extLst>
                  <a:ext uri="{FF2B5EF4-FFF2-40B4-BE49-F238E27FC236}">
                    <a16:creationId xmlns:a16="http://schemas.microsoft.com/office/drawing/2014/main" id="{2FDFE89A-70D4-0AEB-6F11-21829217E1BE}"/>
                  </a:ext>
                </a:extLst>
              </p:cNvPr>
              <p:cNvGrpSpPr>
                <a:grpSpLocks/>
              </p:cNvGrpSpPr>
              <p:nvPr/>
            </p:nvGrpSpPr>
            <p:grpSpPr bwMode="gray">
              <a:xfrm>
                <a:off x="700982" y="2926283"/>
                <a:ext cx="217142" cy="217142"/>
                <a:chOff x="902726" y="4074624"/>
                <a:chExt cx="330948" cy="330948"/>
              </a:xfrm>
              <a:grpFill/>
            </p:grpSpPr>
            <p:sp>
              <p:nvSpPr>
                <p:cNvPr id="1409" name="dfine_grid_single_shape_frame">
                  <a:extLst>
                    <a:ext uri="{FF2B5EF4-FFF2-40B4-BE49-F238E27FC236}">
                      <a16:creationId xmlns:a16="http://schemas.microsoft.com/office/drawing/2014/main" id="{79F9FF7A-3547-2490-B841-00763BAFFF2D}"/>
                    </a:ext>
                  </a:extLst>
                </p:cNvPr>
                <p:cNvSpPr>
                  <a:spLocks/>
                </p:cNvSpPr>
                <p:nvPr/>
              </p:nvSpPr>
              <p:spPr bwMode="gray">
                <a:xfrm>
                  <a:off x="902726"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10" name="Triangle_1">
                  <a:extLst>
                    <a:ext uri="{FF2B5EF4-FFF2-40B4-BE49-F238E27FC236}">
                      <a16:creationId xmlns:a16="http://schemas.microsoft.com/office/drawing/2014/main" id="{1343DCD4-C348-C476-F252-55747B499EAA}"/>
                    </a:ext>
                  </a:extLst>
                </p:cNvPr>
                <p:cNvSpPr>
                  <a:spLocks/>
                </p:cNvSpPr>
                <p:nvPr/>
              </p:nvSpPr>
              <p:spPr bwMode="gray">
                <a:xfrm rot="10800000">
                  <a:off x="902726"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11" name="Triangle_2">
                  <a:extLst>
                    <a:ext uri="{FF2B5EF4-FFF2-40B4-BE49-F238E27FC236}">
                      <a16:creationId xmlns:a16="http://schemas.microsoft.com/office/drawing/2014/main" id="{E96D38AD-C232-137D-EECC-09C9F7F0D17B}"/>
                    </a:ext>
                  </a:extLst>
                </p:cNvPr>
                <p:cNvSpPr>
                  <a:spLocks/>
                </p:cNvSpPr>
                <p:nvPr/>
              </p:nvSpPr>
              <p:spPr bwMode="gray">
                <a:xfrm>
                  <a:off x="902726"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12" name="Triangle_3">
                  <a:extLst>
                    <a:ext uri="{FF2B5EF4-FFF2-40B4-BE49-F238E27FC236}">
                      <a16:creationId xmlns:a16="http://schemas.microsoft.com/office/drawing/2014/main" id="{1A5AF29B-B400-7320-B71E-6034BD06EA67}"/>
                    </a:ext>
                  </a:extLst>
                </p:cNvPr>
                <p:cNvSpPr>
                  <a:spLocks/>
                </p:cNvSpPr>
                <p:nvPr/>
              </p:nvSpPr>
              <p:spPr bwMode="gray">
                <a:xfrm rot="5400000">
                  <a:off x="819989"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13" name="Triangle_4">
                  <a:extLst>
                    <a:ext uri="{FF2B5EF4-FFF2-40B4-BE49-F238E27FC236}">
                      <a16:creationId xmlns:a16="http://schemas.microsoft.com/office/drawing/2014/main" id="{522351FD-894D-4D5D-EA1C-84DE27FE51AE}"/>
                    </a:ext>
                  </a:extLst>
                </p:cNvPr>
                <p:cNvSpPr>
                  <a:spLocks/>
                </p:cNvSpPr>
                <p:nvPr/>
              </p:nvSpPr>
              <p:spPr bwMode="gray">
                <a:xfrm rot="16200000">
                  <a:off x="98546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34" name="Group 733">
                <a:extLst>
                  <a:ext uri="{FF2B5EF4-FFF2-40B4-BE49-F238E27FC236}">
                    <a16:creationId xmlns:a16="http://schemas.microsoft.com/office/drawing/2014/main" id="{9DD0273E-C9A9-D368-1E70-3867EFB6C087}"/>
                  </a:ext>
                </a:extLst>
              </p:cNvPr>
              <p:cNvGrpSpPr>
                <a:grpSpLocks/>
              </p:cNvGrpSpPr>
              <p:nvPr/>
            </p:nvGrpSpPr>
            <p:grpSpPr bwMode="gray">
              <a:xfrm>
                <a:off x="918123" y="1623437"/>
                <a:ext cx="217142" cy="217142"/>
                <a:chOff x="1233673" y="2088942"/>
                <a:chExt cx="330948" cy="330948"/>
              </a:xfrm>
              <a:grpFill/>
            </p:grpSpPr>
            <p:sp>
              <p:nvSpPr>
                <p:cNvPr id="1404" name="dfine_grid_single_shape_frame">
                  <a:extLst>
                    <a:ext uri="{FF2B5EF4-FFF2-40B4-BE49-F238E27FC236}">
                      <a16:creationId xmlns:a16="http://schemas.microsoft.com/office/drawing/2014/main" id="{546D01D4-82C9-EC49-CFD4-B14E2C5D4C5C}"/>
                    </a:ext>
                  </a:extLst>
                </p:cNvPr>
                <p:cNvSpPr>
                  <a:spLocks/>
                </p:cNvSpPr>
                <p:nvPr/>
              </p:nvSpPr>
              <p:spPr bwMode="gray">
                <a:xfrm>
                  <a:off x="1233673"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05" name="Triangle_1">
                  <a:extLst>
                    <a:ext uri="{FF2B5EF4-FFF2-40B4-BE49-F238E27FC236}">
                      <a16:creationId xmlns:a16="http://schemas.microsoft.com/office/drawing/2014/main" id="{80099F3D-C510-106D-2642-541DBC8C5725}"/>
                    </a:ext>
                  </a:extLst>
                </p:cNvPr>
                <p:cNvSpPr>
                  <a:spLocks/>
                </p:cNvSpPr>
                <p:nvPr/>
              </p:nvSpPr>
              <p:spPr bwMode="gray">
                <a:xfrm rot="10800000">
                  <a:off x="1233673"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06" name="Triangle_2">
                  <a:extLst>
                    <a:ext uri="{FF2B5EF4-FFF2-40B4-BE49-F238E27FC236}">
                      <a16:creationId xmlns:a16="http://schemas.microsoft.com/office/drawing/2014/main" id="{F81EF2A1-856B-ACB6-B820-2F2C9E2D69BF}"/>
                    </a:ext>
                  </a:extLst>
                </p:cNvPr>
                <p:cNvSpPr>
                  <a:spLocks/>
                </p:cNvSpPr>
                <p:nvPr/>
              </p:nvSpPr>
              <p:spPr bwMode="gray">
                <a:xfrm>
                  <a:off x="1233673"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07" name="Triangle_3">
                  <a:extLst>
                    <a:ext uri="{FF2B5EF4-FFF2-40B4-BE49-F238E27FC236}">
                      <a16:creationId xmlns:a16="http://schemas.microsoft.com/office/drawing/2014/main" id="{90691930-E5B0-2FAE-232C-9C8A10EFCE2D}"/>
                    </a:ext>
                  </a:extLst>
                </p:cNvPr>
                <p:cNvSpPr>
                  <a:spLocks/>
                </p:cNvSpPr>
                <p:nvPr/>
              </p:nvSpPr>
              <p:spPr bwMode="gray">
                <a:xfrm rot="5400000">
                  <a:off x="1150936"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08" name="Triangle_4">
                  <a:extLst>
                    <a:ext uri="{FF2B5EF4-FFF2-40B4-BE49-F238E27FC236}">
                      <a16:creationId xmlns:a16="http://schemas.microsoft.com/office/drawing/2014/main" id="{37B4354E-E692-ECAF-E3D7-9079A18C5CDB}"/>
                    </a:ext>
                  </a:extLst>
                </p:cNvPr>
                <p:cNvSpPr>
                  <a:spLocks/>
                </p:cNvSpPr>
                <p:nvPr/>
              </p:nvSpPr>
              <p:spPr bwMode="gray">
                <a:xfrm rot="16200000">
                  <a:off x="1316410"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35" name="Group 734">
                <a:extLst>
                  <a:ext uri="{FF2B5EF4-FFF2-40B4-BE49-F238E27FC236}">
                    <a16:creationId xmlns:a16="http://schemas.microsoft.com/office/drawing/2014/main" id="{FFEFDFDA-DAB9-B8F5-0550-D7978F9F48BF}"/>
                  </a:ext>
                </a:extLst>
              </p:cNvPr>
              <p:cNvGrpSpPr>
                <a:grpSpLocks/>
              </p:cNvGrpSpPr>
              <p:nvPr/>
            </p:nvGrpSpPr>
            <p:grpSpPr bwMode="gray">
              <a:xfrm>
                <a:off x="918123" y="1840578"/>
                <a:ext cx="217142" cy="217142"/>
                <a:chOff x="1233673" y="2419889"/>
                <a:chExt cx="330948" cy="330948"/>
              </a:xfrm>
              <a:grpFill/>
            </p:grpSpPr>
            <p:sp>
              <p:nvSpPr>
                <p:cNvPr id="1399" name="dfine_grid_single_shape_frame">
                  <a:extLst>
                    <a:ext uri="{FF2B5EF4-FFF2-40B4-BE49-F238E27FC236}">
                      <a16:creationId xmlns:a16="http://schemas.microsoft.com/office/drawing/2014/main" id="{EB90786F-031C-A9D3-894F-BE006DEBA0AD}"/>
                    </a:ext>
                  </a:extLst>
                </p:cNvPr>
                <p:cNvSpPr>
                  <a:spLocks/>
                </p:cNvSpPr>
                <p:nvPr/>
              </p:nvSpPr>
              <p:spPr bwMode="gray">
                <a:xfrm>
                  <a:off x="1233673"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00" name="Triangle_1">
                  <a:extLst>
                    <a:ext uri="{FF2B5EF4-FFF2-40B4-BE49-F238E27FC236}">
                      <a16:creationId xmlns:a16="http://schemas.microsoft.com/office/drawing/2014/main" id="{A5A782BC-4121-A7DC-7521-7C4537281A6F}"/>
                    </a:ext>
                  </a:extLst>
                </p:cNvPr>
                <p:cNvSpPr>
                  <a:spLocks/>
                </p:cNvSpPr>
                <p:nvPr/>
              </p:nvSpPr>
              <p:spPr bwMode="gray">
                <a:xfrm rot="10800000">
                  <a:off x="1233673"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01" name="Triangle_2">
                  <a:extLst>
                    <a:ext uri="{FF2B5EF4-FFF2-40B4-BE49-F238E27FC236}">
                      <a16:creationId xmlns:a16="http://schemas.microsoft.com/office/drawing/2014/main" id="{AE1339B9-0522-7BB7-1C20-3FB8814DDBC2}"/>
                    </a:ext>
                  </a:extLst>
                </p:cNvPr>
                <p:cNvSpPr>
                  <a:spLocks/>
                </p:cNvSpPr>
                <p:nvPr/>
              </p:nvSpPr>
              <p:spPr bwMode="gray">
                <a:xfrm>
                  <a:off x="1233673"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02" name="Triangle_3">
                  <a:extLst>
                    <a:ext uri="{FF2B5EF4-FFF2-40B4-BE49-F238E27FC236}">
                      <a16:creationId xmlns:a16="http://schemas.microsoft.com/office/drawing/2014/main" id="{01E2473F-2609-26BE-3F72-E07FC6ADF48D}"/>
                    </a:ext>
                  </a:extLst>
                </p:cNvPr>
                <p:cNvSpPr>
                  <a:spLocks/>
                </p:cNvSpPr>
                <p:nvPr/>
              </p:nvSpPr>
              <p:spPr bwMode="gray">
                <a:xfrm rot="5400000">
                  <a:off x="1150936"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03" name="Triangle_4">
                  <a:extLst>
                    <a:ext uri="{FF2B5EF4-FFF2-40B4-BE49-F238E27FC236}">
                      <a16:creationId xmlns:a16="http://schemas.microsoft.com/office/drawing/2014/main" id="{290F2262-73CE-5D8A-8473-E37DD323E632}"/>
                    </a:ext>
                  </a:extLst>
                </p:cNvPr>
                <p:cNvSpPr>
                  <a:spLocks/>
                </p:cNvSpPr>
                <p:nvPr/>
              </p:nvSpPr>
              <p:spPr bwMode="gray">
                <a:xfrm rot="16200000">
                  <a:off x="1316410"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36" name="Group 735">
                <a:extLst>
                  <a:ext uri="{FF2B5EF4-FFF2-40B4-BE49-F238E27FC236}">
                    <a16:creationId xmlns:a16="http://schemas.microsoft.com/office/drawing/2014/main" id="{1EA2BC78-4B18-0713-328D-90DE8D24A474}"/>
                  </a:ext>
                </a:extLst>
              </p:cNvPr>
              <p:cNvGrpSpPr>
                <a:grpSpLocks/>
              </p:cNvGrpSpPr>
              <p:nvPr/>
            </p:nvGrpSpPr>
            <p:grpSpPr bwMode="gray">
              <a:xfrm>
                <a:off x="918123" y="2057719"/>
                <a:ext cx="217142" cy="217142"/>
                <a:chOff x="1233673" y="2750836"/>
                <a:chExt cx="330948" cy="330948"/>
              </a:xfrm>
              <a:grpFill/>
            </p:grpSpPr>
            <p:sp>
              <p:nvSpPr>
                <p:cNvPr id="1394" name="dfine_grid_single_shape_frame">
                  <a:extLst>
                    <a:ext uri="{FF2B5EF4-FFF2-40B4-BE49-F238E27FC236}">
                      <a16:creationId xmlns:a16="http://schemas.microsoft.com/office/drawing/2014/main" id="{6542D9F2-6612-00DE-38B4-8095E6035890}"/>
                    </a:ext>
                  </a:extLst>
                </p:cNvPr>
                <p:cNvSpPr>
                  <a:spLocks/>
                </p:cNvSpPr>
                <p:nvPr/>
              </p:nvSpPr>
              <p:spPr bwMode="gray">
                <a:xfrm>
                  <a:off x="1233673"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95" name="Triangle_1">
                  <a:extLst>
                    <a:ext uri="{FF2B5EF4-FFF2-40B4-BE49-F238E27FC236}">
                      <a16:creationId xmlns:a16="http://schemas.microsoft.com/office/drawing/2014/main" id="{1F90147D-8726-7A76-9708-EA7AF0911B31}"/>
                    </a:ext>
                  </a:extLst>
                </p:cNvPr>
                <p:cNvSpPr>
                  <a:spLocks/>
                </p:cNvSpPr>
                <p:nvPr/>
              </p:nvSpPr>
              <p:spPr bwMode="gray">
                <a:xfrm rot="10800000">
                  <a:off x="1233673"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96" name="Triangle_2">
                  <a:extLst>
                    <a:ext uri="{FF2B5EF4-FFF2-40B4-BE49-F238E27FC236}">
                      <a16:creationId xmlns:a16="http://schemas.microsoft.com/office/drawing/2014/main" id="{9BB724BD-C5E1-5FFE-5284-61459047CE16}"/>
                    </a:ext>
                  </a:extLst>
                </p:cNvPr>
                <p:cNvSpPr>
                  <a:spLocks/>
                </p:cNvSpPr>
                <p:nvPr/>
              </p:nvSpPr>
              <p:spPr bwMode="gray">
                <a:xfrm>
                  <a:off x="1233673"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97" name="Triangle_3">
                  <a:extLst>
                    <a:ext uri="{FF2B5EF4-FFF2-40B4-BE49-F238E27FC236}">
                      <a16:creationId xmlns:a16="http://schemas.microsoft.com/office/drawing/2014/main" id="{52460321-5B14-3361-9677-28384B4943D2}"/>
                    </a:ext>
                  </a:extLst>
                </p:cNvPr>
                <p:cNvSpPr>
                  <a:spLocks/>
                </p:cNvSpPr>
                <p:nvPr/>
              </p:nvSpPr>
              <p:spPr bwMode="gray">
                <a:xfrm rot="5400000">
                  <a:off x="1150936"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98" name="Triangle_4">
                  <a:extLst>
                    <a:ext uri="{FF2B5EF4-FFF2-40B4-BE49-F238E27FC236}">
                      <a16:creationId xmlns:a16="http://schemas.microsoft.com/office/drawing/2014/main" id="{D2F5C2F7-1ECA-CD96-5507-F0F6D401C9CE}"/>
                    </a:ext>
                  </a:extLst>
                </p:cNvPr>
                <p:cNvSpPr>
                  <a:spLocks/>
                </p:cNvSpPr>
                <p:nvPr/>
              </p:nvSpPr>
              <p:spPr bwMode="gray">
                <a:xfrm rot="16200000">
                  <a:off x="1316410"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37" name="Group 736">
                <a:extLst>
                  <a:ext uri="{FF2B5EF4-FFF2-40B4-BE49-F238E27FC236}">
                    <a16:creationId xmlns:a16="http://schemas.microsoft.com/office/drawing/2014/main" id="{3FF8FB10-AA66-1039-8E76-6232F34C889B}"/>
                  </a:ext>
                </a:extLst>
              </p:cNvPr>
              <p:cNvGrpSpPr>
                <a:grpSpLocks/>
              </p:cNvGrpSpPr>
              <p:nvPr/>
            </p:nvGrpSpPr>
            <p:grpSpPr bwMode="gray">
              <a:xfrm>
                <a:off x="918123" y="2274860"/>
                <a:ext cx="217142" cy="217142"/>
                <a:chOff x="1233673" y="3081783"/>
                <a:chExt cx="330948" cy="330948"/>
              </a:xfrm>
              <a:grpFill/>
            </p:grpSpPr>
            <p:sp>
              <p:nvSpPr>
                <p:cNvPr id="1389" name="dfine_grid_single_shape_frame">
                  <a:extLst>
                    <a:ext uri="{FF2B5EF4-FFF2-40B4-BE49-F238E27FC236}">
                      <a16:creationId xmlns:a16="http://schemas.microsoft.com/office/drawing/2014/main" id="{26CEC7C2-A2D0-3AC5-CB6B-7604DDFE7DF5}"/>
                    </a:ext>
                  </a:extLst>
                </p:cNvPr>
                <p:cNvSpPr>
                  <a:spLocks/>
                </p:cNvSpPr>
                <p:nvPr/>
              </p:nvSpPr>
              <p:spPr bwMode="gray">
                <a:xfrm>
                  <a:off x="1233673"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90" name="Triangle_1">
                  <a:extLst>
                    <a:ext uri="{FF2B5EF4-FFF2-40B4-BE49-F238E27FC236}">
                      <a16:creationId xmlns:a16="http://schemas.microsoft.com/office/drawing/2014/main" id="{423B23B3-AD36-40AF-431F-BBE2EFEC6264}"/>
                    </a:ext>
                  </a:extLst>
                </p:cNvPr>
                <p:cNvSpPr>
                  <a:spLocks/>
                </p:cNvSpPr>
                <p:nvPr/>
              </p:nvSpPr>
              <p:spPr bwMode="gray">
                <a:xfrm rot="10800000">
                  <a:off x="1233673"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91" name="Triangle_2">
                  <a:extLst>
                    <a:ext uri="{FF2B5EF4-FFF2-40B4-BE49-F238E27FC236}">
                      <a16:creationId xmlns:a16="http://schemas.microsoft.com/office/drawing/2014/main" id="{630E964E-05AC-9F21-B446-063D86BEA25C}"/>
                    </a:ext>
                  </a:extLst>
                </p:cNvPr>
                <p:cNvSpPr>
                  <a:spLocks/>
                </p:cNvSpPr>
                <p:nvPr/>
              </p:nvSpPr>
              <p:spPr bwMode="gray">
                <a:xfrm>
                  <a:off x="1233673"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92" name="Triangle_3">
                  <a:extLst>
                    <a:ext uri="{FF2B5EF4-FFF2-40B4-BE49-F238E27FC236}">
                      <a16:creationId xmlns:a16="http://schemas.microsoft.com/office/drawing/2014/main" id="{50F7395A-35D4-9A47-2D7B-94C525535D45}"/>
                    </a:ext>
                  </a:extLst>
                </p:cNvPr>
                <p:cNvSpPr>
                  <a:spLocks/>
                </p:cNvSpPr>
                <p:nvPr/>
              </p:nvSpPr>
              <p:spPr bwMode="gray">
                <a:xfrm rot="5400000">
                  <a:off x="1150936"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93" name="Triangle_4">
                  <a:extLst>
                    <a:ext uri="{FF2B5EF4-FFF2-40B4-BE49-F238E27FC236}">
                      <a16:creationId xmlns:a16="http://schemas.microsoft.com/office/drawing/2014/main" id="{4C2D60C3-3257-89A8-708C-55B5AFA1B482}"/>
                    </a:ext>
                  </a:extLst>
                </p:cNvPr>
                <p:cNvSpPr>
                  <a:spLocks/>
                </p:cNvSpPr>
                <p:nvPr/>
              </p:nvSpPr>
              <p:spPr bwMode="gray">
                <a:xfrm rot="16200000">
                  <a:off x="1316410"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38" name="Group 737">
                <a:extLst>
                  <a:ext uri="{FF2B5EF4-FFF2-40B4-BE49-F238E27FC236}">
                    <a16:creationId xmlns:a16="http://schemas.microsoft.com/office/drawing/2014/main" id="{F6F2C399-0466-E57B-7D8C-8A7BE127D923}"/>
                  </a:ext>
                </a:extLst>
              </p:cNvPr>
              <p:cNvGrpSpPr>
                <a:grpSpLocks/>
              </p:cNvGrpSpPr>
              <p:nvPr/>
            </p:nvGrpSpPr>
            <p:grpSpPr bwMode="gray">
              <a:xfrm>
                <a:off x="918123" y="2492001"/>
                <a:ext cx="217142" cy="217142"/>
                <a:chOff x="1233673" y="3412730"/>
                <a:chExt cx="330948" cy="330948"/>
              </a:xfrm>
              <a:grpFill/>
            </p:grpSpPr>
            <p:sp>
              <p:nvSpPr>
                <p:cNvPr id="1384" name="dfine_grid_single_shape_frame">
                  <a:extLst>
                    <a:ext uri="{FF2B5EF4-FFF2-40B4-BE49-F238E27FC236}">
                      <a16:creationId xmlns:a16="http://schemas.microsoft.com/office/drawing/2014/main" id="{52C560D1-2635-D3FC-E7A0-D29EC6B62856}"/>
                    </a:ext>
                  </a:extLst>
                </p:cNvPr>
                <p:cNvSpPr>
                  <a:spLocks/>
                </p:cNvSpPr>
                <p:nvPr/>
              </p:nvSpPr>
              <p:spPr bwMode="gray">
                <a:xfrm>
                  <a:off x="1233673"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85" name="Triangle_1">
                  <a:extLst>
                    <a:ext uri="{FF2B5EF4-FFF2-40B4-BE49-F238E27FC236}">
                      <a16:creationId xmlns:a16="http://schemas.microsoft.com/office/drawing/2014/main" id="{9B2051F6-8E7A-4196-FE4E-05170F0650D3}"/>
                    </a:ext>
                  </a:extLst>
                </p:cNvPr>
                <p:cNvSpPr>
                  <a:spLocks/>
                </p:cNvSpPr>
                <p:nvPr/>
              </p:nvSpPr>
              <p:spPr bwMode="gray">
                <a:xfrm rot="10800000">
                  <a:off x="1233673"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86" name="Triangle_2">
                  <a:extLst>
                    <a:ext uri="{FF2B5EF4-FFF2-40B4-BE49-F238E27FC236}">
                      <a16:creationId xmlns:a16="http://schemas.microsoft.com/office/drawing/2014/main" id="{75D61D19-AB90-B350-E51E-9DD89A7B86C0}"/>
                    </a:ext>
                  </a:extLst>
                </p:cNvPr>
                <p:cNvSpPr>
                  <a:spLocks/>
                </p:cNvSpPr>
                <p:nvPr/>
              </p:nvSpPr>
              <p:spPr bwMode="gray">
                <a:xfrm>
                  <a:off x="1233673"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87" name="Triangle_3">
                  <a:extLst>
                    <a:ext uri="{FF2B5EF4-FFF2-40B4-BE49-F238E27FC236}">
                      <a16:creationId xmlns:a16="http://schemas.microsoft.com/office/drawing/2014/main" id="{BA10DFDE-5284-C06A-17DB-38D88DEFDC30}"/>
                    </a:ext>
                  </a:extLst>
                </p:cNvPr>
                <p:cNvSpPr>
                  <a:spLocks/>
                </p:cNvSpPr>
                <p:nvPr/>
              </p:nvSpPr>
              <p:spPr bwMode="gray">
                <a:xfrm rot="5400000">
                  <a:off x="1150936"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88" name="Triangle_4">
                  <a:extLst>
                    <a:ext uri="{FF2B5EF4-FFF2-40B4-BE49-F238E27FC236}">
                      <a16:creationId xmlns:a16="http://schemas.microsoft.com/office/drawing/2014/main" id="{3924B10F-0CB0-BB7E-3F2B-EF808A30F1B5}"/>
                    </a:ext>
                  </a:extLst>
                </p:cNvPr>
                <p:cNvSpPr>
                  <a:spLocks/>
                </p:cNvSpPr>
                <p:nvPr/>
              </p:nvSpPr>
              <p:spPr bwMode="gray">
                <a:xfrm rot="16200000">
                  <a:off x="1316410" y="3495467"/>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39" name="Group 738">
                <a:extLst>
                  <a:ext uri="{FF2B5EF4-FFF2-40B4-BE49-F238E27FC236}">
                    <a16:creationId xmlns:a16="http://schemas.microsoft.com/office/drawing/2014/main" id="{592F779D-06B7-AA03-00C3-E5B6E4D6004B}"/>
                  </a:ext>
                </a:extLst>
              </p:cNvPr>
              <p:cNvGrpSpPr>
                <a:grpSpLocks/>
              </p:cNvGrpSpPr>
              <p:nvPr/>
            </p:nvGrpSpPr>
            <p:grpSpPr bwMode="gray">
              <a:xfrm>
                <a:off x="918123" y="2709142"/>
                <a:ext cx="217142" cy="217142"/>
                <a:chOff x="1233673" y="3743677"/>
                <a:chExt cx="330948" cy="330948"/>
              </a:xfrm>
              <a:grpFill/>
            </p:grpSpPr>
            <p:sp>
              <p:nvSpPr>
                <p:cNvPr id="1379" name="dfine_grid_single_shape_frame">
                  <a:extLst>
                    <a:ext uri="{FF2B5EF4-FFF2-40B4-BE49-F238E27FC236}">
                      <a16:creationId xmlns:a16="http://schemas.microsoft.com/office/drawing/2014/main" id="{C32CEAE0-2429-AA90-8EDF-FA3081E849C2}"/>
                    </a:ext>
                  </a:extLst>
                </p:cNvPr>
                <p:cNvSpPr>
                  <a:spLocks/>
                </p:cNvSpPr>
                <p:nvPr/>
              </p:nvSpPr>
              <p:spPr bwMode="gray">
                <a:xfrm>
                  <a:off x="1233673"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80" name="Triangle_1">
                  <a:extLst>
                    <a:ext uri="{FF2B5EF4-FFF2-40B4-BE49-F238E27FC236}">
                      <a16:creationId xmlns:a16="http://schemas.microsoft.com/office/drawing/2014/main" id="{122580B2-C09B-28EB-CBAD-83F52BF4A3B1}"/>
                    </a:ext>
                  </a:extLst>
                </p:cNvPr>
                <p:cNvSpPr>
                  <a:spLocks/>
                </p:cNvSpPr>
                <p:nvPr/>
              </p:nvSpPr>
              <p:spPr bwMode="gray">
                <a:xfrm rot="10800000">
                  <a:off x="1233673"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81" name="Triangle_2">
                  <a:extLst>
                    <a:ext uri="{FF2B5EF4-FFF2-40B4-BE49-F238E27FC236}">
                      <a16:creationId xmlns:a16="http://schemas.microsoft.com/office/drawing/2014/main" id="{0F077E31-ED17-E6E9-A20B-6D26CE54A154}"/>
                    </a:ext>
                  </a:extLst>
                </p:cNvPr>
                <p:cNvSpPr>
                  <a:spLocks/>
                </p:cNvSpPr>
                <p:nvPr/>
              </p:nvSpPr>
              <p:spPr bwMode="gray">
                <a:xfrm>
                  <a:off x="1233673"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82" name="Triangle_3">
                  <a:extLst>
                    <a:ext uri="{FF2B5EF4-FFF2-40B4-BE49-F238E27FC236}">
                      <a16:creationId xmlns:a16="http://schemas.microsoft.com/office/drawing/2014/main" id="{E254664A-130F-DC44-C2C5-B59B47FBA98B}"/>
                    </a:ext>
                  </a:extLst>
                </p:cNvPr>
                <p:cNvSpPr>
                  <a:spLocks/>
                </p:cNvSpPr>
                <p:nvPr/>
              </p:nvSpPr>
              <p:spPr bwMode="gray">
                <a:xfrm rot="5400000">
                  <a:off x="1150936"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83" name="Triangle_4">
                  <a:extLst>
                    <a:ext uri="{FF2B5EF4-FFF2-40B4-BE49-F238E27FC236}">
                      <a16:creationId xmlns:a16="http://schemas.microsoft.com/office/drawing/2014/main" id="{907FA70F-BA64-520B-D1FF-F7A33843C155}"/>
                    </a:ext>
                  </a:extLst>
                </p:cNvPr>
                <p:cNvSpPr>
                  <a:spLocks/>
                </p:cNvSpPr>
                <p:nvPr/>
              </p:nvSpPr>
              <p:spPr bwMode="gray">
                <a:xfrm rot="16200000">
                  <a:off x="1316410"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40" name="Group 739">
                <a:extLst>
                  <a:ext uri="{FF2B5EF4-FFF2-40B4-BE49-F238E27FC236}">
                    <a16:creationId xmlns:a16="http://schemas.microsoft.com/office/drawing/2014/main" id="{99D8E4DD-59B4-B9B9-2893-0E5E8C71E914}"/>
                  </a:ext>
                </a:extLst>
              </p:cNvPr>
              <p:cNvGrpSpPr>
                <a:grpSpLocks/>
              </p:cNvGrpSpPr>
              <p:nvPr/>
            </p:nvGrpSpPr>
            <p:grpSpPr bwMode="gray">
              <a:xfrm>
                <a:off x="918123" y="2926283"/>
                <a:ext cx="217142" cy="217142"/>
                <a:chOff x="1233673" y="4074624"/>
                <a:chExt cx="330948" cy="330948"/>
              </a:xfrm>
              <a:grpFill/>
            </p:grpSpPr>
            <p:sp>
              <p:nvSpPr>
                <p:cNvPr id="1374" name="dfine_grid_single_shape_frame">
                  <a:extLst>
                    <a:ext uri="{FF2B5EF4-FFF2-40B4-BE49-F238E27FC236}">
                      <a16:creationId xmlns:a16="http://schemas.microsoft.com/office/drawing/2014/main" id="{B9F89F5F-A5AA-C744-3739-8D5371A2AB55}"/>
                    </a:ext>
                  </a:extLst>
                </p:cNvPr>
                <p:cNvSpPr>
                  <a:spLocks/>
                </p:cNvSpPr>
                <p:nvPr/>
              </p:nvSpPr>
              <p:spPr bwMode="gray">
                <a:xfrm>
                  <a:off x="1233673"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75" name="Triangle_1">
                  <a:extLst>
                    <a:ext uri="{FF2B5EF4-FFF2-40B4-BE49-F238E27FC236}">
                      <a16:creationId xmlns:a16="http://schemas.microsoft.com/office/drawing/2014/main" id="{3FADB040-1DD1-2FA0-2F68-5B77BEC215C1}"/>
                    </a:ext>
                  </a:extLst>
                </p:cNvPr>
                <p:cNvSpPr>
                  <a:spLocks/>
                </p:cNvSpPr>
                <p:nvPr/>
              </p:nvSpPr>
              <p:spPr bwMode="gray">
                <a:xfrm rot="10800000">
                  <a:off x="1233673"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76" name="Triangle_2">
                  <a:extLst>
                    <a:ext uri="{FF2B5EF4-FFF2-40B4-BE49-F238E27FC236}">
                      <a16:creationId xmlns:a16="http://schemas.microsoft.com/office/drawing/2014/main" id="{C851BAFC-C74D-834C-F69C-CC986E7BADBE}"/>
                    </a:ext>
                  </a:extLst>
                </p:cNvPr>
                <p:cNvSpPr>
                  <a:spLocks/>
                </p:cNvSpPr>
                <p:nvPr/>
              </p:nvSpPr>
              <p:spPr bwMode="gray">
                <a:xfrm>
                  <a:off x="1233673"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77" name="Triangle_3">
                  <a:extLst>
                    <a:ext uri="{FF2B5EF4-FFF2-40B4-BE49-F238E27FC236}">
                      <a16:creationId xmlns:a16="http://schemas.microsoft.com/office/drawing/2014/main" id="{ACF4934B-2196-F36B-AD4B-9DE53AC93B01}"/>
                    </a:ext>
                  </a:extLst>
                </p:cNvPr>
                <p:cNvSpPr>
                  <a:spLocks/>
                </p:cNvSpPr>
                <p:nvPr/>
              </p:nvSpPr>
              <p:spPr bwMode="gray">
                <a:xfrm rot="5400000">
                  <a:off x="1150936"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78" name="Triangle_4">
                  <a:extLst>
                    <a:ext uri="{FF2B5EF4-FFF2-40B4-BE49-F238E27FC236}">
                      <a16:creationId xmlns:a16="http://schemas.microsoft.com/office/drawing/2014/main" id="{6E6C935B-2CB4-F841-05CB-52C1FDB745F4}"/>
                    </a:ext>
                  </a:extLst>
                </p:cNvPr>
                <p:cNvSpPr>
                  <a:spLocks/>
                </p:cNvSpPr>
                <p:nvPr/>
              </p:nvSpPr>
              <p:spPr bwMode="gray">
                <a:xfrm rot="16200000">
                  <a:off x="1316410"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41" name="Group 740">
                <a:extLst>
                  <a:ext uri="{FF2B5EF4-FFF2-40B4-BE49-F238E27FC236}">
                    <a16:creationId xmlns:a16="http://schemas.microsoft.com/office/drawing/2014/main" id="{7DFC8A0E-4974-A417-A00F-4AB77ED4F69E}"/>
                  </a:ext>
                </a:extLst>
              </p:cNvPr>
              <p:cNvGrpSpPr>
                <a:grpSpLocks/>
              </p:cNvGrpSpPr>
              <p:nvPr/>
            </p:nvGrpSpPr>
            <p:grpSpPr bwMode="gray">
              <a:xfrm>
                <a:off x="700982" y="2492001"/>
                <a:ext cx="217142" cy="217142"/>
                <a:chOff x="902726" y="3412730"/>
                <a:chExt cx="330948" cy="330948"/>
              </a:xfrm>
              <a:grpFill/>
            </p:grpSpPr>
            <p:sp>
              <p:nvSpPr>
                <p:cNvPr id="1369" name="dfine_grid_single_shape_frame">
                  <a:extLst>
                    <a:ext uri="{FF2B5EF4-FFF2-40B4-BE49-F238E27FC236}">
                      <a16:creationId xmlns:a16="http://schemas.microsoft.com/office/drawing/2014/main" id="{2D83AC0D-D18D-EAE0-70DC-80EAFC5E4E7C}"/>
                    </a:ext>
                  </a:extLst>
                </p:cNvPr>
                <p:cNvSpPr>
                  <a:spLocks/>
                </p:cNvSpPr>
                <p:nvPr/>
              </p:nvSpPr>
              <p:spPr bwMode="gray">
                <a:xfrm>
                  <a:off x="902726"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70" name="Triangle_1">
                  <a:extLst>
                    <a:ext uri="{FF2B5EF4-FFF2-40B4-BE49-F238E27FC236}">
                      <a16:creationId xmlns:a16="http://schemas.microsoft.com/office/drawing/2014/main" id="{78684ADF-5029-BFD4-133A-935F1E10283F}"/>
                    </a:ext>
                  </a:extLst>
                </p:cNvPr>
                <p:cNvSpPr>
                  <a:spLocks/>
                </p:cNvSpPr>
                <p:nvPr/>
              </p:nvSpPr>
              <p:spPr bwMode="gray">
                <a:xfrm rot="10800000">
                  <a:off x="902726"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71" name="Triangle_2">
                  <a:extLst>
                    <a:ext uri="{FF2B5EF4-FFF2-40B4-BE49-F238E27FC236}">
                      <a16:creationId xmlns:a16="http://schemas.microsoft.com/office/drawing/2014/main" id="{D5E82F8D-30A3-A1D8-DF47-4358F1F8793E}"/>
                    </a:ext>
                  </a:extLst>
                </p:cNvPr>
                <p:cNvSpPr>
                  <a:spLocks/>
                </p:cNvSpPr>
                <p:nvPr/>
              </p:nvSpPr>
              <p:spPr bwMode="gray">
                <a:xfrm>
                  <a:off x="902726"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72" name="Triangle_3">
                  <a:extLst>
                    <a:ext uri="{FF2B5EF4-FFF2-40B4-BE49-F238E27FC236}">
                      <a16:creationId xmlns:a16="http://schemas.microsoft.com/office/drawing/2014/main" id="{53117018-77C1-AB18-FE75-E333A6BD5133}"/>
                    </a:ext>
                  </a:extLst>
                </p:cNvPr>
                <p:cNvSpPr>
                  <a:spLocks/>
                </p:cNvSpPr>
                <p:nvPr/>
              </p:nvSpPr>
              <p:spPr bwMode="gray">
                <a:xfrm rot="5400000">
                  <a:off x="819989"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73" name="Triangle_4">
                  <a:extLst>
                    <a:ext uri="{FF2B5EF4-FFF2-40B4-BE49-F238E27FC236}">
                      <a16:creationId xmlns:a16="http://schemas.microsoft.com/office/drawing/2014/main" id="{D9A42926-C05F-9D8E-A64F-1F30C312539D}"/>
                    </a:ext>
                  </a:extLst>
                </p:cNvPr>
                <p:cNvSpPr>
                  <a:spLocks/>
                </p:cNvSpPr>
                <p:nvPr/>
              </p:nvSpPr>
              <p:spPr bwMode="gray">
                <a:xfrm rot="16200000">
                  <a:off x="98546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42" name="Group 741">
                <a:extLst>
                  <a:ext uri="{FF2B5EF4-FFF2-40B4-BE49-F238E27FC236}">
                    <a16:creationId xmlns:a16="http://schemas.microsoft.com/office/drawing/2014/main" id="{218D8982-036E-0043-3C98-72ECE20424B8}"/>
                  </a:ext>
                </a:extLst>
              </p:cNvPr>
              <p:cNvGrpSpPr>
                <a:grpSpLocks/>
              </p:cNvGrpSpPr>
              <p:nvPr/>
            </p:nvGrpSpPr>
            <p:grpSpPr bwMode="gray">
              <a:xfrm>
                <a:off x="266700" y="1623437"/>
                <a:ext cx="217142" cy="217142"/>
                <a:chOff x="240832" y="2088942"/>
                <a:chExt cx="330948" cy="330948"/>
              </a:xfrm>
              <a:grpFill/>
            </p:grpSpPr>
            <p:sp>
              <p:nvSpPr>
                <p:cNvPr id="1364" name="dfine_grid_single_shape_frame">
                  <a:extLst>
                    <a:ext uri="{FF2B5EF4-FFF2-40B4-BE49-F238E27FC236}">
                      <a16:creationId xmlns:a16="http://schemas.microsoft.com/office/drawing/2014/main" id="{75313A55-CFA2-8552-76DD-FB09AA0FAD3E}"/>
                    </a:ext>
                  </a:extLst>
                </p:cNvPr>
                <p:cNvSpPr>
                  <a:spLocks/>
                </p:cNvSpPr>
                <p:nvPr>
                  <p:custDataLst>
                    <p:tags r:id="rId82"/>
                  </p:custDataLst>
                </p:nvPr>
              </p:nvSpPr>
              <p:spPr bwMode="gray">
                <a:xfrm>
                  <a:off x="240832"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65" name="Triangle_1">
                  <a:extLst>
                    <a:ext uri="{FF2B5EF4-FFF2-40B4-BE49-F238E27FC236}">
                      <a16:creationId xmlns:a16="http://schemas.microsoft.com/office/drawing/2014/main" id="{114782F0-BA04-1678-8709-D2A10B20FBD9}"/>
                    </a:ext>
                  </a:extLst>
                </p:cNvPr>
                <p:cNvSpPr>
                  <a:spLocks/>
                </p:cNvSpPr>
                <p:nvPr/>
              </p:nvSpPr>
              <p:spPr bwMode="gray">
                <a:xfrm rot="10800000">
                  <a:off x="240832"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66" name="Triangle_2">
                  <a:extLst>
                    <a:ext uri="{FF2B5EF4-FFF2-40B4-BE49-F238E27FC236}">
                      <a16:creationId xmlns:a16="http://schemas.microsoft.com/office/drawing/2014/main" id="{4A19912D-DD8D-DB20-08A5-27B31BFBC0C6}"/>
                    </a:ext>
                  </a:extLst>
                </p:cNvPr>
                <p:cNvSpPr>
                  <a:spLocks/>
                </p:cNvSpPr>
                <p:nvPr/>
              </p:nvSpPr>
              <p:spPr bwMode="gray">
                <a:xfrm>
                  <a:off x="240832"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67" name="Triangle_3">
                  <a:extLst>
                    <a:ext uri="{FF2B5EF4-FFF2-40B4-BE49-F238E27FC236}">
                      <a16:creationId xmlns:a16="http://schemas.microsoft.com/office/drawing/2014/main" id="{8D268022-E8E2-74D1-1732-58DF6D8D6AC3}"/>
                    </a:ext>
                  </a:extLst>
                </p:cNvPr>
                <p:cNvSpPr>
                  <a:spLocks/>
                </p:cNvSpPr>
                <p:nvPr/>
              </p:nvSpPr>
              <p:spPr bwMode="gray">
                <a:xfrm rot="5400000">
                  <a:off x="158095"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68" name="Triangle_4">
                  <a:extLst>
                    <a:ext uri="{FF2B5EF4-FFF2-40B4-BE49-F238E27FC236}">
                      <a16:creationId xmlns:a16="http://schemas.microsoft.com/office/drawing/2014/main" id="{39656743-6655-13D9-1471-4236C9728216}"/>
                    </a:ext>
                  </a:extLst>
                </p:cNvPr>
                <p:cNvSpPr>
                  <a:spLocks/>
                </p:cNvSpPr>
                <p:nvPr/>
              </p:nvSpPr>
              <p:spPr bwMode="gray">
                <a:xfrm rot="16200000">
                  <a:off x="323569"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43" name="Group 742">
                <a:extLst>
                  <a:ext uri="{FF2B5EF4-FFF2-40B4-BE49-F238E27FC236}">
                    <a16:creationId xmlns:a16="http://schemas.microsoft.com/office/drawing/2014/main" id="{222072AC-31B5-3519-5922-7F5324742F25}"/>
                  </a:ext>
                </a:extLst>
              </p:cNvPr>
              <p:cNvGrpSpPr>
                <a:grpSpLocks/>
              </p:cNvGrpSpPr>
              <p:nvPr/>
            </p:nvGrpSpPr>
            <p:grpSpPr bwMode="gray">
              <a:xfrm>
                <a:off x="266700" y="1840578"/>
                <a:ext cx="217142" cy="217142"/>
                <a:chOff x="240832" y="2419889"/>
                <a:chExt cx="330948" cy="330948"/>
              </a:xfrm>
              <a:grpFill/>
            </p:grpSpPr>
            <p:sp>
              <p:nvSpPr>
                <p:cNvPr id="1359" name="dfine_grid_single_shape_frame">
                  <a:extLst>
                    <a:ext uri="{FF2B5EF4-FFF2-40B4-BE49-F238E27FC236}">
                      <a16:creationId xmlns:a16="http://schemas.microsoft.com/office/drawing/2014/main" id="{D280F5F3-4B8E-69C3-BF05-5920362C4671}"/>
                    </a:ext>
                  </a:extLst>
                </p:cNvPr>
                <p:cNvSpPr>
                  <a:spLocks/>
                </p:cNvSpPr>
                <p:nvPr>
                  <p:custDataLst>
                    <p:tags r:id="rId81"/>
                  </p:custDataLst>
                </p:nvPr>
              </p:nvSpPr>
              <p:spPr bwMode="gray">
                <a:xfrm>
                  <a:off x="240832"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60" name="Triangle_1">
                  <a:extLst>
                    <a:ext uri="{FF2B5EF4-FFF2-40B4-BE49-F238E27FC236}">
                      <a16:creationId xmlns:a16="http://schemas.microsoft.com/office/drawing/2014/main" id="{CAB5E70A-460A-3BA2-BF0D-3D41B715A6B8}"/>
                    </a:ext>
                  </a:extLst>
                </p:cNvPr>
                <p:cNvSpPr>
                  <a:spLocks/>
                </p:cNvSpPr>
                <p:nvPr/>
              </p:nvSpPr>
              <p:spPr bwMode="gray">
                <a:xfrm rot="10800000">
                  <a:off x="240832"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61" name="Triangle_2">
                  <a:extLst>
                    <a:ext uri="{FF2B5EF4-FFF2-40B4-BE49-F238E27FC236}">
                      <a16:creationId xmlns:a16="http://schemas.microsoft.com/office/drawing/2014/main" id="{53CD07F5-53DE-76C6-93D8-AC5F9FEFE494}"/>
                    </a:ext>
                  </a:extLst>
                </p:cNvPr>
                <p:cNvSpPr>
                  <a:spLocks/>
                </p:cNvSpPr>
                <p:nvPr/>
              </p:nvSpPr>
              <p:spPr bwMode="gray">
                <a:xfrm>
                  <a:off x="240832"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62" name="Triangle_3">
                  <a:extLst>
                    <a:ext uri="{FF2B5EF4-FFF2-40B4-BE49-F238E27FC236}">
                      <a16:creationId xmlns:a16="http://schemas.microsoft.com/office/drawing/2014/main" id="{7E74666A-BCB3-E01D-119E-F1712A9F1D1D}"/>
                    </a:ext>
                  </a:extLst>
                </p:cNvPr>
                <p:cNvSpPr>
                  <a:spLocks/>
                </p:cNvSpPr>
                <p:nvPr/>
              </p:nvSpPr>
              <p:spPr bwMode="gray">
                <a:xfrm rot="5400000">
                  <a:off x="158095"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63" name="Triangle_4">
                  <a:extLst>
                    <a:ext uri="{FF2B5EF4-FFF2-40B4-BE49-F238E27FC236}">
                      <a16:creationId xmlns:a16="http://schemas.microsoft.com/office/drawing/2014/main" id="{C6E85521-292D-B90B-D4E7-111A8948D4FD}"/>
                    </a:ext>
                  </a:extLst>
                </p:cNvPr>
                <p:cNvSpPr>
                  <a:spLocks/>
                </p:cNvSpPr>
                <p:nvPr/>
              </p:nvSpPr>
              <p:spPr bwMode="gray">
                <a:xfrm rot="16200000">
                  <a:off x="323569"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44" name="Group 743">
                <a:extLst>
                  <a:ext uri="{FF2B5EF4-FFF2-40B4-BE49-F238E27FC236}">
                    <a16:creationId xmlns:a16="http://schemas.microsoft.com/office/drawing/2014/main" id="{A4BC29A4-6F3F-59AC-B4C3-6F0109E21BE0}"/>
                  </a:ext>
                </a:extLst>
              </p:cNvPr>
              <p:cNvGrpSpPr>
                <a:grpSpLocks/>
              </p:cNvGrpSpPr>
              <p:nvPr/>
            </p:nvGrpSpPr>
            <p:grpSpPr bwMode="gray">
              <a:xfrm>
                <a:off x="266700" y="2057719"/>
                <a:ext cx="217142" cy="217142"/>
                <a:chOff x="240832" y="2750836"/>
                <a:chExt cx="330948" cy="330948"/>
              </a:xfrm>
              <a:grpFill/>
            </p:grpSpPr>
            <p:sp>
              <p:nvSpPr>
                <p:cNvPr id="1354" name="dfine_grid_single_shape_frame">
                  <a:extLst>
                    <a:ext uri="{FF2B5EF4-FFF2-40B4-BE49-F238E27FC236}">
                      <a16:creationId xmlns:a16="http://schemas.microsoft.com/office/drawing/2014/main" id="{81A0ED01-8CA8-FD7D-D30C-9DB28EF453CB}"/>
                    </a:ext>
                  </a:extLst>
                </p:cNvPr>
                <p:cNvSpPr>
                  <a:spLocks/>
                </p:cNvSpPr>
                <p:nvPr>
                  <p:custDataLst>
                    <p:tags r:id="rId80"/>
                  </p:custDataLst>
                </p:nvPr>
              </p:nvSpPr>
              <p:spPr bwMode="gray">
                <a:xfrm>
                  <a:off x="240832"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55" name="Triangle_1">
                  <a:extLst>
                    <a:ext uri="{FF2B5EF4-FFF2-40B4-BE49-F238E27FC236}">
                      <a16:creationId xmlns:a16="http://schemas.microsoft.com/office/drawing/2014/main" id="{C50BEAB4-2560-0455-E5C9-9CECBF0CC370}"/>
                    </a:ext>
                  </a:extLst>
                </p:cNvPr>
                <p:cNvSpPr>
                  <a:spLocks/>
                </p:cNvSpPr>
                <p:nvPr/>
              </p:nvSpPr>
              <p:spPr bwMode="gray">
                <a:xfrm rot="10800000">
                  <a:off x="240832"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56" name="Triangle_2">
                  <a:extLst>
                    <a:ext uri="{FF2B5EF4-FFF2-40B4-BE49-F238E27FC236}">
                      <a16:creationId xmlns:a16="http://schemas.microsoft.com/office/drawing/2014/main" id="{C3EB6BF0-F2B4-7FE5-F312-A5A57F2BE717}"/>
                    </a:ext>
                  </a:extLst>
                </p:cNvPr>
                <p:cNvSpPr>
                  <a:spLocks/>
                </p:cNvSpPr>
                <p:nvPr/>
              </p:nvSpPr>
              <p:spPr bwMode="gray">
                <a:xfrm>
                  <a:off x="240832"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57" name="Triangle_3">
                  <a:extLst>
                    <a:ext uri="{FF2B5EF4-FFF2-40B4-BE49-F238E27FC236}">
                      <a16:creationId xmlns:a16="http://schemas.microsoft.com/office/drawing/2014/main" id="{2C4142D6-9247-46FB-436D-46C2CD1C60C3}"/>
                    </a:ext>
                  </a:extLst>
                </p:cNvPr>
                <p:cNvSpPr>
                  <a:spLocks/>
                </p:cNvSpPr>
                <p:nvPr/>
              </p:nvSpPr>
              <p:spPr bwMode="gray">
                <a:xfrm rot="5400000">
                  <a:off x="158095"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58" name="Triangle_4">
                  <a:extLst>
                    <a:ext uri="{FF2B5EF4-FFF2-40B4-BE49-F238E27FC236}">
                      <a16:creationId xmlns:a16="http://schemas.microsoft.com/office/drawing/2014/main" id="{69FD1044-0345-35A0-A0C9-61170E26E647}"/>
                    </a:ext>
                  </a:extLst>
                </p:cNvPr>
                <p:cNvSpPr>
                  <a:spLocks/>
                </p:cNvSpPr>
                <p:nvPr/>
              </p:nvSpPr>
              <p:spPr bwMode="gray">
                <a:xfrm rot="16200000">
                  <a:off x="323569"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45" name="Group 744">
                <a:extLst>
                  <a:ext uri="{FF2B5EF4-FFF2-40B4-BE49-F238E27FC236}">
                    <a16:creationId xmlns:a16="http://schemas.microsoft.com/office/drawing/2014/main" id="{D5F1C6AA-4C39-1AD7-AD4D-3C349A31C57E}"/>
                  </a:ext>
                </a:extLst>
              </p:cNvPr>
              <p:cNvGrpSpPr>
                <a:grpSpLocks/>
              </p:cNvGrpSpPr>
              <p:nvPr/>
            </p:nvGrpSpPr>
            <p:grpSpPr bwMode="gray">
              <a:xfrm>
                <a:off x="266700" y="2274860"/>
                <a:ext cx="217142" cy="217142"/>
                <a:chOff x="240832" y="3081783"/>
                <a:chExt cx="330948" cy="330948"/>
              </a:xfrm>
              <a:grpFill/>
            </p:grpSpPr>
            <p:sp>
              <p:nvSpPr>
                <p:cNvPr id="1349" name="dfine_grid_single_shape_frame">
                  <a:extLst>
                    <a:ext uri="{FF2B5EF4-FFF2-40B4-BE49-F238E27FC236}">
                      <a16:creationId xmlns:a16="http://schemas.microsoft.com/office/drawing/2014/main" id="{14DE3221-4B1B-DA65-AB01-440D7FCB7884}"/>
                    </a:ext>
                  </a:extLst>
                </p:cNvPr>
                <p:cNvSpPr>
                  <a:spLocks/>
                </p:cNvSpPr>
                <p:nvPr/>
              </p:nvSpPr>
              <p:spPr bwMode="gray">
                <a:xfrm>
                  <a:off x="240832"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50" name="Triangle_1">
                  <a:extLst>
                    <a:ext uri="{FF2B5EF4-FFF2-40B4-BE49-F238E27FC236}">
                      <a16:creationId xmlns:a16="http://schemas.microsoft.com/office/drawing/2014/main" id="{3D3ECB2B-18EC-0104-F51A-287B5B7D2875}"/>
                    </a:ext>
                  </a:extLst>
                </p:cNvPr>
                <p:cNvSpPr>
                  <a:spLocks/>
                </p:cNvSpPr>
                <p:nvPr/>
              </p:nvSpPr>
              <p:spPr bwMode="gray">
                <a:xfrm rot="10800000">
                  <a:off x="240832"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51" name="Triangle_2">
                  <a:extLst>
                    <a:ext uri="{FF2B5EF4-FFF2-40B4-BE49-F238E27FC236}">
                      <a16:creationId xmlns:a16="http://schemas.microsoft.com/office/drawing/2014/main" id="{ED2AB35E-A8DB-9C43-C2CC-3ABDEC647AE5}"/>
                    </a:ext>
                  </a:extLst>
                </p:cNvPr>
                <p:cNvSpPr>
                  <a:spLocks/>
                </p:cNvSpPr>
                <p:nvPr/>
              </p:nvSpPr>
              <p:spPr bwMode="gray">
                <a:xfrm>
                  <a:off x="240832"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52" name="Triangle_3">
                  <a:extLst>
                    <a:ext uri="{FF2B5EF4-FFF2-40B4-BE49-F238E27FC236}">
                      <a16:creationId xmlns:a16="http://schemas.microsoft.com/office/drawing/2014/main" id="{80F57B1F-F6D1-91B1-270C-CBBC64C00A1E}"/>
                    </a:ext>
                  </a:extLst>
                </p:cNvPr>
                <p:cNvSpPr>
                  <a:spLocks/>
                </p:cNvSpPr>
                <p:nvPr/>
              </p:nvSpPr>
              <p:spPr bwMode="gray">
                <a:xfrm rot="5400000">
                  <a:off x="158096" y="316452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53" name="Triangle_4">
                  <a:extLst>
                    <a:ext uri="{FF2B5EF4-FFF2-40B4-BE49-F238E27FC236}">
                      <a16:creationId xmlns:a16="http://schemas.microsoft.com/office/drawing/2014/main" id="{B22EEF16-39EF-A7DA-3F8C-2448A38E5C59}"/>
                    </a:ext>
                  </a:extLst>
                </p:cNvPr>
                <p:cNvSpPr>
                  <a:spLocks/>
                </p:cNvSpPr>
                <p:nvPr/>
              </p:nvSpPr>
              <p:spPr bwMode="gray">
                <a:xfrm rot="16200000">
                  <a:off x="323569"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46" name="Group 745">
                <a:extLst>
                  <a:ext uri="{FF2B5EF4-FFF2-40B4-BE49-F238E27FC236}">
                    <a16:creationId xmlns:a16="http://schemas.microsoft.com/office/drawing/2014/main" id="{66DA4DDB-0221-A5F3-AE20-9A0488F566A2}"/>
                  </a:ext>
                </a:extLst>
              </p:cNvPr>
              <p:cNvGrpSpPr>
                <a:grpSpLocks/>
              </p:cNvGrpSpPr>
              <p:nvPr/>
            </p:nvGrpSpPr>
            <p:grpSpPr bwMode="gray">
              <a:xfrm>
                <a:off x="266700" y="2492001"/>
                <a:ext cx="217142" cy="217142"/>
                <a:chOff x="240832" y="3412730"/>
                <a:chExt cx="330948" cy="330948"/>
              </a:xfrm>
              <a:grpFill/>
            </p:grpSpPr>
            <p:sp>
              <p:nvSpPr>
                <p:cNvPr id="1344" name="dfine_grid_single_shape_frame">
                  <a:extLst>
                    <a:ext uri="{FF2B5EF4-FFF2-40B4-BE49-F238E27FC236}">
                      <a16:creationId xmlns:a16="http://schemas.microsoft.com/office/drawing/2014/main" id="{CB3B3B3B-AFC9-2D33-A955-A867E3DC5A3F}"/>
                    </a:ext>
                  </a:extLst>
                </p:cNvPr>
                <p:cNvSpPr>
                  <a:spLocks/>
                </p:cNvSpPr>
                <p:nvPr/>
              </p:nvSpPr>
              <p:spPr bwMode="gray">
                <a:xfrm>
                  <a:off x="240832"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45" name="Triangle_1">
                  <a:extLst>
                    <a:ext uri="{FF2B5EF4-FFF2-40B4-BE49-F238E27FC236}">
                      <a16:creationId xmlns:a16="http://schemas.microsoft.com/office/drawing/2014/main" id="{7B3D0163-6825-5B24-5CCD-105EE41EAD94}"/>
                    </a:ext>
                  </a:extLst>
                </p:cNvPr>
                <p:cNvSpPr>
                  <a:spLocks/>
                </p:cNvSpPr>
                <p:nvPr/>
              </p:nvSpPr>
              <p:spPr bwMode="gray">
                <a:xfrm rot="10800000">
                  <a:off x="240832"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46" name="Triangle_2">
                  <a:extLst>
                    <a:ext uri="{FF2B5EF4-FFF2-40B4-BE49-F238E27FC236}">
                      <a16:creationId xmlns:a16="http://schemas.microsoft.com/office/drawing/2014/main" id="{78D036A0-A384-BDBC-FA3B-5BA7109734C9}"/>
                    </a:ext>
                  </a:extLst>
                </p:cNvPr>
                <p:cNvSpPr>
                  <a:spLocks/>
                </p:cNvSpPr>
                <p:nvPr/>
              </p:nvSpPr>
              <p:spPr bwMode="gray">
                <a:xfrm>
                  <a:off x="240832"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47" name="Triangle_3">
                  <a:extLst>
                    <a:ext uri="{FF2B5EF4-FFF2-40B4-BE49-F238E27FC236}">
                      <a16:creationId xmlns:a16="http://schemas.microsoft.com/office/drawing/2014/main" id="{535AA436-AF48-1B40-47AB-001D7EBAE5FE}"/>
                    </a:ext>
                  </a:extLst>
                </p:cNvPr>
                <p:cNvSpPr>
                  <a:spLocks/>
                </p:cNvSpPr>
                <p:nvPr/>
              </p:nvSpPr>
              <p:spPr bwMode="gray">
                <a:xfrm rot="5400000">
                  <a:off x="158095"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48" name="Triangle_4">
                  <a:extLst>
                    <a:ext uri="{FF2B5EF4-FFF2-40B4-BE49-F238E27FC236}">
                      <a16:creationId xmlns:a16="http://schemas.microsoft.com/office/drawing/2014/main" id="{C8534F91-FEA2-1C05-7B9E-7247841C68EC}"/>
                    </a:ext>
                  </a:extLst>
                </p:cNvPr>
                <p:cNvSpPr>
                  <a:spLocks/>
                </p:cNvSpPr>
                <p:nvPr/>
              </p:nvSpPr>
              <p:spPr bwMode="gray">
                <a:xfrm rot="16200000">
                  <a:off x="323569"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47" name="Group 746">
                <a:extLst>
                  <a:ext uri="{FF2B5EF4-FFF2-40B4-BE49-F238E27FC236}">
                    <a16:creationId xmlns:a16="http://schemas.microsoft.com/office/drawing/2014/main" id="{AC3DB5FA-9078-189E-B06E-860B9ECAAA16}"/>
                  </a:ext>
                </a:extLst>
              </p:cNvPr>
              <p:cNvGrpSpPr>
                <a:grpSpLocks/>
              </p:cNvGrpSpPr>
              <p:nvPr/>
            </p:nvGrpSpPr>
            <p:grpSpPr bwMode="gray">
              <a:xfrm>
                <a:off x="266700" y="2709142"/>
                <a:ext cx="217142" cy="217142"/>
                <a:chOff x="240832" y="3743677"/>
                <a:chExt cx="330948" cy="330948"/>
              </a:xfrm>
              <a:grpFill/>
            </p:grpSpPr>
            <p:sp>
              <p:nvSpPr>
                <p:cNvPr id="1339" name="dfine_grid_single_shape_frame">
                  <a:extLst>
                    <a:ext uri="{FF2B5EF4-FFF2-40B4-BE49-F238E27FC236}">
                      <a16:creationId xmlns:a16="http://schemas.microsoft.com/office/drawing/2014/main" id="{0D7632C6-513E-BF11-6F1D-182EF694A777}"/>
                    </a:ext>
                  </a:extLst>
                </p:cNvPr>
                <p:cNvSpPr>
                  <a:spLocks/>
                </p:cNvSpPr>
                <p:nvPr/>
              </p:nvSpPr>
              <p:spPr bwMode="gray">
                <a:xfrm>
                  <a:off x="240832"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40" name="Triangle_1">
                  <a:extLst>
                    <a:ext uri="{FF2B5EF4-FFF2-40B4-BE49-F238E27FC236}">
                      <a16:creationId xmlns:a16="http://schemas.microsoft.com/office/drawing/2014/main" id="{712361A6-99B9-FE98-F704-4B1813371D99}"/>
                    </a:ext>
                  </a:extLst>
                </p:cNvPr>
                <p:cNvSpPr>
                  <a:spLocks/>
                </p:cNvSpPr>
                <p:nvPr/>
              </p:nvSpPr>
              <p:spPr bwMode="gray">
                <a:xfrm rot="10800000">
                  <a:off x="240832"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41" name="Triangle_2">
                  <a:extLst>
                    <a:ext uri="{FF2B5EF4-FFF2-40B4-BE49-F238E27FC236}">
                      <a16:creationId xmlns:a16="http://schemas.microsoft.com/office/drawing/2014/main" id="{F65CDF42-C070-A322-5192-6451D07EB420}"/>
                    </a:ext>
                  </a:extLst>
                </p:cNvPr>
                <p:cNvSpPr>
                  <a:spLocks/>
                </p:cNvSpPr>
                <p:nvPr/>
              </p:nvSpPr>
              <p:spPr bwMode="gray">
                <a:xfrm>
                  <a:off x="240832"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42" name="Triangle_3">
                  <a:extLst>
                    <a:ext uri="{FF2B5EF4-FFF2-40B4-BE49-F238E27FC236}">
                      <a16:creationId xmlns:a16="http://schemas.microsoft.com/office/drawing/2014/main" id="{AF2AF176-CD3F-E22A-D5C0-B46870D1FAE9}"/>
                    </a:ext>
                  </a:extLst>
                </p:cNvPr>
                <p:cNvSpPr>
                  <a:spLocks/>
                </p:cNvSpPr>
                <p:nvPr/>
              </p:nvSpPr>
              <p:spPr bwMode="gray">
                <a:xfrm rot="5400000">
                  <a:off x="158095"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43" name="Triangle_4">
                  <a:extLst>
                    <a:ext uri="{FF2B5EF4-FFF2-40B4-BE49-F238E27FC236}">
                      <a16:creationId xmlns:a16="http://schemas.microsoft.com/office/drawing/2014/main" id="{F429A751-9B51-5047-1A41-B55F260A5F77}"/>
                    </a:ext>
                  </a:extLst>
                </p:cNvPr>
                <p:cNvSpPr>
                  <a:spLocks/>
                </p:cNvSpPr>
                <p:nvPr/>
              </p:nvSpPr>
              <p:spPr bwMode="gray">
                <a:xfrm rot="16200000">
                  <a:off x="323569"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48" name="Group 747">
                <a:extLst>
                  <a:ext uri="{FF2B5EF4-FFF2-40B4-BE49-F238E27FC236}">
                    <a16:creationId xmlns:a16="http://schemas.microsoft.com/office/drawing/2014/main" id="{355FE92F-F579-A558-4450-024C498BB368}"/>
                  </a:ext>
                </a:extLst>
              </p:cNvPr>
              <p:cNvGrpSpPr>
                <a:grpSpLocks/>
              </p:cNvGrpSpPr>
              <p:nvPr/>
            </p:nvGrpSpPr>
            <p:grpSpPr bwMode="gray">
              <a:xfrm>
                <a:off x="266700" y="2926283"/>
                <a:ext cx="217142" cy="217142"/>
                <a:chOff x="240832" y="4074624"/>
                <a:chExt cx="330948" cy="330948"/>
              </a:xfrm>
              <a:grpFill/>
            </p:grpSpPr>
            <p:sp>
              <p:nvSpPr>
                <p:cNvPr id="1334" name="dfine_grid_single_shape_frame">
                  <a:extLst>
                    <a:ext uri="{FF2B5EF4-FFF2-40B4-BE49-F238E27FC236}">
                      <a16:creationId xmlns:a16="http://schemas.microsoft.com/office/drawing/2014/main" id="{99BE0B90-77C9-63F6-4E4F-9DC2871E016F}"/>
                    </a:ext>
                  </a:extLst>
                </p:cNvPr>
                <p:cNvSpPr>
                  <a:spLocks/>
                </p:cNvSpPr>
                <p:nvPr/>
              </p:nvSpPr>
              <p:spPr bwMode="gray">
                <a:xfrm>
                  <a:off x="240832"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35" name="Triangle_1">
                  <a:extLst>
                    <a:ext uri="{FF2B5EF4-FFF2-40B4-BE49-F238E27FC236}">
                      <a16:creationId xmlns:a16="http://schemas.microsoft.com/office/drawing/2014/main" id="{9E10BEB3-EC83-D7E4-5F4E-FE39F3C1DCEC}"/>
                    </a:ext>
                  </a:extLst>
                </p:cNvPr>
                <p:cNvSpPr>
                  <a:spLocks/>
                </p:cNvSpPr>
                <p:nvPr/>
              </p:nvSpPr>
              <p:spPr bwMode="gray">
                <a:xfrm rot="10800000">
                  <a:off x="240832"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36" name="Triangle_2">
                  <a:extLst>
                    <a:ext uri="{FF2B5EF4-FFF2-40B4-BE49-F238E27FC236}">
                      <a16:creationId xmlns:a16="http://schemas.microsoft.com/office/drawing/2014/main" id="{F927A705-79F3-C961-F900-0BE156FF9C33}"/>
                    </a:ext>
                  </a:extLst>
                </p:cNvPr>
                <p:cNvSpPr>
                  <a:spLocks/>
                </p:cNvSpPr>
                <p:nvPr/>
              </p:nvSpPr>
              <p:spPr bwMode="gray">
                <a:xfrm>
                  <a:off x="240832"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37" name="Triangle_3">
                  <a:extLst>
                    <a:ext uri="{FF2B5EF4-FFF2-40B4-BE49-F238E27FC236}">
                      <a16:creationId xmlns:a16="http://schemas.microsoft.com/office/drawing/2014/main" id="{07D23894-6ED0-4744-132C-E24D00D7633A}"/>
                    </a:ext>
                  </a:extLst>
                </p:cNvPr>
                <p:cNvSpPr>
                  <a:spLocks/>
                </p:cNvSpPr>
                <p:nvPr/>
              </p:nvSpPr>
              <p:spPr bwMode="gray">
                <a:xfrm rot="5400000">
                  <a:off x="158095"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38" name="Triangle_4">
                  <a:extLst>
                    <a:ext uri="{FF2B5EF4-FFF2-40B4-BE49-F238E27FC236}">
                      <a16:creationId xmlns:a16="http://schemas.microsoft.com/office/drawing/2014/main" id="{8D3F755C-A9D9-E882-EE7C-3FBAB7BCCF79}"/>
                    </a:ext>
                  </a:extLst>
                </p:cNvPr>
                <p:cNvSpPr>
                  <a:spLocks/>
                </p:cNvSpPr>
                <p:nvPr/>
              </p:nvSpPr>
              <p:spPr bwMode="gray">
                <a:xfrm rot="16200000">
                  <a:off x="323569"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49" name="Group 748">
                <a:extLst>
                  <a:ext uri="{FF2B5EF4-FFF2-40B4-BE49-F238E27FC236}">
                    <a16:creationId xmlns:a16="http://schemas.microsoft.com/office/drawing/2014/main" id="{E9E667A2-173F-C756-B070-A78C475853F0}"/>
                  </a:ext>
                </a:extLst>
              </p:cNvPr>
              <p:cNvGrpSpPr>
                <a:grpSpLocks/>
              </p:cNvGrpSpPr>
              <p:nvPr/>
            </p:nvGrpSpPr>
            <p:grpSpPr bwMode="gray">
              <a:xfrm>
                <a:off x="483841" y="1623437"/>
                <a:ext cx="217142" cy="217142"/>
                <a:chOff x="571779" y="2088942"/>
                <a:chExt cx="330948" cy="330948"/>
              </a:xfrm>
              <a:grpFill/>
            </p:grpSpPr>
            <p:sp>
              <p:nvSpPr>
                <p:cNvPr id="1329" name="dfine_grid_single_shape_frame">
                  <a:extLst>
                    <a:ext uri="{FF2B5EF4-FFF2-40B4-BE49-F238E27FC236}">
                      <a16:creationId xmlns:a16="http://schemas.microsoft.com/office/drawing/2014/main" id="{427A8951-9DF9-F74D-C626-442A6D24C38F}"/>
                    </a:ext>
                  </a:extLst>
                </p:cNvPr>
                <p:cNvSpPr>
                  <a:spLocks/>
                </p:cNvSpPr>
                <p:nvPr>
                  <p:custDataLst>
                    <p:tags r:id="rId79"/>
                  </p:custDataLst>
                </p:nvPr>
              </p:nvSpPr>
              <p:spPr bwMode="gray">
                <a:xfrm>
                  <a:off x="571779"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30" name="Triangle_1">
                  <a:extLst>
                    <a:ext uri="{FF2B5EF4-FFF2-40B4-BE49-F238E27FC236}">
                      <a16:creationId xmlns:a16="http://schemas.microsoft.com/office/drawing/2014/main" id="{D9E45A2D-526D-6FBE-D75D-03CB85DF26D5}"/>
                    </a:ext>
                  </a:extLst>
                </p:cNvPr>
                <p:cNvSpPr>
                  <a:spLocks/>
                </p:cNvSpPr>
                <p:nvPr/>
              </p:nvSpPr>
              <p:spPr bwMode="gray">
                <a:xfrm rot="10800000">
                  <a:off x="571779"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31" name="Triangle_2">
                  <a:extLst>
                    <a:ext uri="{FF2B5EF4-FFF2-40B4-BE49-F238E27FC236}">
                      <a16:creationId xmlns:a16="http://schemas.microsoft.com/office/drawing/2014/main" id="{25C4ABE9-97F4-F35C-632C-2CDB2E80291A}"/>
                    </a:ext>
                  </a:extLst>
                </p:cNvPr>
                <p:cNvSpPr>
                  <a:spLocks/>
                </p:cNvSpPr>
                <p:nvPr/>
              </p:nvSpPr>
              <p:spPr bwMode="gray">
                <a:xfrm>
                  <a:off x="571779"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32" name="Triangle_3">
                  <a:extLst>
                    <a:ext uri="{FF2B5EF4-FFF2-40B4-BE49-F238E27FC236}">
                      <a16:creationId xmlns:a16="http://schemas.microsoft.com/office/drawing/2014/main" id="{9E61A9B1-736E-9243-88DD-AE40DAF3085F}"/>
                    </a:ext>
                  </a:extLst>
                </p:cNvPr>
                <p:cNvSpPr>
                  <a:spLocks/>
                </p:cNvSpPr>
                <p:nvPr/>
              </p:nvSpPr>
              <p:spPr bwMode="gray">
                <a:xfrm rot="5400000">
                  <a:off x="489042"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33" name="Triangle_4">
                  <a:extLst>
                    <a:ext uri="{FF2B5EF4-FFF2-40B4-BE49-F238E27FC236}">
                      <a16:creationId xmlns:a16="http://schemas.microsoft.com/office/drawing/2014/main" id="{652CA055-ACCC-A7F4-F71A-24999DC5C48F}"/>
                    </a:ext>
                  </a:extLst>
                </p:cNvPr>
                <p:cNvSpPr>
                  <a:spLocks/>
                </p:cNvSpPr>
                <p:nvPr/>
              </p:nvSpPr>
              <p:spPr bwMode="gray">
                <a:xfrm rot="16200000">
                  <a:off x="654516"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50" name="Group 749">
                <a:extLst>
                  <a:ext uri="{FF2B5EF4-FFF2-40B4-BE49-F238E27FC236}">
                    <a16:creationId xmlns:a16="http://schemas.microsoft.com/office/drawing/2014/main" id="{3D6A6BAD-D46A-CC49-5619-E1DAAC84D902}"/>
                  </a:ext>
                </a:extLst>
              </p:cNvPr>
              <p:cNvGrpSpPr>
                <a:grpSpLocks/>
              </p:cNvGrpSpPr>
              <p:nvPr/>
            </p:nvGrpSpPr>
            <p:grpSpPr bwMode="gray">
              <a:xfrm>
                <a:off x="483841" y="1840578"/>
                <a:ext cx="217142" cy="217142"/>
                <a:chOff x="571779" y="2419889"/>
                <a:chExt cx="330948" cy="330948"/>
              </a:xfrm>
              <a:grpFill/>
            </p:grpSpPr>
            <p:sp>
              <p:nvSpPr>
                <p:cNvPr id="1324" name="dfine_grid_single_shape_frame">
                  <a:extLst>
                    <a:ext uri="{FF2B5EF4-FFF2-40B4-BE49-F238E27FC236}">
                      <a16:creationId xmlns:a16="http://schemas.microsoft.com/office/drawing/2014/main" id="{3D0C67F0-25DD-946E-330D-75DB30BB455E}"/>
                    </a:ext>
                  </a:extLst>
                </p:cNvPr>
                <p:cNvSpPr>
                  <a:spLocks/>
                </p:cNvSpPr>
                <p:nvPr/>
              </p:nvSpPr>
              <p:spPr bwMode="gray">
                <a:xfrm>
                  <a:off x="571779"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25" name="Triangle_1">
                  <a:extLst>
                    <a:ext uri="{FF2B5EF4-FFF2-40B4-BE49-F238E27FC236}">
                      <a16:creationId xmlns:a16="http://schemas.microsoft.com/office/drawing/2014/main" id="{F7135863-585B-D899-11B4-28273A560714}"/>
                    </a:ext>
                  </a:extLst>
                </p:cNvPr>
                <p:cNvSpPr>
                  <a:spLocks/>
                </p:cNvSpPr>
                <p:nvPr/>
              </p:nvSpPr>
              <p:spPr bwMode="gray">
                <a:xfrm rot="10800000">
                  <a:off x="571779"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26" name="Triangle_2">
                  <a:extLst>
                    <a:ext uri="{FF2B5EF4-FFF2-40B4-BE49-F238E27FC236}">
                      <a16:creationId xmlns:a16="http://schemas.microsoft.com/office/drawing/2014/main" id="{D9285573-65CF-FD70-B101-9DA956A21997}"/>
                    </a:ext>
                  </a:extLst>
                </p:cNvPr>
                <p:cNvSpPr>
                  <a:spLocks/>
                </p:cNvSpPr>
                <p:nvPr/>
              </p:nvSpPr>
              <p:spPr bwMode="gray">
                <a:xfrm>
                  <a:off x="571779"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27" name="Triangle_3">
                  <a:extLst>
                    <a:ext uri="{FF2B5EF4-FFF2-40B4-BE49-F238E27FC236}">
                      <a16:creationId xmlns:a16="http://schemas.microsoft.com/office/drawing/2014/main" id="{5BFCD19F-3236-53FE-1E96-2FBF512F49E4}"/>
                    </a:ext>
                  </a:extLst>
                </p:cNvPr>
                <p:cNvSpPr>
                  <a:spLocks/>
                </p:cNvSpPr>
                <p:nvPr/>
              </p:nvSpPr>
              <p:spPr bwMode="gray">
                <a:xfrm rot="5400000">
                  <a:off x="489042"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28" name="Triangle_4">
                  <a:extLst>
                    <a:ext uri="{FF2B5EF4-FFF2-40B4-BE49-F238E27FC236}">
                      <a16:creationId xmlns:a16="http://schemas.microsoft.com/office/drawing/2014/main" id="{197C75E7-234E-178F-33B3-63F3041C68F3}"/>
                    </a:ext>
                  </a:extLst>
                </p:cNvPr>
                <p:cNvSpPr>
                  <a:spLocks/>
                </p:cNvSpPr>
                <p:nvPr/>
              </p:nvSpPr>
              <p:spPr bwMode="gray">
                <a:xfrm rot="16200000">
                  <a:off x="654516"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51" name="Group 750">
                <a:extLst>
                  <a:ext uri="{FF2B5EF4-FFF2-40B4-BE49-F238E27FC236}">
                    <a16:creationId xmlns:a16="http://schemas.microsoft.com/office/drawing/2014/main" id="{EBD36C4A-E888-C878-38C9-8C63C76BB579}"/>
                  </a:ext>
                </a:extLst>
              </p:cNvPr>
              <p:cNvGrpSpPr>
                <a:grpSpLocks/>
              </p:cNvGrpSpPr>
              <p:nvPr/>
            </p:nvGrpSpPr>
            <p:grpSpPr bwMode="gray">
              <a:xfrm>
                <a:off x="483841" y="2057719"/>
                <a:ext cx="217142" cy="217142"/>
                <a:chOff x="571779" y="2750836"/>
                <a:chExt cx="330948" cy="330948"/>
              </a:xfrm>
              <a:grpFill/>
            </p:grpSpPr>
            <p:sp>
              <p:nvSpPr>
                <p:cNvPr id="1319" name="dfine_grid_single_shape_frame">
                  <a:extLst>
                    <a:ext uri="{FF2B5EF4-FFF2-40B4-BE49-F238E27FC236}">
                      <a16:creationId xmlns:a16="http://schemas.microsoft.com/office/drawing/2014/main" id="{0F664B1B-34F3-8EF9-2F58-FCCB6A4E416B}"/>
                    </a:ext>
                  </a:extLst>
                </p:cNvPr>
                <p:cNvSpPr>
                  <a:spLocks/>
                </p:cNvSpPr>
                <p:nvPr/>
              </p:nvSpPr>
              <p:spPr bwMode="gray">
                <a:xfrm>
                  <a:off x="571779"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20" name="Triangle_1">
                  <a:extLst>
                    <a:ext uri="{FF2B5EF4-FFF2-40B4-BE49-F238E27FC236}">
                      <a16:creationId xmlns:a16="http://schemas.microsoft.com/office/drawing/2014/main" id="{E4D2FA7D-DF57-BED4-7CDF-24838B51F8D7}"/>
                    </a:ext>
                  </a:extLst>
                </p:cNvPr>
                <p:cNvSpPr>
                  <a:spLocks/>
                </p:cNvSpPr>
                <p:nvPr/>
              </p:nvSpPr>
              <p:spPr bwMode="gray">
                <a:xfrm rot="10800000">
                  <a:off x="571779"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21" name="Triangle_2">
                  <a:extLst>
                    <a:ext uri="{FF2B5EF4-FFF2-40B4-BE49-F238E27FC236}">
                      <a16:creationId xmlns:a16="http://schemas.microsoft.com/office/drawing/2014/main" id="{027B87C3-FAA9-BF3D-7B3F-E20321F7FF40}"/>
                    </a:ext>
                  </a:extLst>
                </p:cNvPr>
                <p:cNvSpPr>
                  <a:spLocks/>
                </p:cNvSpPr>
                <p:nvPr/>
              </p:nvSpPr>
              <p:spPr bwMode="gray">
                <a:xfrm>
                  <a:off x="571779"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22" name="Triangle_3">
                  <a:extLst>
                    <a:ext uri="{FF2B5EF4-FFF2-40B4-BE49-F238E27FC236}">
                      <a16:creationId xmlns:a16="http://schemas.microsoft.com/office/drawing/2014/main" id="{0753FF63-82A5-32EA-8CCE-5467B19150AD}"/>
                    </a:ext>
                  </a:extLst>
                </p:cNvPr>
                <p:cNvSpPr>
                  <a:spLocks/>
                </p:cNvSpPr>
                <p:nvPr/>
              </p:nvSpPr>
              <p:spPr bwMode="gray">
                <a:xfrm rot="5400000">
                  <a:off x="489042"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23" name="Triangle_4">
                  <a:extLst>
                    <a:ext uri="{FF2B5EF4-FFF2-40B4-BE49-F238E27FC236}">
                      <a16:creationId xmlns:a16="http://schemas.microsoft.com/office/drawing/2014/main" id="{D206BE31-DC5B-99CF-1DD8-2983DB9C6CE8}"/>
                    </a:ext>
                  </a:extLst>
                </p:cNvPr>
                <p:cNvSpPr>
                  <a:spLocks/>
                </p:cNvSpPr>
                <p:nvPr/>
              </p:nvSpPr>
              <p:spPr bwMode="gray">
                <a:xfrm rot="16200000">
                  <a:off x="654516"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52" name="Group 751">
                <a:extLst>
                  <a:ext uri="{FF2B5EF4-FFF2-40B4-BE49-F238E27FC236}">
                    <a16:creationId xmlns:a16="http://schemas.microsoft.com/office/drawing/2014/main" id="{F7B2F55D-3218-238D-E8DD-942F86374348}"/>
                  </a:ext>
                </a:extLst>
              </p:cNvPr>
              <p:cNvGrpSpPr>
                <a:grpSpLocks/>
              </p:cNvGrpSpPr>
              <p:nvPr/>
            </p:nvGrpSpPr>
            <p:grpSpPr bwMode="gray">
              <a:xfrm>
                <a:off x="483841" y="2274860"/>
                <a:ext cx="217142" cy="217142"/>
                <a:chOff x="571779" y="3081783"/>
                <a:chExt cx="330948" cy="330948"/>
              </a:xfrm>
              <a:grpFill/>
            </p:grpSpPr>
            <p:sp>
              <p:nvSpPr>
                <p:cNvPr id="1314" name="dfine_grid_single_shape_frame">
                  <a:extLst>
                    <a:ext uri="{FF2B5EF4-FFF2-40B4-BE49-F238E27FC236}">
                      <a16:creationId xmlns:a16="http://schemas.microsoft.com/office/drawing/2014/main" id="{C0156794-7FCC-E789-2724-03AC8EC47318}"/>
                    </a:ext>
                  </a:extLst>
                </p:cNvPr>
                <p:cNvSpPr>
                  <a:spLocks/>
                </p:cNvSpPr>
                <p:nvPr/>
              </p:nvSpPr>
              <p:spPr bwMode="gray">
                <a:xfrm>
                  <a:off x="571779"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15" name="Triangle_1">
                  <a:extLst>
                    <a:ext uri="{FF2B5EF4-FFF2-40B4-BE49-F238E27FC236}">
                      <a16:creationId xmlns:a16="http://schemas.microsoft.com/office/drawing/2014/main" id="{392229CC-BBDC-BBCE-12C0-D6A0ACD4C81B}"/>
                    </a:ext>
                  </a:extLst>
                </p:cNvPr>
                <p:cNvSpPr>
                  <a:spLocks/>
                </p:cNvSpPr>
                <p:nvPr/>
              </p:nvSpPr>
              <p:spPr bwMode="gray">
                <a:xfrm rot="10800000">
                  <a:off x="571779"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16" name="Triangle_2">
                  <a:extLst>
                    <a:ext uri="{FF2B5EF4-FFF2-40B4-BE49-F238E27FC236}">
                      <a16:creationId xmlns:a16="http://schemas.microsoft.com/office/drawing/2014/main" id="{752078F2-5ECE-F799-9060-4D72D3A545C1}"/>
                    </a:ext>
                  </a:extLst>
                </p:cNvPr>
                <p:cNvSpPr>
                  <a:spLocks/>
                </p:cNvSpPr>
                <p:nvPr/>
              </p:nvSpPr>
              <p:spPr bwMode="gray">
                <a:xfrm>
                  <a:off x="571779"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17" name="Triangle_3">
                  <a:extLst>
                    <a:ext uri="{FF2B5EF4-FFF2-40B4-BE49-F238E27FC236}">
                      <a16:creationId xmlns:a16="http://schemas.microsoft.com/office/drawing/2014/main" id="{5878B1C0-7A4F-DCC0-3126-CCCCE32C08BC}"/>
                    </a:ext>
                  </a:extLst>
                </p:cNvPr>
                <p:cNvSpPr>
                  <a:spLocks/>
                </p:cNvSpPr>
                <p:nvPr/>
              </p:nvSpPr>
              <p:spPr bwMode="gray">
                <a:xfrm rot="5400000">
                  <a:off x="489042"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18" name="Triangle_4">
                  <a:extLst>
                    <a:ext uri="{FF2B5EF4-FFF2-40B4-BE49-F238E27FC236}">
                      <a16:creationId xmlns:a16="http://schemas.microsoft.com/office/drawing/2014/main" id="{B3061F7C-2DEA-9DA5-8748-F76245638FA4}"/>
                    </a:ext>
                  </a:extLst>
                </p:cNvPr>
                <p:cNvSpPr>
                  <a:spLocks/>
                </p:cNvSpPr>
                <p:nvPr/>
              </p:nvSpPr>
              <p:spPr bwMode="gray">
                <a:xfrm rot="16200000">
                  <a:off x="654516"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53" name="Group 752">
                <a:extLst>
                  <a:ext uri="{FF2B5EF4-FFF2-40B4-BE49-F238E27FC236}">
                    <a16:creationId xmlns:a16="http://schemas.microsoft.com/office/drawing/2014/main" id="{0A978655-99BC-520B-00B7-8140FD752354}"/>
                  </a:ext>
                </a:extLst>
              </p:cNvPr>
              <p:cNvGrpSpPr>
                <a:grpSpLocks/>
              </p:cNvGrpSpPr>
              <p:nvPr/>
            </p:nvGrpSpPr>
            <p:grpSpPr bwMode="gray">
              <a:xfrm>
                <a:off x="483841" y="2492001"/>
                <a:ext cx="217142" cy="217142"/>
                <a:chOff x="571779" y="3412730"/>
                <a:chExt cx="330948" cy="330948"/>
              </a:xfrm>
              <a:grpFill/>
            </p:grpSpPr>
            <p:sp>
              <p:nvSpPr>
                <p:cNvPr id="1309" name="dfine_grid_single_shape_frame">
                  <a:extLst>
                    <a:ext uri="{FF2B5EF4-FFF2-40B4-BE49-F238E27FC236}">
                      <a16:creationId xmlns:a16="http://schemas.microsoft.com/office/drawing/2014/main" id="{ECDE7153-D222-B692-0D41-210A03632841}"/>
                    </a:ext>
                  </a:extLst>
                </p:cNvPr>
                <p:cNvSpPr>
                  <a:spLocks/>
                </p:cNvSpPr>
                <p:nvPr>
                  <p:custDataLst>
                    <p:tags r:id="rId78"/>
                  </p:custDataLst>
                </p:nvPr>
              </p:nvSpPr>
              <p:spPr bwMode="gray">
                <a:xfrm>
                  <a:off x="571779"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10" name="Triangle_1">
                  <a:extLst>
                    <a:ext uri="{FF2B5EF4-FFF2-40B4-BE49-F238E27FC236}">
                      <a16:creationId xmlns:a16="http://schemas.microsoft.com/office/drawing/2014/main" id="{8EED1247-7DBD-FD44-3CCA-4A7825C6153E}"/>
                    </a:ext>
                  </a:extLst>
                </p:cNvPr>
                <p:cNvSpPr>
                  <a:spLocks/>
                </p:cNvSpPr>
                <p:nvPr/>
              </p:nvSpPr>
              <p:spPr bwMode="gray">
                <a:xfrm rot="10800000">
                  <a:off x="571779"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11" name="Triangle_2">
                  <a:extLst>
                    <a:ext uri="{FF2B5EF4-FFF2-40B4-BE49-F238E27FC236}">
                      <a16:creationId xmlns:a16="http://schemas.microsoft.com/office/drawing/2014/main" id="{1930CDC5-05D5-F37D-8B7B-6414F4AE5F1B}"/>
                    </a:ext>
                  </a:extLst>
                </p:cNvPr>
                <p:cNvSpPr>
                  <a:spLocks/>
                </p:cNvSpPr>
                <p:nvPr/>
              </p:nvSpPr>
              <p:spPr bwMode="gray">
                <a:xfrm>
                  <a:off x="571779"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12" name="Triangle_3">
                  <a:extLst>
                    <a:ext uri="{FF2B5EF4-FFF2-40B4-BE49-F238E27FC236}">
                      <a16:creationId xmlns:a16="http://schemas.microsoft.com/office/drawing/2014/main" id="{20F89073-FE50-6B05-4D5A-DB954ABBA7A7}"/>
                    </a:ext>
                  </a:extLst>
                </p:cNvPr>
                <p:cNvSpPr>
                  <a:spLocks/>
                </p:cNvSpPr>
                <p:nvPr/>
              </p:nvSpPr>
              <p:spPr bwMode="gray">
                <a:xfrm rot="5400000">
                  <a:off x="489042"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13" name="Triangle_4">
                  <a:extLst>
                    <a:ext uri="{FF2B5EF4-FFF2-40B4-BE49-F238E27FC236}">
                      <a16:creationId xmlns:a16="http://schemas.microsoft.com/office/drawing/2014/main" id="{EE097B39-5CA8-9A97-5619-48A5870B1387}"/>
                    </a:ext>
                  </a:extLst>
                </p:cNvPr>
                <p:cNvSpPr>
                  <a:spLocks/>
                </p:cNvSpPr>
                <p:nvPr/>
              </p:nvSpPr>
              <p:spPr bwMode="gray">
                <a:xfrm rot="16200000">
                  <a:off x="654516"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54" name="Group 753">
                <a:extLst>
                  <a:ext uri="{FF2B5EF4-FFF2-40B4-BE49-F238E27FC236}">
                    <a16:creationId xmlns:a16="http://schemas.microsoft.com/office/drawing/2014/main" id="{3C27DCAB-A9DD-CAD1-2486-7A2CD2AFACC2}"/>
                  </a:ext>
                </a:extLst>
              </p:cNvPr>
              <p:cNvGrpSpPr>
                <a:grpSpLocks/>
              </p:cNvGrpSpPr>
              <p:nvPr/>
            </p:nvGrpSpPr>
            <p:grpSpPr bwMode="gray">
              <a:xfrm>
                <a:off x="483841" y="2709142"/>
                <a:ext cx="217142" cy="217142"/>
                <a:chOff x="571779" y="3743677"/>
                <a:chExt cx="330948" cy="330948"/>
              </a:xfrm>
              <a:grpFill/>
            </p:grpSpPr>
            <p:sp>
              <p:nvSpPr>
                <p:cNvPr id="1304" name="dfine_grid_single_shape_frame">
                  <a:extLst>
                    <a:ext uri="{FF2B5EF4-FFF2-40B4-BE49-F238E27FC236}">
                      <a16:creationId xmlns:a16="http://schemas.microsoft.com/office/drawing/2014/main" id="{A2C5736F-F136-398D-F3EC-F1E90BD508C5}"/>
                    </a:ext>
                  </a:extLst>
                </p:cNvPr>
                <p:cNvSpPr>
                  <a:spLocks/>
                </p:cNvSpPr>
                <p:nvPr/>
              </p:nvSpPr>
              <p:spPr bwMode="gray">
                <a:xfrm>
                  <a:off x="571779"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05" name="Triangle_1">
                  <a:extLst>
                    <a:ext uri="{FF2B5EF4-FFF2-40B4-BE49-F238E27FC236}">
                      <a16:creationId xmlns:a16="http://schemas.microsoft.com/office/drawing/2014/main" id="{60B72E43-F83F-DC4E-A0D4-881DB54E023A}"/>
                    </a:ext>
                  </a:extLst>
                </p:cNvPr>
                <p:cNvSpPr>
                  <a:spLocks/>
                </p:cNvSpPr>
                <p:nvPr/>
              </p:nvSpPr>
              <p:spPr bwMode="gray">
                <a:xfrm rot="10800000">
                  <a:off x="571779"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06" name="Triangle_2">
                  <a:extLst>
                    <a:ext uri="{FF2B5EF4-FFF2-40B4-BE49-F238E27FC236}">
                      <a16:creationId xmlns:a16="http://schemas.microsoft.com/office/drawing/2014/main" id="{368891CF-ADDD-6690-1BF8-AA51EDECA587}"/>
                    </a:ext>
                  </a:extLst>
                </p:cNvPr>
                <p:cNvSpPr>
                  <a:spLocks/>
                </p:cNvSpPr>
                <p:nvPr/>
              </p:nvSpPr>
              <p:spPr bwMode="gray">
                <a:xfrm>
                  <a:off x="571779"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07" name="Triangle_3">
                  <a:extLst>
                    <a:ext uri="{FF2B5EF4-FFF2-40B4-BE49-F238E27FC236}">
                      <a16:creationId xmlns:a16="http://schemas.microsoft.com/office/drawing/2014/main" id="{4B000B06-9ED0-0F91-6179-1855B6E0669E}"/>
                    </a:ext>
                  </a:extLst>
                </p:cNvPr>
                <p:cNvSpPr>
                  <a:spLocks/>
                </p:cNvSpPr>
                <p:nvPr/>
              </p:nvSpPr>
              <p:spPr bwMode="gray">
                <a:xfrm rot="5400000">
                  <a:off x="489042"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08" name="Triangle_4">
                  <a:extLst>
                    <a:ext uri="{FF2B5EF4-FFF2-40B4-BE49-F238E27FC236}">
                      <a16:creationId xmlns:a16="http://schemas.microsoft.com/office/drawing/2014/main" id="{26591AC1-72C8-DB8E-4615-122B16DD7949}"/>
                    </a:ext>
                  </a:extLst>
                </p:cNvPr>
                <p:cNvSpPr>
                  <a:spLocks/>
                </p:cNvSpPr>
                <p:nvPr/>
              </p:nvSpPr>
              <p:spPr bwMode="gray">
                <a:xfrm rot="16200000">
                  <a:off x="654516"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55" name="Group 754">
                <a:extLst>
                  <a:ext uri="{FF2B5EF4-FFF2-40B4-BE49-F238E27FC236}">
                    <a16:creationId xmlns:a16="http://schemas.microsoft.com/office/drawing/2014/main" id="{58B45C1B-0BE7-2946-7D7B-E2401222A152}"/>
                  </a:ext>
                </a:extLst>
              </p:cNvPr>
              <p:cNvGrpSpPr>
                <a:grpSpLocks/>
              </p:cNvGrpSpPr>
              <p:nvPr/>
            </p:nvGrpSpPr>
            <p:grpSpPr bwMode="gray">
              <a:xfrm>
                <a:off x="483841" y="2926283"/>
                <a:ext cx="217142" cy="217142"/>
                <a:chOff x="571779" y="4074624"/>
                <a:chExt cx="330948" cy="330948"/>
              </a:xfrm>
              <a:grpFill/>
            </p:grpSpPr>
            <p:sp>
              <p:nvSpPr>
                <p:cNvPr id="1299" name="dfine_grid_single_shape_frame">
                  <a:extLst>
                    <a:ext uri="{FF2B5EF4-FFF2-40B4-BE49-F238E27FC236}">
                      <a16:creationId xmlns:a16="http://schemas.microsoft.com/office/drawing/2014/main" id="{A57F1484-C438-3E81-0004-682AD10C112A}"/>
                    </a:ext>
                  </a:extLst>
                </p:cNvPr>
                <p:cNvSpPr>
                  <a:spLocks/>
                </p:cNvSpPr>
                <p:nvPr/>
              </p:nvSpPr>
              <p:spPr bwMode="gray">
                <a:xfrm>
                  <a:off x="571779"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00" name="Triangle_1">
                  <a:extLst>
                    <a:ext uri="{FF2B5EF4-FFF2-40B4-BE49-F238E27FC236}">
                      <a16:creationId xmlns:a16="http://schemas.microsoft.com/office/drawing/2014/main" id="{FFF435F3-F3E6-7C0E-1FC2-F58DCC965157}"/>
                    </a:ext>
                  </a:extLst>
                </p:cNvPr>
                <p:cNvSpPr>
                  <a:spLocks/>
                </p:cNvSpPr>
                <p:nvPr/>
              </p:nvSpPr>
              <p:spPr bwMode="gray">
                <a:xfrm rot="10800000">
                  <a:off x="571779"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01" name="Triangle_2">
                  <a:extLst>
                    <a:ext uri="{FF2B5EF4-FFF2-40B4-BE49-F238E27FC236}">
                      <a16:creationId xmlns:a16="http://schemas.microsoft.com/office/drawing/2014/main" id="{48FFE5E7-9D0E-C521-8B0F-42BD4A822E1A}"/>
                    </a:ext>
                  </a:extLst>
                </p:cNvPr>
                <p:cNvSpPr>
                  <a:spLocks/>
                </p:cNvSpPr>
                <p:nvPr/>
              </p:nvSpPr>
              <p:spPr bwMode="gray">
                <a:xfrm>
                  <a:off x="571779"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02" name="Triangle_3">
                  <a:extLst>
                    <a:ext uri="{FF2B5EF4-FFF2-40B4-BE49-F238E27FC236}">
                      <a16:creationId xmlns:a16="http://schemas.microsoft.com/office/drawing/2014/main" id="{736091D4-DBAD-A8A1-EE67-C0FDEC175E0C}"/>
                    </a:ext>
                  </a:extLst>
                </p:cNvPr>
                <p:cNvSpPr>
                  <a:spLocks/>
                </p:cNvSpPr>
                <p:nvPr/>
              </p:nvSpPr>
              <p:spPr bwMode="gray">
                <a:xfrm rot="5400000">
                  <a:off x="489042"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303" name="Triangle_4">
                  <a:extLst>
                    <a:ext uri="{FF2B5EF4-FFF2-40B4-BE49-F238E27FC236}">
                      <a16:creationId xmlns:a16="http://schemas.microsoft.com/office/drawing/2014/main" id="{6D08958B-8458-236D-157F-7BC9F8E81972}"/>
                    </a:ext>
                  </a:extLst>
                </p:cNvPr>
                <p:cNvSpPr>
                  <a:spLocks/>
                </p:cNvSpPr>
                <p:nvPr/>
              </p:nvSpPr>
              <p:spPr bwMode="gray">
                <a:xfrm rot="16200000">
                  <a:off x="654516"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56" name="Group 755">
                <a:extLst>
                  <a:ext uri="{FF2B5EF4-FFF2-40B4-BE49-F238E27FC236}">
                    <a16:creationId xmlns:a16="http://schemas.microsoft.com/office/drawing/2014/main" id="{D1E50BA5-6959-3E2D-E6ED-FFE3F9C29062}"/>
                  </a:ext>
                </a:extLst>
              </p:cNvPr>
              <p:cNvGrpSpPr>
                <a:grpSpLocks/>
              </p:cNvGrpSpPr>
              <p:nvPr/>
            </p:nvGrpSpPr>
            <p:grpSpPr bwMode="gray">
              <a:xfrm>
                <a:off x="700982" y="1623437"/>
                <a:ext cx="217142" cy="217142"/>
                <a:chOff x="902726" y="2088942"/>
                <a:chExt cx="330948" cy="330948"/>
              </a:xfrm>
              <a:grpFill/>
            </p:grpSpPr>
            <p:sp>
              <p:nvSpPr>
                <p:cNvPr id="1294" name="dfine_grid_single_shape_frame">
                  <a:extLst>
                    <a:ext uri="{FF2B5EF4-FFF2-40B4-BE49-F238E27FC236}">
                      <a16:creationId xmlns:a16="http://schemas.microsoft.com/office/drawing/2014/main" id="{6FEFA947-8E7B-3CC6-DABA-6F6C8FBD20E8}"/>
                    </a:ext>
                  </a:extLst>
                </p:cNvPr>
                <p:cNvSpPr>
                  <a:spLocks/>
                </p:cNvSpPr>
                <p:nvPr>
                  <p:custDataLst>
                    <p:tags r:id="rId77"/>
                  </p:custDataLst>
                </p:nvPr>
              </p:nvSpPr>
              <p:spPr bwMode="gray">
                <a:xfrm>
                  <a:off x="902726"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95" name="Triangle_1">
                  <a:extLst>
                    <a:ext uri="{FF2B5EF4-FFF2-40B4-BE49-F238E27FC236}">
                      <a16:creationId xmlns:a16="http://schemas.microsoft.com/office/drawing/2014/main" id="{3BC29BA3-9414-82C1-D293-D1ECAC72E370}"/>
                    </a:ext>
                  </a:extLst>
                </p:cNvPr>
                <p:cNvSpPr>
                  <a:spLocks/>
                </p:cNvSpPr>
                <p:nvPr/>
              </p:nvSpPr>
              <p:spPr bwMode="gray">
                <a:xfrm rot="10800000">
                  <a:off x="902726"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96" name="Triangle_2">
                  <a:extLst>
                    <a:ext uri="{FF2B5EF4-FFF2-40B4-BE49-F238E27FC236}">
                      <a16:creationId xmlns:a16="http://schemas.microsoft.com/office/drawing/2014/main" id="{163CC786-844F-D152-4C0B-BE3888818A4D}"/>
                    </a:ext>
                  </a:extLst>
                </p:cNvPr>
                <p:cNvSpPr>
                  <a:spLocks/>
                </p:cNvSpPr>
                <p:nvPr/>
              </p:nvSpPr>
              <p:spPr bwMode="gray">
                <a:xfrm>
                  <a:off x="902726"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97" name="Triangle_3">
                  <a:extLst>
                    <a:ext uri="{FF2B5EF4-FFF2-40B4-BE49-F238E27FC236}">
                      <a16:creationId xmlns:a16="http://schemas.microsoft.com/office/drawing/2014/main" id="{9A8B1050-DDAF-290E-50F3-BC98349E2E14}"/>
                    </a:ext>
                  </a:extLst>
                </p:cNvPr>
                <p:cNvSpPr>
                  <a:spLocks/>
                </p:cNvSpPr>
                <p:nvPr/>
              </p:nvSpPr>
              <p:spPr bwMode="gray">
                <a:xfrm rot="5400000">
                  <a:off x="819989"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98" name="Triangle_4">
                  <a:extLst>
                    <a:ext uri="{FF2B5EF4-FFF2-40B4-BE49-F238E27FC236}">
                      <a16:creationId xmlns:a16="http://schemas.microsoft.com/office/drawing/2014/main" id="{B546DB2E-CEF5-891B-F322-B25ED2FE30C7}"/>
                    </a:ext>
                  </a:extLst>
                </p:cNvPr>
                <p:cNvSpPr>
                  <a:spLocks/>
                </p:cNvSpPr>
                <p:nvPr/>
              </p:nvSpPr>
              <p:spPr bwMode="gray">
                <a:xfrm rot="16200000">
                  <a:off x="985463"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57" name="Group 756">
                <a:extLst>
                  <a:ext uri="{FF2B5EF4-FFF2-40B4-BE49-F238E27FC236}">
                    <a16:creationId xmlns:a16="http://schemas.microsoft.com/office/drawing/2014/main" id="{7AF9BAE6-F0D8-210C-6F5B-E01EEDFE7427}"/>
                  </a:ext>
                </a:extLst>
              </p:cNvPr>
              <p:cNvGrpSpPr>
                <a:grpSpLocks/>
              </p:cNvGrpSpPr>
              <p:nvPr/>
            </p:nvGrpSpPr>
            <p:grpSpPr bwMode="gray">
              <a:xfrm>
                <a:off x="700982" y="1840578"/>
                <a:ext cx="217142" cy="217142"/>
                <a:chOff x="902726" y="2419889"/>
                <a:chExt cx="330948" cy="330948"/>
              </a:xfrm>
              <a:grpFill/>
            </p:grpSpPr>
            <p:sp>
              <p:nvSpPr>
                <p:cNvPr id="1289" name="dfine_grid_single_shape_frame">
                  <a:extLst>
                    <a:ext uri="{FF2B5EF4-FFF2-40B4-BE49-F238E27FC236}">
                      <a16:creationId xmlns:a16="http://schemas.microsoft.com/office/drawing/2014/main" id="{4DC3CC2D-A7D4-A4AB-CCF6-0E59D202121B}"/>
                    </a:ext>
                  </a:extLst>
                </p:cNvPr>
                <p:cNvSpPr>
                  <a:spLocks/>
                </p:cNvSpPr>
                <p:nvPr>
                  <p:custDataLst>
                    <p:tags r:id="rId76"/>
                  </p:custDataLst>
                </p:nvPr>
              </p:nvSpPr>
              <p:spPr bwMode="gray">
                <a:xfrm>
                  <a:off x="902726"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90" name="Triangle_1">
                  <a:extLst>
                    <a:ext uri="{FF2B5EF4-FFF2-40B4-BE49-F238E27FC236}">
                      <a16:creationId xmlns:a16="http://schemas.microsoft.com/office/drawing/2014/main" id="{043691D6-9436-942E-6898-D08D36BBBCDA}"/>
                    </a:ext>
                  </a:extLst>
                </p:cNvPr>
                <p:cNvSpPr>
                  <a:spLocks/>
                </p:cNvSpPr>
                <p:nvPr/>
              </p:nvSpPr>
              <p:spPr bwMode="gray">
                <a:xfrm rot="10800000">
                  <a:off x="902726"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91" name="Triangle_2">
                  <a:extLst>
                    <a:ext uri="{FF2B5EF4-FFF2-40B4-BE49-F238E27FC236}">
                      <a16:creationId xmlns:a16="http://schemas.microsoft.com/office/drawing/2014/main" id="{B63BB8FD-DDEE-D9D9-CE29-F1B3F6EA0688}"/>
                    </a:ext>
                  </a:extLst>
                </p:cNvPr>
                <p:cNvSpPr>
                  <a:spLocks/>
                </p:cNvSpPr>
                <p:nvPr/>
              </p:nvSpPr>
              <p:spPr bwMode="gray">
                <a:xfrm>
                  <a:off x="902726"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92" name="Triangle_3">
                  <a:extLst>
                    <a:ext uri="{FF2B5EF4-FFF2-40B4-BE49-F238E27FC236}">
                      <a16:creationId xmlns:a16="http://schemas.microsoft.com/office/drawing/2014/main" id="{935D6FED-F821-177A-1F3D-B2621CD15053}"/>
                    </a:ext>
                  </a:extLst>
                </p:cNvPr>
                <p:cNvSpPr>
                  <a:spLocks/>
                </p:cNvSpPr>
                <p:nvPr/>
              </p:nvSpPr>
              <p:spPr bwMode="gray">
                <a:xfrm rot="5400000">
                  <a:off x="819989"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93" name="Triangle_4">
                  <a:extLst>
                    <a:ext uri="{FF2B5EF4-FFF2-40B4-BE49-F238E27FC236}">
                      <a16:creationId xmlns:a16="http://schemas.microsoft.com/office/drawing/2014/main" id="{DD8149AA-FBEE-10D8-4148-4AB0B20DB667}"/>
                    </a:ext>
                  </a:extLst>
                </p:cNvPr>
                <p:cNvSpPr>
                  <a:spLocks/>
                </p:cNvSpPr>
                <p:nvPr/>
              </p:nvSpPr>
              <p:spPr bwMode="gray">
                <a:xfrm rot="16200000">
                  <a:off x="98546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58" name="Group 757">
                <a:extLst>
                  <a:ext uri="{FF2B5EF4-FFF2-40B4-BE49-F238E27FC236}">
                    <a16:creationId xmlns:a16="http://schemas.microsoft.com/office/drawing/2014/main" id="{8C3F462D-D627-E862-2AF2-EFAA3F0BA298}"/>
                  </a:ext>
                </a:extLst>
              </p:cNvPr>
              <p:cNvGrpSpPr>
                <a:grpSpLocks/>
              </p:cNvGrpSpPr>
              <p:nvPr/>
            </p:nvGrpSpPr>
            <p:grpSpPr bwMode="gray">
              <a:xfrm>
                <a:off x="700982" y="2057719"/>
                <a:ext cx="217142" cy="217142"/>
                <a:chOff x="902726" y="2750836"/>
                <a:chExt cx="330948" cy="330948"/>
              </a:xfrm>
              <a:grpFill/>
            </p:grpSpPr>
            <p:sp>
              <p:nvSpPr>
                <p:cNvPr id="1284" name="dfine_grid_single_shape_frame">
                  <a:extLst>
                    <a:ext uri="{FF2B5EF4-FFF2-40B4-BE49-F238E27FC236}">
                      <a16:creationId xmlns:a16="http://schemas.microsoft.com/office/drawing/2014/main" id="{10BBF38D-46F3-6D98-519B-3920E5425C99}"/>
                    </a:ext>
                  </a:extLst>
                </p:cNvPr>
                <p:cNvSpPr>
                  <a:spLocks/>
                </p:cNvSpPr>
                <p:nvPr/>
              </p:nvSpPr>
              <p:spPr bwMode="gray">
                <a:xfrm>
                  <a:off x="902726"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85" name="Triangle_1">
                  <a:extLst>
                    <a:ext uri="{FF2B5EF4-FFF2-40B4-BE49-F238E27FC236}">
                      <a16:creationId xmlns:a16="http://schemas.microsoft.com/office/drawing/2014/main" id="{7AC84004-F3F4-AA71-E9C2-8A881EF07ADE}"/>
                    </a:ext>
                  </a:extLst>
                </p:cNvPr>
                <p:cNvSpPr>
                  <a:spLocks/>
                </p:cNvSpPr>
                <p:nvPr/>
              </p:nvSpPr>
              <p:spPr bwMode="gray">
                <a:xfrm rot="10800000">
                  <a:off x="902726"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86" name="Triangle_2">
                  <a:extLst>
                    <a:ext uri="{FF2B5EF4-FFF2-40B4-BE49-F238E27FC236}">
                      <a16:creationId xmlns:a16="http://schemas.microsoft.com/office/drawing/2014/main" id="{EBBD4014-9890-958F-7EF3-D183424AC4A4}"/>
                    </a:ext>
                  </a:extLst>
                </p:cNvPr>
                <p:cNvSpPr>
                  <a:spLocks/>
                </p:cNvSpPr>
                <p:nvPr/>
              </p:nvSpPr>
              <p:spPr bwMode="gray">
                <a:xfrm>
                  <a:off x="902726"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87" name="Triangle_3">
                  <a:extLst>
                    <a:ext uri="{FF2B5EF4-FFF2-40B4-BE49-F238E27FC236}">
                      <a16:creationId xmlns:a16="http://schemas.microsoft.com/office/drawing/2014/main" id="{34BA11B2-8220-9AFC-19BE-CB788208B9B4}"/>
                    </a:ext>
                  </a:extLst>
                </p:cNvPr>
                <p:cNvSpPr>
                  <a:spLocks/>
                </p:cNvSpPr>
                <p:nvPr/>
              </p:nvSpPr>
              <p:spPr bwMode="gray">
                <a:xfrm rot="5400000">
                  <a:off x="819989"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88" name="Triangle_4">
                  <a:extLst>
                    <a:ext uri="{FF2B5EF4-FFF2-40B4-BE49-F238E27FC236}">
                      <a16:creationId xmlns:a16="http://schemas.microsoft.com/office/drawing/2014/main" id="{04335C76-88CB-9F37-C25C-7A27D3274CA2}"/>
                    </a:ext>
                  </a:extLst>
                </p:cNvPr>
                <p:cNvSpPr>
                  <a:spLocks/>
                </p:cNvSpPr>
                <p:nvPr/>
              </p:nvSpPr>
              <p:spPr bwMode="gray">
                <a:xfrm rot="16200000">
                  <a:off x="98546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59" name="Group 758">
                <a:extLst>
                  <a:ext uri="{FF2B5EF4-FFF2-40B4-BE49-F238E27FC236}">
                    <a16:creationId xmlns:a16="http://schemas.microsoft.com/office/drawing/2014/main" id="{35AF172E-606E-9FA7-0725-C712D0D19D57}"/>
                  </a:ext>
                </a:extLst>
              </p:cNvPr>
              <p:cNvGrpSpPr>
                <a:grpSpLocks/>
              </p:cNvGrpSpPr>
              <p:nvPr/>
            </p:nvGrpSpPr>
            <p:grpSpPr bwMode="gray">
              <a:xfrm>
                <a:off x="700982" y="2274860"/>
                <a:ext cx="217142" cy="217142"/>
                <a:chOff x="902726" y="3081783"/>
                <a:chExt cx="330948" cy="330948"/>
              </a:xfrm>
              <a:grpFill/>
            </p:grpSpPr>
            <p:sp>
              <p:nvSpPr>
                <p:cNvPr id="1279" name="dfine_grid_single_shape_frame">
                  <a:extLst>
                    <a:ext uri="{FF2B5EF4-FFF2-40B4-BE49-F238E27FC236}">
                      <a16:creationId xmlns:a16="http://schemas.microsoft.com/office/drawing/2014/main" id="{64BED828-35D8-9A7C-B9A7-A1728A5545DE}"/>
                    </a:ext>
                  </a:extLst>
                </p:cNvPr>
                <p:cNvSpPr>
                  <a:spLocks/>
                </p:cNvSpPr>
                <p:nvPr>
                  <p:custDataLst>
                    <p:tags r:id="rId75"/>
                  </p:custDataLst>
                </p:nvPr>
              </p:nvSpPr>
              <p:spPr bwMode="gray">
                <a:xfrm>
                  <a:off x="902726"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80" name="Triangle_1">
                  <a:extLst>
                    <a:ext uri="{FF2B5EF4-FFF2-40B4-BE49-F238E27FC236}">
                      <a16:creationId xmlns:a16="http://schemas.microsoft.com/office/drawing/2014/main" id="{D0C24501-0422-C855-B57F-589E8FF3D44C}"/>
                    </a:ext>
                  </a:extLst>
                </p:cNvPr>
                <p:cNvSpPr>
                  <a:spLocks/>
                </p:cNvSpPr>
                <p:nvPr/>
              </p:nvSpPr>
              <p:spPr bwMode="gray">
                <a:xfrm rot="10800000">
                  <a:off x="902726"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81" name="Triangle_2">
                  <a:extLst>
                    <a:ext uri="{FF2B5EF4-FFF2-40B4-BE49-F238E27FC236}">
                      <a16:creationId xmlns:a16="http://schemas.microsoft.com/office/drawing/2014/main" id="{AD5FAE49-49FD-E2C3-3AA1-D60C71F5E3A5}"/>
                    </a:ext>
                  </a:extLst>
                </p:cNvPr>
                <p:cNvSpPr>
                  <a:spLocks/>
                </p:cNvSpPr>
                <p:nvPr/>
              </p:nvSpPr>
              <p:spPr bwMode="gray">
                <a:xfrm>
                  <a:off x="902726"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82" name="Triangle_3">
                  <a:extLst>
                    <a:ext uri="{FF2B5EF4-FFF2-40B4-BE49-F238E27FC236}">
                      <a16:creationId xmlns:a16="http://schemas.microsoft.com/office/drawing/2014/main" id="{26140666-A871-DF0B-E028-2C67BE42D249}"/>
                    </a:ext>
                  </a:extLst>
                </p:cNvPr>
                <p:cNvSpPr>
                  <a:spLocks/>
                </p:cNvSpPr>
                <p:nvPr/>
              </p:nvSpPr>
              <p:spPr bwMode="gray">
                <a:xfrm rot="5400000">
                  <a:off x="819989"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83" name="Triangle_4">
                  <a:extLst>
                    <a:ext uri="{FF2B5EF4-FFF2-40B4-BE49-F238E27FC236}">
                      <a16:creationId xmlns:a16="http://schemas.microsoft.com/office/drawing/2014/main" id="{B4455ACB-0F83-0A6D-0026-BC238ECC3713}"/>
                    </a:ext>
                  </a:extLst>
                </p:cNvPr>
                <p:cNvSpPr>
                  <a:spLocks/>
                </p:cNvSpPr>
                <p:nvPr/>
              </p:nvSpPr>
              <p:spPr bwMode="gray">
                <a:xfrm rot="16200000">
                  <a:off x="985463" y="3164520"/>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60" name="Group 759">
                <a:extLst>
                  <a:ext uri="{FF2B5EF4-FFF2-40B4-BE49-F238E27FC236}">
                    <a16:creationId xmlns:a16="http://schemas.microsoft.com/office/drawing/2014/main" id="{3CF5F4FA-159C-5F11-BB2E-E040C4B13BA6}"/>
                  </a:ext>
                </a:extLst>
              </p:cNvPr>
              <p:cNvGrpSpPr>
                <a:grpSpLocks/>
              </p:cNvGrpSpPr>
              <p:nvPr/>
            </p:nvGrpSpPr>
            <p:grpSpPr bwMode="gray">
              <a:xfrm>
                <a:off x="700982" y="2709142"/>
                <a:ext cx="217142" cy="217142"/>
                <a:chOff x="902726" y="3743677"/>
                <a:chExt cx="330948" cy="330948"/>
              </a:xfrm>
              <a:grpFill/>
            </p:grpSpPr>
            <p:sp>
              <p:nvSpPr>
                <p:cNvPr id="1274" name="dfine_grid_single_shape_frame">
                  <a:extLst>
                    <a:ext uri="{FF2B5EF4-FFF2-40B4-BE49-F238E27FC236}">
                      <a16:creationId xmlns:a16="http://schemas.microsoft.com/office/drawing/2014/main" id="{A7659D6A-CFF8-904D-8786-83364C1536C1}"/>
                    </a:ext>
                  </a:extLst>
                </p:cNvPr>
                <p:cNvSpPr>
                  <a:spLocks/>
                </p:cNvSpPr>
                <p:nvPr/>
              </p:nvSpPr>
              <p:spPr bwMode="gray">
                <a:xfrm>
                  <a:off x="902726"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75" name="Triangle_1">
                  <a:extLst>
                    <a:ext uri="{FF2B5EF4-FFF2-40B4-BE49-F238E27FC236}">
                      <a16:creationId xmlns:a16="http://schemas.microsoft.com/office/drawing/2014/main" id="{F307642D-A1B3-A018-A15F-CCD16E8C4F7D}"/>
                    </a:ext>
                  </a:extLst>
                </p:cNvPr>
                <p:cNvSpPr>
                  <a:spLocks/>
                </p:cNvSpPr>
                <p:nvPr/>
              </p:nvSpPr>
              <p:spPr bwMode="gray">
                <a:xfrm rot="10800000">
                  <a:off x="902726"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76" name="Triangle_2">
                  <a:extLst>
                    <a:ext uri="{FF2B5EF4-FFF2-40B4-BE49-F238E27FC236}">
                      <a16:creationId xmlns:a16="http://schemas.microsoft.com/office/drawing/2014/main" id="{8900BAF6-301A-9086-511C-F063F93876B4}"/>
                    </a:ext>
                  </a:extLst>
                </p:cNvPr>
                <p:cNvSpPr>
                  <a:spLocks/>
                </p:cNvSpPr>
                <p:nvPr/>
              </p:nvSpPr>
              <p:spPr bwMode="gray">
                <a:xfrm>
                  <a:off x="902726"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77" name="Triangle_3">
                  <a:extLst>
                    <a:ext uri="{FF2B5EF4-FFF2-40B4-BE49-F238E27FC236}">
                      <a16:creationId xmlns:a16="http://schemas.microsoft.com/office/drawing/2014/main" id="{43A5355B-2A5B-4F96-23AE-E4166451CA06}"/>
                    </a:ext>
                  </a:extLst>
                </p:cNvPr>
                <p:cNvSpPr>
                  <a:spLocks/>
                </p:cNvSpPr>
                <p:nvPr/>
              </p:nvSpPr>
              <p:spPr bwMode="gray">
                <a:xfrm rot="5400000">
                  <a:off x="819989"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78" name="Triangle_4">
                  <a:extLst>
                    <a:ext uri="{FF2B5EF4-FFF2-40B4-BE49-F238E27FC236}">
                      <a16:creationId xmlns:a16="http://schemas.microsoft.com/office/drawing/2014/main" id="{E54D495D-42D0-EBE9-B3C6-57A0B76EEBD1}"/>
                    </a:ext>
                  </a:extLst>
                </p:cNvPr>
                <p:cNvSpPr>
                  <a:spLocks/>
                </p:cNvSpPr>
                <p:nvPr/>
              </p:nvSpPr>
              <p:spPr bwMode="gray">
                <a:xfrm rot="16200000">
                  <a:off x="985463" y="3826414"/>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61" name="Group 760">
                <a:extLst>
                  <a:ext uri="{FF2B5EF4-FFF2-40B4-BE49-F238E27FC236}">
                    <a16:creationId xmlns:a16="http://schemas.microsoft.com/office/drawing/2014/main" id="{69510726-9CF3-EE52-2B2A-403F6794533F}"/>
                  </a:ext>
                </a:extLst>
              </p:cNvPr>
              <p:cNvGrpSpPr>
                <a:grpSpLocks/>
              </p:cNvGrpSpPr>
              <p:nvPr/>
            </p:nvGrpSpPr>
            <p:grpSpPr bwMode="gray">
              <a:xfrm>
                <a:off x="700982" y="2926283"/>
                <a:ext cx="217142" cy="217142"/>
                <a:chOff x="902726" y="4074624"/>
                <a:chExt cx="330948" cy="330948"/>
              </a:xfrm>
              <a:grpFill/>
            </p:grpSpPr>
            <p:sp>
              <p:nvSpPr>
                <p:cNvPr id="1269" name="dfine_grid_single_shape_frame">
                  <a:extLst>
                    <a:ext uri="{FF2B5EF4-FFF2-40B4-BE49-F238E27FC236}">
                      <a16:creationId xmlns:a16="http://schemas.microsoft.com/office/drawing/2014/main" id="{8AAF118C-4FCF-3837-EDEA-8FF65081DDFB}"/>
                    </a:ext>
                  </a:extLst>
                </p:cNvPr>
                <p:cNvSpPr>
                  <a:spLocks/>
                </p:cNvSpPr>
                <p:nvPr/>
              </p:nvSpPr>
              <p:spPr bwMode="gray">
                <a:xfrm>
                  <a:off x="902726"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70" name="Triangle_1">
                  <a:extLst>
                    <a:ext uri="{FF2B5EF4-FFF2-40B4-BE49-F238E27FC236}">
                      <a16:creationId xmlns:a16="http://schemas.microsoft.com/office/drawing/2014/main" id="{B8BD39A1-CACE-6713-FEB3-591E69FB0F6B}"/>
                    </a:ext>
                  </a:extLst>
                </p:cNvPr>
                <p:cNvSpPr>
                  <a:spLocks/>
                </p:cNvSpPr>
                <p:nvPr/>
              </p:nvSpPr>
              <p:spPr bwMode="gray">
                <a:xfrm rot="10800000">
                  <a:off x="902726"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71" name="Triangle_2">
                  <a:extLst>
                    <a:ext uri="{FF2B5EF4-FFF2-40B4-BE49-F238E27FC236}">
                      <a16:creationId xmlns:a16="http://schemas.microsoft.com/office/drawing/2014/main" id="{A57DB9FA-AFB5-C06D-6430-8F0E2298B3A1}"/>
                    </a:ext>
                  </a:extLst>
                </p:cNvPr>
                <p:cNvSpPr>
                  <a:spLocks/>
                </p:cNvSpPr>
                <p:nvPr/>
              </p:nvSpPr>
              <p:spPr bwMode="gray">
                <a:xfrm>
                  <a:off x="902726"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72" name="Triangle_3">
                  <a:extLst>
                    <a:ext uri="{FF2B5EF4-FFF2-40B4-BE49-F238E27FC236}">
                      <a16:creationId xmlns:a16="http://schemas.microsoft.com/office/drawing/2014/main" id="{050D7885-2185-6406-9116-1CA6AF741325}"/>
                    </a:ext>
                  </a:extLst>
                </p:cNvPr>
                <p:cNvSpPr>
                  <a:spLocks/>
                </p:cNvSpPr>
                <p:nvPr/>
              </p:nvSpPr>
              <p:spPr bwMode="gray">
                <a:xfrm rot="5400000">
                  <a:off x="819989"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73" name="Triangle_4">
                  <a:extLst>
                    <a:ext uri="{FF2B5EF4-FFF2-40B4-BE49-F238E27FC236}">
                      <a16:creationId xmlns:a16="http://schemas.microsoft.com/office/drawing/2014/main" id="{5AE63ADF-01E0-826F-50A0-5DB69C23AC7A}"/>
                    </a:ext>
                  </a:extLst>
                </p:cNvPr>
                <p:cNvSpPr>
                  <a:spLocks/>
                </p:cNvSpPr>
                <p:nvPr/>
              </p:nvSpPr>
              <p:spPr bwMode="gray">
                <a:xfrm rot="16200000">
                  <a:off x="98546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sp>
            <p:nvSpPr>
              <p:cNvPr id="762" name="Triangle_2">
                <a:extLst>
                  <a:ext uri="{FF2B5EF4-FFF2-40B4-BE49-F238E27FC236}">
                    <a16:creationId xmlns:a16="http://schemas.microsoft.com/office/drawing/2014/main" id="{2D1E0F4E-82C3-3835-2C74-AEAF2FCDC113}"/>
                  </a:ext>
                </a:extLst>
              </p:cNvPr>
              <p:cNvSpPr>
                <a:spLocks/>
              </p:cNvSpPr>
              <p:nvPr/>
            </p:nvSpPr>
            <p:spPr bwMode="gray">
              <a:xfrm>
                <a:off x="920750" y="2384013"/>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63" name="Triangle_2">
                <a:extLst>
                  <a:ext uri="{FF2B5EF4-FFF2-40B4-BE49-F238E27FC236}">
                    <a16:creationId xmlns:a16="http://schemas.microsoft.com/office/drawing/2014/main" id="{4C0B5C2B-272F-96F2-E728-B3C0C93727AC}"/>
                  </a:ext>
                </a:extLst>
              </p:cNvPr>
              <p:cNvSpPr>
                <a:spLocks/>
              </p:cNvSpPr>
              <p:nvPr/>
            </p:nvSpPr>
            <p:spPr bwMode="gray">
              <a:xfrm>
                <a:off x="700982" y="1949148"/>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64" name="Triangle_3">
                <a:extLst>
                  <a:ext uri="{FF2B5EF4-FFF2-40B4-BE49-F238E27FC236}">
                    <a16:creationId xmlns:a16="http://schemas.microsoft.com/office/drawing/2014/main" id="{1CEB17BF-C26D-E143-3CD4-B8E2A9F1D7FB}"/>
                  </a:ext>
                </a:extLst>
              </p:cNvPr>
              <p:cNvSpPr>
                <a:spLocks/>
              </p:cNvSpPr>
              <p:nvPr/>
            </p:nvSpPr>
            <p:spPr bwMode="gray">
              <a:xfrm rot="10800000">
                <a:off x="266700" y="1623437"/>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65" name="Triangle_2">
                <a:extLst>
                  <a:ext uri="{FF2B5EF4-FFF2-40B4-BE49-F238E27FC236}">
                    <a16:creationId xmlns:a16="http://schemas.microsoft.com/office/drawing/2014/main" id="{B7379BEE-52A8-914E-B373-26BACF5A9C4B}"/>
                  </a:ext>
                </a:extLst>
              </p:cNvPr>
              <p:cNvSpPr>
                <a:spLocks/>
              </p:cNvSpPr>
              <p:nvPr/>
            </p:nvSpPr>
            <p:spPr bwMode="gray">
              <a:xfrm>
                <a:off x="266700" y="1732007"/>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66" name="Triangle_3">
                <a:extLst>
                  <a:ext uri="{FF2B5EF4-FFF2-40B4-BE49-F238E27FC236}">
                    <a16:creationId xmlns:a16="http://schemas.microsoft.com/office/drawing/2014/main" id="{E4267080-37BE-F0E7-7E8D-5ECD6B411258}"/>
                  </a:ext>
                </a:extLst>
              </p:cNvPr>
              <p:cNvSpPr>
                <a:spLocks/>
              </p:cNvSpPr>
              <p:nvPr/>
            </p:nvSpPr>
            <p:spPr bwMode="gray">
              <a:xfrm rot="10800000">
                <a:off x="266700" y="1840578"/>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67" name="Triangle_1">
                <a:extLst>
                  <a:ext uri="{FF2B5EF4-FFF2-40B4-BE49-F238E27FC236}">
                    <a16:creationId xmlns:a16="http://schemas.microsoft.com/office/drawing/2014/main" id="{26B371E0-A2C6-99BA-1503-D1907CBAAF38}"/>
                  </a:ext>
                </a:extLst>
              </p:cNvPr>
              <p:cNvSpPr>
                <a:spLocks/>
              </p:cNvSpPr>
              <p:nvPr/>
            </p:nvSpPr>
            <p:spPr bwMode="gray">
              <a:xfrm rot="10800000">
                <a:off x="483841" y="2492001"/>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68" name="Triangle_2">
                <a:extLst>
                  <a:ext uri="{FF2B5EF4-FFF2-40B4-BE49-F238E27FC236}">
                    <a16:creationId xmlns:a16="http://schemas.microsoft.com/office/drawing/2014/main" id="{6486DBEA-C9CF-7544-ECF2-7C8E2E91D405}"/>
                  </a:ext>
                </a:extLst>
              </p:cNvPr>
              <p:cNvSpPr>
                <a:spLocks/>
              </p:cNvSpPr>
              <p:nvPr/>
            </p:nvSpPr>
            <p:spPr bwMode="gray">
              <a:xfrm>
                <a:off x="700982" y="2383431"/>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69" name="Triangle_2">
                <a:extLst>
                  <a:ext uri="{FF2B5EF4-FFF2-40B4-BE49-F238E27FC236}">
                    <a16:creationId xmlns:a16="http://schemas.microsoft.com/office/drawing/2014/main" id="{A3B15B2B-32E9-8F19-EC51-B84D30A36BD6}"/>
                  </a:ext>
                </a:extLst>
              </p:cNvPr>
              <p:cNvSpPr>
                <a:spLocks/>
              </p:cNvSpPr>
              <p:nvPr/>
            </p:nvSpPr>
            <p:spPr bwMode="gray">
              <a:xfrm>
                <a:off x="266700" y="2166289"/>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nvGrpSpPr>
              <p:cNvPr id="770" name="Group 769">
                <a:extLst>
                  <a:ext uri="{FF2B5EF4-FFF2-40B4-BE49-F238E27FC236}">
                    <a16:creationId xmlns:a16="http://schemas.microsoft.com/office/drawing/2014/main" id="{93E3771B-E550-A422-82AE-3827DE407F5D}"/>
                  </a:ext>
                </a:extLst>
              </p:cNvPr>
              <p:cNvGrpSpPr>
                <a:grpSpLocks/>
              </p:cNvGrpSpPr>
              <p:nvPr/>
            </p:nvGrpSpPr>
            <p:grpSpPr bwMode="gray">
              <a:xfrm>
                <a:off x="700982" y="3143425"/>
                <a:ext cx="217142" cy="217142"/>
                <a:chOff x="902726" y="2419889"/>
                <a:chExt cx="330948" cy="330948"/>
              </a:xfrm>
              <a:grpFill/>
            </p:grpSpPr>
            <p:sp>
              <p:nvSpPr>
                <p:cNvPr id="1264" name="dfine_grid_single_shape_frame">
                  <a:extLst>
                    <a:ext uri="{FF2B5EF4-FFF2-40B4-BE49-F238E27FC236}">
                      <a16:creationId xmlns:a16="http://schemas.microsoft.com/office/drawing/2014/main" id="{83D5D739-2EDD-170E-CB3A-6F2247B08284}"/>
                    </a:ext>
                  </a:extLst>
                </p:cNvPr>
                <p:cNvSpPr>
                  <a:spLocks/>
                </p:cNvSpPr>
                <p:nvPr/>
              </p:nvSpPr>
              <p:spPr bwMode="gray">
                <a:xfrm>
                  <a:off x="902726"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65" name="Triangle_1">
                  <a:extLst>
                    <a:ext uri="{FF2B5EF4-FFF2-40B4-BE49-F238E27FC236}">
                      <a16:creationId xmlns:a16="http://schemas.microsoft.com/office/drawing/2014/main" id="{3E0ACEB2-C42F-9515-5FC1-05E6B2924515}"/>
                    </a:ext>
                  </a:extLst>
                </p:cNvPr>
                <p:cNvSpPr>
                  <a:spLocks/>
                </p:cNvSpPr>
                <p:nvPr/>
              </p:nvSpPr>
              <p:spPr bwMode="gray">
                <a:xfrm rot="10800000">
                  <a:off x="902726"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66" name="Triangle_2">
                  <a:extLst>
                    <a:ext uri="{FF2B5EF4-FFF2-40B4-BE49-F238E27FC236}">
                      <a16:creationId xmlns:a16="http://schemas.microsoft.com/office/drawing/2014/main" id="{A76AECB7-3EAA-C47F-252F-199A7E5899BF}"/>
                    </a:ext>
                  </a:extLst>
                </p:cNvPr>
                <p:cNvSpPr>
                  <a:spLocks/>
                </p:cNvSpPr>
                <p:nvPr/>
              </p:nvSpPr>
              <p:spPr bwMode="gray">
                <a:xfrm>
                  <a:off x="902726"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67" name="Triangle_3">
                  <a:extLst>
                    <a:ext uri="{FF2B5EF4-FFF2-40B4-BE49-F238E27FC236}">
                      <a16:creationId xmlns:a16="http://schemas.microsoft.com/office/drawing/2014/main" id="{33C96AD1-8A78-8646-7DDE-C67B8D4A5210}"/>
                    </a:ext>
                  </a:extLst>
                </p:cNvPr>
                <p:cNvSpPr>
                  <a:spLocks/>
                </p:cNvSpPr>
                <p:nvPr/>
              </p:nvSpPr>
              <p:spPr bwMode="gray">
                <a:xfrm rot="5400000">
                  <a:off x="819989"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68" name="Triangle_4">
                  <a:extLst>
                    <a:ext uri="{FF2B5EF4-FFF2-40B4-BE49-F238E27FC236}">
                      <a16:creationId xmlns:a16="http://schemas.microsoft.com/office/drawing/2014/main" id="{6565CE52-08D9-B8D3-6F70-360189B3FB9D}"/>
                    </a:ext>
                  </a:extLst>
                </p:cNvPr>
                <p:cNvSpPr>
                  <a:spLocks/>
                </p:cNvSpPr>
                <p:nvPr/>
              </p:nvSpPr>
              <p:spPr bwMode="gray">
                <a:xfrm rot="16200000">
                  <a:off x="98546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71" name="Group 770">
                <a:extLst>
                  <a:ext uri="{FF2B5EF4-FFF2-40B4-BE49-F238E27FC236}">
                    <a16:creationId xmlns:a16="http://schemas.microsoft.com/office/drawing/2014/main" id="{D8720A84-1D18-BB44-F536-41B95A1ED226}"/>
                  </a:ext>
                </a:extLst>
              </p:cNvPr>
              <p:cNvGrpSpPr>
                <a:grpSpLocks/>
              </p:cNvGrpSpPr>
              <p:nvPr/>
            </p:nvGrpSpPr>
            <p:grpSpPr bwMode="gray">
              <a:xfrm>
                <a:off x="700982" y="3360566"/>
                <a:ext cx="217142" cy="217142"/>
                <a:chOff x="902726" y="2750836"/>
                <a:chExt cx="330948" cy="330948"/>
              </a:xfrm>
              <a:grpFill/>
            </p:grpSpPr>
            <p:sp>
              <p:nvSpPr>
                <p:cNvPr id="1259" name="dfine_grid_single_shape_frame">
                  <a:extLst>
                    <a:ext uri="{FF2B5EF4-FFF2-40B4-BE49-F238E27FC236}">
                      <a16:creationId xmlns:a16="http://schemas.microsoft.com/office/drawing/2014/main" id="{DE46AF58-423E-B267-A171-618559C04F2F}"/>
                    </a:ext>
                  </a:extLst>
                </p:cNvPr>
                <p:cNvSpPr>
                  <a:spLocks/>
                </p:cNvSpPr>
                <p:nvPr/>
              </p:nvSpPr>
              <p:spPr bwMode="gray">
                <a:xfrm>
                  <a:off x="902726"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60" name="Triangle_1">
                  <a:extLst>
                    <a:ext uri="{FF2B5EF4-FFF2-40B4-BE49-F238E27FC236}">
                      <a16:creationId xmlns:a16="http://schemas.microsoft.com/office/drawing/2014/main" id="{3A578BAC-73C4-FFBB-6A0A-FC4C3077FC27}"/>
                    </a:ext>
                  </a:extLst>
                </p:cNvPr>
                <p:cNvSpPr>
                  <a:spLocks/>
                </p:cNvSpPr>
                <p:nvPr/>
              </p:nvSpPr>
              <p:spPr bwMode="gray">
                <a:xfrm rot="10800000">
                  <a:off x="902726"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61" name="Triangle_2">
                  <a:extLst>
                    <a:ext uri="{FF2B5EF4-FFF2-40B4-BE49-F238E27FC236}">
                      <a16:creationId xmlns:a16="http://schemas.microsoft.com/office/drawing/2014/main" id="{FF75BF45-4179-5EAC-22B0-D4F088EDAC1B}"/>
                    </a:ext>
                  </a:extLst>
                </p:cNvPr>
                <p:cNvSpPr>
                  <a:spLocks/>
                </p:cNvSpPr>
                <p:nvPr/>
              </p:nvSpPr>
              <p:spPr bwMode="gray">
                <a:xfrm>
                  <a:off x="902726"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62" name="Triangle_3">
                  <a:extLst>
                    <a:ext uri="{FF2B5EF4-FFF2-40B4-BE49-F238E27FC236}">
                      <a16:creationId xmlns:a16="http://schemas.microsoft.com/office/drawing/2014/main" id="{8C6781AF-2D0B-F4DF-D246-921EA8759719}"/>
                    </a:ext>
                  </a:extLst>
                </p:cNvPr>
                <p:cNvSpPr>
                  <a:spLocks/>
                </p:cNvSpPr>
                <p:nvPr/>
              </p:nvSpPr>
              <p:spPr bwMode="gray">
                <a:xfrm rot="5400000">
                  <a:off x="819989"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63" name="Triangle_4">
                  <a:extLst>
                    <a:ext uri="{FF2B5EF4-FFF2-40B4-BE49-F238E27FC236}">
                      <a16:creationId xmlns:a16="http://schemas.microsoft.com/office/drawing/2014/main" id="{2BFADABA-575B-6287-FACC-5C1903A559C5}"/>
                    </a:ext>
                  </a:extLst>
                </p:cNvPr>
                <p:cNvSpPr>
                  <a:spLocks/>
                </p:cNvSpPr>
                <p:nvPr/>
              </p:nvSpPr>
              <p:spPr bwMode="gray">
                <a:xfrm rot="16200000">
                  <a:off x="98546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72" name="Group 771">
                <a:extLst>
                  <a:ext uri="{FF2B5EF4-FFF2-40B4-BE49-F238E27FC236}">
                    <a16:creationId xmlns:a16="http://schemas.microsoft.com/office/drawing/2014/main" id="{C18D806B-F2FC-B824-9210-C4E4E973D685}"/>
                  </a:ext>
                </a:extLst>
              </p:cNvPr>
              <p:cNvGrpSpPr>
                <a:grpSpLocks/>
              </p:cNvGrpSpPr>
              <p:nvPr/>
            </p:nvGrpSpPr>
            <p:grpSpPr bwMode="gray">
              <a:xfrm>
                <a:off x="700982" y="3577707"/>
                <a:ext cx="217142" cy="217142"/>
                <a:chOff x="902726" y="3081783"/>
                <a:chExt cx="330948" cy="330948"/>
              </a:xfrm>
              <a:grpFill/>
            </p:grpSpPr>
            <p:sp>
              <p:nvSpPr>
                <p:cNvPr id="1254" name="dfine_grid_single_shape_frame">
                  <a:extLst>
                    <a:ext uri="{FF2B5EF4-FFF2-40B4-BE49-F238E27FC236}">
                      <a16:creationId xmlns:a16="http://schemas.microsoft.com/office/drawing/2014/main" id="{D3B1A221-A069-BF2D-F55A-28FA441D38EF}"/>
                    </a:ext>
                  </a:extLst>
                </p:cNvPr>
                <p:cNvSpPr>
                  <a:spLocks/>
                </p:cNvSpPr>
                <p:nvPr/>
              </p:nvSpPr>
              <p:spPr bwMode="gray">
                <a:xfrm>
                  <a:off x="902726"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55" name="Triangle_1">
                  <a:extLst>
                    <a:ext uri="{FF2B5EF4-FFF2-40B4-BE49-F238E27FC236}">
                      <a16:creationId xmlns:a16="http://schemas.microsoft.com/office/drawing/2014/main" id="{FD863289-B6B9-01C1-167A-C72358FA8C72}"/>
                    </a:ext>
                  </a:extLst>
                </p:cNvPr>
                <p:cNvSpPr>
                  <a:spLocks/>
                </p:cNvSpPr>
                <p:nvPr/>
              </p:nvSpPr>
              <p:spPr bwMode="gray">
                <a:xfrm rot="10800000">
                  <a:off x="902726"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56" name="Triangle_2">
                  <a:extLst>
                    <a:ext uri="{FF2B5EF4-FFF2-40B4-BE49-F238E27FC236}">
                      <a16:creationId xmlns:a16="http://schemas.microsoft.com/office/drawing/2014/main" id="{B537B003-15E8-AA0A-458E-3355CDED2C44}"/>
                    </a:ext>
                  </a:extLst>
                </p:cNvPr>
                <p:cNvSpPr>
                  <a:spLocks/>
                </p:cNvSpPr>
                <p:nvPr/>
              </p:nvSpPr>
              <p:spPr bwMode="gray">
                <a:xfrm>
                  <a:off x="902726"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57" name="Triangle_3">
                  <a:extLst>
                    <a:ext uri="{FF2B5EF4-FFF2-40B4-BE49-F238E27FC236}">
                      <a16:creationId xmlns:a16="http://schemas.microsoft.com/office/drawing/2014/main" id="{A991B842-73E0-89DC-E9F3-CB45F41C6E99}"/>
                    </a:ext>
                  </a:extLst>
                </p:cNvPr>
                <p:cNvSpPr>
                  <a:spLocks/>
                </p:cNvSpPr>
                <p:nvPr/>
              </p:nvSpPr>
              <p:spPr bwMode="gray">
                <a:xfrm rot="5400000">
                  <a:off x="819989"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58" name="Triangle_4">
                  <a:extLst>
                    <a:ext uri="{FF2B5EF4-FFF2-40B4-BE49-F238E27FC236}">
                      <a16:creationId xmlns:a16="http://schemas.microsoft.com/office/drawing/2014/main" id="{016024D3-0798-2693-A88C-4A810B62094F}"/>
                    </a:ext>
                  </a:extLst>
                </p:cNvPr>
                <p:cNvSpPr>
                  <a:spLocks/>
                </p:cNvSpPr>
                <p:nvPr/>
              </p:nvSpPr>
              <p:spPr bwMode="gray">
                <a:xfrm rot="16200000">
                  <a:off x="98546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73" name="Group 772">
                <a:extLst>
                  <a:ext uri="{FF2B5EF4-FFF2-40B4-BE49-F238E27FC236}">
                    <a16:creationId xmlns:a16="http://schemas.microsoft.com/office/drawing/2014/main" id="{5B691B0A-BF7C-34B2-F677-E64420A262F1}"/>
                  </a:ext>
                </a:extLst>
              </p:cNvPr>
              <p:cNvGrpSpPr>
                <a:grpSpLocks/>
              </p:cNvGrpSpPr>
              <p:nvPr/>
            </p:nvGrpSpPr>
            <p:grpSpPr bwMode="gray">
              <a:xfrm>
                <a:off x="700982" y="3794848"/>
                <a:ext cx="217142" cy="217142"/>
                <a:chOff x="902726" y="3412730"/>
                <a:chExt cx="330948" cy="330948"/>
              </a:xfrm>
              <a:grpFill/>
            </p:grpSpPr>
            <p:sp>
              <p:nvSpPr>
                <p:cNvPr id="1249" name="dfine_grid_single_shape_frame">
                  <a:extLst>
                    <a:ext uri="{FF2B5EF4-FFF2-40B4-BE49-F238E27FC236}">
                      <a16:creationId xmlns:a16="http://schemas.microsoft.com/office/drawing/2014/main" id="{53E22042-C256-4087-1A2B-5335EE0F4739}"/>
                    </a:ext>
                  </a:extLst>
                </p:cNvPr>
                <p:cNvSpPr>
                  <a:spLocks/>
                </p:cNvSpPr>
                <p:nvPr/>
              </p:nvSpPr>
              <p:spPr bwMode="gray">
                <a:xfrm>
                  <a:off x="902726"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50" name="Triangle_1">
                  <a:extLst>
                    <a:ext uri="{FF2B5EF4-FFF2-40B4-BE49-F238E27FC236}">
                      <a16:creationId xmlns:a16="http://schemas.microsoft.com/office/drawing/2014/main" id="{D9B5363F-EDEE-D4DB-8702-240F67BE41B4}"/>
                    </a:ext>
                  </a:extLst>
                </p:cNvPr>
                <p:cNvSpPr>
                  <a:spLocks/>
                </p:cNvSpPr>
                <p:nvPr/>
              </p:nvSpPr>
              <p:spPr bwMode="gray">
                <a:xfrm rot="10800000">
                  <a:off x="902726"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51" name="Triangle_2">
                  <a:extLst>
                    <a:ext uri="{FF2B5EF4-FFF2-40B4-BE49-F238E27FC236}">
                      <a16:creationId xmlns:a16="http://schemas.microsoft.com/office/drawing/2014/main" id="{F2B76D68-1FBD-73B8-30A8-94EB5F965DA0}"/>
                    </a:ext>
                  </a:extLst>
                </p:cNvPr>
                <p:cNvSpPr>
                  <a:spLocks/>
                </p:cNvSpPr>
                <p:nvPr/>
              </p:nvSpPr>
              <p:spPr bwMode="gray">
                <a:xfrm>
                  <a:off x="902726"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52" name="Triangle_3">
                  <a:extLst>
                    <a:ext uri="{FF2B5EF4-FFF2-40B4-BE49-F238E27FC236}">
                      <a16:creationId xmlns:a16="http://schemas.microsoft.com/office/drawing/2014/main" id="{AFD110FA-9568-3B81-3F27-87D41E3C0868}"/>
                    </a:ext>
                  </a:extLst>
                </p:cNvPr>
                <p:cNvSpPr>
                  <a:spLocks/>
                </p:cNvSpPr>
                <p:nvPr/>
              </p:nvSpPr>
              <p:spPr bwMode="gray">
                <a:xfrm rot="5400000">
                  <a:off x="819989"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53" name="Triangle_4">
                  <a:extLst>
                    <a:ext uri="{FF2B5EF4-FFF2-40B4-BE49-F238E27FC236}">
                      <a16:creationId xmlns:a16="http://schemas.microsoft.com/office/drawing/2014/main" id="{0841A68F-05C6-6FB6-1B13-4A32936DCA38}"/>
                    </a:ext>
                  </a:extLst>
                </p:cNvPr>
                <p:cNvSpPr>
                  <a:spLocks/>
                </p:cNvSpPr>
                <p:nvPr/>
              </p:nvSpPr>
              <p:spPr bwMode="gray">
                <a:xfrm rot="16200000">
                  <a:off x="98546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74" name="Group 773">
                <a:extLst>
                  <a:ext uri="{FF2B5EF4-FFF2-40B4-BE49-F238E27FC236}">
                    <a16:creationId xmlns:a16="http://schemas.microsoft.com/office/drawing/2014/main" id="{9AFE2FF0-F3A3-4104-D336-198247E59263}"/>
                  </a:ext>
                </a:extLst>
              </p:cNvPr>
              <p:cNvGrpSpPr>
                <a:grpSpLocks/>
              </p:cNvGrpSpPr>
              <p:nvPr/>
            </p:nvGrpSpPr>
            <p:grpSpPr bwMode="gray">
              <a:xfrm>
                <a:off x="700982" y="4011989"/>
                <a:ext cx="217142" cy="217142"/>
                <a:chOff x="902726" y="3743677"/>
                <a:chExt cx="330948" cy="330948"/>
              </a:xfrm>
              <a:grpFill/>
            </p:grpSpPr>
            <p:sp>
              <p:nvSpPr>
                <p:cNvPr id="1244" name="dfine_grid_single_shape_frame">
                  <a:extLst>
                    <a:ext uri="{FF2B5EF4-FFF2-40B4-BE49-F238E27FC236}">
                      <a16:creationId xmlns:a16="http://schemas.microsoft.com/office/drawing/2014/main" id="{213E8F40-1D94-EF3D-AFE8-3E2150862598}"/>
                    </a:ext>
                  </a:extLst>
                </p:cNvPr>
                <p:cNvSpPr>
                  <a:spLocks/>
                </p:cNvSpPr>
                <p:nvPr/>
              </p:nvSpPr>
              <p:spPr bwMode="gray">
                <a:xfrm>
                  <a:off x="902726"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45" name="Triangle_1">
                  <a:extLst>
                    <a:ext uri="{FF2B5EF4-FFF2-40B4-BE49-F238E27FC236}">
                      <a16:creationId xmlns:a16="http://schemas.microsoft.com/office/drawing/2014/main" id="{2A1BF582-056B-7C58-21EF-54A72EC44B01}"/>
                    </a:ext>
                  </a:extLst>
                </p:cNvPr>
                <p:cNvSpPr>
                  <a:spLocks/>
                </p:cNvSpPr>
                <p:nvPr/>
              </p:nvSpPr>
              <p:spPr bwMode="gray">
                <a:xfrm rot="10800000">
                  <a:off x="902726"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46" name="Triangle_2">
                  <a:extLst>
                    <a:ext uri="{FF2B5EF4-FFF2-40B4-BE49-F238E27FC236}">
                      <a16:creationId xmlns:a16="http://schemas.microsoft.com/office/drawing/2014/main" id="{766FAE9C-CA73-D6AE-CA3D-BB3AA87E4CCB}"/>
                    </a:ext>
                  </a:extLst>
                </p:cNvPr>
                <p:cNvSpPr>
                  <a:spLocks/>
                </p:cNvSpPr>
                <p:nvPr/>
              </p:nvSpPr>
              <p:spPr bwMode="gray">
                <a:xfrm>
                  <a:off x="902726"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47" name="Triangle_3">
                  <a:extLst>
                    <a:ext uri="{FF2B5EF4-FFF2-40B4-BE49-F238E27FC236}">
                      <a16:creationId xmlns:a16="http://schemas.microsoft.com/office/drawing/2014/main" id="{F7A53831-91D1-3470-1D3A-98FA66ADB11E}"/>
                    </a:ext>
                  </a:extLst>
                </p:cNvPr>
                <p:cNvSpPr>
                  <a:spLocks/>
                </p:cNvSpPr>
                <p:nvPr/>
              </p:nvSpPr>
              <p:spPr bwMode="gray">
                <a:xfrm rot="5400000">
                  <a:off x="819989"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48" name="Triangle_4">
                  <a:extLst>
                    <a:ext uri="{FF2B5EF4-FFF2-40B4-BE49-F238E27FC236}">
                      <a16:creationId xmlns:a16="http://schemas.microsoft.com/office/drawing/2014/main" id="{C772CE06-D7AB-FD41-34A7-34436D56AE38}"/>
                    </a:ext>
                  </a:extLst>
                </p:cNvPr>
                <p:cNvSpPr>
                  <a:spLocks/>
                </p:cNvSpPr>
                <p:nvPr/>
              </p:nvSpPr>
              <p:spPr bwMode="gray">
                <a:xfrm rot="16200000">
                  <a:off x="98546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75" name="Group 774">
                <a:extLst>
                  <a:ext uri="{FF2B5EF4-FFF2-40B4-BE49-F238E27FC236}">
                    <a16:creationId xmlns:a16="http://schemas.microsoft.com/office/drawing/2014/main" id="{3B147DF0-54B9-DCB4-D29F-BBA276132D71}"/>
                  </a:ext>
                </a:extLst>
              </p:cNvPr>
              <p:cNvGrpSpPr>
                <a:grpSpLocks/>
              </p:cNvGrpSpPr>
              <p:nvPr/>
            </p:nvGrpSpPr>
            <p:grpSpPr bwMode="gray">
              <a:xfrm>
                <a:off x="700982" y="4229130"/>
                <a:ext cx="217142" cy="217142"/>
                <a:chOff x="902726" y="4074624"/>
                <a:chExt cx="330948" cy="330948"/>
              </a:xfrm>
              <a:grpFill/>
            </p:grpSpPr>
            <p:sp>
              <p:nvSpPr>
                <p:cNvPr id="1239" name="dfine_grid_single_shape_frame">
                  <a:extLst>
                    <a:ext uri="{FF2B5EF4-FFF2-40B4-BE49-F238E27FC236}">
                      <a16:creationId xmlns:a16="http://schemas.microsoft.com/office/drawing/2014/main" id="{970A0E87-4B9C-EBCF-3485-9E2122DADB65}"/>
                    </a:ext>
                  </a:extLst>
                </p:cNvPr>
                <p:cNvSpPr>
                  <a:spLocks/>
                </p:cNvSpPr>
                <p:nvPr/>
              </p:nvSpPr>
              <p:spPr bwMode="gray">
                <a:xfrm>
                  <a:off x="902726"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40" name="Triangle_1">
                  <a:extLst>
                    <a:ext uri="{FF2B5EF4-FFF2-40B4-BE49-F238E27FC236}">
                      <a16:creationId xmlns:a16="http://schemas.microsoft.com/office/drawing/2014/main" id="{1B8064E0-7BFE-0436-CF45-4717958FCC3F}"/>
                    </a:ext>
                  </a:extLst>
                </p:cNvPr>
                <p:cNvSpPr>
                  <a:spLocks/>
                </p:cNvSpPr>
                <p:nvPr/>
              </p:nvSpPr>
              <p:spPr bwMode="gray">
                <a:xfrm rot="10800000">
                  <a:off x="902726"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41" name="Triangle_2">
                  <a:extLst>
                    <a:ext uri="{FF2B5EF4-FFF2-40B4-BE49-F238E27FC236}">
                      <a16:creationId xmlns:a16="http://schemas.microsoft.com/office/drawing/2014/main" id="{A323F3E6-C9C3-CC24-1CBD-05F3F531DE2B}"/>
                    </a:ext>
                  </a:extLst>
                </p:cNvPr>
                <p:cNvSpPr>
                  <a:spLocks/>
                </p:cNvSpPr>
                <p:nvPr/>
              </p:nvSpPr>
              <p:spPr bwMode="gray">
                <a:xfrm>
                  <a:off x="902726"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42" name="Triangle_3">
                  <a:extLst>
                    <a:ext uri="{FF2B5EF4-FFF2-40B4-BE49-F238E27FC236}">
                      <a16:creationId xmlns:a16="http://schemas.microsoft.com/office/drawing/2014/main" id="{7DC8CB2E-58B4-B798-F222-F5251C01A1BD}"/>
                    </a:ext>
                  </a:extLst>
                </p:cNvPr>
                <p:cNvSpPr>
                  <a:spLocks/>
                </p:cNvSpPr>
                <p:nvPr/>
              </p:nvSpPr>
              <p:spPr bwMode="gray">
                <a:xfrm rot="5400000">
                  <a:off x="819989"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43" name="Triangle_4">
                  <a:extLst>
                    <a:ext uri="{FF2B5EF4-FFF2-40B4-BE49-F238E27FC236}">
                      <a16:creationId xmlns:a16="http://schemas.microsoft.com/office/drawing/2014/main" id="{460E455C-D18F-4725-76DE-7A0A678257A5}"/>
                    </a:ext>
                  </a:extLst>
                </p:cNvPr>
                <p:cNvSpPr>
                  <a:spLocks/>
                </p:cNvSpPr>
                <p:nvPr/>
              </p:nvSpPr>
              <p:spPr bwMode="gray">
                <a:xfrm rot="16200000">
                  <a:off x="98546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76" name="Group 775">
                <a:extLst>
                  <a:ext uri="{FF2B5EF4-FFF2-40B4-BE49-F238E27FC236}">
                    <a16:creationId xmlns:a16="http://schemas.microsoft.com/office/drawing/2014/main" id="{E593DA40-A19D-7AC8-0335-F10AA48A1474}"/>
                  </a:ext>
                </a:extLst>
              </p:cNvPr>
              <p:cNvGrpSpPr>
                <a:grpSpLocks/>
              </p:cNvGrpSpPr>
              <p:nvPr/>
            </p:nvGrpSpPr>
            <p:grpSpPr bwMode="gray">
              <a:xfrm>
                <a:off x="918123" y="3143425"/>
                <a:ext cx="217142" cy="217142"/>
                <a:chOff x="1233673" y="2419889"/>
                <a:chExt cx="330948" cy="330948"/>
              </a:xfrm>
              <a:grpFill/>
            </p:grpSpPr>
            <p:sp>
              <p:nvSpPr>
                <p:cNvPr id="1234" name="dfine_grid_single_shape_frame">
                  <a:extLst>
                    <a:ext uri="{FF2B5EF4-FFF2-40B4-BE49-F238E27FC236}">
                      <a16:creationId xmlns:a16="http://schemas.microsoft.com/office/drawing/2014/main" id="{3259AE1B-AA4A-1BA8-A84D-F2A27532BFE0}"/>
                    </a:ext>
                  </a:extLst>
                </p:cNvPr>
                <p:cNvSpPr>
                  <a:spLocks/>
                </p:cNvSpPr>
                <p:nvPr/>
              </p:nvSpPr>
              <p:spPr bwMode="gray">
                <a:xfrm>
                  <a:off x="1233673"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35" name="Triangle_1">
                  <a:extLst>
                    <a:ext uri="{FF2B5EF4-FFF2-40B4-BE49-F238E27FC236}">
                      <a16:creationId xmlns:a16="http://schemas.microsoft.com/office/drawing/2014/main" id="{68574807-8868-219C-4017-830591AF9B4F}"/>
                    </a:ext>
                  </a:extLst>
                </p:cNvPr>
                <p:cNvSpPr>
                  <a:spLocks/>
                </p:cNvSpPr>
                <p:nvPr/>
              </p:nvSpPr>
              <p:spPr bwMode="gray">
                <a:xfrm rot="10800000">
                  <a:off x="1233673"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36" name="Triangle_2">
                  <a:extLst>
                    <a:ext uri="{FF2B5EF4-FFF2-40B4-BE49-F238E27FC236}">
                      <a16:creationId xmlns:a16="http://schemas.microsoft.com/office/drawing/2014/main" id="{0F19C3A6-5FB9-72EB-EE7E-E2F670B508CB}"/>
                    </a:ext>
                  </a:extLst>
                </p:cNvPr>
                <p:cNvSpPr>
                  <a:spLocks/>
                </p:cNvSpPr>
                <p:nvPr/>
              </p:nvSpPr>
              <p:spPr bwMode="gray">
                <a:xfrm>
                  <a:off x="1233673"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37" name="Triangle_3">
                  <a:extLst>
                    <a:ext uri="{FF2B5EF4-FFF2-40B4-BE49-F238E27FC236}">
                      <a16:creationId xmlns:a16="http://schemas.microsoft.com/office/drawing/2014/main" id="{AF20BF5C-2C25-3CE2-D8C6-CFF7C029DA15}"/>
                    </a:ext>
                  </a:extLst>
                </p:cNvPr>
                <p:cNvSpPr>
                  <a:spLocks/>
                </p:cNvSpPr>
                <p:nvPr/>
              </p:nvSpPr>
              <p:spPr bwMode="gray">
                <a:xfrm rot="5400000">
                  <a:off x="1150936"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38" name="Triangle_4">
                  <a:extLst>
                    <a:ext uri="{FF2B5EF4-FFF2-40B4-BE49-F238E27FC236}">
                      <a16:creationId xmlns:a16="http://schemas.microsoft.com/office/drawing/2014/main" id="{9736ECFC-A878-FFBB-3BD3-94788CA30513}"/>
                    </a:ext>
                  </a:extLst>
                </p:cNvPr>
                <p:cNvSpPr>
                  <a:spLocks/>
                </p:cNvSpPr>
                <p:nvPr/>
              </p:nvSpPr>
              <p:spPr bwMode="gray">
                <a:xfrm rot="16200000">
                  <a:off x="1316410"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77" name="Group 776">
                <a:extLst>
                  <a:ext uri="{FF2B5EF4-FFF2-40B4-BE49-F238E27FC236}">
                    <a16:creationId xmlns:a16="http://schemas.microsoft.com/office/drawing/2014/main" id="{E17ED433-C21F-4EE9-B43F-741469EC85D8}"/>
                  </a:ext>
                </a:extLst>
              </p:cNvPr>
              <p:cNvGrpSpPr>
                <a:grpSpLocks/>
              </p:cNvGrpSpPr>
              <p:nvPr/>
            </p:nvGrpSpPr>
            <p:grpSpPr bwMode="gray">
              <a:xfrm>
                <a:off x="918123" y="3360566"/>
                <a:ext cx="217142" cy="217142"/>
                <a:chOff x="1233673" y="2750836"/>
                <a:chExt cx="330948" cy="330948"/>
              </a:xfrm>
              <a:grpFill/>
            </p:grpSpPr>
            <p:sp>
              <p:nvSpPr>
                <p:cNvPr id="1229" name="dfine_grid_single_shape_frame">
                  <a:extLst>
                    <a:ext uri="{FF2B5EF4-FFF2-40B4-BE49-F238E27FC236}">
                      <a16:creationId xmlns:a16="http://schemas.microsoft.com/office/drawing/2014/main" id="{76A4D24C-C0CA-0809-FDF4-357686DFF9B1}"/>
                    </a:ext>
                  </a:extLst>
                </p:cNvPr>
                <p:cNvSpPr>
                  <a:spLocks/>
                </p:cNvSpPr>
                <p:nvPr/>
              </p:nvSpPr>
              <p:spPr bwMode="gray">
                <a:xfrm>
                  <a:off x="1233673"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30" name="Triangle_1">
                  <a:extLst>
                    <a:ext uri="{FF2B5EF4-FFF2-40B4-BE49-F238E27FC236}">
                      <a16:creationId xmlns:a16="http://schemas.microsoft.com/office/drawing/2014/main" id="{D9EB4DE9-A9DA-E7E4-52B3-236E2C1B980B}"/>
                    </a:ext>
                  </a:extLst>
                </p:cNvPr>
                <p:cNvSpPr>
                  <a:spLocks/>
                </p:cNvSpPr>
                <p:nvPr/>
              </p:nvSpPr>
              <p:spPr bwMode="gray">
                <a:xfrm rot="10800000">
                  <a:off x="1233673"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31" name="Triangle_2">
                  <a:extLst>
                    <a:ext uri="{FF2B5EF4-FFF2-40B4-BE49-F238E27FC236}">
                      <a16:creationId xmlns:a16="http://schemas.microsoft.com/office/drawing/2014/main" id="{64560CC7-C32D-0C98-34E8-B583D05B592B}"/>
                    </a:ext>
                  </a:extLst>
                </p:cNvPr>
                <p:cNvSpPr>
                  <a:spLocks/>
                </p:cNvSpPr>
                <p:nvPr/>
              </p:nvSpPr>
              <p:spPr bwMode="gray">
                <a:xfrm>
                  <a:off x="1233673"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32" name="Triangle_3">
                  <a:extLst>
                    <a:ext uri="{FF2B5EF4-FFF2-40B4-BE49-F238E27FC236}">
                      <a16:creationId xmlns:a16="http://schemas.microsoft.com/office/drawing/2014/main" id="{66822BEE-B59C-AA86-7544-6F96C725B643}"/>
                    </a:ext>
                  </a:extLst>
                </p:cNvPr>
                <p:cNvSpPr>
                  <a:spLocks/>
                </p:cNvSpPr>
                <p:nvPr/>
              </p:nvSpPr>
              <p:spPr bwMode="gray">
                <a:xfrm rot="5400000">
                  <a:off x="1150936"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33" name="Triangle_4">
                  <a:extLst>
                    <a:ext uri="{FF2B5EF4-FFF2-40B4-BE49-F238E27FC236}">
                      <a16:creationId xmlns:a16="http://schemas.microsoft.com/office/drawing/2014/main" id="{7AD80D46-AB6B-781A-63C8-FD9201701DFC}"/>
                    </a:ext>
                  </a:extLst>
                </p:cNvPr>
                <p:cNvSpPr>
                  <a:spLocks/>
                </p:cNvSpPr>
                <p:nvPr/>
              </p:nvSpPr>
              <p:spPr bwMode="gray">
                <a:xfrm rot="16200000">
                  <a:off x="1316410"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78" name="Group 777">
                <a:extLst>
                  <a:ext uri="{FF2B5EF4-FFF2-40B4-BE49-F238E27FC236}">
                    <a16:creationId xmlns:a16="http://schemas.microsoft.com/office/drawing/2014/main" id="{AFC8E6CC-9782-78F2-F594-8C6137903501}"/>
                  </a:ext>
                </a:extLst>
              </p:cNvPr>
              <p:cNvGrpSpPr>
                <a:grpSpLocks/>
              </p:cNvGrpSpPr>
              <p:nvPr/>
            </p:nvGrpSpPr>
            <p:grpSpPr bwMode="gray">
              <a:xfrm>
                <a:off x="918123" y="3577707"/>
                <a:ext cx="217142" cy="217142"/>
                <a:chOff x="1233673" y="3081783"/>
                <a:chExt cx="330948" cy="330948"/>
              </a:xfrm>
              <a:grpFill/>
            </p:grpSpPr>
            <p:sp>
              <p:nvSpPr>
                <p:cNvPr id="1224" name="dfine_grid_single_shape_frame">
                  <a:extLst>
                    <a:ext uri="{FF2B5EF4-FFF2-40B4-BE49-F238E27FC236}">
                      <a16:creationId xmlns:a16="http://schemas.microsoft.com/office/drawing/2014/main" id="{93CBA279-2FBD-2F1D-0334-B8BAD5B287C1}"/>
                    </a:ext>
                  </a:extLst>
                </p:cNvPr>
                <p:cNvSpPr>
                  <a:spLocks/>
                </p:cNvSpPr>
                <p:nvPr/>
              </p:nvSpPr>
              <p:spPr bwMode="gray">
                <a:xfrm>
                  <a:off x="1233673"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25" name="Triangle_1">
                  <a:extLst>
                    <a:ext uri="{FF2B5EF4-FFF2-40B4-BE49-F238E27FC236}">
                      <a16:creationId xmlns:a16="http://schemas.microsoft.com/office/drawing/2014/main" id="{D6CCAEA2-AB6F-5322-14C7-954B929967EF}"/>
                    </a:ext>
                  </a:extLst>
                </p:cNvPr>
                <p:cNvSpPr>
                  <a:spLocks/>
                </p:cNvSpPr>
                <p:nvPr/>
              </p:nvSpPr>
              <p:spPr bwMode="gray">
                <a:xfrm rot="10800000">
                  <a:off x="1233673" y="3081783"/>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26" name="Triangle_2">
                  <a:extLst>
                    <a:ext uri="{FF2B5EF4-FFF2-40B4-BE49-F238E27FC236}">
                      <a16:creationId xmlns:a16="http://schemas.microsoft.com/office/drawing/2014/main" id="{07543EDE-A97A-463D-E422-8572819230F8}"/>
                    </a:ext>
                  </a:extLst>
                </p:cNvPr>
                <p:cNvSpPr>
                  <a:spLocks/>
                </p:cNvSpPr>
                <p:nvPr/>
              </p:nvSpPr>
              <p:spPr bwMode="gray">
                <a:xfrm>
                  <a:off x="1233673"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27" name="Triangle_3">
                  <a:extLst>
                    <a:ext uri="{FF2B5EF4-FFF2-40B4-BE49-F238E27FC236}">
                      <a16:creationId xmlns:a16="http://schemas.microsoft.com/office/drawing/2014/main" id="{AA6E835B-67DD-F2EA-A51F-85DF5B1F3810}"/>
                    </a:ext>
                  </a:extLst>
                </p:cNvPr>
                <p:cNvSpPr>
                  <a:spLocks/>
                </p:cNvSpPr>
                <p:nvPr/>
              </p:nvSpPr>
              <p:spPr bwMode="gray">
                <a:xfrm rot="5400000">
                  <a:off x="1150936"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28" name="Triangle_4">
                  <a:extLst>
                    <a:ext uri="{FF2B5EF4-FFF2-40B4-BE49-F238E27FC236}">
                      <a16:creationId xmlns:a16="http://schemas.microsoft.com/office/drawing/2014/main" id="{442B9038-80CD-3ACF-439B-202305FDEE8C}"/>
                    </a:ext>
                  </a:extLst>
                </p:cNvPr>
                <p:cNvSpPr>
                  <a:spLocks/>
                </p:cNvSpPr>
                <p:nvPr/>
              </p:nvSpPr>
              <p:spPr bwMode="gray">
                <a:xfrm rot="16200000">
                  <a:off x="1316410"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79" name="Group 778">
                <a:extLst>
                  <a:ext uri="{FF2B5EF4-FFF2-40B4-BE49-F238E27FC236}">
                    <a16:creationId xmlns:a16="http://schemas.microsoft.com/office/drawing/2014/main" id="{D671115F-BDF5-95E6-AE75-6A80F18683DC}"/>
                  </a:ext>
                </a:extLst>
              </p:cNvPr>
              <p:cNvGrpSpPr>
                <a:grpSpLocks/>
              </p:cNvGrpSpPr>
              <p:nvPr/>
            </p:nvGrpSpPr>
            <p:grpSpPr bwMode="gray">
              <a:xfrm>
                <a:off x="918123" y="3794848"/>
                <a:ext cx="217142" cy="217142"/>
                <a:chOff x="1233673" y="3412730"/>
                <a:chExt cx="330948" cy="330948"/>
              </a:xfrm>
              <a:grpFill/>
            </p:grpSpPr>
            <p:sp>
              <p:nvSpPr>
                <p:cNvPr id="1219" name="dfine_grid_single_shape_frame">
                  <a:extLst>
                    <a:ext uri="{FF2B5EF4-FFF2-40B4-BE49-F238E27FC236}">
                      <a16:creationId xmlns:a16="http://schemas.microsoft.com/office/drawing/2014/main" id="{B320EB65-ECD8-7316-0611-53E42A89C1FF}"/>
                    </a:ext>
                  </a:extLst>
                </p:cNvPr>
                <p:cNvSpPr>
                  <a:spLocks/>
                </p:cNvSpPr>
                <p:nvPr/>
              </p:nvSpPr>
              <p:spPr bwMode="gray">
                <a:xfrm>
                  <a:off x="1233673"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20" name="Triangle_1">
                  <a:extLst>
                    <a:ext uri="{FF2B5EF4-FFF2-40B4-BE49-F238E27FC236}">
                      <a16:creationId xmlns:a16="http://schemas.microsoft.com/office/drawing/2014/main" id="{84C2D4AC-B6C6-6E1A-95F3-6E59AB28071B}"/>
                    </a:ext>
                  </a:extLst>
                </p:cNvPr>
                <p:cNvSpPr>
                  <a:spLocks/>
                </p:cNvSpPr>
                <p:nvPr/>
              </p:nvSpPr>
              <p:spPr bwMode="gray">
                <a:xfrm rot="10800000">
                  <a:off x="1233673"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21" name="Triangle_2">
                  <a:extLst>
                    <a:ext uri="{FF2B5EF4-FFF2-40B4-BE49-F238E27FC236}">
                      <a16:creationId xmlns:a16="http://schemas.microsoft.com/office/drawing/2014/main" id="{E5763500-3831-248C-ADDB-D90031A35353}"/>
                    </a:ext>
                  </a:extLst>
                </p:cNvPr>
                <p:cNvSpPr>
                  <a:spLocks/>
                </p:cNvSpPr>
                <p:nvPr/>
              </p:nvSpPr>
              <p:spPr bwMode="gray">
                <a:xfrm>
                  <a:off x="1233673"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22" name="Triangle_3">
                  <a:extLst>
                    <a:ext uri="{FF2B5EF4-FFF2-40B4-BE49-F238E27FC236}">
                      <a16:creationId xmlns:a16="http://schemas.microsoft.com/office/drawing/2014/main" id="{DA40490F-A8BD-F2D6-6376-F4277F4DA7EC}"/>
                    </a:ext>
                  </a:extLst>
                </p:cNvPr>
                <p:cNvSpPr>
                  <a:spLocks/>
                </p:cNvSpPr>
                <p:nvPr/>
              </p:nvSpPr>
              <p:spPr bwMode="gray">
                <a:xfrm rot="5400000">
                  <a:off x="1150936"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23" name="Triangle_4">
                  <a:extLst>
                    <a:ext uri="{FF2B5EF4-FFF2-40B4-BE49-F238E27FC236}">
                      <a16:creationId xmlns:a16="http://schemas.microsoft.com/office/drawing/2014/main" id="{E50C13C9-1659-28E3-824C-53AE139276C7}"/>
                    </a:ext>
                  </a:extLst>
                </p:cNvPr>
                <p:cNvSpPr>
                  <a:spLocks/>
                </p:cNvSpPr>
                <p:nvPr/>
              </p:nvSpPr>
              <p:spPr bwMode="gray">
                <a:xfrm rot="16200000">
                  <a:off x="1316410"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80" name="Group 779">
                <a:extLst>
                  <a:ext uri="{FF2B5EF4-FFF2-40B4-BE49-F238E27FC236}">
                    <a16:creationId xmlns:a16="http://schemas.microsoft.com/office/drawing/2014/main" id="{982C6CD6-CA56-DE13-C5CA-01277371BF0F}"/>
                  </a:ext>
                </a:extLst>
              </p:cNvPr>
              <p:cNvGrpSpPr>
                <a:grpSpLocks/>
              </p:cNvGrpSpPr>
              <p:nvPr/>
            </p:nvGrpSpPr>
            <p:grpSpPr bwMode="gray">
              <a:xfrm>
                <a:off x="918123" y="4011989"/>
                <a:ext cx="217142" cy="217142"/>
                <a:chOff x="1233673" y="3743677"/>
                <a:chExt cx="330948" cy="330948"/>
              </a:xfrm>
              <a:grpFill/>
            </p:grpSpPr>
            <p:sp>
              <p:nvSpPr>
                <p:cNvPr id="1214" name="dfine_grid_single_shape_frame">
                  <a:extLst>
                    <a:ext uri="{FF2B5EF4-FFF2-40B4-BE49-F238E27FC236}">
                      <a16:creationId xmlns:a16="http://schemas.microsoft.com/office/drawing/2014/main" id="{6DB87AF0-BD3A-36A8-0FD8-8E0D77FC2D85}"/>
                    </a:ext>
                  </a:extLst>
                </p:cNvPr>
                <p:cNvSpPr>
                  <a:spLocks/>
                </p:cNvSpPr>
                <p:nvPr/>
              </p:nvSpPr>
              <p:spPr bwMode="gray">
                <a:xfrm>
                  <a:off x="1233673"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15" name="Triangle_1">
                  <a:extLst>
                    <a:ext uri="{FF2B5EF4-FFF2-40B4-BE49-F238E27FC236}">
                      <a16:creationId xmlns:a16="http://schemas.microsoft.com/office/drawing/2014/main" id="{0D72E0C8-00B1-8AA0-5EDF-89B278D02A0D}"/>
                    </a:ext>
                  </a:extLst>
                </p:cNvPr>
                <p:cNvSpPr>
                  <a:spLocks/>
                </p:cNvSpPr>
                <p:nvPr/>
              </p:nvSpPr>
              <p:spPr bwMode="gray">
                <a:xfrm rot="10800000">
                  <a:off x="1233673"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16" name="Triangle_2">
                  <a:extLst>
                    <a:ext uri="{FF2B5EF4-FFF2-40B4-BE49-F238E27FC236}">
                      <a16:creationId xmlns:a16="http://schemas.microsoft.com/office/drawing/2014/main" id="{A6DA9FCC-0A25-6885-78DE-8DCB55F31395}"/>
                    </a:ext>
                  </a:extLst>
                </p:cNvPr>
                <p:cNvSpPr>
                  <a:spLocks/>
                </p:cNvSpPr>
                <p:nvPr/>
              </p:nvSpPr>
              <p:spPr bwMode="gray">
                <a:xfrm>
                  <a:off x="1233673"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17" name="Triangle_3">
                  <a:extLst>
                    <a:ext uri="{FF2B5EF4-FFF2-40B4-BE49-F238E27FC236}">
                      <a16:creationId xmlns:a16="http://schemas.microsoft.com/office/drawing/2014/main" id="{84A72C6E-2B4F-9436-6B3B-903420D17FDC}"/>
                    </a:ext>
                  </a:extLst>
                </p:cNvPr>
                <p:cNvSpPr>
                  <a:spLocks/>
                </p:cNvSpPr>
                <p:nvPr/>
              </p:nvSpPr>
              <p:spPr bwMode="gray">
                <a:xfrm rot="5400000">
                  <a:off x="1150936"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18" name="Triangle_4">
                  <a:extLst>
                    <a:ext uri="{FF2B5EF4-FFF2-40B4-BE49-F238E27FC236}">
                      <a16:creationId xmlns:a16="http://schemas.microsoft.com/office/drawing/2014/main" id="{399A852C-0EA5-4888-12C6-27F8C65F39AA}"/>
                    </a:ext>
                  </a:extLst>
                </p:cNvPr>
                <p:cNvSpPr>
                  <a:spLocks/>
                </p:cNvSpPr>
                <p:nvPr/>
              </p:nvSpPr>
              <p:spPr bwMode="gray">
                <a:xfrm rot="16200000">
                  <a:off x="1316410"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81" name="Group 780">
                <a:extLst>
                  <a:ext uri="{FF2B5EF4-FFF2-40B4-BE49-F238E27FC236}">
                    <a16:creationId xmlns:a16="http://schemas.microsoft.com/office/drawing/2014/main" id="{2D40BA6C-3904-53A8-E36E-2286094712B6}"/>
                  </a:ext>
                </a:extLst>
              </p:cNvPr>
              <p:cNvGrpSpPr>
                <a:grpSpLocks/>
              </p:cNvGrpSpPr>
              <p:nvPr/>
            </p:nvGrpSpPr>
            <p:grpSpPr bwMode="gray">
              <a:xfrm>
                <a:off x="918123" y="4229130"/>
                <a:ext cx="217142" cy="217142"/>
                <a:chOff x="1233673" y="4074624"/>
                <a:chExt cx="330948" cy="330948"/>
              </a:xfrm>
              <a:grpFill/>
            </p:grpSpPr>
            <p:sp>
              <p:nvSpPr>
                <p:cNvPr id="1209" name="dfine_grid_single_shape_frame">
                  <a:extLst>
                    <a:ext uri="{FF2B5EF4-FFF2-40B4-BE49-F238E27FC236}">
                      <a16:creationId xmlns:a16="http://schemas.microsoft.com/office/drawing/2014/main" id="{D2B440E2-5059-DBF4-A146-903A59D10475}"/>
                    </a:ext>
                  </a:extLst>
                </p:cNvPr>
                <p:cNvSpPr>
                  <a:spLocks/>
                </p:cNvSpPr>
                <p:nvPr/>
              </p:nvSpPr>
              <p:spPr bwMode="gray">
                <a:xfrm>
                  <a:off x="1233673"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10" name="Triangle_1">
                  <a:extLst>
                    <a:ext uri="{FF2B5EF4-FFF2-40B4-BE49-F238E27FC236}">
                      <a16:creationId xmlns:a16="http://schemas.microsoft.com/office/drawing/2014/main" id="{2AE636C2-E613-E756-3D53-61A32776D909}"/>
                    </a:ext>
                  </a:extLst>
                </p:cNvPr>
                <p:cNvSpPr>
                  <a:spLocks/>
                </p:cNvSpPr>
                <p:nvPr/>
              </p:nvSpPr>
              <p:spPr bwMode="gray">
                <a:xfrm rot="10800000">
                  <a:off x="1233673"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11" name="Triangle_2">
                  <a:extLst>
                    <a:ext uri="{FF2B5EF4-FFF2-40B4-BE49-F238E27FC236}">
                      <a16:creationId xmlns:a16="http://schemas.microsoft.com/office/drawing/2014/main" id="{F62BBDDB-4768-6072-24F6-22D78396250E}"/>
                    </a:ext>
                  </a:extLst>
                </p:cNvPr>
                <p:cNvSpPr>
                  <a:spLocks/>
                </p:cNvSpPr>
                <p:nvPr/>
              </p:nvSpPr>
              <p:spPr bwMode="gray">
                <a:xfrm>
                  <a:off x="1233673"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12" name="Triangle_3">
                  <a:extLst>
                    <a:ext uri="{FF2B5EF4-FFF2-40B4-BE49-F238E27FC236}">
                      <a16:creationId xmlns:a16="http://schemas.microsoft.com/office/drawing/2014/main" id="{E80001A8-2C17-33BB-B2E2-B1D5A8C35555}"/>
                    </a:ext>
                  </a:extLst>
                </p:cNvPr>
                <p:cNvSpPr>
                  <a:spLocks/>
                </p:cNvSpPr>
                <p:nvPr/>
              </p:nvSpPr>
              <p:spPr bwMode="gray">
                <a:xfrm rot="5400000">
                  <a:off x="1150936"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13" name="Triangle_4">
                  <a:extLst>
                    <a:ext uri="{FF2B5EF4-FFF2-40B4-BE49-F238E27FC236}">
                      <a16:creationId xmlns:a16="http://schemas.microsoft.com/office/drawing/2014/main" id="{599539CA-A12A-78AC-A5A2-1F90B3B8240D}"/>
                    </a:ext>
                  </a:extLst>
                </p:cNvPr>
                <p:cNvSpPr>
                  <a:spLocks/>
                </p:cNvSpPr>
                <p:nvPr/>
              </p:nvSpPr>
              <p:spPr bwMode="gray">
                <a:xfrm rot="16200000">
                  <a:off x="1316410"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82" name="Group 781">
                <a:extLst>
                  <a:ext uri="{FF2B5EF4-FFF2-40B4-BE49-F238E27FC236}">
                    <a16:creationId xmlns:a16="http://schemas.microsoft.com/office/drawing/2014/main" id="{2E58C10B-C6FF-1CAD-3E3C-928C7C61C917}"/>
                  </a:ext>
                </a:extLst>
              </p:cNvPr>
              <p:cNvGrpSpPr>
                <a:grpSpLocks/>
              </p:cNvGrpSpPr>
              <p:nvPr/>
            </p:nvGrpSpPr>
            <p:grpSpPr bwMode="gray">
              <a:xfrm>
                <a:off x="1135264" y="1623437"/>
                <a:ext cx="217142" cy="217142"/>
                <a:chOff x="1564620" y="2088942"/>
                <a:chExt cx="330948" cy="330948"/>
              </a:xfrm>
              <a:grpFill/>
            </p:grpSpPr>
            <p:sp>
              <p:nvSpPr>
                <p:cNvPr id="1204" name="dfine_grid_single_shape_frame">
                  <a:extLst>
                    <a:ext uri="{FF2B5EF4-FFF2-40B4-BE49-F238E27FC236}">
                      <a16:creationId xmlns:a16="http://schemas.microsoft.com/office/drawing/2014/main" id="{BDD9EAF3-AE1D-F515-67A3-45C7FF8872A4}"/>
                    </a:ext>
                  </a:extLst>
                </p:cNvPr>
                <p:cNvSpPr>
                  <a:spLocks/>
                </p:cNvSpPr>
                <p:nvPr/>
              </p:nvSpPr>
              <p:spPr bwMode="gray">
                <a:xfrm>
                  <a:off x="1564620"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05" name="Triangle_1">
                  <a:extLst>
                    <a:ext uri="{FF2B5EF4-FFF2-40B4-BE49-F238E27FC236}">
                      <a16:creationId xmlns:a16="http://schemas.microsoft.com/office/drawing/2014/main" id="{EAF4CEC1-58EC-35D7-BB2B-EBE24217B7DB}"/>
                    </a:ext>
                  </a:extLst>
                </p:cNvPr>
                <p:cNvSpPr>
                  <a:spLocks/>
                </p:cNvSpPr>
                <p:nvPr/>
              </p:nvSpPr>
              <p:spPr bwMode="gray">
                <a:xfrm rot="10800000">
                  <a:off x="1564620"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06" name="Triangle_2">
                  <a:extLst>
                    <a:ext uri="{FF2B5EF4-FFF2-40B4-BE49-F238E27FC236}">
                      <a16:creationId xmlns:a16="http://schemas.microsoft.com/office/drawing/2014/main" id="{E707BD4F-6BD1-4598-090C-65E2A4FFAE4C}"/>
                    </a:ext>
                  </a:extLst>
                </p:cNvPr>
                <p:cNvSpPr>
                  <a:spLocks/>
                </p:cNvSpPr>
                <p:nvPr/>
              </p:nvSpPr>
              <p:spPr bwMode="gray">
                <a:xfrm>
                  <a:off x="1564620"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07" name="Triangle_3">
                  <a:extLst>
                    <a:ext uri="{FF2B5EF4-FFF2-40B4-BE49-F238E27FC236}">
                      <a16:creationId xmlns:a16="http://schemas.microsoft.com/office/drawing/2014/main" id="{8D9B9466-E325-8039-091C-3346D4030127}"/>
                    </a:ext>
                  </a:extLst>
                </p:cNvPr>
                <p:cNvSpPr>
                  <a:spLocks/>
                </p:cNvSpPr>
                <p:nvPr/>
              </p:nvSpPr>
              <p:spPr bwMode="gray">
                <a:xfrm rot="5400000">
                  <a:off x="1481883"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08" name="Triangle_4">
                  <a:extLst>
                    <a:ext uri="{FF2B5EF4-FFF2-40B4-BE49-F238E27FC236}">
                      <a16:creationId xmlns:a16="http://schemas.microsoft.com/office/drawing/2014/main" id="{31C367B5-7B79-FA17-1D3B-E67122B83367}"/>
                    </a:ext>
                  </a:extLst>
                </p:cNvPr>
                <p:cNvSpPr>
                  <a:spLocks/>
                </p:cNvSpPr>
                <p:nvPr/>
              </p:nvSpPr>
              <p:spPr bwMode="gray">
                <a:xfrm rot="16200000">
                  <a:off x="1647357"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83" name="Group 782">
                <a:extLst>
                  <a:ext uri="{FF2B5EF4-FFF2-40B4-BE49-F238E27FC236}">
                    <a16:creationId xmlns:a16="http://schemas.microsoft.com/office/drawing/2014/main" id="{87E85382-DA39-9056-1E67-212B1659AC79}"/>
                  </a:ext>
                </a:extLst>
              </p:cNvPr>
              <p:cNvGrpSpPr>
                <a:grpSpLocks/>
              </p:cNvGrpSpPr>
              <p:nvPr/>
            </p:nvGrpSpPr>
            <p:grpSpPr bwMode="gray">
              <a:xfrm>
                <a:off x="1135264" y="1840578"/>
                <a:ext cx="217142" cy="217142"/>
                <a:chOff x="1564620" y="2419889"/>
                <a:chExt cx="330948" cy="330948"/>
              </a:xfrm>
              <a:grpFill/>
            </p:grpSpPr>
            <p:sp>
              <p:nvSpPr>
                <p:cNvPr id="1199" name="dfine_grid_single_shape_frame">
                  <a:extLst>
                    <a:ext uri="{FF2B5EF4-FFF2-40B4-BE49-F238E27FC236}">
                      <a16:creationId xmlns:a16="http://schemas.microsoft.com/office/drawing/2014/main" id="{C09C3BE8-C233-16BF-E906-0A574E3A532E}"/>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00" name="Triangle_1">
                  <a:extLst>
                    <a:ext uri="{FF2B5EF4-FFF2-40B4-BE49-F238E27FC236}">
                      <a16:creationId xmlns:a16="http://schemas.microsoft.com/office/drawing/2014/main" id="{CEF86967-DD61-F952-A63F-F5455667A612}"/>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01" name="Triangle_2">
                  <a:extLst>
                    <a:ext uri="{FF2B5EF4-FFF2-40B4-BE49-F238E27FC236}">
                      <a16:creationId xmlns:a16="http://schemas.microsoft.com/office/drawing/2014/main" id="{1241D991-D194-D300-7D36-F216619F1534}"/>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02" name="Triangle_3">
                  <a:extLst>
                    <a:ext uri="{FF2B5EF4-FFF2-40B4-BE49-F238E27FC236}">
                      <a16:creationId xmlns:a16="http://schemas.microsoft.com/office/drawing/2014/main" id="{1832A016-447A-18EC-03F1-1064ABA7C640}"/>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203" name="Triangle_4">
                  <a:extLst>
                    <a:ext uri="{FF2B5EF4-FFF2-40B4-BE49-F238E27FC236}">
                      <a16:creationId xmlns:a16="http://schemas.microsoft.com/office/drawing/2014/main" id="{C7FF9465-771C-F915-3311-1087944DE3F4}"/>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84" name="Group 783">
                <a:extLst>
                  <a:ext uri="{FF2B5EF4-FFF2-40B4-BE49-F238E27FC236}">
                    <a16:creationId xmlns:a16="http://schemas.microsoft.com/office/drawing/2014/main" id="{1BEB685E-E8A3-BF86-473D-071F44262F91}"/>
                  </a:ext>
                </a:extLst>
              </p:cNvPr>
              <p:cNvGrpSpPr>
                <a:grpSpLocks/>
              </p:cNvGrpSpPr>
              <p:nvPr/>
            </p:nvGrpSpPr>
            <p:grpSpPr bwMode="gray">
              <a:xfrm>
                <a:off x="1135264" y="2057719"/>
                <a:ext cx="217142" cy="217142"/>
                <a:chOff x="1564620" y="2750836"/>
                <a:chExt cx="330948" cy="330948"/>
              </a:xfrm>
              <a:grpFill/>
            </p:grpSpPr>
            <p:sp>
              <p:nvSpPr>
                <p:cNvPr id="1194" name="dfine_grid_single_shape_frame">
                  <a:extLst>
                    <a:ext uri="{FF2B5EF4-FFF2-40B4-BE49-F238E27FC236}">
                      <a16:creationId xmlns:a16="http://schemas.microsoft.com/office/drawing/2014/main" id="{A6BFE4B5-5CAE-0C39-6462-1E86A9DD9F30}"/>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95" name="Triangle_1">
                  <a:extLst>
                    <a:ext uri="{FF2B5EF4-FFF2-40B4-BE49-F238E27FC236}">
                      <a16:creationId xmlns:a16="http://schemas.microsoft.com/office/drawing/2014/main" id="{B8243E80-D648-0891-9612-DF6EE0C11026}"/>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96" name="Triangle_2">
                  <a:extLst>
                    <a:ext uri="{FF2B5EF4-FFF2-40B4-BE49-F238E27FC236}">
                      <a16:creationId xmlns:a16="http://schemas.microsoft.com/office/drawing/2014/main" id="{BD4C64EB-D221-4BB4-33B1-54869D024C3D}"/>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97" name="Triangle_3">
                  <a:extLst>
                    <a:ext uri="{FF2B5EF4-FFF2-40B4-BE49-F238E27FC236}">
                      <a16:creationId xmlns:a16="http://schemas.microsoft.com/office/drawing/2014/main" id="{78AC12F3-C800-E1A9-48B1-C51CE8997584}"/>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98" name="Triangle_4">
                  <a:extLst>
                    <a:ext uri="{FF2B5EF4-FFF2-40B4-BE49-F238E27FC236}">
                      <a16:creationId xmlns:a16="http://schemas.microsoft.com/office/drawing/2014/main" id="{F777E158-B0E9-23C2-6455-FD590D5DE258}"/>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85" name="Group 784">
                <a:extLst>
                  <a:ext uri="{FF2B5EF4-FFF2-40B4-BE49-F238E27FC236}">
                    <a16:creationId xmlns:a16="http://schemas.microsoft.com/office/drawing/2014/main" id="{8843A8F5-E8C2-AB5A-12B2-650B778480A0}"/>
                  </a:ext>
                </a:extLst>
              </p:cNvPr>
              <p:cNvGrpSpPr>
                <a:grpSpLocks/>
              </p:cNvGrpSpPr>
              <p:nvPr/>
            </p:nvGrpSpPr>
            <p:grpSpPr bwMode="gray">
              <a:xfrm>
                <a:off x="1135264" y="2274860"/>
                <a:ext cx="217142" cy="217142"/>
                <a:chOff x="1564620" y="3081783"/>
                <a:chExt cx="330948" cy="330948"/>
              </a:xfrm>
              <a:grpFill/>
            </p:grpSpPr>
            <p:sp>
              <p:nvSpPr>
                <p:cNvPr id="1189" name="dfine_grid_single_shape_frame">
                  <a:extLst>
                    <a:ext uri="{FF2B5EF4-FFF2-40B4-BE49-F238E27FC236}">
                      <a16:creationId xmlns:a16="http://schemas.microsoft.com/office/drawing/2014/main" id="{EA76E3DF-9B20-EF9B-7892-F7CB234DB10E}"/>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90" name="Triangle_1">
                  <a:extLst>
                    <a:ext uri="{FF2B5EF4-FFF2-40B4-BE49-F238E27FC236}">
                      <a16:creationId xmlns:a16="http://schemas.microsoft.com/office/drawing/2014/main" id="{A7942C65-B849-0F05-14BA-08F56D64E233}"/>
                    </a:ext>
                  </a:extLst>
                </p:cNvPr>
                <p:cNvSpPr>
                  <a:spLocks/>
                </p:cNvSpPr>
                <p:nvPr/>
              </p:nvSpPr>
              <p:spPr bwMode="gray">
                <a:xfrm rot="10800000">
                  <a:off x="1564620"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91" name="Triangle_2">
                  <a:extLst>
                    <a:ext uri="{FF2B5EF4-FFF2-40B4-BE49-F238E27FC236}">
                      <a16:creationId xmlns:a16="http://schemas.microsoft.com/office/drawing/2014/main" id="{8CB2B976-95A9-7A15-A7B3-1FA450EB8CEB}"/>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92" name="Triangle_3">
                  <a:extLst>
                    <a:ext uri="{FF2B5EF4-FFF2-40B4-BE49-F238E27FC236}">
                      <a16:creationId xmlns:a16="http://schemas.microsoft.com/office/drawing/2014/main" id="{F6820E60-6179-2037-993C-933AFF56362B}"/>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93" name="Triangle_4">
                  <a:extLst>
                    <a:ext uri="{FF2B5EF4-FFF2-40B4-BE49-F238E27FC236}">
                      <a16:creationId xmlns:a16="http://schemas.microsoft.com/office/drawing/2014/main" id="{6FA48F8A-AAF3-511E-6FB2-954D8A289403}"/>
                    </a:ext>
                  </a:extLst>
                </p:cNvPr>
                <p:cNvSpPr>
                  <a:spLocks/>
                </p:cNvSpPr>
                <p:nvPr/>
              </p:nvSpPr>
              <p:spPr bwMode="gray">
                <a:xfrm rot="16200000">
                  <a:off x="1647357"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86" name="Group 785">
                <a:extLst>
                  <a:ext uri="{FF2B5EF4-FFF2-40B4-BE49-F238E27FC236}">
                    <a16:creationId xmlns:a16="http://schemas.microsoft.com/office/drawing/2014/main" id="{79F06295-1AEF-B130-53E0-63581D9B547D}"/>
                  </a:ext>
                </a:extLst>
              </p:cNvPr>
              <p:cNvGrpSpPr>
                <a:grpSpLocks/>
              </p:cNvGrpSpPr>
              <p:nvPr/>
            </p:nvGrpSpPr>
            <p:grpSpPr bwMode="gray">
              <a:xfrm>
                <a:off x="1135264" y="2492001"/>
                <a:ext cx="217142" cy="217142"/>
                <a:chOff x="1564620" y="3412730"/>
                <a:chExt cx="330948" cy="330948"/>
              </a:xfrm>
              <a:grpFill/>
            </p:grpSpPr>
            <p:sp>
              <p:nvSpPr>
                <p:cNvPr id="1184" name="dfine_grid_single_shape_frame">
                  <a:extLst>
                    <a:ext uri="{FF2B5EF4-FFF2-40B4-BE49-F238E27FC236}">
                      <a16:creationId xmlns:a16="http://schemas.microsoft.com/office/drawing/2014/main" id="{C59BB264-C2E6-EE31-24DC-DBF412B434DF}"/>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85" name="Triangle_1">
                  <a:extLst>
                    <a:ext uri="{FF2B5EF4-FFF2-40B4-BE49-F238E27FC236}">
                      <a16:creationId xmlns:a16="http://schemas.microsoft.com/office/drawing/2014/main" id="{7B2E7A3F-9D90-83AC-76D8-5A59BF2B719C}"/>
                    </a:ext>
                  </a:extLst>
                </p:cNvPr>
                <p:cNvSpPr>
                  <a:spLocks/>
                </p:cNvSpPr>
                <p:nvPr/>
              </p:nvSpPr>
              <p:spPr bwMode="gray">
                <a:xfrm rot="10800000">
                  <a:off x="1564620"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86" name="Triangle_2">
                  <a:extLst>
                    <a:ext uri="{FF2B5EF4-FFF2-40B4-BE49-F238E27FC236}">
                      <a16:creationId xmlns:a16="http://schemas.microsoft.com/office/drawing/2014/main" id="{FBE76695-1943-7CF3-402F-341DDD6CC0AE}"/>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87" name="Triangle_3">
                  <a:extLst>
                    <a:ext uri="{FF2B5EF4-FFF2-40B4-BE49-F238E27FC236}">
                      <a16:creationId xmlns:a16="http://schemas.microsoft.com/office/drawing/2014/main" id="{A267DC21-EFF9-32A7-78E8-BFA21FD28543}"/>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88" name="Triangle_4">
                  <a:extLst>
                    <a:ext uri="{FF2B5EF4-FFF2-40B4-BE49-F238E27FC236}">
                      <a16:creationId xmlns:a16="http://schemas.microsoft.com/office/drawing/2014/main" id="{4885CA32-1963-8775-0C1B-4EBE03557AE5}"/>
                    </a:ext>
                  </a:extLst>
                </p:cNvPr>
                <p:cNvSpPr>
                  <a:spLocks/>
                </p:cNvSpPr>
                <p:nvPr/>
              </p:nvSpPr>
              <p:spPr bwMode="gray">
                <a:xfrm rot="16200000">
                  <a:off x="1647357"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87" name="Group 786">
                <a:extLst>
                  <a:ext uri="{FF2B5EF4-FFF2-40B4-BE49-F238E27FC236}">
                    <a16:creationId xmlns:a16="http://schemas.microsoft.com/office/drawing/2014/main" id="{D06C36DF-A2E9-DBA9-BAFF-0E8B1EC615A6}"/>
                  </a:ext>
                </a:extLst>
              </p:cNvPr>
              <p:cNvGrpSpPr>
                <a:grpSpLocks/>
              </p:cNvGrpSpPr>
              <p:nvPr/>
            </p:nvGrpSpPr>
            <p:grpSpPr bwMode="gray">
              <a:xfrm>
                <a:off x="1135264" y="2709142"/>
                <a:ext cx="217142" cy="217142"/>
                <a:chOff x="1564620" y="3743677"/>
                <a:chExt cx="330948" cy="330948"/>
              </a:xfrm>
              <a:grpFill/>
            </p:grpSpPr>
            <p:sp>
              <p:nvSpPr>
                <p:cNvPr id="1179" name="dfine_grid_single_shape_frame">
                  <a:extLst>
                    <a:ext uri="{FF2B5EF4-FFF2-40B4-BE49-F238E27FC236}">
                      <a16:creationId xmlns:a16="http://schemas.microsoft.com/office/drawing/2014/main" id="{BEBE8945-5DE2-64B1-9CF0-D66BE73C4669}"/>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80" name="Triangle_1">
                  <a:extLst>
                    <a:ext uri="{FF2B5EF4-FFF2-40B4-BE49-F238E27FC236}">
                      <a16:creationId xmlns:a16="http://schemas.microsoft.com/office/drawing/2014/main" id="{36F966CC-B6A3-B99C-247A-D4C183BE1F64}"/>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81" name="Triangle_2">
                  <a:extLst>
                    <a:ext uri="{FF2B5EF4-FFF2-40B4-BE49-F238E27FC236}">
                      <a16:creationId xmlns:a16="http://schemas.microsoft.com/office/drawing/2014/main" id="{0EB7CEE6-12C5-D3D4-2514-57A84A815852}"/>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82" name="Triangle_3">
                  <a:extLst>
                    <a:ext uri="{FF2B5EF4-FFF2-40B4-BE49-F238E27FC236}">
                      <a16:creationId xmlns:a16="http://schemas.microsoft.com/office/drawing/2014/main" id="{AEE9363E-3042-B597-7096-4A0A6D4C812E}"/>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83" name="Triangle_4">
                  <a:extLst>
                    <a:ext uri="{FF2B5EF4-FFF2-40B4-BE49-F238E27FC236}">
                      <a16:creationId xmlns:a16="http://schemas.microsoft.com/office/drawing/2014/main" id="{2165B498-FFA6-585F-C0CD-22289DCD4339}"/>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88" name="Group 787">
                <a:extLst>
                  <a:ext uri="{FF2B5EF4-FFF2-40B4-BE49-F238E27FC236}">
                    <a16:creationId xmlns:a16="http://schemas.microsoft.com/office/drawing/2014/main" id="{5E567B9B-2721-6FE7-DC5B-8330041F6434}"/>
                  </a:ext>
                </a:extLst>
              </p:cNvPr>
              <p:cNvGrpSpPr>
                <a:grpSpLocks/>
              </p:cNvGrpSpPr>
              <p:nvPr/>
            </p:nvGrpSpPr>
            <p:grpSpPr bwMode="gray">
              <a:xfrm>
                <a:off x="1135264" y="2926283"/>
                <a:ext cx="217142" cy="217142"/>
                <a:chOff x="1564620" y="4074624"/>
                <a:chExt cx="330948" cy="330948"/>
              </a:xfrm>
              <a:grpFill/>
            </p:grpSpPr>
            <p:sp>
              <p:nvSpPr>
                <p:cNvPr id="1174" name="dfine_grid_single_shape_frame">
                  <a:extLst>
                    <a:ext uri="{FF2B5EF4-FFF2-40B4-BE49-F238E27FC236}">
                      <a16:creationId xmlns:a16="http://schemas.microsoft.com/office/drawing/2014/main" id="{BC1F3D3F-3DD6-0E76-2E68-BC538E02CD4C}"/>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75" name="Triangle_1">
                  <a:extLst>
                    <a:ext uri="{FF2B5EF4-FFF2-40B4-BE49-F238E27FC236}">
                      <a16:creationId xmlns:a16="http://schemas.microsoft.com/office/drawing/2014/main" id="{B47BB5FD-9411-9E3D-83D6-0B6DAD139C02}"/>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76" name="Triangle_2">
                  <a:extLst>
                    <a:ext uri="{FF2B5EF4-FFF2-40B4-BE49-F238E27FC236}">
                      <a16:creationId xmlns:a16="http://schemas.microsoft.com/office/drawing/2014/main" id="{3B7B4EE3-CB6E-DD81-0B16-5A55D654F6DE}"/>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77" name="Triangle_3">
                  <a:extLst>
                    <a:ext uri="{FF2B5EF4-FFF2-40B4-BE49-F238E27FC236}">
                      <a16:creationId xmlns:a16="http://schemas.microsoft.com/office/drawing/2014/main" id="{3B0D5548-945A-AC85-1DEA-5788A23D8147}"/>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78" name="Triangle_4">
                  <a:extLst>
                    <a:ext uri="{FF2B5EF4-FFF2-40B4-BE49-F238E27FC236}">
                      <a16:creationId xmlns:a16="http://schemas.microsoft.com/office/drawing/2014/main" id="{E2C9AD61-32B0-5872-BDF8-E6798693ED0A}"/>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89" name="Group 788">
                <a:extLst>
                  <a:ext uri="{FF2B5EF4-FFF2-40B4-BE49-F238E27FC236}">
                    <a16:creationId xmlns:a16="http://schemas.microsoft.com/office/drawing/2014/main" id="{601FD3D9-FDCD-B791-A059-C1D5981C110F}"/>
                  </a:ext>
                </a:extLst>
              </p:cNvPr>
              <p:cNvGrpSpPr>
                <a:grpSpLocks/>
              </p:cNvGrpSpPr>
              <p:nvPr/>
            </p:nvGrpSpPr>
            <p:grpSpPr bwMode="gray">
              <a:xfrm>
                <a:off x="1135264" y="3143425"/>
                <a:ext cx="217142" cy="217142"/>
                <a:chOff x="1564620" y="2419889"/>
                <a:chExt cx="330948" cy="330948"/>
              </a:xfrm>
              <a:grpFill/>
            </p:grpSpPr>
            <p:sp>
              <p:nvSpPr>
                <p:cNvPr id="1169" name="dfine_grid_single_shape_frame">
                  <a:extLst>
                    <a:ext uri="{FF2B5EF4-FFF2-40B4-BE49-F238E27FC236}">
                      <a16:creationId xmlns:a16="http://schemas.microsoft.com/office/drawing/2014/main" id="{72D67A2C-27E9-D4BE-0BBD-BE7461601B75}"/>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70" name="Triangle_1">
                  <a:extLst>
                    <a:ext uri="{FF2B5EF4-FFF2-40B4-BE49-F238E27FC236}">
                      <a16:creationId xmlns:a16="http://schemas.microsoft.com/office/drawing/2014/main" id="{B96BDE05-E4CF-E287-7619-DD6A902A0C44}"/>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71" name="Triangle_2">
                  <a:extLst>
                    <a:ext uri="{FF2B5EF4-FFF2-40B4-BE49-F238E27FC236}">
                      <a16:creationId xmlns:a16="http://schemas.microsoft.com/office/drawing/2014/main" id="{A0D7DF15-DE90-A428-0916-896D635F8204}"/>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72" name="Triangle_3">
                  <a:extLst>
                    <a:ext uri="{FF2B5EF4-FFF2-40B4-BE49-F238E27FC236}">
                      <a16:creationId xmlns:a16="http://schemas.microsoft.com/office/drawing/2014/main" id="{92C69CAB-4D44-8195-2C37-A840BC9EEE49}"/>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73" name="Triangle_4">
                  <a:extLst>
                    <a:ext uri="{FF2B5EF4-FFF2-40B4-BE49-F238E27FC236}">
                      <a16:creationId xmlns:a16="http://schemas.microsoft.com/office/drawing/2014/main" id="{488A280D-8949-427C-B7A5-1E38C1C56E88}"/>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90" name="Group 789">
                <a:extLst>
                  <a:ext uri="{FF2B5EF4-FFF2-40B4-BE49-F238E27FC236}">
                    <a16:creationId xmlns:a16="http://schemas.microsoft.com/office/drawing/2014/main" id="{57754FA0-EA7A-7A0A-4B08-9BE705DF3884}"/>
                  </a:ext>
                </a:extLst>
              </p:cNvPr>
              <p:cNvGrpSpPr>
                <a:grpSpLocks/>
              </p:cNvGrpSpPr>
              <p:nvPr/>
            </p:nvGrpSpPr>
            <p:grpSpPr bwMode="gray">
              <a:xfrm>
                <a:off x="1135264" y="3360566"/>
                <a:ext cx="217142" cy="217142"/>
                <a:chOff x="1564620" y="2750836"/>
                <a:chExt cx="330948" cy="330948"/>
              </a:xfrm>
              <a:grpFill/>
            </p:grpSpPr>
            <p:sp>
              <p:nvSpPr>
                <p:cNvPr id="1164" name="dfine_grid_single_shape_frame">
                  <a:extLst>
                    <a:ext uri="{FF2B5EF4-FFF2-40B4-BE49-F238E27FC236}">
                      <a16:creationId xmlns:a16="http://schemas.microsoft.com/office/drawing/2014/main" id="{6484EDCE-3A96-7F41-80A8-CB3E9F3BC313}"/>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65" name="Triangle_1">
                  <a:extLst>
                    <a:ext uri="{FF2B5EF4-FFF2-40B4-BE49-F238E27FC236}">
                      <a16:creationId xmlns:a16="http://schemas.microsoft.com/office/drawing/2014/main" id="{9C7AE311-9897-1993-E614-EAE65D674CC8}"/>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66" name="Triangle_2">
                  <a:extLst>
                    <a:ext uri="{FF2B5EF4-FFF2-40B4-BE49-F238E27FC236}">
                      <a16:creationId xmlns:a16="http://schemas.microsoft.com/office/drawing/2014/main" id="{F1259638-8AAE-1B0E-B892-21129CF3C8E3}"/>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67" name="Triangle_3">
                  <a:extLst>
                    <a:ext uri="{FF2B5EF4-FFF2-40B4-BE49-F238E27FC236}">
                      <a16:creationId xmlns:a16="http://schemas.microsoft.com/office/drawing/2014/main" id="{A191CF4A-1C1D-A6F1-796C-D68EFC96C793}"/>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68" name="Triangle_4">
                  <a:extLst>
                    <a:ext uri="{FF2B5EF4-FFF2-40B4-BE49-F238E27FC236}">
                      <a16:creationId xmlns:a16="http://schemas.microsoft.com/office/drawing/2014/main" id="{BE81EEA1-9A2F-A063-58E6-AEE6EACEA56D}"/>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91" name="Group 790">
                <a:extLst>
                  <a:ext uri="{FF2B5EF4-FFF2-40B4-BE49-F238E27FC236}">
                    <a16:creationId xmlns:a16="http://schemas.microsoft.com/office/drawing/2014/main" id="{04174221-0389-CDF3-07C6-F12B98E53BAC}"/>
                  </a:ext>
                </a:extLst>
              </p:cNvPr>
              <p:cNvGrpSpPr>
                <a:grpSpLocks/>
              </p:cNvGrpSpPr>
              <p:nvPr/>
            </p:nvGrpSpPr>
            <p:grpSpPr bwMode="gray">
              <a:xfrm>
                <a:off x="1135264" y="3577707"/>
                <a:ext cx="217142" cy="217142"/>
                <a:chOff x="1564620" y="3081783"/>
                <a:chExt cx="330948" cy="330948"/>
              </a:xfrm>
              <a:grpFill/>
            </p:grpSpPr>
            <p:sp>
              <p:nvSpPr>
                <p:cNvPr id="1159" name="dfine_grid_single_shape_frame">
                  <a:extLst>
                    <a:ext uri="{FF2B5EF4-FFF2-40B4-BE49-F238E27FC236}">
                      <a16:creationId xmlns:a16="http://schemas.microsoft.com/office/drawing/2014/main" id="{7A3D38E6-86AA-6346-070D-7A237794B859}"/>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60" name="Triangle_1">
                  <a:extLst>
                    <a:ext uri="{FF2B5EF4-FFF2-40B4-BE49-F238E27FC236}">
                      <a16:creationId xmlns:a16="http://schemas.microsoft.com/office/drawing/2014/main" id="{548A4044-D6B1-8B6A-B626-1E131EA290C7}"/>
                    </a:ext>
                  </a:extLst>
                </p:cNvPr>
                <p:cNvSpPr>
                  <a:spLocks/>
                </p:cNvSpPr>
                <p:nvPr/>
              </p:nvSpPr>
              <p:spPr bwMode="gray">
                <a:xfrm rot="10800000">
                  <a:off x="1564620"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61" name="Triangle_2">
                  <a:extLst>
                    <a:ext uri="{FF2B5EF4-FFF2-40B4-BE49-F238E27FC236}">
                      <a16:creationId xmlns:a16="http://schemas.microsoft.com/office/drawing/2014/main" id="{D22E1F4E-BB63-B5C1-CDCA-103604046A4E}"/>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62" name="Triangle_3">
                  <a:extLst>
                    <a:ext uri="{FF2B5EF4-FFF2-40B4-BE49-F238E27FC236}">
                      <a16:creationId xmlns:a16="http://schemas.microsoft.com/office/drawing/2014/main" id="{2435F36E-DD5A-1209-30D1-26E2E843F25C}"/>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63" name="Triangle_4">
                  <a:extLst>
                    <a:ext uri="{FF2B5EF4-FFF2-40B4-BE49-F238E27FC236}">
                      <a16:creationId xmlns:a16="http://schemas.microsoft.com/office/drawing/2014/main" id="{1A75A582-7FC5-DA71-1B7B-DB54B3BE8F15}"/>
                    </a:ext>
                  </a:extLst>
                </p:cNvPr>
                <p:cNvSpPr>
                  <a:spLocks/>
                </p:cNvSpPr>
                <p:nvPr/>
              </p:nvSpPr>
              <p:spPr bwMode="gray">
                <a:xfrm rot="16200000">
                  <a:off x="1647357"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92" name="Group 791">
                <a:extLst>
                  <a:ext uri="{FF2B5EF4-FFF2-40B4-BE49-F238E27FC236}">
                    <a16:creationId xmlns:a16="http://schemas.microsoft.com/office/drawing/2014/main" id="{DCC42697-7CE5-0561-1016-9696F7A6C73A}"/>
                  </a:ext>
                </a:extLst>
              </p:cNvPr>
              <p:cNvGrpSpPr>
                <a:grpSpLocks/>
              </p:cNvGrpSpPr>
              <p:nvPr/>
            </p:nvGrpSpPr>
            <p:grpSpPr bwMode="gray">
              <a:xfrm>
                <a:off x="1135264" y="3794848"/>
                <a:ext cx="217142" cy="217142"/>
                <a:chOff x="1564620" y="3412730"/>
                <a:chExt cx="330948" cy="330948"/>
              </a:xfrm>
              <a:grpFill/>
            </p:grpSpPr>
            <p:sp>
              <p:nvSpPr>
                <p:cNvPr id="1154" name="dfine_grid_single_shape_frame">
                  <a:extLst>
                    <a:ext uri="{FF2B5EF4-FFF2-40B4-BE49-F238E27FC236}">
                      <a16:creationId xmlns:a16="http://schemas.microsoft.com/office/drawing/2014/main" id="{636B1B5B-2554-EF40-0CB4-78EBD42F617C}"/>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55" name="Triangle_1">
                  <a:extLst>
                    <a:ext uri="{FF2B5EF4-FFF2-40B4-BE49-F238E27FC236}">
                      <a16:creationId xmlns:a16="http://schemas.microsoft.com/office/drawing/2014/main" id="{9B80EA2B-09EC-AE26-087E-F35D2D46452D}"/>
                    </a:ext>
                  </a:extLst>
                </p:cNvPr>
                <p:cNvSpPr>
                  <a:spLocks/>
                </p:cNvSpPr>
                <p:nvPr/>
              </p:nvSpPr>
              <p:spPr bwMode="gray">
                <a:xfrm rot="10800000">
                  <a:off x="1564620"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56" name="Triangle_2">
                  <a:extLst>
                    <a:ext uri="{FF2B5EF4-FFF2-40B4-BE49-F238E27FC236}">
                      <a16:creationId xmlns:a16="http://schemas.microsoft.com/office/drawing/2014/main" id="{7656A9C7-0364-1B8B-E343-DFEE6A7CA36A}"/>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57" name="Triangle_3">
                  <a:extLst>
                    <a:ext uri="{FF2B5EF4-FFF2-40B4-BE49-F238E27FC236}">
                      <a16:creationId xmlns:a16="http://schemas.microsoft.com/office/drawing/2014/main" id="{C37D4DAC-AC80-6DD0-91EE-7A5B63A48227}"/>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58" name="Triangle_4">
                  <a:extLst>
                    <a:ext uri="{FF2B5EF4-FFF2-40B4-BE49-F238E27FC236}">
                      <a16:creationId xmlns:a16="http://schemas.microsoft.com/office/drawing/2014/main" id="{532915A4-99DF-393D-A942-E1A6690DCE30}"/>
                    </a:ext>
                  </a:extLst>
                </p:cNvPr>
                <p:cNvSpPr>
                  <a:spLocks/>
                </p:cNvSpPr>
                <p:nvPr/>
              </p:nvSpPr>
              <p:spPr bwMode="gray">
                <a:xfrm rot="16200000">
                  <a:off x="1647357"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93" name="Group 792">
                <a:extLst>
                  <a:ext uri="{FF2B5EF4-FFF2-40B4-BE49-F238E27FC236}">
                    <a16:creationId xmlns:a16="http://schemas.microsoft.com/office/drawing/2014/main" id="{A87084C0-33C9-4F15-EF9F-7500A4AA3269}"/>
                  </a:ext>
                </a:extLst>
              </p:cNvPr>
              <p:cNvGrpSpPr>
                <a:grpSpLocks/>
              </p:cNvGrpSpPr>
              <p:nvPr/>
            </p:nvGrpSpPr>
            <p:grpSpPr bwMode="gray">
              <a:xfrm>
                <a:off x="1135264" y="4011989"/>
                <a:ext cx="217142" cy="217142"/>
                <a:chOff x="1564620" y="3743677"/>
                <a:chExt cx="330948" cy="330948"/>
              </a:xfrm>
              <a:grpFill/>
            </p:grpSpPr>
            <p:sp>
              <p:nvSpPr>
                <p:cNvPr id="1149" name="dfine_grid_single_shape_frame">
                  <a:extLst>
                    <a:ext uri="{FF2B5EF4-FFF2-40B4-BE49-F238E27FC236}">
                      <a16:creationId xmlns:a16="http://schemas.microsoft.com/office/drawing/2014/main" id="{1C97CC21-24A4-F532-9F5F-333FA74C7476}"/>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50" name="Triangle_1">
                  <a:extLst>
                    <a:ext uri="{FF2B5EF4-FFF2-40B4-BE49-F238E27FC236}">
                      <a16:creationId xmlns:a16="http://schemas.microsoft.com/office/drawing/2014/main" id="{DF0ADB71-01BA-8445-0992-6B25748F9E75}"/>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51" name="Triangle_2">
                  <a:extLst>
                    <a:ext uri="{FF2B5EF4-FFF2-40B4-BE49-F238E27FC236}">
                      <a16:creationId xmlns:a16="http://schemas.microsoft.com/office/drawing/2014/main" id="{1498D5DE-4642-E6CD-D417-838A5E36F6C9}"/>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52" name="Triangle_3">
                  <a:extLst>
                    <a:ext uri="{FF2B5EF4-FFF2-40B4-BE49-F238E27FC236}">
                      <a16:creationId xmlns:a16="http://schemas.microsoft.com/office/drawing/2014/main" id="{4B4C0DFB-451A-A759-F3DF-445713845656}"/>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53" name="Triangle_4">
                  <a:extLst>
                    <a:ext uri="{FF2B5EF4-FFF2-40B4-BE49-F238E27FC236}">
                      <a16:creationId xmlns:a16="http://schemas.microsoft.com/office/drawing/2014/main" id="{6C74D0C8-C3A5-E917-7E82-7040B57E485A}"/>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94" name="Group 793">
                <a:extLst>
                  <a:ext uri="{FF2B5EF4-FFF2-40B4-BE49-F238E27FC236}">
                    <a16:creationId xmlns:a16="http://schemas.microsoft.com/office/drawing/2014/main" id="{0D8C1FCF-F72D-58B8-89D9-43C15E4FFB7F}"/>
                  </a:ext>
                </a:extLst>
              </p:cNvPr>
              <p:cNvGrpSpPr>
                <a:grpSpLocks/>
              </p:cNvGrpSpPr>
              <p:nvPr/>
            </p:nvGrpSpPr>
            <p:grpSpPr bwMode="gray">
              <a:xfrm>
                <a:off x="1135264" y="4229130"/>
                <a:ext cx="217142" cy="217142"/>
                <a:chOff x="1564620" y="4074624"/>
                <a:chExt cx="330948" cy="330948"/>
              </a:xfrm>
              <a:grpFill/>
            </p:grpSpPr>
            <p:sp>
              <p:nvSpPr>
                <p:cNvPr id="1144" name="dfine_grid_single_shape_frame">
                  <a:extLst>
                    <a:ext uri="{FF2B5EF4-FFF2-40B4-BE49-F238E27FC236}">
                      <a16:creationId xmlns:a16="http://schemas.microsoft.com/office/drawing/2014/main" id="{A4AF7DF8-E7DC-9B7C-EA1B-44FF93200A41}"/>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45" name="Triangle_1">
                  <a:extLst>
                    <a:ext uri="{FF2B5EF4-FFF2-40B4-BE49-F238E27FC236}">
                      <a16:creationId xmlns:a16="http://schemas.microsoft.com/office/drawing/2014/main" id="{DBB289E7-7B5F-F1E1-FC28-A563BAB2A033}"/>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46" name="Triangle_2">
                  <a:extLst>
                    <a:ext uri="{FF2B5EF4-FFF2-40B4-BE49-F238E27FC236}">
                      <a16:creationId xmlns:a16="http://schemas.microsoft.com/office/drawing/2014/main" id="{A619E3B2-09D6-3930-2694-E502072AABB1}"/>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47" name="Triangle_3">
                  <a:extLst>
                    <a:ext uri="{FF2B5EF4-FFF2-40B4-BE49-F238E27FC236}">
                      <a16:creationId xmlns:a16="http://schemas.microsoft.com/office/drawing/2014/main" id="{BBAEB5EB-E427-0803-E98C-FBD0050B4789}"/>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48" name="Triangle_4">
                  <a:extLst>
                    <a:ext uri="{FF2B5EF4-FFF2-40B4-BE49-F238E27FC236}">
                      <a16:creationId xmlns:a16="http://schemas.microsoft.com/office/drawing/2014/main" id="{9410C11F-A69F-C258-6A98-CC3935771782}"/>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95" name="Group 794">
                <a:extLst>
                  <a:ext uri="{FF2B5EF4-FFF2-40B4-BE49-F238E27FC236}">
                    <a16:creationId xmlns:a16="http://schemas.microsoft.com/office/drawing/2014/main" id="{9EA0800A-4C06-6D83-A3EE-C6911EBF755A}"/>
                  </a:ext>
                </a:extLst>
              </p:cNvPr>
              <p:cNvGrpSpPr>
                <a:grpSpLocks/>
              </p:cNvGrpSpPr>
              <p:nvPr/>
            </p:nvGrpSpPr>
            <p:grpSpPr bwMode="gray">
              <a:xfrm>
                <a:off x="700982" y="3794848"/>
                <a:ext cx="217142" cy="217142"/>
                <a:chOff x="902726" y="3412730"/>
                <a:chExt cx="330948" cy="330948"/>
              </a:xfrm>
              <a:grpFill/>
            </p:grpSpPr>
            <p:sp>
              <p:nvSpPr>
                <p:cNvPr id="1139" name="dfine_grid_single_shape_frame">
                  <a:extLst>
                    <a:ext uri="{FF2B5EF4-FFF2-40B4-BE49-F238E27FC236}">
                      <a16:creationId xmlns:a16="http://schemas.microsoft.com/office/drawing/2014/main" id="{EE2D56A4-32D8-2991-B0B1-49E7A0CF4F9F}"/>
                    </a:ext>
                  </a:extLst>
                </p:cNvPr>
                <p:cNvSpPr>
                  <a:spLocks/>
                </p:cNvSpPr>
                <p:nvPr/>
              </p:nvSpPr>
              <p:spPr bwMode="gray">
                <a:xfrm>
                  <a:off x="902726"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40" name="Triangle_1">
                  <a:extLst>
                    <a:ext uri="{FF2B5EF4-FFF2-40B4-BE49-F238E27FC236}">
                      <a16:creationId xmlns:a16="http://schemas.microsoft.com/office/drawing/2014/main" id="{061E93DF-F98E-90F5-0C6A-F5B3DDDE200C}"/>
                    </a:ext>
                  </a:extLst>
                </p:cNvPr>
                <p:cNvSpPr>
                  <a:spLocks/>
                </p:cNvSpPr>
                <p:nvPr/>
              </p:nvSpPr>
              <p:spPr bwMode="gray">
                <a:xfrm rot="10800000">
                  <a:off x="902726"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41" name="Triangle_2">
                  <a:extLst>
                    <a:ext uri="{FF2B5EF4-FFF2-40B4-BE49-F238E27FC236}">
                      <a16:creationId xmlns:a16="http://schemas.microsoft.com/office/drawing/2014/main" id="{456E1C2D-A8BF-06B7-6A58-858CAC41CB82}"/>
                    </a:ext>
                  </a:extLst>
                </p:cNvPr>
                <p:cNvSpPr>
                  <a:spLocks/>
                </p:cNvSpPr>
                <p:nvPr/>
              </p:nvSpPr>
              <p:spPr bwMode="gray">
                <a:xfrm>
                  <a:off x="902726"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42" name="Triangle_3">
                  <a:extLst>
                    <a:ext uri="{FF2B5EF4-FFF2-40B4-BE49-F238E27FC236}">
                      <a16:creationId xmlns:a16="http://schemas.microsoft.com/office/drawing/2014/main" id="{B302E0E1-E2E7-F0FF-A61F-F34F4767D2C6}"/>
                    </a:ext>
                  </a:extLst>
                </p:cNvPr>
                <p:cNvSpPr>
                  <a:spLocks/>
                </p:cNvSpPr>
                <p:nvPr/>
              </p:nvSpPr>
              <p:spPr bwMode="gray">
                <a:xfrm rot="5400000">
                  <a:off x="819989"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43" name="Triangle_4">
                  <a:extLst>
                    <a:ext uri="{FF2B5EF4-FFF2-40B4-BE49-F238E27FC236}">
                      <a16:creationId xmlns:a16="http://schemas.microsoft.com/office/drawing/2014/main" id="{874B3B8A-B953-4BA9-64B4-1327949577B1}"/>
                    </a:ext>
                  </a:extLst>
                </p:cNvPr>
                <p:cNvSpPr>
                  <a:spLocks/>
                </p:cNvSpPr>
                <p:nvPr/>
              </p:nvSpPr>
              <p:spPr bwMode="gray">
                <a:xfrm rot="16200000">
                  <a:off x="98546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96" name="Group 795">
                <a:extLst>
                  <a:ext uri="{FF2B5EF4-FFF2-40B4-BE49-F238E27FC236}">
                    <a16:creationId xmlns:a16="http://schemas.microsoft.com/office/drawing/2014/main" id="{0F9A0A72-26B4-45FC-50AE-FE4687117EDF}"/>
                  </a:ext>
                </a:extLst>
              </p:cNvPr>
              <p:cNvGrpSpPr>
                <a:grpSpLocks/>
              </p:cNvGrpSpPr>
              <p:nvPr/>
            </p:nvGrpSpPr>
            <p:grpSpPr bwMode="gray">
              <a:xfrm>
                <a:off x="266700" y="3143425"/>
                <a:ext cx="217142" cy="217142"/>
                <a:chOff x="240832" y="2419889"/>
                <a:chExt cx="330948" cy="330948"/>
              </a:xfrm>
              <a:grpFill/>
            </p:grpSpPr>
            <p:sp>
              <p:nvSpPr>
                <p:cNvPr id="1134" name="dfine_grid_single_shape_frame">
                  <a:extLst>
                    <a:ext uri="{FF2B5EF4-FFF2-40B4-BE49-F238E27FC236}">
                      <a16:creationId xmlns:a16="http://schemas.microsoft.com/office/drawing/2014/main" id="{9D0ED046-F254-3410-7FC6-DA7F3270E12D}"/>
                    </a:ext>
                  </a:extLst>
                </p:cNvPr>
                <p:cNvSpPr>
                  <a:spLocks/>
                </p:cNvSpPr>
                <p:nvPr>
                  <p:custDataLst>
                    <p:tags r:id="rId74"/>
                  </p:custDataLst>
                </p:nvPr>
              </p:nvSpPr>
              <p:spPr bwMode="gray">
                <a:xfrm>
                  <a:off x="240832"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35" name="Triangle_1">
                  <a:extLst>
                    <a:ext uri="{FF2B5EF4-FFF2-40B4-BE49-F238E27FC236}">
                      <a16:creationId xmlns:a16="http://schemas.microsoft.com/office/drawing/2014/main" id="{4B7F0291-A882-4587-DF29-69C27B50B59C}"/>
                    </a:ext>
                  </a:extLst>
                </p:cNvPr>
                <p:cNvSpPr>
                  <a:spLocks/>
                </p:cNvSpPr>
                <p:nvPr/>
              </p:nvSpPr>
              <p:spPr bwMode="gray">
                <a:xfrm rot="10800000">
                  <a:off x="240832"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36" name="Triangle_2">
                  <a:extLst>
                    <a:ext uri="{FF2B5EF4-FFF2-40B4-BE49-F238E27FC236}">
                      <a16:creationId xmlns:a16="http://schemas.microsoft.com/office/drawing/2014/main" id="{F2CC790E-E28C-B18D-48E2-DFE51F727AC9}"/>
                    </a:ext>
                  </a:extLst>
                </p:cNvPr>
                <p:cNvSpPr>
                  <a:spLocks/>
                </p:cNvSpPr>
                <p:nvPr/>
              </p:nvSpPr>
              <p:spPr bwMode="gray">
                <a:xfrm>
                  <a:off x="240832"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37" name="Triangle_3">
                  <a:extLst>
                    <a:ext uri="{FF2B5EF4-FFF2-40B4-BE49-F238E27FC236}">
                      <a16:creationId xmlns:a16="http://schemas.microsoft.com/office/drawing/2014/main" id="{D5AAFE84-487B-B183-4ED0-F448E2132E1E}"/>
                    </a:ext>
                  </a:extLst>
                </p:cNvPr>
                <p:cNvSpPr>
                  <a:spLocks/>
                </p:cNvSpPr>
                <p:nvPr/>
              </p:nvSpPr>
              <p:spPr bwMode="gray">
                <a:xfrm rot="5400000">
                  <a:off x="158095"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38" name="Triangle_4">
                  <a:extLst>
                    <a:ext uri="{FF2B5EF4-FFF2-40B4-BE49-F238E27FC236}">
                      <a16:creationId xmlns:a16="http://schemas.microsoft.com/office/drawing/2014/main" id="{79BAE799-0E4B-F74B-40D1-20497BBBC9FA}"/>
                    </a:ext>
                  </a:extLst>
                </p:cNvPr>
                <p:cNvSpPr>
                  <a:spLocks/>
                </p:cNvSpPr>
                <p:nvPr/>
              </p:nvSpPr>
              <p:spPr bwMode="gray">
                <a:xfrm rot="16200000">
                  <a:off x="323569"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97" name="Group 796">
                <a:extLst>
                  <a:ext uri="{FF2B5EF4-FFF2-40B4-BE49-F238E27FC236}">
                    <a16:creationId xmlns:a16="http://schemas.microsoft.com/office/drawing/2014/main" id="{4537E1D4-206B-9D59-FD03-DD1DAA539F63}"/>
                  </a:ext>
                </a:extLst>
              </p:cNvPr>
              <p:cNvGrpSpPr>
                <a:grpSpLocks/>
              </p:cNvGrpSpPr>
              <p:nvPr/>
            </p:nvGrpSpPr>
            <p:grpSpPr bwMode="gray">
              <a:xfrm>
                <a:off x="266700" y="3360566"/>
                <a:ext cx="217142" cy="217142"/>
                <a:chOff x="240832" y="2750836"/>
                <a:chExt cx="330948" cy="330948"/>
              </a:xfrm>
              <a:grpFill/>
            </p:grpSpPr>
            <p:sp>
              <p:nvSpPr>
                <p:cNvPr id="1129" name="dfine_grid_single_shape_frame">
                  <a:extLst>
                    <a:ext uri="{FF2B5EF4-FFF2-40B4-BE49-F238E27FC236}">
                      <a16:creationId xmlns:a16="http://schemas.microsoft.com/office/drawing/2014/main" id="{D2A64413-345E-29F2-5D73-306805BE37BB}"/>
                    </a:ext>
                  </a:extLst>
                </p:cNvPr>
                <p:cNvSpPr>
                  <a:spLocks/>
                </p:cNvSpPr>
                <p:nvPr>
                  <p:custDataLst>
                    <p:tags r:id="rId73"/>
                  </p:custDataLst>
                </p:nvPr>
              </p:nvSpPr>
              <p:spPr bwMode="gray">
                <a:xfrm>
                  <a:off x="240832"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30" name="Triangle_1">
                  <a:extLst>
                    <a:ext uri="{FF2B5EF4-FFF2-40B4-BE49-F238E27FC236}">
                      <a16:creationId xmlns:a16="http://schemas.microsoft.com/office/drawing/2014/main" id="{A108DD11-EE5F-29CB-84D3-9826C7D2CCBB}"/>
                    </a:ext>
                  </a:extLst>
                </p:cNvPr>
                <p:cNvSpPr>
                  <a:spLocks/>
                </p:cNvSpPr>
                <p:nvPr/>
              </p:nvSpPr>
              <p:spPr bwMode="gray">
                <a:xfrm rot="10800000">
                  <a:off x="240832"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31" name="Triangle_2">
                  <a:extLst>
                    <a:ext uri="{FF2B5EF4-FFF2-40B4-BE49-F238E27FC236}">
                      <a16:creationId xmlns:a16="http://schemas.microsoft.com/office/drawing/2014/main" id="{04BEFD12-DD7E-510F-DCFA-C6D683A91ADE}"/>
                    </a:ext>
                  </a:extLst>
                </p:cNvPr>
                <p:cNvSpPr>
                  <a:spLocks/>
                </p:cNvSpPr>
                <p:nvPr/>
              </p:nvSpPr>
              <p:spPr bwMode="gray">
                <a:xfrm>
                  <a:off x="240832"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32" name="Triangle_3">
                  <a:extLst>
                    <a:ext uri="{FF2B5EF4-FFF2-40B4-BE49-F238E27FC236}">
                      <a16:creationId xmlns:a16="http://schemas.microsoft.com/office/drawing/2014/main" id="{59032721-F972-1782-CF9D-CECB681411FA}"/>
                    </a:ext>
                  </a:extLst>
                </p:cNvPr>
                <p:cNvSpPr>
                  <a:spLocks/>
                </p:cNvSpPr>
                <p:nvPr/>
              </p:nvSpPr>
              <p:spPr bwMode="gray">
                <a:xfrm rot="5400000">
                  <a:off x="158095"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33" name="Triangle_4">
                  <a:extLst>
                    <a:ext uri="{FF2B5EF4-FFF2-40B4-BE49-F238E27FC236}">
                      <a16:creationId xmlns:a16="http://schemas.microsoft.com/office/drawing/2014/main" id="{B7E50119-994D-8541-3CCE-ED29284D0BD1}"/>
                    </a:ext>
                  </a:extLst>
                </p:cNvPr>
                <p:cNvSpPr>
                  <a:spLocks/>
                </p:cNvSpPr>
                <p:nvPr/>
              </p:nvSpPr>
              <p:spPr bwMode="gray">
                <a:xfrm rot="16200000">
                  <a:off x="323569"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98" name="Group 797">
                <a:extLst>
                  <a:ext uri="{FF2B5EF4-FFF2-40B4-BE49-F238E27FC236}">
                    <a16:creationId xmlns:a16="http://schemas.microsoft.com/office/drawing/2014/main" id="{C7EF2BA3-CEB2-4950-B241-03A8484C3F3F}"/>
                  </a:ext>
                </a:extLst>
              </p:cNvPr>
              <p:cNvGrpSpPr>
                <a:grpSpLocks/>
              </p:cNvGrpSpPr>
              <p:nvPr/>
            </p:nvGrpSpPr>
            <p:grpSpPr bwMode="gray">
              <a:xfrm>
                <a:off x="266700" y="3577707"/>
                <a:ext cx="217142" cy="217142"/>
                <a:chOff x="240832" y="3081783"/>
                <a:chExt cx="330948" cy="330948"/>
              </a:xfrm>
              <a:grpFill/>
            </p:grpSpPr>
            <p:sp>
              <p:nvSpPr>
                <p:cNvPr id="1124" name="dfine_grid_single_shape_frame">
                  <a:extLst>
                    <a:ext uri="{FF2B5EF4-FFF2-40B4-BE49-F238E27FC236}">
                      <a16:creationId xmlns:a16="http://schemas.microsoft.com/office/drawing/2014/main" id="{8CAA7B4C-F326-A052-527E-7E5CA70E7260}"/>
                    </a:ext>
                  </a:extLst>
                </p:cNvPr>
                <p:cNvSpPr>
                  <a:spLocks/>
                </p:cNvSpPr>
                <p:nvPr/>
              </p:nvSpPr>
              <p:spPr bwMode="gray">
                <a:xfrm>
                  <a:off x="240832"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25" name="Triangle_1">
                  <a:extLst>
                    <a:ext uri="{FF2B5EF4-FFF2-40B4-BE49-F238E27FC236}">
                      <a16:creationId xmlns:a16="http://schemas.microsoft.com/office/drawing/2014/main" id="{D2162485-6F70-28F6-3ED9-99C47984ED93}"/>
                    </a:ext>
                  </a:extLst>
                </p:cNvPr>
                <p:cNvSpPr>
                  <a:spLocks/>
                </p:cNvSpPr>
                <p:nvPr/>
              </p:nvSpPr>
              <p:spPr bwMode="gray">
                <a:xfrm rot="10800000">
                  <a:off x="240832"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26" name="Triangle_2">
                  <a:extLst>
                    <a:ext uri="{FF2B5EF4-FFF2-40B4-BE49-F238E27FC236}">
                      <a16:creationId xmlns:a16="http://schemas.microsoft.com/office/drawing/2014/main" id="{7261F79B-AC99-6DE4-C93C-31457F5E9C83}"/>
                    </a:ext>
                  </a:extLst>
                </p:cNvPr>
                <p:cNvSpPr>
                  <a:spLocks/>
                </p:cNvSpPr>
                <p:nvPr/>
              </p:nvSpPr>
              <p:spPr bwMode="gray">
                <a:xfrm>
                  <a:off x="240832"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27" name="Triangle_3">
                  <a:extLst>
                    <a:ext uri="{FF2B5EF4-FFF2-40B4-BE49-F238E27FC236}">
                      <a16:creationId xmlns:a16="http://schemas.microsoft.com/office/drawing/2014/main" id="{D02BB994-97E3-F17F-425A-55CD004791E8}"/>
                    </a:ext>
                  </a:extLst>
                </p:cNvPr>
                <p:cNvSpPr>
                  <a:spLocks/>
                </p:cNvSpPr>
                <p:nvPr/>
              </p:nvSpPr>
              <p:spPr bwMode="gray">
                <a:xfrm rot="5400000">
                  <a:off x="158096" y="316452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28" name="Triangle_4">
                  <a:extLst>
                    <a:ext uri="{FF2B5EF4-FFF2-40B4-BE49-F238E27FC236}">
                      <a16:creationId xmlns:a16="http://schemas.microsoft.com/office/drawing/2014/main" id="{D19CA77F-E20C-683A-FDC9-BBF49884797F}"/>
                    </a:ext>
                  </a:extLst>
                </p:cNvPr>
                <p:cNvSpPr>
                  <a:spLocks/>
                </p:cNvSpPr>
                <p:nvPr/>
              </p:nvSpPr>
              <p:spPr bwMode="gray">
                <a:xfrm rot="16200000">
                  <a:off x="323569"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99" name="Group 798">
                <a:extLst>
                  <a:ext uri="{FF2B5EF4-FFF2-40B4-BE49-F238E27FC236}">
                    <a16:creationId xmlns:a16="http://schemas.microsoft.com/office/drawing/2014/main" id="{8FD36848-1B7D-E348-5274-0AFE66C286FC}"/>
                  </a:ext>
                </a:extLst>
              </p:cNvPr>
              <p:cNvGrpSpPr>
                <a:grpSpLocks/>
              </p:cNvGrpSpPr>
              <p:nvPr/>
            </p:nvGrpSpPr>
            <p:grpSpPr bwMode="gray">
              <a:xfrm>
                <a:off x="266700" y="3794848"/>
                <a:ext cx="217142" cy="217142"/>
                <a:chOff x="240832" y="3412730"/>
                <a:chExt cx="330948" cy="330948"/>
              </a:xfrm>
              <a:grpFill/>
            </p:grpSpPr>
            <p:sp>
              <p:nvSpPr>
                <p:cNvPr id="1119" name="dfine_grid_single_shape_frame">
                  <a:extLst>
                    <a:ext uri="{FF2B5EF4-FFF2-40B4-BE49-F238E27FC236}">
                      <a16:creationId xmlns:a16="http://schemas.microsoft.com/office/drawing/2014/main" id="{8ECB616C-F695-A53F-B20A-F7723C25E67A}"/>
                    </a:ext>
                  </a:extLst>
                </p:cNvPr>
                <p:cNvSpPr>
                  <a:spLocks/>
                </p:cNvSpPr>
                <p:nvPr/>
              </p:nvSpPr>
              <p:spPr bwMode="gray">
                <a:xfrm>
                  <a:off x="240832"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20" name="Triangle_1">
                  <a:extLst>
                    <a:ext uri="{FF2B5EF4-FFF2-40B4-BE49-F238E27FC236}">
                      <a16:creationId xmlns:a16="http://schemas.microsoft.com/office/drawing/2014/main" id="{3B349EBD-2CBF-EEA9-386D-67C526279FBD}"/>
                    </a:ext>
                  </a:extLst>
                </p:cNvPr>
                <p:cNvSpPr>
                  <a:spLocks/>
                </p:cNvSpPr>
                <p:nvPr/>
              </p:nvSpPr>
              <p:spPr bwMode="gray">
                <a:xfrm rot="10800000">
                  <a:off x="240832"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21" name="Triangle_2">
                  <a:extLst>
                    <a:ext uri="{FF2B5EF4-FFF2-40B4-BE49-F238E27FC236}">
                      <a16:creationId xmlns:a16="http://schemas.microsoft.com/office/drawing/2014/main" id="{C8CE8A6E-A770-2278-CAD8-910F2D3C8410}"/>
                    </a:ext>
                  </a:extLst>
                </p:cNvPr>
                <p:cNvSpPr>
                  <a:spLocks/>
                </p:cNvSpPr>
                <p:nvPr/>
              </p:nvSpPr>
              <p:spPr bwMode="gray">
                <a:xfrm>
                  <a:off x="240832"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22" name="Triangle_3">
                  <a:extLst>
                    <a:ext uri="{FF2B5EF4-FFF2-40B4-BE49-F238E27FC236}">
                      <a16:creationId xmlns:a16="http://schemas.microsoft.com/office/drawing/2014/main" id="{7139213E-8E3C-6E6C-57D7-F38944A97655}"/>
                    </a:ext>
                  </a:extLst>
                </p:cNvPr>
                <p:cNvSpPr>
                  <a:spLocks/>
                </p:cNvSpPr>
                <p:nvPr/>
              </p:nvSpPr>
              <p:spPr bwMode="gray">
                <a:xfrm rot="5400000">
                  <a:off x="158095"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23" name="Triangle_4">
                  <a:extLst>
                    <a:ext uri="{FF2B5EF4-FFF2-40B4-BE49-F238E27FC236}">
                      <a16:creationId xmlns:a16="http://schemas.microsoft.com/office/drawing/2014/main" id="{15EC1F30-1C97-0940-C880-242F9BB440FE}"/>
                    </a:ext>
                  </a:extLst>
                </p:cNvPr>
                <p:cNvSpPr>
                  <a:spLocks/>
                </p:cNvSpPr>
                <p:nvPr/>
              </p:nvSpPr>
              <p:spPr bwMode="gray">
                <a:xfrm rot="16200000">
                  <a:off x="323569"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00" name="Group 799">
                <a:extLst>
                  <a:ext uri="{FF2B5EF4-FFF2-40B4-BE49-F238E27FC236}">
                    <a16:creationId xmlns:a16="http://schemas.microsoft.com/office/drawing/2014/main" id="{7463F440-8172-1E4F-C46A-D5B998BB53A4}"/>
                  </a:ext>
                </a:extLst>
              </p:cNvPr>
              <p:cNvGrpSpPr>
                <a:grpSpLocks/>
              </p:cNvGrpSpPr>
              <p:nvPr/>
            </p:nvGrpSpPr>
            <p:grpSpPr bwMode="gray">
              <a:xfrm>
                <a:off x="266700" y="4011989"/>
                <a:ext cx="217142" cy="217142"/>
                <a:chOff x="240832" y="3743677"/>
                <a:chExt cx="330948" cy="330948"/>
              </a:xfrm>
              <a:grpFill/>
            </p:grpSpPr>
            <p:sp>
              <p:nvSpPr>
                <p:cNvPr id="1114" name="dfine_grid_single_shape_frame">
                  <a:extLst>
                    <a:ext uri="{FF2B5EF4-FFF2-40B4-BE49-F238E27FC236}">
                      <a16:creationId xmlns:a16="http://schemas.microsoft.com/office/drawing/2014/main" id="{196BDD25-B721-DBE2-B978-3DD3BC94EB00}"/>
                    </a:ext>
                  </a:extLst>
                </p:cNvPr>
                <p:cNvSpPr>
                  <a:spLocks/>
                </p:cNvSpPr>
                <p:nvPr/>
              </p:nvSpPr>
              <p:spPr bwMode="gray">
                <a:xfrm>
                  <a:off x="240832"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15" name="Triangle_1">
                  <a:extLst>
                    <a:ext uri="{FF2B5EF4-FFF2-40B4-BE49-F238E27FC236}">
                      <a16:creationId xmlns:a16="http://schemas.microsoft.com/office/drawing/2014/main" id="{4B3F7675-D876-4A74-DEA7-62DF9CA5A26F}"/>
                    </a:ext>
                  </a:extLst>
                </p:cNvPr>
                <p:cNvSpPr>
                  <a:spLocks/>
                </p:cNvSpPr>
                <p:nvPr/>
              </p:nvSpPr>
              <p:spPr bwMode="gray">
                <a:xfrm rot="10800000">
                  <a:off x="240832"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16" name="Triangle_2">
                  <a:extLst>
                    <a:ext uri="{FF2B5EF4-FFF2-40B4-BE49-F238E27FC236}">
                      <a16:creationId xmlns:a16="http://schemas.microsoft.com/office/drawing/2014/main" id="{5A42D5EB-0102-FBF7-3DA7-8EF4510FB8B4}"/>
                    </a:ext>
                  </a:extLst>
                </p:cNvPr>
                <p:cNvSpPr>
                  <a:spLocks/>
                </p:cNvSpPr>
                <p:nvPr/>
              </p:nvSpPr>
              <p:spPr bwMode="gray">
                <a:xfrm>
                  <a:off x="240832"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17" name="Triangle_3">
                  <a:extLst>
                    <a:ext uri="{FF2B5EF4-FFF2-40B4-BE49-F238E27FC236}">
                      <a16:creationId xmlns:a16="http://schemas.microsoft.com/office/drawing/2014/main" id="{A0040708-A29C-2AAD-476C-E5C8B58C186D}"/>
                    </a:ext>
                  </a:extLst>
                </p:cNvPr>
                <p:cNvSpPr>
                  <a:spLocks/>
                </p:cNvSpPr>
                <p:nvPr/>
              </p:nvSpPr>
              <p:spPr bwMode="gray">
                <a:xfrm rot="5400000">
                  <a:off x="158095"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18" name="Triangle_4">
                  <a:extLst>
                    <a:ext uri="{FF2B5EF4-FFF2-40B4-BE49-F238E27FC236}">
                      <a16:creationId xmlns:a16="http://schemas.microsoft.com/office/drawing/2014/main" id="{4B31BB2A-E7F1-F57E-FA68-1B11177F5874}"/>
                    </a:ext>
                  </a:extLst>
                </p:cNvPr>
                <p:cNvSpPr>
                  <a:spLocks/>
                </p:cNvSpPr>
                <p:nvPr/>
              </p:nvSpPr>
              <p:spPr bwMode="gray">
                <a:xfrm rot="16200000">
                  <a:off x="323569"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01" name="Group 800">
                <a:extLst>
                  <a:ext uri="{FF2B5EF4-FFF2-40B4-BE49-F238E27FC236}">
                    <a16:creationId xmlns:a16="http://schemas.microsoft.com/office/drawing/2014/main" id="{03E09509-8A87-2E46-39DD-70819E4F17C0}"/>
                  </a:ext>
                </a:extLst>
              </p:cNvPr>
              <p:cNvGrpSpPr>
                <a:grpSpLocks/>
              </p:cNvGrpSpPr>
              <p:nvPr/>
            </p:nvGrpSpPr>
            <p:grpSpPr bwMode="gray">
              <a:xfrm>
                <a:off x="266700" y="4229130"/>
                <a:ext cx="217142" cy="217142"/>
                <a:chOff x="240832" y="4074624"/>
                <a:chExt cx="330948" cy="330948"/>
              </a:xfrm>
              <a:grpFill/>
            </p:grpSpPr>
            <p:sp>
              <p:nvSpPr>
                <p:cNvPr id="1109" name="dfine_grid_single_shape_frame">
                  <a:extLst>
                    <a:ext uri="{FF2B5EF4-FFF2-40B4-BE49-F238E27FC236}">
                      <a16:creationId xmlns:a16="http://schemas.microsoft.com/office/drawing/2014/main" id="{1A2D8158-E854-B6BD-5EB0-2169853CA7FF}"/>
                    </a:ext>
                  </a:extLst>
                </p:cNvPr>
                <p:cNvSpPr>
                  <a:spLocks/>
                </p:cNvSpPr>
                <p:nvPr/>
              </p:nvSpPr>
              <p:spPr bwMode="gray">
                <a:xfrm>
                  <a:off x="240832"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10" name="Triangle_1">
                  <a:extLst>
                    <a:ext uri="{FF2B5EF4-FFF2-40B4-BE49-F238E27FC236}">
                      <a16:creationId xmlns:a16="http://schemas.microsoft.com/office/drawing/2014/main" id="{C1B2054E-6A76-8362-B3A8-FA02431540CE}"/>
                    </a:ext>
                  </a:extLst>
                </p:cNvPr>
                <p:cNvSpPr>
                  <a:spLocks/>
                </p:cNvSpPr>
                <p:nvPr/>
              </p:nvSpPr>
              <p:spPr bwMode="gray">
                <a:xfrm rot="10800000">
                  <a:off x="240832"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11" name="Triangle_2">
                  <a:extLst>
                    <a:ext uri="{FF2B5EF4-FFF2-40B4-BE49-F238E27FC236}">
                      <a16:creationId xmlns:a16="http://schemas.microsoft.com/office/drawing/2014/main" id="{FE2A29CD-3F1A-F06F-AF0C-79DA864031E8}"/>
                    </a:ext>
                  </a:extLst>
                </p:cNvPr>
                <p:cNvSpPr>
                  <a:spLocks/>
                </p:cNvSpPr>
                <p:nvPr/>
              </p:nvSpPr>
              <p:spPr bwMode="gray">
                <a:xfrm>
                  <a:off x="240832"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12" name="Triangle_3">
                  <a:extLst>
                    <a:ext uri="{FF2B5EF4-FFF2-40B4-BE49-F238E27FC236}">
                      <a16:creationId xmlns:a16="http://schemas.microsoft.com/office/drawing/2014/main" id="{B2221F20-3B10-E553-A979-EF7DEB802C11}"/>
                    </a:ext>
                  </a:extLst>
                </p:cNvPr>
                <p:cNvSpPr>
                  <a:spLocks/>
                </p:cNvSpPr>
                <p:nvPr/>
              </p:nvSpPr>
              <p:spPr bwMode="gray">
                <a:xfrm rot="5400000">
                  <a:off x="158095"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13" name="Triangle_4">
                  <a:extLst>
                    <a:ext uri="{FF2B5EF4-FFF2-40B4-BE49-F238E27FC236}">
                      <a16:creationId xmlns:a16="http://schemas.microsoft.com/office/drawing/2014/main" id="{E94AE91A-1E3E-3EF0-D296-FBF3ECB23B2B}"/>
                    </a:ext>
                  </a:extLst>
                </p:cNvPr>
                <p:cNvSpPr>
                  <a:spLocks/>
                </p:cNvSpPr>
                <p:nvPr/>
              </p:nvSpPr>
              <p:spPr bwMode="gray">
                <a:xfrm rot="16200000">
                  <a:off x="323569"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02" name="Group 801">
                <a:extLst>
                  <a:ext uri="{FF2B5EF4-FFF2-40B4-BE49-F238E27FC236}">
                    <a16:creationId xmlns:a16="http://schemas.microsoft.com/office/drawing/2014/main" id="{BCB413D0-8D05-15E0-945D-11BA29F4B079}"/>
                  </a:ext>
                </a:extLst>
              </p:cNvPr>
              <p:cNvGrpSpPr>
                <a:grpSpLocks/>
              </p:cNvGrpSpPr>
              <p:nvPr/>
            </p:nvGrpSpPr>
            <p:grpSpPr bwMode="gray">
              <a:xfrm>
                <a:off x="483841" y="3143425"/>
                <a:ext cx="217142" cy="217142"/>
                <a:chOff x="571779" y="2419889"/>
                <a:chExt cx="330948" cy="330948"/>
              </a:xfrm>
              <a:grpFill/>
            </p:grpSpPr>
            <p:sp>
              <p:nvSpPr>
                <p:cNvPr id="1104" name="dfine_grid_single_shape_frame">
                  <a:extLst>
                    <a:ext uri="{FF2B5EF4-FFF2-40B4-BE49-F238E27FC236}">
                      <a16:creationId xmlns:a16="http://schemas.microsoft.com/office/drawing/2014/main" id="{99D6E5D5-9C36-4AF9-8DE0-B99B4387412C}"/>
                    </a:ext>
                  </a:extLst>
                </p:cNvPr>
                <p:cNvSpPr>
                  <a:spLocks/>
                </p:cNvSpPr>
                <p:nvPr/>
              </p:nvSpPr>
              <p:spPr bwMode="gray">
                <a:xfrm>
                  <a:off x="571779"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05" name="Triangle_1">
                  <a:extLst>
                    <a:ext uri="{FF2B5EF4-FFF2-40B4-BE49-F238E27FC236}">
                      <a16:creationId xmlns:a16="http://schemas.microsoft.com/office/drawing/2014/main" id="{73CB3DB2-5548-DAE5-D5FE-603F0F7626B8}"/>
                    </a:ext>
                  </a:extLst>
                </p:cNvPr>
                <p:cNvSpPr>
                  <a:spLocks/>
                </p:cNvSpPr>
                <p:nvPr/>
              </p:nvSpPr>
              <p:spPr bwMode="gray">
                <a:xfrm rot="10800000">
                  <a:off x="571779"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06" name="Triangle_2">
                  <a:extLst>
                    <a:ext uri="{FF2B5EF4-FFF2-40B4-BE49-F238E27FC236}">
                      <a16:creationId xmlns:a16="http://schemas.microsoft.com/office/drawing/2014/main" id="{69464030-731F-CF5D-F1F6-426AA62CE4C9}"/>
                    </a:ext>
                  </a:extLst>
                </p:cNvPr>
                <p:cNvSpPr>
                  <a:spLocks/>
                </p:cNvSpPr>
                <p:nvPr/>
              </p:nvSpPr>
              <p:spPr bwMode="gray">
                <a:xfrm>
                  <a:off x="571779"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07" name="Triangle_3">
                  <a:extLst>
                    <a:ext uri="{FF2B5EF4-FFF2-40B4-BE49-F238E27FC236}">
                      <a16:creationId xmlns:a16="http://schemas.microsoft.com/office/drawing/2014/main" id="{C9A5E506-C9B0-FCC4-9FD7-3FD216EEED8E}"/>
                    </a:ext>
                  </a:extLst>
                </p:cNvPr>
                <p:cNvSpPr>
                  <a:spLocks/>
                </p:cNvSpPr>
                <p:nvPr/>
              </p:nvSpPr>
              <p:spPr bwMode="gray">
                <a:xfrm rot="5400000">
                  <a:off x="489042"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08" name="Triangle_4">
                  <a:extLst>
                    <a:ext uri="{FF2B5EF4-FFF2-40B4-BE49-F238E27FC236}">
                      <a16:creationId xmlns:a16="http://schemas.microsoft.com/office/drawing/2014/main" id="{20D9F435-856E-81CB-BE18-00132662583C}"/>
                    </a:ext>
                  </a:extLst>
                </p:cNvPr>
                <p:cNvSpPr>
                  <a:spLocks/>
                </p:cNvSpPr>
                <p:nvPr/>
              </p:nvSpPr>
              <p:spPr bwMode="gray">
                <a:xfrm rot="16200000">
                  <a:off x="654516"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03" name="Group 802">
                <a:extLst>
                  <a:ext uri="{FF2B5EF4-FFF2-40B4-BE49-F238E27FC236}">
                    <a16:creationId xmlns:a16="http://schemas.microsoft.com/office/drawing/2014/main" id="{412F438C-C3A1-F26C-A371-C929B2BE2477}"/>
                  </a:ext>
                </a:extLst>
              </p:cNvPr>
              <p:cNvGrpSpPr>
                <a:grpSpLocks/>
              </p:cNvGrpSpPr>
              <p:nvPr/>
            </p:nvGrpSpPr>
            <p:grpSpPr bwMode="gray">
              <a:xfrm>
                <a:off x="483841" y="3360566"/>
                <a:ext cx="217142" cy="217142"/>
                <a:chOff x="571779" y="2750836"/>
                <a:chExt cx="330948" cy="330948"/>
              </a:xfrm>
              <a:grpFill/>
            </p:grpSpPr>
            <p:sp>
              <p:nvSpPr>
                <p:cNvPr id="1099" name="dfine_grid_single_shape_frame">
                  <a:extLst>
                    <a:ext uri="{FF2B5EF4-FFF2-40B4-BE49-F238E27FC236}">
                      <a16:creationId xmlns:a16="http://schemas.microsoft.com/office/drawing/2014/main" id="{996CBB38-04E8-E78C-58D4-F26C04F09F63}"/>
                    </a:ext>
                  </a:extLst>
                </p:cNvPr>
                <p:cNvSpPr>
                  <a:spLocks/>
                </p:cNvSpPr>
                <p:nvPr/>
              </p:nvSpPr>
              <p:spPr bwMode="gray">
                <a:xfrm>
                  <a:off x="571779"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00" name="Triangle_1">
                  <a:extLst>
                    <a:ext uri="{FF2B5EF4-FFF2-40B4-BE49-F238E27FC236}">
                      <a16:creationId xmlns:a16="http://schemas.microsoft.com/office/drawing/2014/main" id="{DD11D129-2890-D0A5-FA56-B742821606F5}"/>
                    </a:ext>
                  </a:extLst>
                </p:cNvPr>
                <p:cNvSpPr>
                  <a:spLocks/>
                </p:cNvSpPr>
                <p:nvPr/>
              </p:nvSpPr>
              <p:spPr bwMode="gray">
                <a:xfrm rot="10800000">
                  <a:off x="571779"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01" name="Triangle_2">
                  <a:extLst>
                    <a:ext uri="{FF2B5EF4-FFF2-40B4-BE49-F238E27FC236}">
                      <a16:creationId xmlns:a16="http://schemas.microsoft.com/office/drawing/2014/main" id="{F49536BB-7EF4-5701-3394-A1137DE51A2D}"/>
                    </a:ext>
                  </a:extLst>
                </p:cNvPr>
                <p:cNvSpPr>
                  <a:spLocks/>
                </p:cNvSpPr>
                <p:nvPr/>
              </p:nvSpPr>
              <p:spPr bwMode="gray">
                <a:xfrm>
                  <a:off x="571779"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02" name="Triangle_3">
                  <a:extLst>
                    <a:ext uri="{FF2B5EF4-FFF2-40B4-BE49-F238E27FC236}">
                      <a16:creationId xmlns:a16="http://schemas.microsoft.com/office/drawing/2014/main" id="{9617ADC9-1A2F-CF08-AE1C-8AC522F3A609}"/>
                    </a:ext>
                  </a:extLst>
                </p:cNvPr>
                <p:cNvSpPr>
                  <a:spLocks/>
                </p:cNvSpPr>
                <p:nvPr/>
              </p:nvSpPr>
              <p:spPr bwMode="gray">
                <a:xfrm rot="5400000">
                  <a:off x="489042"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103" name="Triangle_4">
                  <a:extLst>
                    <a:ext uri="{FF2B5EF4-FFF2-40B4-BE49-F238E27FC236}">
                      <a16:creationId xmlns:a16="http://schemas.microsoft.com/office/drawing/2014/main" id="{E13C20E8-635D-ADF2-18B1-A4233CB5FFF9}"/>
                    </a:ext>
                  </a:extLst>
                </p:cNvPr>
                <p:cNvSpPr>
                  <a:spLocks/>
                </p:cNvSpPr>
                <p:nvPr/>
              </p:nvSpPr>
              <p:spPr bwMode="gray">
                <a:xfrm rot="16200000">
                  <a:off x="654516"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04" name="Group 803">
                <a:extLst>
                  <a:ext uri="{FF2B5EF4-FFF2-40B4-BE49-F238E27FC236}">
                    <a16:creationId xmlns:a16="http://schemas.microsoft.com/office/drawing/2014/main" id="{215109B0-C74F-74F9-9809-43EBB894F4DB}"/>
                  </a:ext>
                </a:extLst>
              </p:cNvPr>
              <p:cNvGrpSpPr>
                <a:grpSpLocks/>
              </p:cNvGrpSpPr>
              <p:nvPr/>
            </p:nvGrpSpPr>
            <p:grpSpPr bwMode="gray">
              <a:xfrm>
                <a:off x="483841" y="3577707"/>
                <a:ext cx="217142" cy="217142"/>
                <a:chOff x="571779" y="3081783"/>
                <a:chExt cx="330948" cy="330948"/>
              </a:xfrm>
              <a:grpFill/>
            </p:grpSpPr>
            <p:sp>
              <p:nvSpPr>
                <p:cNvPr id="1094" name="dfine_grid_single_shape_frame">
                  <a:extLst>
                    <a:ext uri="{FF2B5EF4-FFF2-40B4-BE49-F238E27FC236}">
                      <a16:creationId xmlns:a16="http://schemas.microsoft.com/office/drawing/2014/main" id="{A7373DAA-2CC3-70AC-47F5-DF809F27D960}"/>
                    </a:ext>
                  </a:extLst>
                </p:cNvPr>
                <p:cNvSpPr>
                  <a:spLocks/>
                </p:cNvSpPr>
                <p:nvPr/>
              </p:nvSpPr>
              <p:spPr bwMode="gray">
                <a:xfrm>
                  <a:off x="571779"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95" name="Triangle_1">
                  <a:extLst>
                    <a:ext uri="{FF2B5EF4-FFF2-40B4-BE49-F238E27FC236}">
                      <a16:creationId xmlns:a16="http://schemas.microsoft.com/office/drawing/2014/main" id="{AF2DF125-A8E4-C766-B10B-4C08192FAE03}"/>
                    </a:ext>
                  </a:extLst>
                </p:cNvPr>
                <p:cNvSpPr>
                  <a:spLocks/>
                </p:cNvSpPr>
                <p:nvPr/>
              </p:nvSpPr>
              <p:spPr bwMode="gray">
                <a:xfrm rot="10800000">
                  <a:off x="571779"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96" name="Triangle_2">
                  <a:extLst>
                    <a:ext uri="{FF2B5EF4-FFF2-40B4-BE49-F238E27FC236}">
                      <a16:creationId xmlns:a16="http://schemas.microsoft.com/office/drawing/2014/main" id="{6C69CB20-FED4-A80E-8C04-67471BFE0452}"/>
                    </a:ext>
                  </a:extLst>
                </p:cNvPr>
                <p:cNvSpPr>
                  <a:spLocks/>
                </p:cNvSpPr>
                <p:nvPr/>
              </p:nvSpPr>
              <p:spPr bwMode="gray">
                <a:xfrm>
                  <a:off x="571779"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97" name="Triangle_3">
                  <a:extLst>
                    <a:ext uri="{FF2B5EF4-FFF2-40B4-BE49-F238E27FC236}">
                      <a16:creationId xmlns:a16="http://schemas.microsoft.com/office/drawing/2014/main" id="{6E603C09-C9D1-38F1-DE80-528D452D63E9}"/>
                    </a:ext>
                  </a:extLst>
                </p:cNvPr>
                <p:cNvSpPr>
                  <a:spLocks/>
                </p:cNvSpPr>
                <p:nvPr/>
              </p:nvSpPr>
              <p:spPr bwMode="gray">
                <a:xfrm rot="5400000">
                  <a:off x="489042"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98" name="Triangle_4">
                  <a:extLst>
                    <a:ext uri="{FF2B5EF4-FFF2-40B4-BE49-F238E27FC236}">
                      <a16:creationId xmlns:a16="http://schemas.microsoft.com/office/drawing/2014/main" id="{4D3562F5-C464-1C3D-C660-3AFCF767EB96}"/>
                    </a:ext>
                  </a:extLst>
                </p:cNvPr>
                <p:cNvSpPr>
                  <a:spLocks/>
                </p:cNvSpPr>
                <p:nvPr/>
              </p:nvSpPr>
              <p:spPr bwMode="gray">
                <a:xfrm rot="16200000">
                  <a:off x="654516"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05" name="Group 804">
                <a:extLst>
                  <a:ext uri="{FF2B5EF4-FFF2-40B4-BE49-F238E27FC236}">
                    <a16:creationId xmlns:a16="http://schemas.microsoft.com/office/drawing/2014/main" id="{72D6ECB9-7854-9E0D-EDBC-EAF10883DBDE}"/>
                  </a:ext>
                </a:extLst>
              </p:cNvPr>
              <p:cNvGrpSpPr>
                <a:grpSpLocks/>
              </p:cNvGrpSpPr>
              <p:nvPr/>
            </p:nvGrpSpPr>
            <p:grpSpPr bwMode="gray">
              <a:xfrm>
                <a:off x="483841" y="3794848"/>
                <a:ext cx="217142" cy="217142"/>
                <a:chOff x="571779" y="3412730"/>
                <a:chExt cx="330948" cy="330948"/>
              </a:xfrm>
              <a:grpFill/>
            </p:grpSpPr>
            <p:sp>
              <p:nvSpPr>
                <p:cNvPr id="1089" name="dfine_grid_single_shape_frame">
                  <a:extLst>
                    <a:ext uri="{FF2B5EF4-FFF2-40B4-BE49-F238E27FC236}">
                      <a16:creationId xmlns:a16="http://schemas.microsoft.com/office/drawing/2014/main" id="{5AC1A471-E344-83CB-EFD6-0C86CEB1B7F2}"/>
                    </a:ext>
                  </a:extLst>
                </p:cNvPr>
                <p:cNvSpPr>
                  <a:spLocks/>
                </p:cNvSpPr>
                <p:nvPr>
                  <p:custDataLst>
                    <p:tags r:id="rId72"/>
                  </p:custDataLst>
                </p:nvPr>
              </p:nvSpPr>
              <p:spPr bwMode="gray">
                <a:xfrm>
                  <a:off x="571779"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90" name="Triangle_1">
                  <a:extLst>
                    <a:ext uri="{FF2B5EF4-FFF2-40B4-BE49-F238E27FC236}">
                      <a16:creationId xmlns:a16="http://schemas.microsoft.com/office/drawing/2014/main" id="{F7F4E20D-9026-C6F7-2492-8590EE40E150}"/>
                    </a:ext>
                  </a:extLst>
                </p:cNvPr>
                <p:cNvSpPr>
                  <a:spLocks/>
                </p:cNvSpPr>
                <p:nvPr/>
              </p:nvSpPr>
              <p:spPr bwMode="gray">
                <a:xfrm rot="10800000">
                  <a:off x="571779"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91" name="Triangle_2">
                  <a:extLst>
                    <a:ext uri="{FF2B5EF4-FFF2-40B4-BE49-F238E27FC236}">
                      <a16:creationId xmlns:a16="http://schemas.microsoft.com/office/drawing/2014/main" id="{137A6019-214C-8094-FBAB-0FEF0562EB60}"/>
                    </a:ext>
                  </a:extLst>
                </p:cNvPr>
                <p:cNvSpPr>
                  <a:spLocks/>
                </p:cNvSpPr>
                <p:nvPr/>
              </p:nvSpPr>
              <p:spPr bwMode="gray">
                <a:xfrm>
                  <a:off x="571779"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92" name="Triangle_3">
                  <a:extLst>
                    <a:ext uri="{FF2B5EF4-FFF2-40B4-BE49-F238E27FC236}">
                      <a16:creationId xmlns:a16="http://schemas.microsoft.com/office/drawing/2014/main" id="{97348E7B-74AA-4794-49D2-F83AF2BF6083}"/>
                    </a:ext>
                  </a:extLst>
                </p:cNvPr>
                <p:cNvSpPr>
                  <a:spLocks/>
                </p:cNvSpPr>
                <p:nvPr/>
              </p:nvSpPr>
              <p:spPr bwMode="gray">
                <a:xfrm rot="5400000">
                  <a:off x="489042"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93" name="Triangle_4">
                  <a:extLst>
                    <a:ext uri="{FF2B5EF4-FFF2-40B4-BE49-F238E27FC236}">
                      <a16:creationId xmlns:a16="http://schemas.microsoft.com/office/drawing/2014/main" id="{7DD365D8-22CF-0008-B900-FC4E7D2C8EFA}"/>
                    </a:ext>
                  </a:extLst>
                </p:cNvPr>
                <p:cNvSpPr>
                  <a:spLocks/>
                </p:cNvSpPr>
                <p:nvPr/>
              </p:nvSpPr>
              <p:spPr bwMode="gray">
                <a:xfrm rot="16200000">
                  <a:off x="654516"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06" name="Group 805">
                <a:extLst>
                  <a:ext uri="{FF2B5EF4-FFF2-40B4-BE49-F238E27FC236}">
                    <a16:creationId xmlns:a16="http://schemas.microsoft.com/office/drawing/2014/main" id="{8681CCF4-C148-102C-2EAD-689282CC5CE4}"/>
                  </a:ext>
                </a:extLst>
              </p:cNvPr>
              <p:cNvGrpSpPr>
                <a:grpSpLocks/>
              </p:cNvGrpSpPr>
              <p:nvPr/>
            </p:nvGrpSpPr>
            <p:grpSpPr bwMode="gray">
              <a:xfrm>
                <a:off x="483841" y="4011989"/>
                <a:ext cx="217142" cy="217142"/>
                <a:chOff x="571779" y="3743677"/>
                <a:chExt cx="330948" cy="330948"/>
              </a:xfrm>
              <a:grpFill/>
            </p:grpSpPr>
            <p:sp>
              <p:nvSpPr>
                <p:cNvPr id="1084" name="dfine_grid_single_shape_frame">
                  <a:extLst>
                    <a:ext uri="{FF2B5EF4-FFF2-40B4-BE49-F238E27FC236}">
                      <a16:creationId xmlns:a16="http://schemas.microsoft.com/office/drawing/2014/main" id="{1821828F-DC9B-6D4F-515D-FB3167749BD1}"/>
                    </a:ext>
                  </a:extLst>
                </p:cNvPr>
                <p:cNvSpPr>
                  <a:spLocks/>
                </p:cNvSpPr>
                <p:nvPr/>
              </p:nvSpPr>
              <p:spPr bwMode="gray">
                <a:xfrm>
                  <a:off x="571779"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85" name="Triangle_1">
                  <a:extLst>
                    <a:ext uri="{FF2B5EF4-FFF2-40B4-BE49-F238E27FC236}">
                      <a16:creationId xmlns:a16="http://schemas.microsoft.com/office/drawing/2014/main" id="{E3A4FFC1-86CF-D506-9F3E-C4D3BA9497A3}"/>
                    </a:ext>
                  </a:extLst>
                </p:cNvPr>
                <p:cNvSpPr>
                  <a:spLocks/>
                </p:cNvSpPr>
                <p:nvPr/>
              </p:nvSpPr>
              <p:spPr bwMode="gray">
                <a:xfrm rot="10800000">
                  <a:off x="571779"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86" name="Triangle_2">
                  <a:extLst>
                    <a:ext uri="{FF2B5EF4-FFF2-40B4-BE49-F238E27FC236}">
                      <a16:creationId xmlns:a16="http://schemas.microsoft.com/office/drawing/2014/main" id="{2760D93C-ADE6-BC63-BA7C-8D1A2D74016C}"/>
                    </a:ext>
                  </a:extLst>
                </p:cNvPr>
                <p:cNvSpPr>
                  <a:spLocks/>
                </p:cNvSpPr>
                <p:nvPr/>
              </p:nvSpPr>
              <p:spPr bwMode="gray">
                <a:xfrm>
                  <a:off x="571779"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87" name="Triangle_3">
                  <a:extLst>
                    <a:ext uri="{FF2B5EF4-FFF2-40B4-BE49-F238E27FC236}">
                      <a16:creationId xmlns:a16="http://schemas.microsoft.com/office/drawing/2014/main" id="{52CFE580-C3C2-2884-DB1A-5F9247361A7E}"/>
                    </a:ext>
                  </a:extLst>
                </p:cNvPr>
                <p:cNvSpPr>
                  <a:spLocks/>
                </p:cNvSpPr>
                <p:nvPr/>
              </p:nvSpPr>
              <p:spPr bwMode="gray">
                <a:xfrm rot="5400000">
                  <a:off x="489042"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88" name="Triangle_4">
                  <a:extLst>
                    <a:ext uri="{FF2B5EF4-FFF2-40B4-BE49-F238E27FC236}">
                      <a16:creationId xmlns:a16="http://schemas.microsoft.com/office/drawing/2014/main" id="{AD325B42-C03A-59B4-D4C3-C7BDBD1550D7}"/>
                    </a:ext>
                  </a:extLst>
                </p:cNvPr>
                <p:cNvSpPr>
                  <a:spLocks/>
                </p:cNvSpPr>
                <p:nvPr/>
              </p:nvSpPr>
              <p:spPr bwMode="gray">
                <a:xfrm rot="16200000">
                  <a:off x="654516"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07" name="Group 806">
                <a:extLst>
                  <a:ext uri="{FF2B5EF4-FFF2-40B4-BE49-F238E27FC236}">
                    <a16:creationId xmlns:a16="http://schemas.microsoft.com/office/drawing/2014/main" id="{91CA967C-74EC-C3C2-DDD6-12AF31A47D45}"/>
                  </a:ext>
                </a:extLst>
              </p:cNvPr>
              <p:cNvGrpSpPr>
                <a:grpSpLocks/>
              </p:cNvGrpSpPr>
              <p:nvPr/>
            </p:nvGrpSpPr>
            <p:grpSpPr bwMode="gray">
              <a:xfrm>
                <a:off x="483841" y="4229130"/>
                <a:ext cx="217142" cy="217142"/>
                <a:chOff x="571779" y="4074624"/>
                <a:chExt cx="330948" cy="330948"/>
              </a:xfrm>
              <a:grpFill/>
            </p:grpSpPr>
            <p:sp>
              <p:nvSpPr>
                <p:cNvPr id="1079" name="dfine_grid_single_shape_frame">
                  <a:extLst>
                    <a:ext uri="{FF2B5EF4-FFF2-40B4-BE49-F238E27FC236}">
                      <a16:creationId xmlns:a16="http://schemas.microsoft.com/office/drawing/2014/main" id="{3682DE10-7007-75FA-9B19-1E055B80A53F}"/>
                    </a:ext>
                  </a:extLst>
                </p:cNvPr>
                <p:cNvSpPr>
                  <a:spLocks/>
                </p:cNvSpPr>
                <p:nvPr/>
              </p:nvSpPr>
              <p:spPr bwMode="gray">
                <a:xfrm>
                  <a:off x="571779"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80" name="Triangle_1">
                  <a:extLst>
                    <a:ext uri="{FF2B5EF4-FFF2-40B4-BE49-F238E27FC236}">
                      <a16:creationId xmlns:a16="http://schemas.microsoft.com/office/drawing/2014/main" id="{A313572E-7074-06C7-E37F-7AE2443800A2}"/>
                    </a:ext>
                  </a:extLst>
                </p:cNvPr>
                <p:cNvSpPr>
                  <a:spLocks/>
                </p:cNvSpPr>
                <p:nvPr/>
              </p:nvSpPr>
              <p:spPr bwMode="gray">
                <a:xfrm rot="10800000">
                  <a:off x="571779"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81" name="Triangle_2">
                  <a:extLst>
                    <a:ext uri="{FF2B5EF4-FFF2-40B4-BE49-F238E27FC236}">
                      <a16:creationId xmlns:a16="http://schemas.microsoft.com/office/drawing/2014/main" id="{0E068FB4-F753-69B0-85F7-518A03DF6103}"/>
                    </a:ext>
                  </a:extLst>
                </p:cNvPr>
                <p:cNvSpPr>
                  <a:spLocks/>
                </p:cNvSpPr>
                <p:nvPr/>
              </p:nvSpPr>
              <p:spPr bwMode="gray">
                <a:xfrm>
                  <a:off x="571779"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82" name="Triangle_3">
                  <a:extLst>
                    <a:ext uri="{FF2B5EF4-FFF2-40B4-BE49-F238E27FC236}">
                      <a16:creationId xmlns:a16="http://schemas.microsoft.com/office/drawing/2014/main" id="{A256D1B4-E121-FE4F-32B0-E5560031010E}"/>
                    </a:ext>
                  </a:extLst>
                </p:cNvPr>
                <p:cNvSpPr>
                  <a:spLocks/>
                </p:cNvSpPr>
                <p:nvPr/>
              </p:nvSpPr>
              <p:spPr bwMode="gray">
                <a:xfrm rot="5400000">
                  <a:off x="489042"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83" name="Triangle_4">
                  <a:extLst>
                    <a:ext uri="{FF2B5EF4-FFF2-40B4-BE49-F238E27FC236}">
                      <a16:creationId xmlns:a16="http://schemas.microsoft.com/office/drawing/2014/main" id="{866B189C-D926-AE91-FD3C-C658D608B135}"/>
                    </a:ext>
                  </a:extLst>
                </p:cNvPr>
                <p:cNvSpPr>
                  <a:spLocks/>
                </p:cNvSpPr>
                <p:nvPr/>
              </p:nvSpPr>
              <p:spPr bwMode="gray">
                <a:xfrm rot="16200000">
                  <a:off x="654516"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08" name="Group 807">
                <a:extLst>
                  <a:ext uri="{FF2B5EF4-FFF2-40B4-BE49-F238E27FC236}">
                    <a16:creationId xmlns:a16="http://schemas.microsoft.com/office/drawing/2014/main" id="{3B00044D-7E2D-58A2-E139-FB21FFFB4649}"/>
                  </a:ext>
                </a:extLst>
              </p:cNvPr>
              <p:cNvGrpSpPr>
                <a:grpSpLocks/>
              </p:cNvGrpSpPr>
              <p:nvPr/>
            </p:nvGrpSpPr>
            <p:grpSpPr bwMode="gray">
              <a:xfrm>
                <a:off x="700982" y="3143425"/>
                <a:ext cx="217142" cy="217142"/>
                <a:chOff x="902726" y="2419889"/>
                <a:chExt cx="330948" cy="330948"/>
              </a:xfrm>
              <a:grpFill/>
            </p:grpSpPr>
            <p:sp>
              <p:nvSpPr>
                <p:cNvPr id="1074" name="dfine_grid_single_shape_frame">
                  <a:extLst>
                    <a:ext uri="{FF2B5EF4-FFF2-40B4-BE49-F238E27FC236}">
                      <a16:creationId xmlns:a16="http://schemas.microsoft.com/office/drawing/2014/main" id="{209DAD27-23B8-E441-93ED-4534729F4852}"/>
                    </a:ext>
                  </a:extLst>
                </p:cNvPr>
                <p:cNvSpPr>
                  <a:spLocks/>
                </p:cNvSpPr>
                <p:nvPr>
                  <p:custDataLst>
                    <p:tags r:id="rId71"/>
                  </p:custDataLst>
                </p:nvPr>
              </p:nvSpPr>
              <p:spPr bwMode="gray">
                <a:xfrm>
                  <a:off x="902726"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75" name="Triangle_1">
                  <a:extLst>
                    <a:ext uri="{FF2B5EF4-FFF2-40B4-BE49-F238E27FC236}">
                      <a16:creationId xmlns:a16="http://schemas.microsoft.com/office/drawing/2014/main" id="{8D446440-8C0C-E2C8-8010-639216CE13F0}"/>
                    </a:ext>
                  </a:extLst>
                </p:cNvPr>
                <p:cNvSpPr>
                  <a:spLocks/>
                </p:cNvSpPr>
                <p:nvPr/>
              </p:nvSpPr>
              <p:spPr bwMode="gray">
                <a:xfrm rot="10800000">
                  <a:off x="902726"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76" name="Triangle_2">
                  <a:extLst>
                    <a:ext uri="{FF2B5EF4-FFF2-40B4-BE49-F238E27FC236}">
                      <a16:creationId xmlns:a16="http://schemas.microsoft.com/office/drawing/2014/main" id="{F8A79F0A-F2C6-68FB-01B9-02674C666715}"/>
                    </a:ext>
                  </a:extLst>
                </p:cNvPr>
                <p:cNvSpPr>
                  <a:spLocks/>
                </p:cNvSpPr>
                <p:nvPr/>
              </p:nvSpPr>
              <p:spPr bwMode="gray">
                <a:xfrm>
                  <a:off x="902726"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77" name="Triangle_3">
                  <a:extLst>
                    <a:ext uri="{FF2B5EF4-FFF2-40B4-BE49-F238E27FC236}">
                      <a16:creationId xmlns:a16="http://schemas.microsoft.com/office/drawing/2014/main" id="{08889060-8A18-5E3F-8768-58257F5E44E4}"/>
                    </a:ext>
                  </a:extLst>
                </p:cNvPr>
                <p:cNvSpPr>
                  <a:spLocks/>
                </p:cNvSpPr>
                <p:nvPr/>
              </p:nvSpPr>
              <p:spPr bwMode="gray">
                <a:xfrm rot="5400000">
                  <a:off x="819989"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78" name="Triangle_4">
                  <a:extLst>
                    <a:ext uri="{FF2B5EF4-FFF2-40B4-BE49-F238E27FC236}">
                      <a16:creationId xmlns:a16="http://schemas.microsoft.com/office/drawing/2014/main" id="{F474DE10-9C5F-FEBC-5A5F-F476D3B8800C}"/>
                    </a:ext>
                  </a:extLst>
                </p:cNvPr>
                <p:cNvSpPr>
                  <a:spLocks/>
                </p:cNvSpPr>
                <p:nvPr/>
              </p:nvSpPr>
              <p:spPr bwMode="gray">
                <a:xfrm rot="16200000">
                  <a:off x="98546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09" name="Group 808">
                <a:extLst>
                  <a:ext uri="{FF2B5EF4-FFF2-40B4-BE49-F238E27FC236}">
                    <a16:creationId xmlns:a16="http://schemas.microsoft.com/office/drawing/2014/main" id="{AA76AB4C-E43A-79DF-CB3F-34C46002C4B7}"/>
                  </a:ext>
                </a:extLst>
              </p:cNvPr>
              <p:cNvGrpSpPr>
                <a:grpSpLocks/>
              </p:cNvGrpSpPr>
              <p:nvPr/>
            </p:nvGrpSpPr>
            <p:grpSpPr bwMode="gray">
              <a:xfrm>
                <a:off x="700982" y="3360566"/>
                <a:ext cx="217142" cy="217142"/>
                <a:chOff x="902726" y="2750836"/>
                <a:chExt cx="330948" cy="330948"/>
              </a:xfrm>
              <a:grpFill/>
            </p:grpSpPr>
            <p:sp>
              <p:nvSpPr>
                <p:cNvPr id="1069" name="dfine_grid_single_shape_frame">
                  <a:extLst>
                    <a:ext uri="{FF2B5EF4-FFF2-40B4-BE49-F238E27FC236}">
                      <a16:creationId xmlns:a16="http://schemas.microsoft.com/office/drawing/2014/main" id="{8DCC42BE-3712-5576-920F-244397EEC28E}"/>
                    </a:ext>
                  </a:extLst>
                </p:cNvPr>
                <p:cNvSpPr>
                  <a:spLocks/>
                </p:cNvSpPr>
                <p:nvPr/>
              </p:nvSpPr>
              <p:spPr bwMode="gray">
                <a:xfrm>
                  <a:off x="902726"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70" name="Triangle_1">
                  <a:extLst>
                    <a:ext uri="{FF2B5EF4-FFF2-40B4-BE49-F238E27FC236}">
                      <a16:creationId xmlns:a16="http://schemas.microsoft.com/office/drawing/2014/main" id="{7AD8F0C6-715C-AF63-A0E3-2914C9B62BAD}"/>
                    </a:ext>
                  </a:extLst>
                </p:cNvPr>
                <p:cNvSpPr>
                  <a:spLocks/>
                </p:cNvSpPr>
                <p:nvPr/>
              </p:nvSpPr>
              <p:spPr bwMode="gray">
                <a:xfrm rot="10800000">
                  <a:off x="902726"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71" name="Triangle_2">
                  <a:extLst>
                    <a:ext uri="{FF2B5EF4-FFF2-40B4-BE49-F238E27FC236}">
                      <a16:creationId xmlns:a16="http://schemas.microsoft.com/office/drawing/2014/main" id="{96600137-1463-39F6-DF8E-4616CD582F1F}"/>
                    </a:ext>
                  </a:extLst>
                </p:cNvPr>
                <p:cNvSpPr>
                  <a:spLocks/>
                </p:cNvSpPr>
                <p:nvPr/>
              </p:nvSpPr>
              <p:spPr bwMode="gray">
                <a:xfrm>
                  <a:off x="902726"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72" name="Triangle_3">
                  <a:extLst>
                    <a:ext uri="{FF2B5EF4-FFF2-40B4-BE49-F238E27FC236}">
                      <a16:creationId xmlns:a16="http://schemas.microsoft.com/office/drawing/2014/main" id="{1F277043-D008-7A55-29E3-61DC713DD671}"/>
                    </a:ext>
                  </a:extLst>
                </p:cNvPr>
                <p:cNvSpPr>
                  <a:spLocks/>
                </p:cNvSpPr>
                <p:nvPr/>
              </p:nvSpPr>
              <p:spPr bwMode="gray">
                <a:xfrm rot="5400000">
                  <a:off x="819989"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73" name="Triangle_4">
                  <a:extLst>
                    <a:ext uri="{FF2B5EF4-FFF2-40B4-BE49-F238E27FC236}">
                      <a16:creationId xmlns:a16="http://schemas.microsoft.com/office/drawing/2014/main" id="{BC895A74-039B-0DB4-B43A-03A85D811A9A}"/>
                    </a:ext>
                  </a:extLst>
                </p:cNvPr>
                <p:cNvSpPr>
                  <a:spLocks/>
                </p:cNvSpPr>
                <p:nvPr/>
              </p:nvSpPr>
              <p:spPr bwMode="gray">
                <a:xfrm rot="16200000">
                  <a:off x="98546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10" name="Group 809">
                <a:extLst>
                  <a:ext uri="{FF2B5EF4-FFF2-40B4-BE49-F238E27FC236}">
                    <a16:creationId xmlns:a16="http://schemas.microsoft.com/office/drawing/2014/main" id="{92A26C20-29D1-3996-FDC4-B34AD0680F0F}"/>
                  </a:ext>
                </a:extLst>
              </p:cNvPr>
              <p:cNvGrpSpPr>
                <a:grpSpLocks/>
              </p:cNvGrpSpPr>
              <p:nvPr/>
            </p:nvGrpSpPr>
            <p:grpSpPr bwMode="gray">
              <a:xfrm>
                <a:off x="700982" y="3577707"/>
                <a:ext cx="217142" cy="217142"/>
                <a:chOff x="902726" y="3081783"/>
                <a:chExt cx="330948" cy="330948"/>
              </a:xfrm>
              <a:grpFill/>
            </p:grpSpPr>
            <p:sp>
              <p:nvSpPr>
                <p:cNvPr id="1064" name="dfine_grid_single_shape_frame">
                  <a:extLst>
                    <a:ext uri="{FF2B5EF4-FFF2-40B4-BE49-F238E27FC236}">
                      <a16:creationId xmlns:a16="http://schemas.microsoft.com/office/drawing/2014/main" id="{3CC06137-3ACC-87F5-8B01-FAE07D32B725}"/>
                    </a:ext>
                  </a:extLst>
                </p:cNvPr>
                <p:cNvSpPr>
                  <a:spLocks/>
                </p:cNvSpPr>
                <p:nvPr>
                  <p:custDataLst>
                    <p:tags r:id="rId70"/>
                  </p:custDataLst>
                </p:nvPr>
              </p:nvSpPr>
              <p:spPr bwMode="gray">
                <a:xfrm>
                  <a:off x="902726"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65" name="Triangle_1">
                  <a:extLst>
                    <a:ext uri="{FF2B5EF4-FFF2-40B4-BE49-F238E27FC236}">
                      <a16:creationId xmlns:a16="http://schemas.microsoft.com/office/drawing/2014/main" id="{DB8983FD-30F9-87EC-C567-FDCC148CB986}"/>
                    </a:ext>
                  </a:extLst>
                </p:cNvPr>
                <p:cNvSpPr>
                  <a:spLocks/>
                </p:cNvSpPr>
                <p:nvPr/>
              </p:nvSpPr>
              <p:spPr bwMode="gray">
                <a:xfrm rot="10800000">
                  <a:off x="902726"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66" name="Triangle_2">
                  <a:extLst>
                    <a:ext uri="{FF2B5EF4-FFF2-40B4-BE49-F238E27FC236}">
                      <a16:creationId xmlns:a16="http://schemas.microsoft.com/office/drawing/2014/main" id="{D389202B-8D35-AD81-5D61-5F95DD6573E0}"/>
                    </a:ext>
                  </a:extLst>
                </p:cNvPr>
                <p:cNvSpPr>
                  <a:spLocks/>
                </p:cNvSpPr>
                <p:nvPr/>
              </p:nvSpPr>
              <p:spPr bwMode="gray">
                <a:xfrm>
                  <a:off x="902726"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67" name="Triangle_3">
                  <a:extLst>
                    <a:ext uri="{FF2B5EF4-FFF2-40B4-BE49-F238E27FC236}">
                      <a16:creationId xmlns:a16="http://schemas.microsoft.com/office/drawing/2014/main" id="{79FAD3F0-9EDE-453E-1B7D-D51FB5956EAA}"/>
                    </a:ext>
                  </a:extLst>
                </p:cNvPr>
                <p:cNvSpPr>
                  <a:spLocks/>
                </p:cNvSpPr>
                <p:nvPr/>
              </p:nvSpPr>
              <p:spPr bwMode="gray">
                <a:xfrm rot="5400000">
                  <a:off x="819989"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68" name="Triangle_4">
                  <a:extLst>
                    <a:ext uri="{FF2B5EF4-FFF2-40B4-BE49-F238E27FC236}">
                      <a16:creationId xmlns:a16="http://schemas.microsoft.com/office/drawing/2014/main" id="{D2C2018B-9F26-20D2-3F92-A88ABE5294C8}"/>
                    </a:ext>
                  </a:extLst>
                </p:cNvPr>
                <p:cNvSpPr>
                  <a:spLocks/>
                </p:cNvSpPr>
                <p:nvPr/>
              </p:nvSpPr>
              <p:spPr bwMode="gray">
                <a:xfrm rot="16200000">
                  <a:off x="98546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11" name="Group 810">
                <a:extLst>
                  <a:ext uri="{FF2B5EF4-FFF2-40B4-BE49-F238E27FC236}">
                    <a16:creationId xmlns:a16="http://schemas.microsoft.com/office/drawing/2014/main" id="{C55E58BF-928D-D1C8-C3A4-9B04A39E2314}"/>
                  </a:ext>
                </a:extLst>
              </p:cNvPr>
              <p:cNvGrpSpPr>
                <a:grpSpLocks/>
              </p:cNvGrpSpPr>
              <p:nvPr/>
            </p:nvGrpSpPr>
            <p:grpSpPr bwMode="gray">
              <a:xfrm>
                <a:off x="700982" y="4011989"/>
                <a:ext cx="217142" cy="217142"/>
                <a:chOff x="902726" y="3743677"/>
                <a:chExt cx="330948" cy="330948"/>
              </a:xfrm>
              <a:grpFill/>
            </p:grpSpPr>
            <p:sp>
              <p:nvSpPr>
                <p:cNvPr id="1059" name="dfine_grid_single_shape_frame">
                  <a:extLst>
                    <a:ext uri="{FF2B5EF4-FFF2-40B4-BE49-F238E27FC236}">
                      <a16:creationId xmlns:a16="http://schemas.microsoft.com/office/drawing/2014/main" id="{C5758958-84D8-640B-618E-A9BDAC35698B}"/>
                    </a:ext>
                  </a:extLst>
                </p:cNvPr>
                <p:cNvSpPr>
                  <a:spLocks/>
                </p:cNvSpPr>
                <p:nvPr/>
              </p:nvSpPr>
              <p:spPr bwMode="gray">
                <a:xfrm>
                  <a:off x="902726"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60" name="Triangle_1">
                  <a:extLst>
                    <a:ext uri="{FF2B5EF4-FFF2-40B4-BE49-F238E27FC236}">
                      <a16:creationId xmlns:a16="http://schemas.microsoft.com/office/drawing/2014/main" id="{A95B4727-CB32-05B4-6634-4C9B301526A1}"/>
                    </a:ext>
                  </a:extLst>
                </p:cNvPr>
                <p:cNvSpPr>
                  <a:spLocks/>
                </p:cNvSpPr>
                <p:nvPr/>
              </p:nvSpPr>
              <p:spPr bwMode="gray">
                <a:xfrm rot="10800000">
                  <a:off x="902726"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61" name="Triangle_2">
                  <a:extLst>
                    <a:ext uri="{FF2B5EF4-FFF2-40B4-BE49-F238E27FC236}">
                      <a16:creationId xmlns:a16="http://schemas.microsoft.com/office/drawing/2014/main" id="{1FC11FC1-5656-04B9-97AA-94E7E24B936A}"/>
                    </a:ext>
                  </a:extLst>
                </p:cNvPr>
                <p:cNvSpPr>
                  <a:spLocks/>
                </p:cNvSpPr>
                <p:nvPr/>
              </p:nvSpPr>
              <p:spPr bwMode="gray">
                <a:xfrm>
                  <a:off x="902726"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62" name="Triangle_3">
                  <a:extLst>
                    <a:ext uri="{FF2B5EF4-FFF2-40B4-BE49-F238E27FC236}">
                      <a16:creationId xmlns:a16="http://schemas.microsoft.com/office/drawing/2014/main" id="{ACFFA2CA-CA46-4652-0662-55FAE998A381}"/>
                    </a:ext>
                  </a:extLst>
                </p:cNvPr>
                <p:cNvSpPr>
                  <a:spLocks/>
                </p:cNvSpPr>
                <p:nvPr/>
              </p:nvSpPr>
              <p:spPr bwMode="gray">
                <a:xfrm rot="5400000">
                  <a:off x="819989"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63" name="Triangle_4">
                  <a:extLst>
                    <a:ext uri="{FF2B5EF4-FFF2-40B4-BE49-F238E27FC236}">
                      <a16:creationId xmlns:a16="http://schemas.microsoft.com/office/drawing/2014/main" id="{8BB44D8A-6B9F-0027-A001-379B93B738EC}"/>
                    </a:ext>
                  </a:extLst>
                </p:cNvPr>
                <p:cNvSpPr>
                  <a:spLocks/>
                </p:cNvSpPr>
                <p:nvPr/>
              </p:nvSpPr>
              <p:spPr bwMode="gray">
                <a:xfrm rot="16200000">
                  <a:off x="98546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12" name="Group 811">
                <a:extLst>
                  <a:ext uri="{FF2B5EF4-FFF2-40B4-BE49-F238E27FC236}">
                    <a16:creationId xmlns:a16="http://schemas.microsoft.com/office/drawing/2014/main" id="{70BABC56-B296-5D04-BFB8-E14185D608F6}"/>
                  </a:ext>
                </a:extLst>
              </p:cNvPr>
              <p:cNvGrpSpPr>
                <a:grpSpLocks/>
              </p:cNvGrpSpPr>
              <p:nvPr/>
            </p:nvGrpSpPr>
            <p:grpSpPr bwMode="gray">
              <a:xfrm>
                <a:off x="700982" y="4229130"/>
                <a:ext cx="217142" cy="217142"/>
                <a:chOff x="902726" y="4074624"/>
                <a:chExt cx="330948" cy="330948"/>
              </a:xfrm>
              <a:grpFill/>
            </p:grpSpPr>
            <p:sp>
              <p:nvSpPr>
                <p:cNvPr id="1054" name="dfine_grid_single_shape_frame">
                  <a:extLst>
                    <a:ext uri="{FF2B5EF4-FFF2-40B4-BE49-F238E27FC236}">
                      <a16:creationId xmlns:a16="http://schemas.microsoft.com/office/drawing/2014/main" id="{E5AD23E2-5819-0537-45A5-A025FF4381B6}"/>
                    </a:ext>
                  </a:extLst>
                </p:cNvPr>
                <p:cNvSpPr>
                  <a:spLocks/>
                </p:cNvSpPr>
                <p:nvPr/>
              </p:nvSpPr>
              <p:spPr bwMode="gray">
                <a:xfrm>
                  <a:off x="902726"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55" name="Triangle_1">
                  <a:extLst>
                    <a:ext uri="{FF2B5EF4-FFF2-40B4-BE49-F238E27FC236}">
                      <a16:creationId xmlns:a16="http://schemas.microsoft.com/office/drawing/2014/main" id="{7DD106C9-1AF6-13A1-8990-85CD19D1DFDE}"/>
                    </a:ext>
                  </a:extLst>
                </p:cNvPr>
                <p:cNvSpPr>
                  <a:spLocks/>
                </p:cNvSpPr>
                <p:nvPr/>
              </p:nvSpPr>
              <p:spPr bwMode="gray">
                <a:xfrm rot="10800000">
                  <a:off x="902726"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56" name="Triangle_2">
                  <a:extLst>
                    <a:ext uri="{FF2B5EF4-FFF2-40B4-BE49-F238E27FC236}">
                      <a16:creationId xmlns:a16="http://schemas.microsoft.com/office/drawing/2014/main" id="{EA56830D-5267-4C5E-B654-538BE054A331}"/>
                    </a:ext>
                  </a:extLst>
                </p:cNvPr>
                <p:cNvSpPr>
                  <a:spLocks/>
                </p:cNvSpPr>
                <p:nvPr/>
              </p:nvSpPr>
              <p:spPr bwMode="gray">
                <a:xfrm>
                  <a:off x="902726"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57" name="Triangle_3">
                  <a:extLst>
                    <a:ext uri="{FF2B5EF4-FFF2-40B4-BE49-F238E27FC236}">
                      <a16:creationId xmlns:a16="http://schemas.microsoft.com/office/drawing/2014/main" id="{225F1770-A070-0B5A-A746-E215D40CF57C}"/>
                    </a:ext>
                  </a:extLst>
                </p:cNvPr>
                <p:cNvSpPr>
                  <a:spLocks/>
                </p:cNvSpPr>
                <p:nvPr/>
              </p:nvSpPr>
              <p:spPr bwMode="gray">
                <a:xfrm rot="5400000">
                  <a:off x="819989"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58" name="Triangle_4">
                  <a:extLst>
                    <a:ext uri="{FF2B5EF4-FFF2-40B4-BE49-F238E27FC236}">
                      <a16:creationId xmlns:a16="http://schemas.microsoft.com/office/drawing/2014/main" id="{3954F758-2902-41ED-2045-9DCB0E04889B}"/>
                    </a:ext>
                  </a:extLst>
                </p:cNvPr>
                <p:cNvSpPr>
                  <a:spLocks/>
                </p:cNvSpPr>
                <p:nvPr/>
              </p:nvSpPr>
              <p:spPr bwMode="gray">
                <a:xfrm rot="16200000">
                  <a:off x="98546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sp>
            <p:nvSpPr>
              <p:cNvPr id="813" name="Triangle_2">
                <a:extLst>
                  <a:ext uri="{FF2B5EF4-FFF2-40B4-BE49-F238E27FC236}">
                    <a16:creationId xmlns:a16="http://schemas.microsoft.com/office/drawing/2014/main" id="{8331BC8C-0C97-30CC-14D9-9AD3B7FF4860}"/>
                  </a:ext>
                </a:extLst>
              </p:cNvPr>
              <p:cNvSpPr>
                <a:spLocks/>
              </p:cNvSpPr>
              <p:nvPr/>
            </p:nvSpPr>
            <p:spPr bwMode="gray">
              <a:xfrm>
                <a:off x="920750" y="3686859"/>
                <a:ext cx="217141" cy="108570"/>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14" name="Triangle_2">
                <a:extLst>
                  <a:ext uri="{FF2B5EF4-FFF2-40B4-BE49-F238E27FC236}">
                    <a16:creationId xmlns:a16="http://schemas.microsoft.com/office/drawing/2014/main" id="{75B8E822-7E87-E84A-7F8B-AA0B2FE79AB8}"/>
                  </a:ext>
                </a:extLst>
              </p:cNvPr>
              <p:cNvSpPr>
                <a:spLocks/>
              </p:cNvSpPr>
              <p:nvPr/>
            </p:nvSpPr>
            <p:spPr bwMode="gray">
              <a:xfrm>
                <a:off x="700982" y="3251995"/>
                <a:ext cx="217141" cy="108570"/>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15" name="Triangle_3">
                <a:extLst>
                  <a:ext uri="{FF2B5EF4-FFF2-40B4-BE49-F238E27FC236}">
                    <a16:creationId xmlns:a16="http://schemas.microsoft.com/office/drawing/2014/main" id="{C851B64A-98C8-FC66-B294-585AC236FF4F}"/>
                  </a:ext>
                </a:extLst>
              </p:cNvPr>
              <p:cNvSpPr>
                <a:spLocks/>
              </p:cNvSpPr>
              <p:nvPr/>
            </p:nvSpPr>
            <p:spPr bwMode="gray">
              <a:xfrm rot="10800000">
                <a:off x="266700" y="3143425"/>
                <a:ext cx="217141" cy="108570"/>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16" name="Triangle_1">
                <a:extLst>
                  <a:ext uri="{FF2B5EF4-FFF2-40B4-BE49-F238E27FC236}">
                    <a16:creationId xmlns:a16="http://schemas.microsoft.com/office/drawing/2014/main" id="{135F3FB9-2EB1-FF38-97C8-9C819B48B632}"/>
                  </a:ext>
                </a:extLst>
              </p:cNvPr>
              <p:cNvSpPr>
                <a:spLocks/>
              </p:cNvSpPr>
              <p:nvPr/>
            </p:nvSpPr>
            <p:spPr bwMode="gray">
              <a:xfrm rot="10800000">
                <a:off x="483841" y="3794848"/>
                <a:ext cx="217141" cy="108570"/>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17" name="Triangle_2">
                <a:extLst>
                  <a:ext uri="{FF2B5EF4-FFF2-40B4-BE49-F238E27FC236}">
                    <a16:creationId xmlns:a16="http://schemas.microsoft.com/office/drawing/2014/main" id="{85C03708-A000-2133-970D-ED4AB3915784}"/>
                  </a:ext>
                </a:extLst>
              </p:cNvPr>
              <p:cNvSpPr>
                <a:spLocks/>
              </p:cNvSpPr>
              <p:nvPr/>
            </p:nvSpPr>
            <p:spPr bwMode="gray">
              <a:xfrm>
                <a:off x="700982" y="3686277"/>
                <a:ext cx="217141" cy="108570"/>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18" name="Triangle_2">
                <a:extLst>
                  <a:ext uri="{FF2B5EF4-FFF2-40B4-BE49-F238E27FC236}">
                    <a16:creationId xmlns:a16="http://schemas.microsoft.com/office/drawing/2014/main" id="{BDE5DD9F-E223-E4B0-0B00-370A427560BA}"/>
                  </a:ext>
                </a:extLst>
              </p:cNvPr>
              <p:cNvSpPr>
                <a:spLocks/>
              </p:cNvSpPr>
              <p:nvPr/>
            </p:nvSpPr>
            <p:spPr bwMode="gray">
              <a:xfrm>
                <a:off x="266700" y="3469136"/>
                <a:ext cx="217141" cy="108570"/>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nvGrpSpPr>
              <p:cNvPr id="819" name="Group 818">
                <a:extLst>
                  <a:ext uri="{FF2B5EF4-FFF2-40B4-BE49-F238E27FC236}">
                    <a16:creationId xmlns:a16="http://schemas.microsoft.com/office/drawing/2014/main" id="{4F96130A-DABD-728B-6641-7F164ED59CFC}"/>
                  </a:ext>
                </a:extLst>
              </p:cNvPr>
              <p:cNvGrpSpPr>
                <a:grpSpLocks/>
              </p:cNvGrpSpPr>
              <p:nvPr/>
            </p:nvGrpSpPr>
            <p:grpSpPr bwMode="gray">
              <a:xfrm>
                <a:off x="1352406" y="1623437"/>
                <a:ext cx="217142" cy="217142"/>
                <a:chOff x="1564620" y="2088942"/>
                <a:chExt cx="330948" cy="330948"/>
              </a:xfrm>
              <a:grpFill/>
            </p:grpSpPr>
            <p:sp>
              <p:nvSpPr>
                <p:cNvPr id="1049" name="dfine_grid_single_shape_frame">
                  <a:extLst>
                    <a:ext uri="{FF2B5EF4-FFF2-40B4-BE49-F238E27FC236}">
                      <a16:creationId xmlns:a16="http://schemas.microsoft.com/office/drawing/2014/main" id="{242D15EB-F4C1-7231-D3BD-4A848FBD3D28}"/>
                    </a:ext>
                  </a:extLst>
                </p:cNvPr>
                <p:cNvSpPr>
                  <a:spLocks/>
                </p:cNvSpPr>
                <p:nvPr/>
              </p:nvSpPr>
              <p:spPr bwMode="gray">
                <a:xfrm>
                  <a:off x="1564620"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50" name="Triangle_1">
                  <a:extLst>
                    <a:ext uri="{FF2B5EF4-FFF2-40B4-BE49-F238E27FC236}">
                      <a16:creationId xmlns:a16="http://schemas.microsoft.com/office/drawing/2014/main" id="{21FBC580-1527-3992-7BB7-669DC36666E2}"/>
                    </a:ext>
                  </a:extLst>
                </p:cNvPr>
                <p:cNvSpPr>
                  <a:spLocks/>
                </p:cNvSpPr>
                <p:nvPr/>
              </p:nvSpPr>
              <p:spPr bwMode="gray">
                <a:xfrm rot="10800000">
                  <a:off x="1564620"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51" name="Triangle_2">
                  <a:extLst>
                    <a:ext uri="{FF2B5EF4-FFF2-40B4-BE49-F238E27FC236}">
                      <a16:creationId xmlns:a16="http://schemas.microsoft.com/office/drawing/2014/main" id="{5C042111-E6D9-1D42-C393-ED6D92B2521C}"/>
                    </a:ext>
                  </a:extLst>
                </p:cNvPr>
                <p:cNvSpPr>
                  <a:spLocks/>
                </p:cNvSpPr>
                <p:nvPr/>
              </p:nvSpPr>
              <p:spPr bwMode="gray">
                <a:xfrm>
                  <a:off x="1564620"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52" name="Triangle_3">
                  <a:extLst>
                    <a:ext uri="{FF2B5EF4-FFF2-40B4-BE49-F238E27FC236}">
                      <a16:creationId xmlns:a16="http://schemas.microsoft.com/office/drawing/2014/main" id="{ADD27D2D-B7E7-FA60-E075-E4152FAB46C4}"/>
                    </a:ext>
                  </a:extLst>
                </p:cNvPr>
                <p:cNvSpPr>
                  <a:spLocks/>
                </p:cNvSpPr>
                <p:nvPr/>
              </p:nvSpPr>
              <p:spPr bwMode="gray">
                <a:xfrm rot="5400000">
                  <a:off x="1481883"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53" name="Triangle_4">
                  <a:extLst>
                    <a:ext uri="{FF2B5EF4-FFF2-40B4-BE49-F238E27FC236}">
                      <a16:creationId xmlns:a16="http://schemas.microsoft.com/office/drawing/2014/main" id="{8B87CB86-C490-C059-44CD-2499B6EA91BD}"/>
                    </a:ext>
                  </a:extLst>
                </p:cNvPr>
                <p:cNvSpPr>
                  <a:spLocks/>
                </p:cNvSpPr>
                <p:nvPr/>
              </p:nvSpPr>
              <p:spPr bwMode="gray">
                <a:xfrm rot="16200000">
                  <a:off x="1647357"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20" name="Group 819">
                <a:extLst>
                  <a:ext uri="{FF2B5EF4-FFF2-40B4-BE49-F238E27FC236}">
                    <a16:creationId xmlns:a16="http://schemas.microsoft.com/office/drawing/2014/main" id="{BCB36D8B-FC53-CFE4-C06B-F2986C39F1AF}"/>
                  </a:ext>
                </a:extLst>
              </p:cNvPr>
              <p:cNvGrpSpPr>
                <a:grpSpLocks/>
              </p:cNvGrpSpPr>
              <p:nvPr/>
            </p:nvGrpSpPr>
            <p:grpSpPr bwMode="gray">
              <a:xfrm>
                <a:off x="1352406" y="1840578"/>
                <a:ext cx="217142" cy="217142"/>
                <a:chOff x="1564620" y="2419889"/>
                <a:chExt cx="330948" cy="330948"/>
              </a:xfrm>
              <a:grpFill/>
            </p:grpSpPr>
            <p:sp>
              <p:nvSpPr>
                <p:cNvPr id="1044" name="dfine_grid_single_shape_frame">
                  <a:extLst>
                    <a:ext uri="{FF2B5EF4-FFF2-40B4-BE49-F238E27FC236}">
                      <a16:creationId xmlns:a16="http://schemas.microsoft.com/office/drawing/2014/main" id="{7F6F288F-1517-4329-3319-5EEEE69DF497}"/>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45" name="Triangle_1">
                  <a:extLst>
                    <a:ext uri="{FF2B5EF4-FFF2-40B4-BE49-F238E27FC236}">
                      <a16:creationId xmlns:a16="http://schemas.microsoft.com/office/drawing/2014/main" id="{2BB7A50F-8305-320E-E17B-855A2E8A98E1}"/>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46" name="Triangle_2">
                  <a:extLst>
                    <a:ext uri="{FF2B5EF4-FFF2-40B4-BE49-F238E27FC236}">
                      <a16:creationId xmlns:a16="http://schemas.microsoft.com/office/drawing/2014/main" id="{71E96294-68A1-D782-003E-DF06C93E2D38}"/>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47" name="Triangle_3">
                  <a:extLst>
                    <a:ext uri="{FF2B5EF4-FFF2-40B4-BE49-F238E27FC236}">
                      <a16:creationId xmlns:a16="http://schemas.microsoft.com/office/drawing/2014/main" id="{CD844342-F579-2AA1-7E47-3CC76423CC29}"/>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48" name="Triangle_4">
                  <a:extLst>
                    <a:ext uri="{FF2B5EF4-FFF2-40B4-BE49-F238E27FC236}">
                      <a16:creationId xmlns:a16="http://schemas.microsoft.com/office/drawing/2014/main" id="{F4124BCC-E056-8B55-F357-0A3D5B843481}"/>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21" name="Group 820">
                <a:extLst>
                  <a:ext uri="{FF2B5EF4-FFF2-40B4-BE49-F238E27FC236}">
                    <a16:creationId xmlns:a16="http://schemas.microsoft.com/office/drawing/2014/main" id="{18DE02C2-745E-553B-9D09-E5B4E218A675}"/>
                  </a:ext>
                </a:extLst>
              </p:cNvPr>
              <p:cNvGrpSpPr>
                <a:grpSpLocks/>
              </p:cNvGrpSpPr>
              <p:nvPr/>
            </p:nvGrpSpPr>
            <p:grpSpPr bwMode="gray">
              <a:xfrm>
                <a:off x="1352406" y="2057719"/>
                <a:ext cx="217142" cy="217142"/>
                <a:chOff x="1564620" y="2750836"/>
                <a:chExt cx="330948" cy="330948"/>
              </a:xfrm>
              <a:grpFill/>
            </p:grpSpPr>
            <p:sp>
              <p:nvSpPr>
                <p:cNvPr id="1039" name="dfine_grid_single_shape_frame">
                  <a:extLst>
                    <a:ext uri="{FF2B5EF4-FFF2-40B4-BE49-F238E27FC236}">
                      <a16:creationId xmlns:a16="http://schemas.microsoft.com/office/drawing/2014/main" id="{8246B7C5-CC89-9498-4E69-26F9C2A99BE1}"/>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40" name="Triangle_1">
                  <a:extLst>
                    <a:ext uri="{FF2B5EF4-FFF2-40B4-BE49-F238E27FC236}">
                      <a16:creationId xmlns:a16="http://schemas.microsoft.com/office/drawing/2014/main" id="{CC2597F4-1DDE-0932-F6AD-B58003CF5B07}"/>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41" name="Triangle_2">
                  <a:extLst>
                    <a:ext uri="{FF2B5EF4-FFF2-40B4-BE49-F238E27FC236}">
                      <a16:creationId xmlns:a16="http://schemas.microsoft.com/office/drawing/2014/main" id="{A1E2F580-55BA-C520-E61C-FEFC1FE1CFB6}"/>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42" name="Triangle_3">
                  <a:extLst>
                    <a:ext uri="{FF2B5EF4-FFF2-40B4-BE49-F238E27FC236}">
                      <a16:creationId xmlns:a16="http://schemas.microsoft.com/office/drawing/2014/main" id="{54F0C57F-52B8-3068-DA55-259E0BED8AF5}"/>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43" name="Triangle_4">
                  <a:extLst>
                    <a:ext uri="{FF2B5EF4-FFF2-40B4-BE49-F238E27FC236}">
                      <a16:creationId xmlns:a16="http://schemas.microsoft.com/office/drawing/2014/main" id="{71F24AA6-8B84-2DC7-D491-028DAE4F62A3}"/>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22" name="Group 821">
                <a:extLst>
                  <a:ext uri="{FF2B5EF4-FFF2-40B4-BE49-F238E27FC236}">
                    <a16:creationId xmlns:a16="http://schemas.microsoft.com/office/drawing/2014/main" id="{13BB0082-2D46-8CA0-FE0E-6EC2CC43AD5A}"/>
                  </a:ext>
                </a:extLst>
              </p:cNvPr>
              <p:cNvGrpSpPr>
                <a:grpSpLocks/>
              </p:cNvGrpSpPr>
              <p:nvPr/>
            </p:nvGrpSpPr>
            <p:grpSpPr bwMode="gray">
              <a:xfrm>
                <a:off x="1352406" y="2274860"/>
                <a:ext cx="217142" cy="217142"/>
                <a:chOff x="1564620" y="3081783"/>
                <a:chExt cx="330948" cy="330948"/>
              </a:xfrm>
              <a:grpFill/>
            </p:grpSpPr>
            <p:sp>
              <p:nvSpPr>
                <p:cNvPr id="1034" name="dfine_grid_single_shape_frame">
                  <a:extLst>
                    <a:ext uri="{FF2B5EF4-FFF2-40B4-BE49-F238E27FC236}">
                      <a16:creationId xmlns:a16="http://schemas.microsoft.com/office/drawing/2014/main" id="{3428D9E2-DD61-22CA-A7F4-56D31A81437F}"/>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35" name="Triangle_1">
                  <a:extLst>
                    <a:ext uri="{FF2B5EF4-FFF2-40B4-BE49-F238E27FC236}">
                      <a16:creationId xmlns:a16="http://schemas.microsoft.com/office/drawing/2014/main" id="{41AE3A14-212E-0491-FAB4-A772333F918E}"/>
                    </a:ext>
                  </a:extLst>
                </p:cNvPr>
                <p:cNvSpPr>
                  <a:spLocks/>
                </p:cNvSpPr>
                <p:nvPr/>
              </p:nvSpPr>
              <p:spPr bwMode="gray">
                <a:xfrm rot="10800000">
                  <a:off x="1564620"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36" name="Triangle_2">
                  <a:extLst>
                    <a:ext uri="{FF2B5EF4-FFF2-40B4-BE49-F238E27FC236}">
                      <a16:creationId xmlns:a16="http://schemas.microsoft.com/office/drawing/2014/main" id="{8CB8ED97-F133-8C2F-E0F0-86EC90F06E18}"/>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37" name="Triangle_3">
                  <a:extLst>
                    <a:ext uri="{FF2B5EF4-FFF2-40B4-BE49-F238E27FC236}">
                      <a16:creationId xmlns:a16="http://schemas.microsoft.com/office/drawing/2014/main" id="{070F4006-850A-8ADE-AF01-E462928F8A03}"/>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38" name="Triangle_4">
                  <a:extLst>
                    <a:ext uri="{FF2B5EF4-FFF2-40B4-BE49-F238E27FC236}">
                      <a16:creationId xmlns:a16="http://schemas.microsoft.com/office/drawing/2014/main" id="{F9E33783-D005-69B1-B87B-D6FFA01090BC}"/>
                    </a:ext>
                  </a:extLst>
                </p:cNvPr>
                <p:cNvSpPr>
                  <a:spLocks/>
                </p:cNvSpPr>
                <p:nvPr/>
              </p:nvSpPr>
              <p:spPr bwMode="gray">
                <a:xfrm rot="16200000">
                  <a:off x="1647357"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23" name="Group 822">
                <a:extLst>
                  <a:ext uri="{FF2B5EF4-FFF2-40B4-BE49-F238E27FC236}">
                    <a16:creationId xmlns:a16="http://schemas.microsoft.com/office/drawing/2014/main" id="{0FB0BF6F-7DF8-267A-9B9B-A551382B67F1}"/>
                  </a:ext>
                </a:extLst>
              </p:cNvPr>
              <p:cNvGrpSpPr>
                <a:grpSpLocks/>
              </p:cNvGrpSpPr>
              <p:nvPr/>
            </p:nvGrpSpPr>
            <p:grpSpPr bwMode="gray">
              <a:xfrm>
                <a:off x="1352406" y="2492001"/>
                <a:ext cx="217142" cy="217142"/>
                <a:chOff x="1564620" y="3412730"/>
                <a:chExt cx="330948" cy="330948"/>
              </a:xfrm>
              <a:grpFill/>
            </p:grpSpPr>
            <p:sp>
              <p:nvSpPr>
                <p:cNvPr id="1029" name="dfine_grid_single_shape_frame">
                  <a:extLst>
                    <a:ext uri="{FF2B5EF4-FFF2-40B4-BE49-F238E27FC236}">
                      <a16:creationId xmlns:a16="http://schemas.microsoft.com/office/drawing/2014/main" id="{1BA279B3-637E-0246-C526-DEA74A19E894}"/>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30" name="Triangle_1">
                  <a:extLst>
                    <a:ext uri="{FF2B5EF4-FFF2-40B4-BE49-F238E27FC236}">
                      <a16:creationId xmlns:a16="http://schemas.microsoft.com/office/drawing/2014/main" id="{A9298C5C-ED18-5A58-E994-7E32D07782C6}"/>
                    </a:ext>
                  </a:extLst>
                </p:cNvPr>
                <p:cNvSpPr>
                  <a:spLocks/>
                </p:cNvSpPr>
                <p:nvPr/>
              </p:nvSpPr>
              <p:spPr bwMode="gray">
                <a:xfrm rot="10800000">
                  <a:off x="1564620"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31" name="Triangle_2">
                  <a:extLst>
                    <a:ext uri="{FF2B5EF4-FFF2-40B4-BE49-F238E27FC236}">
                      <a16:creationId xmlns:a16="http://schemas.microsoft.com/office/drawing/2014/main" id="{5AE9BEBD-BBB7-6559-402F-1892528B93C9}"/>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32" name="Triangle_3">
                  <a:extLst>
                    <a:ext uri="{FF2B5EF4-FFF2-40B4-BE49-F238E27FC236}">
                      <a16:creationId xmlns:a16="http://schemas.microsoft.com/office/drawing/2014/main" id="{10FB813F-5B58-342D-B0CF-B83BDF282AD2}"/>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33" name="Triangle_4">
                  <a:extLst>
                    <a:ext uri="{FF2B5EF4-FFF2-40B4-BE49-F238E27FC236}">
                      <a16:creationId xmlns:a16="http://schemas.microsoft.com/office/drawing/2014/main" id="{3EAACCDF-8FCE-0A06-D0B0-BB8226722094}"/>
                    </a:ext>
                  </a:extLst>
                </p:cNvPr>
                <p:cNvSpPr>
                  <a:spLocks/>
                </p:cNvSpPr>
                <p:nvPr/>
              </p:nvSpPr>
              <p:spPr bwMode="gray">
                <a:xfrm rot="16200000">
                  <a:off x="1647357"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24" name="Group 823">
                <a:extLst>
                  <a:ext uri="{FF2B5EF4-FFF2-40B4-BE49-F238E27FC236}">
                    <a16:creationId xmlns:a16="http://schemas.microsoft.com/office/drawing/2014/main" id="{A1DE68EF-AD45-7E66-A434-6FD33D33382A}"/>
                  </a:ext>
                </a:extLst>
              </p:cNvPr>
              <p:cNvGrpSpPr>
                <a:grpSpLocks/>
              </p:cNvGrpSpPr>
              <p:nvPr/>
            </p:nvGrpSpPr>
            <p:grpSpPr bwMode="gray">
              <a:xfrm>
                <a:off x="1352406" y="2709142"/>
                <a:ext cx="217142" cy="217142"/>
                <a:chOff x="1564620" y="3743677"/>
                <a:chExt cx="330948" cy="330948"/>
              </a:xfrm>
              <a:grpFill/>
            </p:grpSpPr>
            <p:sp>
              <p:nvSpPr>
                <p:cNvPr id="1024" name="dfine_grid_single_shape_frame">
                  <a:extLst>
                    <a:ext uri="{FF2B5EF4-FFF2-40B4-BE49-F238E27FC236}">
                      <a16:creationId xmlns:a16="http://schemas.microsoft.com/office/drawing/2014/main" id="{2DC33CE9-73CB-6BF5-944B-99EDBB870DA0}"/>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25" name="Triangle_1">
                  <a:extLst>
                    <a:ext uri="{FF2B5EF4-FFF2-40B4-BE49-F238E27FC236}">
                      <a16:creationId xmlns:a16="http://schemas.microsoft.com/office/drawing/2014/main" id="{964549D2-F322-E151-9E90-82BC5B95AEEE}"/>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26" name="Triangle_2">
                  <a:extLst>
                    <a:ext uri="{FF2B5EF4-FFF2-40B4-BE49-F238E27FC236}">
                      <a16:creationId xmlns:a16="http://schemas.microsoft.com/office/drawing/2014/main" id="{F4359661-4A13-107E-9BF9-F5E4A9D884EC}"/>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27" name="Triangle_3">
                  <a:extLst>
                    <a:ext uri="{FF2B5EF4-FFF2-40B4-BE49-F238E27FC236}">
                      <a16:creationId xmlns:a16="http://schemas.microsoft.com/office/drawing/2014/main" id="{09EA6883-A672-B52B-0668-CB386BD19B9F}"/>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28" name="Triangle_4">
                  <a:extLst>
                    <a:ext uri="{FF2B5EF4-FFF2-40B4-BE49-F238E27FC236}">
                      <a16:creationId xmlns:a16="http://schemas.microsoft.com/office/drawing/2014/main" id="{6A4888E1-0D03-1B23-2866-0E55FED7E1AF}"/>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25" name="Group 824">
                <a:extLst>
                  <a:ext uri="{FF2B5EF4-FFF2-40B4-BE49-F238E27FC236}">
                    <a16:creationId xmlns:a16="http://schemas.microsoft.com/office/drawing/2014/main" id="{37EA9D2F-DE2D-57A0-1217-AAC8E75E438C}"/>
                  </a:ext>
                </a:extLst>
              </p:cNvPr>
              <p:cNvGrpSpPr>
                <a:grpSpLocks/>
              </p:cNvGrpSpPr>
              <p:nvPr/>
            </p:nvGrpSpPr>
            <p:grpSpPr bwMode="gray">
              <a:xfrm>
                <a:off x="1352406" y="2926283"/>
                <a:ext cx="217142" cy="217142"/>
                <a:chOff x="1564620" y="4074624"/>
                <a:chExt cx="330948" cy="330948"/>
              </a:xfrm>
              <a:grpFill/>
            </p:grpSpPr>
            <p:sp>
              <p:nvSpPr>
                <p:cNvPr id="1019" name="dfine_grid_single_shape_frame">
                  <a:extLst>
                    <a:ext uri="{FF2B5EF4-FFF2-40B4-BE49-F238E27FC236}">
                      <a16:creationId xmlns:a16="http://schemas.microsoft.com/office/drawing/2014/main" id="{946E652C-C557-5AB1-60AC-B664DABA0F97}"/>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20" name="Triangle_1">
                  <a:extLst>
                    <a:ext uri="{FF2B5EF4-FFF2-40B4-BE49-F238E27FC236}">
                      <a16:creationId xmlns:a16="http://schemas.microsoft.com/office/drawing/2014/main" id="{F45C9908-238A-14D5-5C78-630EF622607C}"/>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21" name="Triangle_2">
                  <a:extLst>
                    <a:ext uri="{FF2B5EF4-FFF2-40B4-BE49-F238E27FC236}">
                      <a16:creationId xmlns:a16="http://schemas.microsoft.com/office/drawing/2014/main" id="{2232140B-6FCB-326B-DD04-2BE1DFE6C5D9}"/>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22" name="Triangle_3">
                  <a:extLst>
                    <a:ext uri="{FF2B5EF4-FFF2-40B4-BE49-F238E27FC236}">
                      <a16:creationId xmlns:a16="http://schemas.microsoft.com/office/drawing/2014/main" id="{6FD79329-01C2-E3C5-09D4-99C1BE4A1294}"/>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23" name="Triangle_4">
                  <a:extLst>
                    <a:ext uri="{FF2B5EF4-FFF2-40B4-BE49-F238E27FC236}">
                      <a16:creationId xmlns:a16="http://schemas.microsoft.com/office/drawing/2014/main" id="{3D9FCF3C-30A5-8B4C-927D-0683EFBDD3B2}"/>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26" name="Group 825">
                <a:extLst>
                  <a:ext uri="{FF2B5EF4-FFF2-40B4-BE49-F238E27FC236}">
                    <a16:creationId xmlns:a16="http://schemas.microsoft.com/office/drawing/2014/main" id="{AD760AAC-1F47-62F7-8B95-3D3E7FC41DCC}"/>
                  </a:ext>
                </a:extLst>
              </p:cNvPr>
              <p:cNvGrpSpPr>
                <a:grpSpLocks/>
              </p:cNvGrpSpPr>
              <p:nvPr/>
            </p:nvGrpSpPr>
            <p:grpSpPr bwMode="gray">
              <a:xfrm>
                <a:off x="1352406" y="3143425"/>
                <a:ext cx="217142" cy="217142"/>
                <a:chOff x="1564620" y="2419889"/>
                <a:chExt cx="330948" cy="330948"/>
              </a:xfrm>
              <a:grpFill/>
            </p:grpSpPr>
            <p:sp>
              <p:nvSpPr>
                <p:cNvPr id="1014" name="dfine_grid_single_shape_frame">
                  <a:extLst>
                    <a:ext uri="{FF2B5EF4-FFF2-40B4-BE49-F238E27FC236}">
                      <a16:creationId xmlns:a16="http://schemas.microsoft.com/office/drawing/2014/main" id="{76715EB5-A171-C781-21D1-5D3100D88A4F}"/>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15" name="Triangle_1">
                  <a:extLst>
                    <a:ext uri="{FF2B5EF4-FFF2-40B4-BE49-F238E27FC236}">
                      <a16:creationId xmlns:a16="http://schemas.microsoft.com/office/drawing/2014/main" id="{AED86E4D-5FBE-EFBF-80CC-6077709055D1}"/>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16" name="Triangle_2">
                  <a:extLst>
                    <a:ext uri="{FF2B5EF4-FFF2-40B4-BE49-F238E27FC236}">
                      <a16:creationId xmlns:a16="http://schemas.microsoft.com/office/drawing/2014/main" id="{DDC9CA66-0E5E-E40A-F868-77738ADA7B11}"/>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17" name="Triangle_3">
                  <a:extLst>
                    <a:ext uri="{FF2B5EF4-FFF2-40B4-BE49-F238E27FC236}">
                      <a16:creationId xmlns:a16="http://schemas.microsoft.com/office/drawing/2014/main" id="{BC507B89-DD5E-5595-0334-DCAF99276B07}"/>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18" name="Triangle_4">
                  <a:extLst>
                    <a:ext uri="{FF2B5EF4-FFF2-40B4-BE49-F238E27FC236}">
                      <a16:creationId xmlns:a16="http://schemas.microsoft.com/office/drawing/2014/main" id="{6C395BC4-5DEB-4FD2-B3DB-737F94E35F89}"/>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27" name="Group 826">
                <a:extLst>
                  <a:ext uri="{FF2B5EF4-FFF2-40B4-BE49-F238E27FC236}">
                    <a16:creationId xmlns:a16="http://schemas.microsoft.com/office/drawing/2014/main" id="{89556C49-EDA1-D6B9-7B1C-C83F723AB29B}"/>
                  </a:ext>
                </a:extLst>
              </p:cNvPr>
              <p:cNvGrpSpPr>
                <a:grpSpLocks/>
              </p:cNvGrpSpPr>
              <p:nvPr/>
            </p:nvGrpSpPr>
            <p:grpSpPr bwMode="gray">
              <a:xfrm>
                <a:off x="1352406" y="3360566"/>
                <a:ext cx="217142" cy="217142"/>
                <a:chOff x="1564620" y="2750836"/>
                <a:chExt cx="330948" cy="330948"/>
              </a:xfrm>
              <a:grpFill/>
            </p:grpSpPr>
            <p:sp>
              <p:nvSpPr>
                <p:cNvPr id="1009" name="dfine_grid_single_shape_frame">
                  <a:extLst>
                    <a:ext uri="{FF2B5EF4-FFF2-40B4-BE49-F238E27FC236}">
                      <a16:creationId xmlns:a16="http://schemas.microsoft.com/office/drawing/2014/main" id="{9CF82706-5018-4646-EF0B-C4249CDAF6D2}"/>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10" name="Triangle_1">
                  <a:extLst>
                    <a:ext uri="{FF2B5EF4-FFF2-40B4-BE49-F238E27FC236}">
                      <a16:creationId xmlns:a16="http://schemas.microsoft.com/office/drawing/2014/main" id="{B439BE2C-6BD8-571A-CF28-0D68E58B5475}"/>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11" name="Triangle_2">
                  <a:extLst>
                    <a:ext uri="{FF2B5EF4-FFF2-40B4-BE49-F238E27FC236}">
                      <a16:creationId xmlns:a16="http://schemas.microsoft.com/office/drawing/2014/main" id="{731F5782-7A87-903D-AE37-FC03FCC9FEBD}"/>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12" name="Triangle_3">
                  <a:extLst>
                    <a:ext uri="{FF2B5EF4-FFF2-40B4-BE49-F238E27FC236}">
                      <a16:creationId xmlns:a16="http://schemas.microsoft.com/office/drawing/2014/main" id="{CCB8D6EA-69CB-A27D-1FC4-F3C9C1C22461}"/>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13" name="Triangle_4">
                  <a:extLst>
                    <a:ext uri="{FF2B5EF4-FFF2-40B4-BE49-F238E27FC236}">
                      <a16:creationId xmlns:a16="http://schemas.microsoft.com/office/drawing/2014/main" id="{586442DE-B390-CEB4-4FF3-5601C3C7987A}"/>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28" name="Group 827">
                <a:extLst>
                  <a:ext uri="{FF2B5EF4-FFF2-40B4-BE49-F238E27FC236}">
                    <a16:creationId xmlns:a16="http://schemas.microsoft.com/office/drawing/2014/main" id="{5C13F6F5-C564-515C-5840-651891B7B444}"/>
                  </a:ext>
                </a:extLst>
              </p:cNvPr>
              <p:cNvGrpSpPr>
                <a:grpSpLocks/>
              </p:cNvGrpSpPr>
              <p:nvPr/>
            </p:nvGrpSpPr>
            <p:grpSpPr bwMode="gray">
              <a:xfrm>
                <a:off x="1352406" y="3577707"/>
                <a:ext cx="217142" cy="217142"/>
                <a:chOff x="1564620" y="3081783"/>
                <a:chExt cx="330948" cy="330948"/>
              </a:xfrm>
              <a:grpFill/>
            </p:grpSpPr>
            <p:sp>
              <p:nvSpPr>
                <p:cNvPr id="1004" name="dfine_grid_single_shape_frame">
                  <a:extLst>
                    <a:ext uri="{FF2B5EF4-FFF2-40B4-BE49-F238E27FC236}">
                      <a16:creationId xmlns:a16="http://schemas.microsoft.com/office/drawing/2014/main" id="{941B90C5-D427-5D6E-92BE-3DED43BCFCE4}"/>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05" name="Triangle_1">
                  <a:extLst>
                    <a:ext uri="{FF2B5EF4-FFF2-40B4-BE49-F238E27FC236}">
                      <a16:creationId xmlns:a16="http://schemas.microsoft.com/office/drawing/2014/main" id="{D3EAAB36-F032-24E6-96F8-58C010D6A9AC}"/>
                    </a:ext>
                  </a:extLst>
                </p:cNvPr>
                <p:cNvSpPr>
                  <a:spLocks/>
                </p:cNvSpPr>
                <p:nvPr/>
              </p:nvSpPr>
              <p:spPr bwMode="gray">
                <a:xfrm rot="10800000">
                  <a:off x="1564620"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06" name="Triangle_2">
                  <a:extLst>
                    <a:ext uri="{FF2B5EF4-FFF2-40B4-BE49-F238E27FC236}">
                      <a16:creationId xmlns:a16="http://schemas.microsoft.com/office/drawing/2014/main" id="{7899A101-353E-6752-D6EF-D040850703FA}"/>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07" name="Triangle_3">
                  <a:extLst>
                    <a:ext uri="{FF2B5EF4-FFF2-40B4-BE49-F238E27FC236}">
                      <a16:creationId xmlns:a16="http://schemas.microsoft.com/office/drawing/2014/main" id="{3AD40697-3E3A-B4D6-CC65-12770AF7BD3F}"/>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08" name="Triangle_4">
                  <a:extLst>
                    <a:ext uri="{FF2B5EF4-FFF2-40B4-BE49-F238E27FC236}">
                      <a16:creationId xmlns:a16="http://schemas.microsoft.com/office/drawing/2014/main" id="{A4EFA95B-C9B7-6972-376C-D16F646807FA}"/>
                    </a:ext>
                  </a:extLst>
                </p:cNvPr>
                <p:cNvSpPr>
                  <a:spLocks/>
                </p:cNvSpPr>
                <p:nvPr/>
              </p:nvSpPr>
              <p:spPr bwMode="gray">
                <a:xfrm rot="16200000">
                  <a:off x="1647357"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29" name="Group 828">
                <a:extLst>
                  <a:ext uri="{FF2B5EF4-FFF2-40B4-BE49-F238E27FC236}">
                    <a16:creationId xmlns:a16="http://schemas.microsoft.com/office/drawing/2014/main" id="{965B5A5F-F915-DCB5-4C34-4FC80FDA12BE}"/>
                  </a:ext>
                </a:extLst>
              </p:cNvPr>
              <p:cNvGrpSpPr>
                <a:grpSpLocks/>
              </p:cNvGrpSpPr>
              <p:nvPr/>
            </p:nvGrpSpPr>
            <p:grpSpPr bwMode="gray">
              <a:xfrm>
                <a:off x="1352406" y="3794848"/>
                <a:ext cx="217142" cy="217142"/>
                <a:chOff x="1564620" y="3412730"/>
                <a:chExt cx="330948" cy="330948"/>
              </a:xfrm>
              <a:grpFill/>
            </p:grpSpPr>
            <p:sp>
              <p:nvSpPr>
                <p:cNvPr id="999" name="dfine_grid_single_shape_frame">
                  <a:extLst>
                    <a:ext uri="{FF2B5EF4-FFF2-40B4-BE49-F238E27FC236}">
                      <a16:creationId xmlns:a16="http://schemas.microsoft.com/office/drawing/2014/main" id="{76462978-CC5C-4C53-410E-397F931AE35A}"/>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00" name="Triangle_1">
                  <a:extLst>
                    <a:ext uri="{FF2B5EF4-FFF2-40B4-BE49-F238E27FC236}">
                      <a16:creationId xmlns:a16="http://schemas.microsoft.com/office/drawing/2014/main" id="{B3AE011D-7A2A-95E1-6107-B3F09AFAAB07}"/>
                    </a:ext>
                  </a:extLst>
                </p:cNvPr>
                <p:cNvSpPr>
                  <a:spLocks/>
                </p:cNvSpPr>
                <p:nvPr/>
              </p:nvSpPr>
              <p:spPr bwMode="gray">
                <a:xfrm rot="10800000">
                  <a:off x="1564620"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01" name="Triangle_2">
                  <a:extLst>
                    <a:ext uri="{FF2B5EF4-FFF2-40B4-BE49-F238E27FC236}">
                      <a16:creationId xmlns:a16="http://schemas.microsoft.com/office/drawing/2014/main" id="{4060EB62-F6E9-C41C-1818-062F3985C75A}"/>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02" name="Triangle_3">
                  <a:extLst>
                    <a:ext uri="{FF2B5EF4-FFF2-40B4-BE49-F238E27FC236}">
                      <a16:creationId xmlns:a16="http://schemas.microsoft.com/office/drawing/2014/main" id="{0782B291-D004-753D-A597-1275A39C1199}"/>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03" name="Triangle_4">
                  <a:extLst>
                    <a:ext uri="{FF2B5EF4-FFF2-40B4-BE49-F238E27FC236}">
                      <a16:creationId xmlns:a16="http://schemas.microsoft.com/office/drawing/2014/main" id="{52578163-63D7-165D-FF40-0E46D2AC50B0}"/>
                    </a:ext>
                  </a:extLst>
                </p:cNvPr>
                <p:cNvSpPr>
                  <a:spLocks/>
                </p:cNvSpPr>
                <p:nvPr/>
              </p:nvSpPr>
              <p:spPr bwMode="gray">
                <a:xfrm rot="16200000">
                  <a:off x="1647357"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30" name="Group 829">
                <a:extLst>
                  <a:ext uri="{FF2B5EF4-FFF2-40B4-BE49-F238E27FC236}">
                    <a16:creationId xmlns:a16="http://schemas.microsoft.com/office/drawing/2014/main" id="{76B3B953-C0D8-B36A-EE53-D1AA7CA63D61}"/>
                  </a:ext>
                </a:extLst>
              </p:cNvPr>
              <p:cNvGrpSpPr>
                <a:grpSpLocks/>
              </p:cNvGrpSpPr>
              <p:nvPr/>
            </p:nvGrpSpPr>
            <p:grpSpPr bwMode="gray">
              <a:xfrm>
                <a:off x="1352406" y="4011989"/>
                <a:ext cx="217142" cy="217142"/>
                <a:chOff x="1564620" y="3743677"/>
                <a:chExt cx="330948" cy="330948"/>
              </a:xfrm>
              <a:grpFill/>
            </p:grpSpPr>
            <p:sp>
              <p:nvSpPr>
                <p:cNvPr id="994" name="dfine_grid_single_shape_frame">
                  <a:extLst>
                    <a:ext uri="{FF2B5EF4-FFF2-40B4-BE49-F238E27FC236}">
                      <a16:creationId xmlns:a16="http://schemas.microsoft.com/office/drawing/2014/main" id="{E72FD91E-13C9-A8A5-90A5-E29658D2F4AB}"/>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95" name="Triangle_1">
                  <a:extLst>
                    <a:ext uri="{FF2B5EF4-FFF2-40B4-BE49-F238E27FC236}">
                      <a16:creationId xmlns:a16="http://schemas.microsoft.com/office/drawing/2014/main" id="{67CA5D9E-3CBC-94F7-C97A-5CE3F6BF48BF}"/>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96" name="Triangle_2">
                  <a:extLst>
                    <a:ext uri="{FF2B5EF4-FFF2-40B4-BE49-F238E27FC236}">
                      <a16:creationId xmlns:a16="http://schemas.microsoft.com/office/drawing/2014/main" id="{712AF85C-895D-2928-9941-A4C0EF4F2A27}"/>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97" name="Triangle_3">
                  <a:extLst>
                    <a:ext uri="{FF2B5EF4-FFF2-40B4-BE49-F238E27FC236}">
                      <a16:creationId xmlns:a16="http://schemas.microsoft.com/office/drawing/2014/main" id="{4588492E-469D-219A-97D9-2C9E7D2509AF}"/>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98" name="Triangle_4">
                  <a:extLst>
                    <a:ext uri="{FF2B5EF4-FFF2-40B4-BE49-F238E27FC236}">
                      <a16:creationId xmlns:a16="http://schemas.microsoft.com/office/drawing/2014/main" id="{732BE14E-EAE6-B1B6-BC0A-C255110C5E5F}"/>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31" name="Group 830">
                <a:extLst>
                  <a:ext uri="{FF2B5EF4-FFF2-40B4-BE49-F238E27FC236}">
                    <a16:creationId xmlns:a16="http://schemas.microsoft.com/office/drawing/2014/main" id="{08CCF495-3349-6B55-1FFE-0656A430F604}"/>
                  </a:ext>
                </a:extLst>
              </p:cNvPr>
              <p:cNvGrpSpPr>
                <a:grpSpLocks/>
              </p:cNvGrpSpPr>
              <p:nvPr/>
            </p:nvGrpSpPr>
            <p:grpSpPr bwMode="gray">
              <a:xfrm>
                <a:off x="1352406" y="4229130"/>
                <a:ext cx="217142" cy="217142"/>
                <a:chOff x="1564620" y="4074624"/>
                <a:chExt cx="330948" cy="330948"/>
              </a:xfrm>
              <a:grpFill/>
            </p:grpSpPr>
            <p:sp>
              <p:nvSpPr>
                <p:cNvPr id="989" name="dfine_grid_single_shape_frame">
                  <a:extLst>
                    <a:ext uri="{FF2B5EF4-FFF2-40B4-BE49-F238E27FC236}">
                      <a16:creationId xmlns:a16="http://schemas.microsoft.com/office/drawing/2014/main" id="{27294D9F-846E-56B5-5AC2-4A60DBCE5D4B}"/>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90" name="Triangle_1">
                  <a:extLst>
                    <a:ext uri="{FF2B5EF4-FFF2-40B4-BE49-F238E27FC236}">
                      <a16:creationId xmlns:a16="http://schemas.microsoft.com/office/drawing/2014/main" id="{B766E87F-957B-CAE7-7A88-49B337041BC2}"/>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91" name="Triangle_2">
                  <a:extLst>
                    <a:ext uri="{FF2B5EF4-FFF2-40B4-BE49-F238E27FC236}">
                      <a16:creationId xmlns:a16="http://schemas.microsoft.com/office/drawing/2014/main" id="{472CC71F-E9FE-2C51-F176-9421944FC12A}"/>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92" name="Triangle_3">
                  <a:extLst>
                    <a:ext uri="{FF2B5EF4-FFF2-40B4-BE49-F238E27FC236}">
                      <a16:creationId xmlns:a16="http://schemas.microsoft.com/office/drawing/2014/main" id="{F7BDBFDD-C9A4-E675-D4F4-15F46A2D481C}"/>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93" name="Triangle_4">
                  <a:extLst>
                    <a:ext uri="{FF2B5EF4-FFF2-40B4-BE49-F238E27FC236}">
                      <a16:creationId xmlns:a16="http://schemas.microsoft.com/office/drawing/2014/main" id="{4754D213-A8A8-9651-63D5-487C2CF8D0D8}"/>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32" name="Group 831">
                <a:extLst>
                  <a:ext uri="{FF2B5EF4-FFF2-40B4-BE49-F238E27FC236}">
                    <a16:creationId xmlns:a16="http://schemas.microsoft.com/office/drawing/2014/main" id="{E1836C14-1AB0-3CB4-F3F9-2D257FEE9EDF}"/>
                  </a:ext>
                </a:extLst>
              </p:cNvPr>
              <p:cNvGrpSpPr>
                <a:grpSpLocks/>
              </p:cNvGrpSpPr>
              <p:nvPr/>
            </p:nvGrpSpPr>
            <p:grpSpPr bwMode="gray">
              <a:xfrm>
                <a:off x="1569548" y="1623437"/>
                <a:ext cx="217142" cy="217142"/>
                <a:chOff x="1564620" y="2088942"/>
                <a:chExt cx="330948" cy="330948"/>
              </a:xfrm>
              <a:grpFill/>
            </p:grpSpPr>
            <p:sp>
              <p:nvSpPr>
                <p:cNvPr id="984" name="dfine_grid_single_shape_frame">
                  <a:extLst>
                    <a:ext uri="{FF2B5EF4-FFF2-40B4-BE49-F238E27FC236}">
                      <a16:creationId xmlns:a16="http://schemas.microsoft.com/office/drawing/2014/main" id="{703A1EA9-5008-712E-D5CA-EC5851D869EF}"/>
                    </a:ext>
                  </a:extLst>
                </p:cNvPr>
                <p:cNvSpPr>
                  <a:spLocks/>
                </p:cNvSpPr>
                <p:nvPr/>
              </p:nvSpPr>
              <p:spPr bwMode="gray">
                <a:xfrm>
                  <a:off x="1564620"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85" name="Triangle_1">
                  <a:extLst>
                    <a:ext uri="{FF2B5EF4-FFF2-40B4-BE49-F238E27FC236}">
                      <a16:creationId xmlns:a16="http://schemas.microsoft.com/office/drawing/2014/main" id="{297319B2-AFC2-44EE-358F-552DBB0B0A49}"/>
                    </a:ext>
                  </a:extLst>
                </p:cNvPr>
                <p:cNvSpPr>
                  <a:spLocks/>
                </p:cNvSpPr>
                <p:nvPr/>
              </p:nvSpPr>
              <p:spPr bwMode="gray">
                <a:xfrm rot="10800000">
                  <a:off x="1564620"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86" name="Triangle_2">
                  <a:extLst>
                    <a:ext uri="{FF2B5EF4-FFF2-40B4-BE49-F238E27FC236}">
                      <a16:creationId xmlns:a16="http://schemas.microsoft.com/office/drawing/2014/main" id="{2ADABEF4-300F-14ED-BF7E-70A41E3EDD4D}"/>
                    </a:ext>
                  </a:extLst>
                </p:cNvPr>
                <p:cNvSpPr>
                  <a:spLocks/>
                </p:cNvSpPr>
                <p:nvPr/>
              </p:nvSpPr>
              <p:spPr bwMode="gray">
                <a:xfrm>
                  <a:off x="1564620"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87" name="Triangle_3">
                  <a:extLst>
                    <a:ext uri="{FF2B5EF4-FFF2-40B4-BE49-F238E27FC236}">
                      <a16:creationId xmlns:a16="http://schemas.microsoft.com/office/drawing/2014/main" id="{4D669050-38BB-C9C7-9E70-057FF788D81D}"/>
                    </a:ext>
                  </a:extLst>
                </p:cNvPr>
                <p:cNvSpPr>
                  <a:spLocks/>
                </p:cNvSpPr>
                <p:nvPr/>
              </p:nvSpPr>
              <p:spPr bwMode="gray">
                <a:xfrm rot="5400000">
                  <a:off x="1481883"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88" name="Triangle_4">
                  <a:extLst>
                    <a:ext uri="{FF2B5EF4-FFF2-40B4-BE49-F238E27FC236}">
                      <a16:creationId xmlns:a16="http://schemas.microsoft.com/office/drawing/2014/main" id="{BF70C089-0702-7850-0FCA-C270996B38B7}"/>
                    </a:ext>
                  </a:extLst>
                </p:cNvPr>
                <p:cNvSpPr>
                  <a:spLocks/>
                </p:cNvSpPr>
                <p:nvPr/>
              </p:nvSpPr>
              <p:spPr bwMode="gray">
                <a:xfrm rot="16200000">
                  <a:off x="1647357"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33" name="Group 832">
                <a:extLst>
                  <a:ext uri="{FF2B5EF4-FFF2-40B4-BE49-F238E27FC236}">
                    <a16:creationId xmlns:a16="http://schemas.microsoft.com/office/drawing/2014/main" id="{F96E3F67-895D-3643-86D2-4D4D9B5D3683}"/>
                  </a:ext>
                </a:extLst>
              </p:cNvPr>
              <p:cNvGrpSpPr>
                <a:grpSpLocks/>
              </p:cNvGrpSpPr>
              <p:nvPr/>
            </p:nvGrpSpPr>
            <p:grpSpPr bwMode="gray">
              <a:xfrm>
                <a:off x="1569548" y="1840578"/>
                <a:ext cx="217142" cy="217142"/>
                <a:chOff x="1564620" y="2419889"/>
                <a:chExt cx="330948" cy="330948"/>
              </a:xfrm>
              <a:grpFill/>
            </p:grpSpPr>
            <p:sp>
              <p:nvSpPr>
                <p:cNvPr id="979" name="dfine_grid_single_shape_frame">
                  <a:extLst>
                    <a:ext uri="{FF2B5EF4-FFF2-40B4-BE49-F238E27FC236}">
                      <a16:creationId xmlns:a16="http://schemas.microsoft.com/office/drawing/2014/main" id="{0DACDC70-D0E9-EAA5-3F90-0812CE25CFDE}"/>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80" name="Triangle_1">
                  <a:extLst>
                    <a:ext uri="{FF2B5EF4-FFF2-40B4-BE49-F238E27FC236}">
                      <a16:creationId xmlns:a16="http://schemas.microsoft.com/office/drawing/2014/main" id="{3E6784CC-2908-8DC0-369C-025D23236AA5}"/>
                    </a:ext>
                  </a:extLst>
                </p:cNvPr>
                <p:cNvSpPr>
                  <a:spLocks/>
                </p:cNvSpPr>
                <p:nvPr/>
              </p:nvSpPr>
              <p:spPr bwMode="gray">
                <a:xfrm rot="10800000">
                  <a:off x="1564620" y="2419889"/>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81" name="Triangle_2">
                  <a:extLst>
                    <a:ext uri="{FF2B5EF4-FFF2-40B4-BE49-F238E27FC236}">
                      <a16:creationId xmlns:a16="http://schemas.microsoft.com/office/drawing/2014/main" id="{084B7904-331C-DAFA-76C6-415858356FAA}"/>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82" name="Triangle_3">
                  <a:extLst>
                    <a:ext uri="{FF2B5EF4-FFF2-40B4-BE49-F238E27FC236}">
                      <a16:creationId xmlns:a16="http://schemas.microsoft.com/office/drawing/2014/main" id="{0E6D48C9-8CF6-4AE1-A524-BF400FD1FA47}"/>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83" name="Triangle_4">
                  <a:extLst>
                    <a:ext uri="{FF2B5EF4-FFF2-40B4-BE49-F238E27FC236}">
                      <a16:creationId xmlns:a16="http://schemas.microsoft.com/office/drawing/2014/main" id="{C78E6E09-B78D-BD95-E507-C2A4A380BD18}"/>
                    </a:ext>
                  </a:extLst>
                </p:cNvPr>
                <p:cNvSpPr>
                  <a:spLocks/>
                </p:cNvSpPr>
                <p:nvPr/>
              </p:nvSpPr>
              <p:spPr bwMode="gray">
                <a:xfrm rot="16200000">
                  <a:off x="1647357" y="2502626"/>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34" name="Group 833">
                <a:extLst>
                  <a:ext uri="{FF2B5EF4-FFF2-40B4-BE49-F238E27FC236}">
                    <a16:creationId xmlns:a16="http://schemas.microsoft.com/office/drawing/2014/main" id="{1CF62A2E-FCB5-22D0-BE07-B9A9682B7F17}"/>
                  </a:ext>
                </a:extLst>
              </p:cNvPr>
              <p:cNvGrpSpPr>
                <a:grpSpLocks/>
              </p:cNvGrpSpPr>
              <p:nvPr/>
            </p:nvGrpSpPr>
            <p:grpSpPr bwMode="gray">
              <a:xfrm>
                <a:off x="1569548" y="2057719"/>
                <a:ext cx="217142" cy="217142"/>
                <a:chOff x="1564620" y="2750836"/>
                <a:chExt cx="330948" cy="330948"/>
              </a:xfrm>
              <a:grpFill/>
            </p:grpSpPr>
            <p:sp>
              <p:nvSpPr>
                <p:cNvPr id="974" name="dfine_grid_single_shape_frame">
                  <a:extLst>
                    <a:ext uri="{FF2B5EF4-FFF2-40B4-BE49-F238E27FC236}">
                      <a16:creationId xmlns:a16="http://schemas.microsoft.com/office/drawing/2014/main" id="{7C9A93E9-1DDA-A339-A555-C1DBFFB6B97F}"/>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75" name="triangle_physics_v1_top">
                  <a:extLst>
                    <a:ext uri="{FF2B5EF4-FFF2-40B4-BE49-F238E27FC236}">
                      <a16:creationId xmlns:a16="http://schemas.microsoft.com/office/drawing/2014/main" id="{771F430B-3AE5-C96E-A0D8-1ED7F6B313C0}"/>
                    </a:ext>
                  </a:extLst>
                </p:cNvPr>
                <p:cNvSpPr>
                  <a:spLocks/>
                </p:cNvSpPr>
                <p:nvPr/>
              </p:nvSpPr>
              <p:spPr bwMode="gray">
                <a:xfrm rot="10800000">
                  <a:off x="1564620" y="2750836"/>
                  <a:ext cx="330947" cy="165474"/>
                </a:xfrm>
                <a:prstGeom prst="triangle">
                  <a:avLst/>
                </a:prstGeom>
                <a:solidFill>
                  <a:srgbClr val="99B1B9"/>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76" name="Triangle_2">
                  <a:extLst>
                    <a:ext uri="{FF2B5EF4-FFF2-40B4-BE49-F238E27FC236}">
                      <a16:creationId xmlns:a16="http://schemas.microsoft.com/office/drawing/2014/main" id="{32A94468-B8F3-9B55-4538-AC028B53F49A}"/>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77" name="Triangle_3">
                  <a:extLst>
                    <a:ext uri="{FF2B5EF4-FFF2-40B4-BE49-F238E27FC236}">
                      <a16:creationId xmlns:a16="http://schemas.microsoft.com/office/drawing/2014/main" id="{8DBA7C9D-86F0-7339-5B42-34ED062BACCD}"/>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78" name="triangle_physics_v1_left">
                  <a:extLst>
                    <a:ext uri="{FF2B5EF4-FFF2-40B4-BE49-F238E27FC236}">
                      <a16:creationId xmlns:a16="http://schemas.microsoft.com/office/drawing/2014/main" id="{72DA7B6C-9351-4454-CDAD-4AFA1CAAA38C}"/>
                    </a:ext>
                  </a:extLst>
                </p:cNvPr>
                <p:cNvSpPr>
                  <a:spLocks/>
                </p:cNvSpPr>
                <p:nvPr/>
              </p:nvSpPr>
              <p:spPr bwMode="gray">
                <a:xfrm rot="16200000">
                  <a:off x="1647357" y="2833573"/>
                  <a:ext cx="330947" cy="165474"/>
                </a:xfrm>
                <a:prstGeom prst="triangle">
                  <a:avLst/>
                </a:prstGeom>
                <a:solidFill>
                  <a:srgbClr val="99B1B9"/>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35" name="Group 834">
                <a:extLst>
                  <a:ext uri="{FF2B5EF4-FFF2-40B4-BE49-F238E27FC236}">
                    <a16:creationId xmlns:a16="http://schemas.microsoft.com/office/drawing/2014/main" id="{49D24795-ABC5-3357-F277-CF1475D1818D}"/>
                  </a:ext>
                </a:extLst>
              </p:cNvPr>
              <p:cNvGrpSpPr>
                <a:grpSpLocks/>
              </p:cNvGrpSpPr>
              <p:nvPr/>
            </p:nvGrpSpPr>
            <p:grpSpPr bwMode="gray">
              <a:xfrm>
                <a:off x="1569548" y="2274860"/>
                <a:ext cx="217142" cy="217142"/>
                <a:chOff x="1564620" y="3081783"/>
                <a:chExt cx="330948" cy="330948"/>
              </a:xfrm>
              <a:grpFill/>
            </p:grpSpPr>
            <p:sp>
              <p:nvSpPr>
                <p:cNvPr id="969" name="dfine_grid_single_shape_frame">
                  <a:extLst>
                    <a:ext uri="{FF2B5EF4-FFF2-40B4-BE49-F238E27FC236}">
                      <a16:creationId xmlns:a16="http://schemas.microsoft.com/office/drawing/2014/main" id="{B339FD68-3ED7-3B78-0D71-DFD85DE03000}"/>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70" name="Triangle_1">
                  <a:extLst>
                    <a:ext uri="{FF2B5EF4-FFF2-40B4-BE49-F238E27FC236}">
                      <a16:creationId xmlns:a16="http://schemas.microsoft.com/office/drawing/2014/main" id="{669BC2FF-BBD0-D6EE-8419-A4138C7090B9}"/>
                    </a:ext>
                  </a:extLst>
                </p:cNvPr>
                <p:cNvSpPr>
                  <a:spLocks/>
                </p:cNvSpPr>
                <p:nvPr/>
              </p:nvSpPr>
              <p:spPr bwMode="gray">
                <a:xfrm rot="10800000">
                  <a:off x="1564620" y="3081783"/>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71" name="Triangle_2">
                  <a:extLst>
                    <a:ext uri="{FF2B5EF4-FFF2-40B4-BE49-F238E27FC236}">
                      <a16:creationId xmlns:a16="http://schemas.microsoft.com/office/drawing/2014/main" id="{844DE7BE-1C51-7DD0-6191-7FF944276DDD}"/>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72" name="Triangle_3">
                  <a:extLst>
                    <a:ext uri="{FF2B5EF4-FFF2-40B4-BE49-F238E27FC236}">
                      <a16:creationId xmlns:a16="http://schemas.microsoft.com/office/drawing/2014/main" id="{E0665A47-DA6F-04C1-442A-1A961AB87032}"/>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73" name="Triangle_4">
                  <a:extLst>
                    <a:ext uri="{FF2B5EF4-FFF2-40B4-BE49-F238E27FC236}">
                      <a16:creationId xmlns:a16="http://schemas.microsoft.com/office/drawing/2014/main" id="{EAF5E3EB-B172-C909-9415-13C60FA9538D}"/>
                    </a:ext>
                  </a:extLst>
                </p:cNvPr>
                <p:cNvSpPr>
                  <a:spLocks/>
                </p:cNvSpPr>
                <p:nvPr/>
              </p:nvSpPr>
              <p:spPr bwMode="gray">
                <a:xfrm rot="16200000">
                  <a:off x="1647357" y="3164520"/>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36" name="Group 835">
                <a:extLst>
                  <a:ext uri="{FF2B5EF4-FFF2-40B4-BE49-F238E27FC236}">
                    <a16:creationId xmlns:a16="http://schemas.microsoft.com/office/drawing/2014/main" id="{280A7670-886D-7B12-51C9-94227E3A860B}"/>
                  </a:ext>
                </a:extLst>
              </p:cNvPr>
              <p:cNvGrpSpPr>
                <a:grpSpLocks/>
              </p:cNvGrpSpPr>
              <p:nvPr/>
            </p:nvGrpSpPr>
            <p:grpSpPr bwMode="gray">
              <a:xfrm>
                <a:off x="1569548" y="2492001"/>
                <a:ext cx="217142" cy="217142"/>
                <a:chOff x="1564620" y="3412730"/>
                <a:chExt cx="330948" cy="330948"/>
              </a:xfrm>
              <a:grpFill/>
            </p:grpSpPr>
            <p:sp>
              <p:nvSpPr>
                <p:cNvPr id="964" name="dfine_grid_single_shape_frame">
                  <a:extLst>
                    <a:ext uri="{FF2B5EF4-FFF2-40B4-BE49-F238E27FC236}">
                      <a16:creationId xmlns:a16="http://schemas.microsoft.com/office/drawing/2014/main" id="{0E03FFB9-EF31-066E-E0C6-D9E2C90FF53B}"/>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65" name="triangle_math_v1_top">
                  <a:extLst>
                    <a:ext uri="{FF2B5EF4-FFF2-40B4-BE49-F238E27FC236}">
                      <a16:creationId xmlns:a16="http://schemas.microsoft.com/office/drawing/2014/main" id="{3FE1B3B4-A012-6617-BB05-FA3110B5678A}"/>
                    </a:ext>
                  </a:extLst>
                </p:cNvPr>
                <p:cNvSpPr>
                  <a:spLocks/>
                </p:cNvSpPr>
                <p:nvPr/>
              </p:nvSpPr>
              <p:spPr bwMode="gray">
                <a:xfrm rot="10800000">
                  <a:off x="1564620" y="3412730"/>
                  <a:ext cx="330947" cy="165474"/>
                </a:xfrm>
                <a:prstGeom prst="triangle">
                  <a:avLst/>
                </a:prstGeom>
                <a:solidFill>
                  <a:srgbClr val="85CEEF"/>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66" name="Triangle_2">
                  <a:extLst>
                    <a:ext uri="{FF2B5EF4-FFF2-40B4-BE49-F238E27FC236}">
                      <a16:creationId xmlns:a16="http://schemas.microsoft.com/office/drawing/2014/main" id="{21C719B0-306E-2B77-D914-9EF07FA6D070}"/>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67" name="Triangle_3">
                  <a:extLst>
                    <a:ext uri="{FF2B5EF4-FFF2-40B4-BE49-F238E27FC236}">
                      <a16:creationId xmlns:a16="http://schemas.microsoft.com/office/drawing/2014/main" id="{EB3784E5-1971-D7AD-CC94-58DFE3667E0F}"/>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68" name="triangle_math_v1_left">
                  <a:extLst>
                    <a:ext uri="{FF2B5EF4-FFF2-40B4-BE49-F238E27FC236}">
                      <a16:creationId xmlns:a16="http://schemas.microsoft.com/office/drawing/2014/main" id="{7A640D2D-F014-76B1-3F85-95B73981DCEA}"/>
                    </a:ext>
                  </a:extLst>
                </p:cNvPr>
                <p:cNvSpPr>
                  <a:spLocks/>
                </p:cNvSpPr>
                <p:nvPr/>
              </p:nvSpPr>
              <p:spPr bwMode="gray">
                <a:xfrm rot="16200000">
                  <a:off x="1647357" y="3495467"/>
                  <a:ext cx="330947" cy="165474"/>
                </a:xfrm>
                <a:prstGeom prst="triangle">
                  <a:avLst/>
                </a:prstGeom>
                <a:solidFill>
                  <a:srgbClr val="85CEEF"/>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37" name="Group 836">
                <a:extLst>
                  <a:ext uri="{FF2B5EF4-FFF2-40B4-BE49-F238E27FC236}">
                    <a16:creationId xmlns:a16="http://schemas.microsoft.com/office/drawing/2014/main" id="{A3489CC3-414C-B1C8-F193-BA5F1E39A7DA}"/>
                  </a:ext>
                </a:extLst>
              </p:cNvPr>
              <p:cNvGrpSpPr>
                <a:grpSpLocks/>
              </p:cNvGrpSpPr>
              <p:nvPr/>
            </p:nvGrpSpPr>
            <p:grpSpPr bwMode="gray">
              <a:xfrm>
                <a:off x="1569548" y="2709142"/>
                <a:ext cx="217142" cy="217142"/>
                <a:chOff x="1564620" y="3743677"/>
                <a:chExt cx="330948" cy="330948"/>
              </a:xfrm>
              <a:grpFill/>
            </p:grpSpPr>
            <p:sp>
              <p:nvSpPr>
                <p:cNvPr id="959" name="dfine_grid_single_shape_frame">
                  <a:extLst>
                    <a:ext uri="{FF2B5EF4-FFF2-40B4-BE49-F238E27FC236}">
                      <a16:creationId xmlns:a16="http://schemas.microsoft.com/office/drawing/2014/main" id="{0F6B96A4-9641-EE2E-E338-1B49A705F5B0}"/>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60" name="Triangle_1">
                  <a:extLst>
                    <a:ext uri="{FF2B5EF4-FFF2-40B4-BE49-F238E27FC236}">
                      <a16:creationId xmlns:a16="http://schemas.microsoft.com/office/drawing/2014/main" id="{71EAECDD-F1C9-A0A6-95D1-22F103983510}"/>
                    </a:ext>
                  </a:extLst>
                </p:cNvPr>
                <p:cNvSpPr>
                  <a:spLocks/>
                </p:cNvSpPr>
                <p:nvPr/>
              </p:nvSpPr>
              <p:spPr bwMode="gray">
                <a:xfrm rot="10800000">
                  <a:off x="1564620" y="3743677"/>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61" name="Triangle_2">
                  <a:extLst>
                    <a:ext uri="{FF2B5EF4-FFF2-40B4-BE49-F238E27FC236}">
                      <a16:creationId xmlns:a16="http://schemas.microsoft.com/office/drawing/2014/main" id="{6CD01DC4-6F99-8704-5B6C-266DC9A718C9}"/>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62" name="Triangle_3">
                  <a:extLst>
                    <a:ext uri="{FF2B5EF4-FFF2-40B4-BE49-F238E27FC236}">
                      <a16:creationId xmlns:a16="http://schemas.microsoft.com/office/drawing/2014/main" id="{1847783D-51B7-3917-6135-4220FF333AEC}"/>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63" name="Triangle_4">
                  <a:extLst>
                    <a:ext uri="{FF2B5EF4-FFF2-40B4-BE49-F238E27FC236}">
                      <a16:creationId xmlns:a16="http://schemas.microsoft.com/office/drawing/2014/main" id="{28ED5E7F-3AFE-A24E-E874-6C9B55CB9B76}"/>
                    </a:ext>
                  </a:extLst>
                </p:cNvPr>
                <p:cNvSpPr>
                  <a:spLocks/>
                </p:cNvSpPr>
                <p:nvPr/>
              </p:nvSpPr>
              <p:spPr bwMode="gray">
                <a:xfrm rot="16200000">
                  <a:off x="1647357" y="3826414"/>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38" name="Group 837">
                <a:extLst>
                  <a:ext uri="{FF2B5EF4-FFF2-40B4-BE49-F238E27FC236}">
                    <a16:creationId xmlns:a16="http://schemas.microsoft.com/office/drawing/2014/main" id="{9A7293A6-57A0-7E13-66B1-35E501A46AB8}"/>
                  </a:ext>
                </a:extLst>
              </p:cNvPr>
              <p:cNvGrpSpPr>
                <a:grpSpLocks/>
              </p:cNvGrpSpPr>
              <p:nvPr/>
            </p:nvGrpSpPr>
            <p:grpSpPr bwMode="gray">
              <a:xfrm>
                <a:off x="1569548" y="2926283"/>
                <a:ext cx="217142" cy="217142"/>
                <a:chOff x="1564620" y="4074624"/>
                <a:chExt cx="330948" cy="330948"/>
              </a:xfrm>
              <a:grpFill/>
            </p:grpSpPr>
            <p:sp>
              <p:nvSpPr>
                <p:cNvPr id="954" name="dfine_grid_single_shape_frame">
                  <a:extLst>
                    <a:ext uri="{FF2B5EF4-FFF2-40B4-BE49-F238E27FC236}">
                      <a16:creationId xmlns:a16="http://schemas.microsoft.com/office/drawing/2014/main" id="{3C1DC7FF-9B65-5072-0DEE-F54F48EF8DC3}"/>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55" name="triangle_other_v1_top">
                  <a:extLst>
                    <a:ext uri="{FF2B5EF4-FFF2-40B4-BE49-F238E27FC236}">
                      <a16:creationId xmlns:a16="http://schemas.microsoft.com/office/drawing/2014/main" id="{C7A575F0-49B6-E5B6-AE5F-A8F322DE838A}"/>
                    </a:ext>
                  </a:extLst>
                </p:cNvPr>
                <p:cNvSpPr>
                  <a:spLocks/>
                </p:cNvSpPr>
                <p:nvPr/>
              </p:nvSpPr>
              <p:spPr bwMode="gray">
                <a:xfrm rot="10800000">
                  <a:off x="1564620" y="4074624"/>
                  <a:ext cx="330947" cy="165474"/>
                </a:xfrm>
                <a:prstGeom prst="triangle">
                  <a:avLst/>
                </a:prstGeom>
                <a:solidFill>
                  <a:srgbClr val="C2E7F7"/>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56" name="Triangle_2">
                  <a:extLst>
                    <a:ext uri="{FF2B5EF4-FFF2-40B4-BE49-F238E27FC236}">
                      <a16:creationId xmlns:a16="http://schemas.microsoft.com/office/drawing/2014/main" id="{030C260C-1B83-A095-FDB3-29F626DEEFF8}"/>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57" name="Triangle_3">
                  <a:extLst>
                    <a:ext uri="{FF2B5EF4-FFF2-40B4-BE49-F238E27FC236}">
                      <a16:creationId xmlns:a16="http://schemas.microsoft.com/office/drawing/2014/main" id="{D8D7AB1E-B1D5-645B-DEA3-3CEB2FB6766C}"/>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58" name="triangle_other_v1_left">
                  <a:extLst>
                    <a:ext uri="{FF2B5EF4-FFF2-40B4-BE49-F238E27FC236}">
                      <a16:creationId xmlns:a16="http://schemas.microsoft.com/office/drawing/2014/main" id="{66C0A9EF-4F05-1D8F-8C7D-1329DBCCA2BD}"/>
                    </a:ext>
                  </a:extLst>
                </p:cNvPr>
                <p:cNvSpPr>
                  <a:spLocks/>
                </p:cNvSpPr>
                <p:nvPr/>
              </p:nvSpPr>
              <p:spPr bwMode="gray">
                <a:xfrm rot="16200000">
                  <a:off x="1647357" y="4157361"/>
                  <a:ext cx="330947" cy="165474"/>
                </a:xfrm>
                <a:prstGeom prst="triangle">
                  <a:avLst/>
                </a:prstGeom>
                <a:solidFill>
                  <a:srgbClr val="C2E7F7"/>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39" name="Group 838">
                <a:extLst>
                  <a:ext uri="{FF2B5EF4-FFF2-40B4-BE49-F238E27FC236}">
                    <a16:creationId xmlns:a16="http://schemas.microsoft.com/office/drawing/2014/main" id="{C6766F46-DAE3-E431-9DCA-1286661CF26D}"/>
                  </a:ext>
                </a:extLst>
              </p:cNvPr>
              <p:cNvGrpSpPr>
                <a:grpSpLocks/>
              </p:cNvGrpSpPr>
              <p:nvPr/>
            </p:nvGrpSpPr>
            <p:grpSpPr bwMode="gray">
              <a:xfrm>
                <a:off x="1569548" y="3143425"/>
                <a:ext cx="217142" cy="217142"/>
                <a:chOff x="1564620" y="2419889"/>
                <a:chExt cx="330948" cy="330948"/>
              </a:xfrm>
              <a:grpFill/>
            </p:grpSpPr>
            <p:sp>
              <p:nvSpPr>
                <p:cNvPr id="949" name="dfine_grid_single_shape_frame">
                  <a:extLst>
                    <a:ext uri="{FF2B5EF4-FFF2-40B4-BE49-F238E27FC236}">
                      <a16:creationId xmlns:a16="http://schemas.microsoft.com/office/drawing/2014/main" id="{2DB8B1EB-39DF-9D0E-536A-D3C219007959}"/>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50" name="Triangle_1">
                  <a:extLst>
                    <a:ext uri="{FF2B5EF4-FFF2-40B4-BE49-F238E27FC236}">
                      <a16:creationId xmlns:a16="http://schemas.microsoft.com/office/drawing/2014/main" id="{61395B1E-1097-7237-2714-34C44CA6B73E}"/>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51" name="Triangle_2">
                  <a:extLst>
                    <a:ext uri="{FF2B5EF4-FFF2-40B4-BE49-F238E27FC236}">
                      <a16:creationId xmlns:a16="http://schemas.microsoft.com/office/drawing/2014/main" id="{BB6FEE8E-0A99-BEB0-C2BC-5D58370A7882}"/>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52" name="Triangle_3">
                  <a:extLst>
                    <a:ext uri="{FF2B5EF4-FFF2-40B4-BE49-F238E27FC236}">
                      <a16:creationId xmlns:a16="http://schemas.microsoft.com/office/drawing/2014/main" id="{C7EF6DE4-EB64-A2C8-9146-5F2C13096584}"/>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53" name="Triangle_4">
                  <a:extLst>
                    <a:ext uri="{FF2B5EF4-FFF2-40B4-BE49-F238E27FC236}">
                      <a16:creationId xmlns:a16="http://schemas.microsoft.com/office/drawing/2014/main" id="{F92E7A93-F75B-8F6B-CD5F-84B2D4C52E4C}"/>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40" name="Group 839">
                <a:extLst>
                  <a:ext uri="{FF2B5EF4-FFF2-40B4-BE49-F238E27FC236}">
                    <a16:creationId xmlns:a16="http://schemas.microsoft.com/office/drawing/2014/main" id="{8187E373-A74C-B12B-7C86-5D906D9FEEE7}"/>
                  </a:ext>
                </a:extLst>
              </p:cNvPr>
              <p:cNvGrpSpPr>
                <a:grpSpLocks/>
              </p:cNvGrpSpPr>
              <p:nvPr/>
            </p:nvGrpSpPr>
            <p:grpSpPr bwMode="gray">
              <a:xfrm>
                <a:off x="1569548" y="3360566"/>
                <a:ext cx="217142" cy="217142"/>
                <a:chOff x="1564620" y="2750836"/>
                <a:chExt cx="330948" cy="330948"/>
              </a:xfrm>
              <a:grpFill/>
            </p:grpSpPr>
            <p:sp>
              <p:nvSpPr>
                <p:cNvPr id="944" name="dfine_grid_single_shape_frame">
                  <a:extLst>
                    <a:ext uri="{FF2B5EF4-FFF2-40B4-BE49-F238E27FC236}">
                      <a16:creationId xmlns:a16="http://schemas.microsoft.com/office/drawing/2014/main" id="{2EA9B8A5-D911-2C08-66EC-D8DE2AD9AD86}"/>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45" name="Triangle_1">
                  <a:extLst>
                    <a:ext uri="{FF2B5EF4-FFF2-40B4-BE49-F238E27FC236}">
                      <a16:creationId xmlns:a16="http://schemas.microsoft.com/office/drawing/2014/main" id="{3E430F8E-7568-80F3-ADCD-D7065EC341C0}"/>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46" name="Triangle_2">
                  <a:extLst>
                    <a:ext uri="{FF2B5EF4-FFF2-40B4-BE49-F238E27FC236}">
                      <a16:creationId xmlns:a16="http://schemas.microsoft.com/office/drawing/2014/main" id="{41DF663A-943E-CD99-FD48-6534189D0A61}"/>
                    </a:ext>
                  </a:extLst>
                </p:cNvPr>
                <p:cNvSpPr>
                  <a:spLocks/>
                </p:cNvSpPr>
                <p:nvPr/>
              </p:nvSpPr>
              <p:spPr bwMode="gray">
                <a:xfrm>
                  <a:off x="1564620" y="2916310"/>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47" name="Triangle_3">
                  <a:extLst>
                    <a:ext uri="{FF2B5EF4-FFF2-40B4-BE49-F238E27FC236}">
                      <a16:creationId xmlns:a16="http://schemas.microsoft.com/office/drawing/2014/main" id="{544876A6-8E0D-400F-16FE-DFAAC9B9DA38}"/>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48" name="Triangle_4">
                  <a:extLst>
                    <a:ext uri="{FF2B5EF4-FFF2-40B4-BE49-F238E27FC236}">
                      <a16:creationId xmlns:a16="http://schemas.microsoft.com/office/drawing/2014/main" id="{1B4EF697-9261-416A-C3A8-68357F978809}"/>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41" name="Group 840">
                <a:extLst>
                  <a:ext uri="{FF2B5EF4-FFF2-40B4-BE49-F238E27FC236}">
                    <a16:creationId xmlns:a16="http://schemas.microsoft.com/office/drawing/2014/main" id="{1DFF72AB-7E99-B492-F597-181C47F2D697}"/>
                  </a:ext>
                </a:extLst>
              </p:cNvPr>
              <p:cNvGrpSpPr>
                <a:grpSpLocks/>
              </p:cNvGrpSpPr>
              <p:nvPr/>
            </p:nvGrpSpPr>
            <p:grpSpPr bwMode="gray">
              <a:xfrm>
                <a:off x="1569548" y="3577707"/>
                <a:ext cx="217142" cy="217142"/>
                <a:chOff x="1564620" y="3081783"/>
                <a:chExt cx="330948" cy="330948"/>
              </a:xfrm>
              <a:grpFill/>
            </p:grpSpPr>
            <p:sp>
              <p:nvSpPr>
                <p:cNvPr id="939" name="dfine_grid_single_shape_frame">
                  <a:extLst>
                    <a:ext uri="{FF2B5EF4-FFF2-40B4-BE49-F238E27FC236}">
                      <a16:creationId xmlns:a16="http://schemas.microsoft.com/office/drawing/2014/main" id="{5AE6746A-7C3C-4AF9-5017-2FB229EF1E35}"/>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40" name="Triangle_1">
                  <a:extLst>
                    <a:ext uri="{FF2B5EF4-FFF2-40B4-BE49-F238E27FC236}">
                      <a16:creationId xmlns:a16="http://schemas.microsoft.com/office/drawing/2014/main" id="{0561D33D-BB33-8CBE-B250-7B0BCF200905}"/>
                    </a:ext>
                  </a:extLst>
                </p:cNvPr>
                <p:cNvSpPr>
                  <a:spLocks/>
                </p:cNvSpPr>
                <p:nvPr/>
              </p:nvSpPr>
              <p:spPr bwMode="gray">
                <a:xfrm rot="10800000">
                  <a:off x="1564620" y="3081783"/>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41" name="Triangle_2">
                  <a:extLst>
                    <a:ext uri="{FF2B5EF4-FFF2-40B4-BE49-F238E27FC236}">
                      <a16:creationId xmlns:a16="http://schemas.microsoft.com/office/drawing/2014/main" id="{FA6FA6B3-9681-14CF-E9EB-19D433A822FF}"/>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42" name="Triangle_3">
                  <a:extLst>
                    <a:ext uri="{FF2B5EF4-FFF2-40B4-BE49-F238E27FC236}">
                      <a16:creationId xmlns:a16="http://schemas.microsoft.com/office/drawing/2014/main" id="{20B72ECE-F9F8-4E7C-C67F-1F787A485F75}"/>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43" name="Triangle_4">
                  <a:extLst>
                    <a:ext uri="{FF2B5EF4-FFF2-40B4-BE49-F238E27FC236}">
                      <a16:creationId xmlns:a16="http://schemas.microsoft.com/office/drawing/2014/main" id="{ACFA693A-4263-FF84-691A-F051E9021ED3}"/>
                    </a:ext>
                  </a:extLst>
                </p:cNvPr>
                <p:cNvSpPr>
                  <a:spLocks/>
                </p:cNvSpPr>
                <p:nvPr/>
              </p:nvSpPr>
              <p:spPr bwMode="gray">
                <a:xfrm rot="16200000">
                  <a:off x="1647357" y="3164520"/>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42" name="Group 841">
                <a:extLst>
                  <a:ext uri="{FF2B5EF4-FFF2-40B4-BE49-F238E27FC236}">
                    <a16:creationId xmlns:a16="http://schemas.microsoft.com/office/drawing/2014/main" id="{8051A77C-7E18-72BB-E1F2-5E4618C52230}"/>
                  </a:ext>
                </a:extLst>
              </p:cNvPr>
              <p:cNvGrpSpPr>
                <a:grpSpLocks/>
              </p:cNvGrpSpPr>
              <p:nvPr/>
            </p:nvGrpSpPr>
            <p:grpSpPr bwMode="gray">
              <a:xfrm>
                <a:off x="1569548" y="3794848"/>
                <a:ext cx="217142" cy="217142"/>
                <a:chOff x="1564620" y="3412730"/>
                <a:chExt cx="330948" cy="330948"/>
              </a:xfrm>
              <a:grpFill/>
            </p:grpSpPr>
            <p:sp>
              <p:nvSpPr>
                <p:cNvPr id="934" name="dfine_grid_single_shape_frame">
                  <a:extLst>
                    <a:ext uri="{FF2B5EF4-FFF2-40B4-BE49-F238E27FC236}">
                      <a16:creationId xmlns:a16="http://schemas.microsoft.com/office/drawing/2014/main" id="{3D62C9E4-1465-40FF-1383-7B52D80BEF29}"/>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35" name="triangle_phd_v1_top">
                  <a:extLst>
                    <a:ext uri="{FF2B5EF4-FFF2-40B4-BE49-F238E27FC236}">
                      <a16:creationId xmlns:a16="http://schemas.microsoft.com/office/drawing/2014/main" id="{B7FA5EC2-9778-087D-048D-50FFDB0E57A4}"/>
                    </a:ext>
                  </a:extLst>
                </p:cNvPr>
                <p:cNvSpPr>
                  <a:spLocks/>
                </p:cNvSpPr>
                <p:nvPr/>
              </p:nvSpPr>
              <p:spPr bwMode="gray">
                <a:xfrm rot="10800000">
                  <a:off x="1564620" y="3412730"/>
                  <a:ext cx="330947" cy="165474"/>
                </a:xfrm>
                <a:prstGeom prst="triangle">
                  <a:avLst/>
                </a:prstGeom>
                <a:solidFill>
                  <a:srgbClr val="FFAA0A"/>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36" name="Triangle_2">
                  <a:extLst>
                    <a:ext uri="{FF2B5EF4-FFF2-40B4-BE49-F238E27FC236}">
                      <a16:creationId xmlns:a16="http://schemas.microsoft.com/office/drawing/2014/main" id="{7F57A11C-FA90-CF3F-81A0-DA17153EED52}"/>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37" name="Triangle_3">
                  <a:extLst>
                    <a:ext uri="{FF2B5EF4-FFF2-40B4-BE49-F238E27FC236}">
                      <a16:creationId xmlns:a16="http://schemas.microsoft.com/office/drawing/2014/main" id="{771BE573-4399-528A-B522-DAFFA90BCFAC}"/>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38" name="triangle_phd_v1_left">
                  <a:extLst>
                    <a:ext uri="{FF2B5EF4-FFF2-40B4-BE49-F238E27FC236}">
                      <a16:creationId xmlns:a16="http://schemas.microsoft.com/office/drawing/2014/main" id="{D98C4BFF-218A-AF0D-4805-81F404F3BF1A}"/>
                    </a:ext>
                  </a:extLst>
                </p:cNvPr>
                <p:cNvSpPr>
                  <a:spLocks/>
                </p:cNvSpPr>
                <p:nvPr/>
              </p:nvSpPr>
              <p:spPr bwMode="gray">
                <a:xfrm rot="16200000">
                  <a:off x="1647357" y="3495467"/>
                  <a:ext cx="330947" cy="165474"/>
                </a:xfrm>
                <a:prstGeom prst="triangle">
                  <a:avLst/>
                </a:prstGeom>
                <a:solidFill>
                  <a:srgbClr val="FFAA0A"/>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43" name="Group 842">
                <a:extLst>
                  <a:ext uri="{FF2B5EF4-FFF2-40B4-BE49-F238E27FC236}">
                    <a16:creationId xmlns:a16="http://schemas.microsoft.com/office/drawing/2014/main" id="{D2BF1BDF-71E9-48F3-9658-E178EEF4F6DC}"/>
                  </a:ext>
                </a:extLst>
              </p:cNvPr>
              <p:cNvGrpSpPr>
                <a:grpSpLocks/>
              </p:cNvGrpSpPr>
              <p:nvPr/>
            </p:nvGrpSpPr>
            <p:grpSpPr bwMode="gray">
              <a:xfrm>
                <a:off x="1569548" y="4011989"/>
                <a:ext cx="217142" cy="217142"/>
                <a:chOff x="1564620" y="3743677"/>
                <a:chExt cx="330948" cy="330948"/>
              </a:xfrm>
              <a:grpFill/>
            </p:grpSpPr>
            <p:sp>
              <p:nvSpPr>
                <p:cNvPr id="929" name="dfine_grid_single_shape_frame">
                  <a:extLst>
                    <a:ext uri="{FF2B5EF4-FFF2-40B4-BE49-F238E27FC236}">
                      <a16:creationId xmlns:a16="http://schemas.microsoft.com/office/drawing/2014/main" id="{5383D63D-091E-354D-20CF-47FADF5C8188}"/>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30" name="Triangle_1">
                  <a:extLst>
                    <a:ext uri="{FF2B5EF4-FFF2-40B4-BE49-F238E27FC236}">
                      <a16:creationId xmlns:a16="http://schemas.microsoft.com/office/drawing/2014/main" id="{5313661F-CBF8-C914-CCF8-CC92668A9610}"/>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31" name="Triangle_2">
                  <a:extLst>
                    <a:ext uri="{FF2B5EF4-FFF2-40B4-BE49-F238E27FC236}">
                      <a16:creationId xmlns:a16="http://schemas.microsoft.com/office/drawing/2014/main" id="{2070B862-44CD-7B3D-1FD2-E06575E47B15}"/>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32" name="Triangle_3">
                  <a:extLst>
                    <a:ext uri="{FF2B5EF4-FFF2-40B4-BE49-F238E27FC236}">
                      <a16:creationId xmlns:a16="http://schemas.microsoft.com/office/drawing/2014/main" id="{96B4B882-6D37-7E98-73E5-0DC0F0CAECCA}"/>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33" name="Triangle_4">
                  <a:extLst>
                    <a:ext uri="{FF2B5EF4-FFF2-40B4-BE49-F238E27FC236}">
                      <a16:creationId xmlns:a16="http://schemas.microsoft.com/office/drawing/2014/main" id="{F35E6B86-2CDA-809C-D04B-34C7E6D5B669}"/>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44" name="Group 843">
                <a:extLst>
                  <a:ext uri="{FF2B5EF4-FFF2-40B4-BE49-F238E27FC236}">
                    <a16:creationId xmlns:a16="http://schemas.microsoft.com/office/drawing/2014/main" id="{BA2B77DE-4276-B9EF-F377-4421D60C5028}"/>
                  </a:ext>
                </a:extLst>
              </p:cNvPr>
              <p:cNvGrpSpPr>
                <a:grpSpLocks/>
              </p:cNvGrpSpPr>
              <p:nvPr/>
            </p:nvGrpSpPr>
            <p:grpSpPr bwMode="gray">
              <a:xfrm>
                <a:off x="1569548" y="4229130"/>
                <a:ext cx="217142" cy="217142"/>
                <a:chOff x="1564620" y="4074624"/>
                <a:chExt cx="330948" cy="330948"/>
              </a:xfrm>
              <a:grpFill/>
            </p:grpSpPr>
            <p:sp>
              <p:nvSpPr>
                <p:cNvPr id="924" name="dfine_grid_single_shape_frame">
                  <a:extLst>
                    <a:ext uri="{FF2B5EF4-FFF2-40B4-BE49-F238E27FC236}">
                      <a16:creationId xmlns:a16="http://schemas.microsoft.com/office/drawing/2014/main" id="{9CD4DC0B-ECE5-C552-7D75-D65463487AF5}"/>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25" name="Triangle_1">
                  <a:extLst>
                    <a:ext uri="{FF2B5EF4-FFF2-40B4-BE49-F238E27FC236}">
                      <a16:creationId xmlns:a16="http://schemas.microsoft.com/office/drawing/2014/main" id="{EBBC4B1B-D672-FFEE-7DFA-382B4FE65981}"/>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26" name="Triangle_2">
                  <a:extLst>
                    <a:ext uri="{FF2B5EF4-FFF2-40B4-BE49-F238E27FC236}">
                      <a16:creationId xmlns:a16="http://schemas.microsoft.com/office/drawing/2014/main" id="{8A18F15F-7409-D124-B881-18B78FCF5BA9}"/>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27" name="Triangle_3">
                  <a:extLst>
                    <a:ext uri="{FF2B5EF4-FFF2-40B4-BE49-F238E27FC236}">
                      <a16:creationId xmlns:a16="http://schemas.microsoft.com/office/drawing/2014/main" id="{264E8A90-76F7-301F-67E0-7BE20B3E71B1}"/>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28" name="Triangle_4">
                  <a:extLst>
                    <a:ext uri="{FF2B5EF4-FFF2-40B4-BE49-F238E27FC236}">
                      <a16:creationId xmlns:a16="http://schemas.microsoft.com/office/drawing/2014/main" id="{E10AD663-F46B-D35C-F1F2-599B9706F306}"/>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45" name="Group 844">
                <a:extLst>
                  <a:ext uri="{FF2B5EF4-FFF2-40B4-BE49-F238E27FC236}">
                    <a16:creationId xmlns:a16="http://schemas.microsoft.com/office/drawing/2014/main" id="{80F8FC35-1FA7-CFD3-B7D4-82A3106FDC79}"/>
                  </a:ext>
                </a:extLst>
              </p:cNvPr>
              <p:cNvGrpSpPr>
                <a:grpSpLocks/>
              </p:cNvGrpSpPr>
              <p:nvPr/>
            </p:nvGrpSpPr>
            <p:grpSpPr bwMode="gray">
              <a:xfrm>
                <a:off x="1786689" y="1623437"/>
                <a:ext cx="217142" cy="217142"/>
                <a:chOff x="1564620" y="2088942"/>
                <a:chExt cx="330948" cy="330948"/>
              </a:xfrm>
              <a:grpFill/>
            </p:grpSpPr>
            <p:sp>
              <p:nvSpPr>
                <p:cNvPr id="919" name="dfine_grid_single_shape_frame">
                  <a:extLst>
                    <a:ext uri="{FF2B5EF4-FFF2-40B4-BE49-F238E27FC236}">
                      <a16:creationId xmlns:a16="http://schemas.microsoft.com/office/drawing/2014/main" id="{1D8C605A-0A94-F9BF-45DD-A432FB6F44DD}"/>
                    </a:ext>
                  </a:extLst>
                </p:cNvPr>
                <p:cNvSpPr>
                  <a:spLocks/>
                </p:cNvSpPr>
                <p:nvPr/>
              </p:nvSpPr>
              <p:spPr bwMode="gray">
                <a:xfrm>
                  <a:off x="1564620"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20" name="Triangle_1">
                  <a:extLst>
                    <a:ext uri="{FF2B5EF4-FFF2-40B4-BE49-F238E27FC236}">
                      <a16:creationId xmlns:a16="http://schemas.microsoft.com/office/drawing/2014/main" id="{F2F9E512-227E-9443-6765-61DA1DDD2DC2}"/>
                    </a:ext>
                  </a:extLst>
                </p:cNvPr>
                <p:cNvSpPr>
                  <a:spLocks/>
                </p:cNvSpPr>
                <p:nvPr/>
              </p:nvSpPr>
              <p:spPr bwMode="gray">
                <a:xfrm rot="10800000">
                  <a:off x="1564620"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21" name="Triangle_2">
                  <a:extLst>
                    <a:ext uri="{FF2B5EF4-FFF2-40B4-BE49-F238E27FC236}">
                      <a16:creationId xmlns:a16="http://schemas.microsoft.com/office/drawing/2014/main" id="{70F94684-24EB-EDB0-1A2C-134BD4DE0984}"/>
                    </a:ext>
                  </a:extLst>
                </p:cNvPr>
                <p:cNvSpPr>
                  <a:spLocks/>
                </p:cNvSpPr>
                <p:nvPr/>
              </p:nvSpPr>
              <p:spPr bwMode="gray">
                <a:xfrm>
                  <a:off x="1564620"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22" name="Triangle_3">
                  <a:extLst>
                    <a:ext uri="{FF2B5EF4-FFF2-40B4-BE49-F238E27FC236}">
                      <a16:creationId xmlns:a16="http://schemas.microsoft.com/office/drawing/2014/main" id="{0D712A68-9342-02E0-76C8-0717AB429877}"/>
                    </a:ext>
                  </a:extLst>
                </p:cNvPr>
                <p:cNvSpPr>
                  <a:spLocks/>
                </p:cNvSpPr>
                <p:nvPr/>
              </p:nvSpPr>
              <p:spPr bwMode="gray">
                <a:xfrm rot="5400000">
                  <a:off x="1481883"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23" name="Triangle_4">
                  <a:extLst>
                    <a:ext uri="{FF2B5EF4-FFF2-40B4-BE49-F238E27FC236}">
                      <a16:creationId xmlns:a16="http://schemas.microsoft.com/office/drawing/2014/main" id="{FAED8735-8450-0823-3EBF-19BF5E947D5B}"/>
                    </a:ext>
                  </a:extLst>
                </p:cNvPr>
                <p:cNvSpPr>
                  <a:spLocks/>
                </p:cNvSpPr>
                <p:nvPr/>
              </p:nvSpPr>
              <p:spPr bwMode="gray">
                <a:xfrm rot="16200000">
                  <a:off x="1647357"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46" name="Group 845">
                <a:extLst>
                  <a:ext uri="{FF2B5EF4-FFF2-40B4-BE49-F238E27FC236}">
                    <a16:creationId xmlns:a16="http://schemas.microsoft.com/office/drawing/2014/main" id="{13F5752C-D511-97FC-E018-3BF577859301}"/>
                  </a:ext>
                </a:extLst>
              </p:cNvPr>
              <p:cNvGrpSpPr>
                <a:grpSpLocks/>
              </p:cNvGrpSpPr>
              <p:nvPr/>
            </p:nvGrpSpPr>
            <p:grpSpPr bwMode="gray">
              <a:xfrm>
                <a:off x="1786689" y="1840578"/>
                <a:ext cx="217142" cy="217142"/>
                <a:chOff x="1564620" y="2419889"/>
                <a:chExt cx="330948" cy="330948"/>
              </a:xfrm>
              <a:grpFill/>
            </p:grpSpPr>
            <p:sp>
              <p:nvSpPr>
                <p:cNvPr id="914" name="dfine_grid_single_shape_frame">
                  <a:extLst>
                    <a:ext uri="{FF2B5EF4-FFF2-40B4-BE49-F238E27FC236}">
                      <a16:creationId xmlns:a16="http://schemas.microsoft.com/office/drawing/2014/main" id="{34313A1B-5DAB-9318-506A-DC4A026ACEAF}"/>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15" name="Triangle_1">
                  <a:extLst>
                    <a:ext uri="{FF2B5EF4-FFF2-40B4-BE49-F238E27FC236}">
                      <a16:creationId xmlns:a16="http://schemas.microsoft.com/office/drawing/2014/main" id="{CF2FAEA7-F5EF-315D-1462-A67F385EB585}"/>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16" name="Triangle_2">
                  <a:extLst>
                    <a:ext uri="{FF2B5EF4-FFF2-40B4-BE49-F238E27FC236}">
                      <a16:creationId xmlns:a16="http://schemas.microsoft.com/office/drawing/2014/main" id="{5BFA713A-5053-9189-A93E-0E2AD9EE3851}"/>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17" name="Triangle_3">
                  <a:extLst>
                    <a:ext uri="{FF2B5EF4-FFF2-40B4-BE49-F238E27FC236}">
                      <a16:creationId xmlns:a16="http://schemas.microsoft.com/office/drawing/2014/main" id="{E9367621-F6DC-EDFA-18BC-EF8D00519365}"/>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18" name="Triangle_4">
                  <a:extLst>
                    <a:ext uri="{FF2B5EF4-FFF2-40B4-BE49-F238E27FC236}">
                      <a16:creationId xmlns:a16="http://schemas.microsoft.com/office/drawing/2014/main" id="{68795195-D5D6-38B4-7ABF-ADA27FBB6F37}"/>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47" name="Group 846">
                <a:extLst>
                  <a:ext uri="{FF2B5EF4-FFF2-40B4-BE49-F238E27FC236}">
                    <a16:creationId xmlns:a16="http://schemas.microsoft.com/office/drawing/2014/main" id="{742BE835-6DA4-BC47-D84C-9A3F367697DB}"/>
                  </a:ext>
                </a:extLst>
              </p:cNvPr>
              <p:cNvGrpSpPr>
                <a:grpSpLocks/>
              </p:cNvGrpSpPr>
              <p:nvPr/>
            </p:nvGrpSpPr>
            <p:grpSpPr bwMode="gray">
              <a:xfrm>
                <a:off x="1786689" y="2057719"/>
                <a:ext cx="217142" cy="217142"/>
                <a:chOff x="1564620" y="2750836"/>
                <a:chExt cx="330948" cy="330948"/>
              </a:xfrm>
              <a:grpFill/>
            </p:grpSpPr>
            <p:sp>
              <p:nvSpPr>
                <p:cNvPr id="909" name="dfine_grid_single_shape_frame">
                  <a:extLst>
                    <a:ext uri="{FF2B5EF4-FFF2-40B4-BE49-F238E27FC236}">
                      <a16:creationId xmlns:a16="http://schemas.microsoft.com/office/drawing/2014/main" id="{79D33513-5E1D-3241-C9FD-FDC814625647}"/>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10" name="Triangle_1">
                  <a:extLst>
                    <a:ext uri="{FF2B5EF4-FFF2-40B4-BE49-F238E27FC236}">
                      <a16:creationId xmlns:a16="http://schemas.microsoft.com/office/drawing/2014/main" id="{1AFED4B6-CE2B-A622-592B-FA61ECBD119F}"/>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11" name="Triangle_2">
                  <a:extLst>
                    <a:ext uri="{FF2B5EF4-FFF2-40B4-BE49-F238E27FC236}">
                      <a16:creationId xmlns:a16="http://schemas.microsoft.com/office/drawing/2014/main" id="{BBF31C9C-387B-D6BD-7114-3FA5CDE7A968}"/>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12" name="Triangle_3">
                  <a:extLst>
                    <a:ext uri="{FF2B5EF4-FFF2-40B4-BE49-F238E27FC236}">
                      <a16:creationId xmlns:a16="http://schemas.microsoft.com/office/drawing/2014/main" id="{CCC92B70-48B4-AF6E-B41C-9291836F617A}"/>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13" name="Triangle_4">
                  <a:extLst>
                    <a:ext uri="{FF2B5EF4-FFF2-40B4-BE49-F238E27FC236}">
                      <a16:creationId xmlns:a16="http://schemas.microsoft.com/office/drawing/2014/main" id="{9549C350-C018-762E-8B96-DB980B6347BA}"/>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48" name="Group 847">
                <a:extLst>
                  <a:ext uri="{FF2B5EF4-FFF2-40B4-BE49-F238E27FC236}">
                    <a16:creationId xmlns:a16="http://schemas.microsoft.com/office/drawing/2014/main" id="{594CB156-C5D5-B532-6B79-8AC554CE62E9}"/>
                  </a:ext>
                </a:extLst>
              </p:cNvPr>
              <p:cNvGrpSpPr>
                <a:grpSpLocks/>
              </p:cNvGrpSpPr>
              <p:nvPr/>
            </p:nvGrpSpPr>
            <p:grpSpPr bwMode="gray">
              <a:xfrm>
                <a:off x="1786689" y="2274860"/>
                <a:ext cx="217142" cy="217142"/>
                <a:chOff x="1564620" y="3081783"/>
                <a:chExt cx="330948" cy="330948"/>
              </a:xfrm>
              <a:grpFill/>
            </p:grpSpPr>
            <p:sp>
              <p:nvSpPr>
                <p:cNvPr id="904" name="dfine_grid_single_shape_frame">
                  <a:extLst>
                    <a:ext uri="{FF2B5EF4-FFF2-40B4-BE49-F238E27FC236}">
                      <a16:creationId xmlns:a16="http://schemas.microsoft.com/office/drawing/2014/main" id="{0C30FAD4-BE6E-28B0-F8D8-2A5606B0A482}"/>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05" name="Triangle_1">
                  <a:extLst>
                    <a:ext uri="{FF2B5EF4-FFF2-40B4-BE49-F238E27FC236}">
                      <a16:creationId xmlns:a16="http://schemas.microsoft.com/office/drawing/2014/main" id="{51FD5DAE-F122-4A68-5B38-E69B1CB1AA5E}"/>
                    </a:ext>
                  </a:extLst>
                </p:cNvPr>
                <p:cNvSpPr>
                  <a:spLocks/>
                </p:cNvSpPr>
                <p:nvPr/>
              </p:nvSpPr>
              <p:spPr bwMode="gray">
                <a:xfrm rot="10800000">
                  <a:off x="1564620"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06" name="Triangle_2">
                  <a:extLst>
                    <a:ext uri="{FF2B5EF4-FFF2-40B4-BE49-F238E27FC236}">
                      <a16:creationId xmlns:a16="http://schemas.microsoft.com/office/drawing/2014/main" id="{2A4268EF-1E2B-8F32-4169-14F82523C1EE}"/>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07" name="Triangle_3">
                  <a:extLst>
                    <a:ext uri="{FF2B5EF4-FFF2-40B4-BE49-F238E27FC236}">
                      <a16:creationId xmlns:a16="http://schemas.microsoft.com/office/drawing/2014/main" id="{0898199D-2F77-4F12-9DC3-F8C2A4058D22}"/>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08" name="Triangle_4">
                  <a:extLst>
                    <a:ext uri="{FF2B5EF4-FFF2-40B4-BE49-F238E27FC236}">
                      <a16:creationId xmlns:a16="http://schemas.microsoft.com/office/drawing/2014/main" id="{F362E3F3-ACC5-754B-B934-515436191429}"/>
                    </a:ext>
                  </a:extLst>
                </p:cNvPr>
                <p:cNvSpPr>
                  <a:spLocks/>
                </p:cNvSpPr>
                <p:nvPr/>
              </p:nvSpPr>
              <p:spPr bwMode="gray">
                <a:xfrm rot="16200000">
                  <a:off x="1647357"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49" name="Group 848">
                <a:extLst>
                  <a:ext uri="{FF2B5EF4-FFF2-40B4-BE49-F238E27FC236}">
                    <a16:creationId xmlns:a16="http://schemas.microsoft.com/office/drawing/2014/main" id="{69356601-C26E-E63A-F26D-04291DA2F145}"/>
                  </a:ext>
                </a:extLst>
              </p:cNvPr>
              <p:cNvGrpSpPr>
                <a:grpSpLocks/>
              </p:cNvGrpSpPr>
              <p:nvPr/>
            </p:nvGrpSpPr>
            <p:grpSpPr bwMode="gray">
              <a:xfrm>
                <a:off x="1786689" y="2492001"/>
                <a:ext cx="217142" cy="217142"/>
                <a:chOff x="1564620" y="3412730"/>
                <a:chExt cx="330948" cy="330948"/>
              </a:xfrm>
              <a:grpFill/>
            </p:grpSpPr>
            <p:sp>
              <p:nvSpPr>
                <p:cNvPr id="899" name="dfine_grid_single_shape_frame">
                  <a:extLst>
                    <a:ext uri="{FF2B5EF4-FFF2-40B4-BE49-F238E27FC236}">
                      <a16:creationId xmlns:a16="http://schemas.microsoft.com/office/drawing/2014/main" id="{C1F121A0-A8C7-12FF-09CA-7F18BB980DCC}"/>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00" name="Triangle_1">
                  <a:extLst>
                    <a:ext uri="{FF2B5EF4-FFF2-40B4-BE49-F238E27FC236}">
                      <a16:creationId xmlns:a16="http://schemas.microsoft.com/office/drawing/2014/main" id="{1D173B15-FF58-B64F-A478-FFB099204466}"/>
                    </a:ext>
                  </a:extLst>
                </p:cNvPr>
                <p:cNvSpPr>
                  <a:spLocks/>
                </p:cNvSpPr>
                <p:nvPr/>
              </p:nvSpPr>
              <p:spPr bwMode="gray">
                <a:xfrm rot="10800000">
                  <a:off x="1564620"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01" name="Triangle_2">
                  <a:extLst>
                    <a:ext uri="{FF2B5EF4-FFF2-40B4-BE49-F238E27FC236}">
                      <a16:creationId xmlns:a16="http://schemas.microsoft.com/office/drawing/2014/main" id="{88304FA5-5A48-AD0E-8CCF-1E00AC7A20E1}"/>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02" name="Triangle_3">
                  <a:extLst>
                    <a:ext uri="{FF2B5EF4-FFF2-40B4-BE49-F238E27FC236}">
                      <a16:creationId xmlns:a16="http://schemas.microsoft.com/office/drawing/2014/main" id="{29A11D7A-3EEF-E290-A022-441E9C9133D7}"/>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03" name="Triangle_4">
                  <a:extLst>
                    <a:ext uri="{FF2B5EF4-FFF2-40B4-BE49-F238E27FC236}">
                      <a16:creationId xmlns:a16="http://schemas.microsoft.com/office/drawing/2014/main" id="{CA7426E8-95B1-6754-36F1-3829FF414EA2}"/>
                    </a:ext>
                  </a:extLst>
                </p:cNvPr>
                <p:cNvSpPr>
                  <a:spLocks/>
                </p:cNvSpPr>
                <p:nvPr/>
              </p:nvSpPr>
              <p:spPr bwMode="gray">
                <a:xfrm rot="16200000">
                  <a:off x="1647357"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50" name="Group 849">
                <a:extLst>
                  <a:ext uri="{FF2B5EF4-FFF2-40B4-BE49-F238E27FC236}">
                    <a16:creationId xmlns:a16="http://schemas.microsoft.com/office/drawing/2014/main" id="{5AF66DDA-94A2-65BA-F4C1-A0C5D8379D0C}"/>
                  </a:ext>
                </a:extLst>
              </p:cNvPr>
              <p:cNvGrpSpPr>
                <a:grpSpLocks/>
              </p:cNvGrpSpPr>
              <p:nvPr/>
            </p:nvGrpSpPr>
            <p:grpSpPr bwMode="gray">
              <a:xfrm>
                <a:off x="1786689" y="2709142"/>
                <a:ext cx="217142" cy="217142"/>
                <a:chOff x="1564620" y="3743677"/>
                <a:chExt cx="330948" cy="330948"/>
              </a:xfrm>
              <a:grpFill/>
            </p:grpSpPr>
            <p:sp>
              <p:nvSpPr>
                <p:cNvPr id="894" name="dfine_grid_single_shape_frame">
                  <a:extLst>
                    <a:ext uri="{FF2B5EF4-FFF2-40B4-BE49-F238E27FC236}">
                      <a16:creationId xmlns:a16="http://schemas.microsoft.com/office/drawing/2014/main" id="{E79E9BC3-1781-74E0-2183-82A22B13B9A8}"/>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95" name="Triangle_1">
                  <a:extLst>
                    <a:ext uri="{FF2B5EF4-FFF2-40B4-BE49-F238E27FC236}">
                      <a16:creationId xmlns:a16="http://schemas.microsoft.com/office/drawing/2014/main" id="{FBCAA544-9A4A-CD12-60CF-30780BAAE5C3}"/>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96" name="Triangle_2">
                  <a:extLst>
                    <a:ext uri="{FF2B5EF4-FFF2-40B4-BE49-F238E27FC236}">
                      <a16:creationId xmlns:a16="http://schemas.microsoft.com/office/drawing/2014/main" id="{B0FBDA16-1344-ED21-A757-6D643F64A89E}"/>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97" name="Triangle_3">
                  <a:extLst>
                    <a:ext uri="{FF2B5EF4-FFF2-40B4-BE49-F238E27FC236}">
                      <a16:creationId xmlns:a16="http://schemas.microsoft.com/office/drawing/2014/main" id="{5A60F057-5D50-48D1-8B9C-3BA64C51CA03}"/>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98" name="Triangle_4">
                  <a:extLst>
                    <a:ext uri="{FF2B5EF4-FFF2-40B4-BE49-F238E27FC236}">
                      <a16:creationId xmlns:a16="http://schemas.microsoft.com/office/drawing/2014/main" id="{CE108ACF-4A40-081B-9B91-68C8716E4A78}"/>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51" name="Group 850">
                <a:extLst>
                  <a:ext uri="{FF2B5EF4-FFF2-40B4-BE49-F238E27FC236}">
                    <a16:creationId xmlns:a16="http://schemas.microsoft.com/office/drawing/2014/main" id="{6887AAE1-9FD9-67B6-21D8-C1565A9A2BBD}"/>
                  </a:ext>
                </a:extLst>
              </p:cNvPr>
              <p:cNvGrpSpPr>
                <a:grpSpLocks/>
              </p:cNvGrpSpPr>
              <p:nvPr/>
            </p:nvGrpSpPr>
            <p:grpSpPr bwMode="gray">
              <a:xfrm>
                <a:off x="1786689" y="2926283"/>
                <a:ext cx="217142" cy="217142"/>
                <a:chOff x="1564620" y="4074624"/>
                <a:chExt cx="330948" cy="330948"/>
              </a:xfrm>
              <a:grpFill/>
            </p:grpSpPr>
            <p:sp>
              <p:nvSpPr>
                <p:cNvPr id="889" name="dfine_grid_single_shape_frame">
                  <a:extLst>
                    <a:ext uri="{FF2B5EF4-FFF2-40B4-BE49-F238E27FC236}">
                      <a16:creationId xmlns:a16="http://schemas.microsoft.com/office/drawing/2014/main" id="{11EA5F28-7FBE-4041-3356-AD57DE73A3FC}"/>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90" name="Triangle_1">
                  <a:extLst>
                    <a:ext uri="{FF2B5EF4-FFF2-40B4-BE49-F238E27FC236}">
                      <a16:creationId xmlns:a16="http://schemas.microsoft.com/office/drawing/2014/main" id="{66DE50E1-B857-5932-469A-2213908D9F3B}"/>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91" name="Triangle_2">
                  <a:extLst>
                    <a:ext uri="{FF2B5EF4-FFF2-40B4-BE49-F238E27FC236}">
                      <a16:creationId xmlns:a16="http://schemas.microsoft.com/office/drawing/2014/main" id="{A3057DAF-28FF-FB1C-1ABB-C5295FB54C61}"/>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92" name="Triangle_3">
                  <a:extLst>
                    <a:ext uri="{FF2B5EF4-FFF2-40B4-BE49-F238E27FC236}">
                      <a16:creationId xmlns:a16="http://schemas.microsoft.com/office/drawing/2014/main" id="{DDF525CA-CBA0-AADD-D133-1F95A62D19CB}"/>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93" name="Triangle_4">
                  <a:extLst>
                    <a:ext uri="{FF2B5EF4-FFF2-40B4-BE49-F238E27FC236}">
                      <a16:creationId xmlns:a16="http://schemas.microsoft.com/office/drawing/2014/main" id="{DF81B629-43DA-1A0F-9099-1264DB35C3B8}"/>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52" name="Group 851">
                <a:extLst>
                  <a:ext uri="{FF2B5EF4-FFF2-40B4-BE49-F238E27FC236}">
                    <a16:creationId xmlns:a16="http://schemas.microsoft.com/office/drawing/2014/main" id="{BAFC72BB-507A-347E-AD56-1DDCA1C7B12D}"/>
                  </a:ext>
                </a:extLst>
              </p:cNvPr>
              <p:cNvGrpSpPr>
                <a:grpSpLocks/>
              </p:cNvGrpSpPr>
              <p:nvPr/>
            </p:nvGrpSpPr>
            <p:grpSpPr bwMode="gray">
              <a:xfrm>
                <a:off x="1786689" y="3143425"/>
                <a:ext cx="217142" cy="217142"/>
                <a:chOff x="1564620" y="2419889"/>
                <a:chExt cx="330948" cy="330948"/>
              </a:xfrm>
              <a:grpFill/>
            </p:grpSpPr>
            <p:sp>
              <p:nvSpPr>
                <p:cNvPr id="884" name="dfine_grid_single_shape_frame">
                  <a:extLst>
                    <a:ext uri="{FF2B5EF4-FFF2-40B4-BE49-F238E27FC236}">
                      <a16:creationId xmlns:a16="http://schemas.microsoft.com/office/drawing/2014/main" id="{70BB8DD4-8044-0344-00D2-C320773B3449}"/>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85" name="Triangle_1">
                  <a:extLst>
                    <a:ext uri="{FF2B5EF4-FFF2-40B4-BE49-F238E27FC236}">
                      <a16:creationId xmlns:a16="http://schemas.microsoft.com/office/drawing/2014/main" id="{33ACBB65-1459-3A32-27B9-6025C8A2D173}"/>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86" name="Triangle_2">
                  <a:extLst>
                    <a:ext uri="{FF2B5EF4-FFF2-40B4-BE49-F238E27FC236}">
                      <a16:creationId xmlns:a16="http://schemas.microsoft.com/office/drawing/2014/main" id="{3132C773-86D9-5106-3960-7BC77910A7F6}"/>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87" name="Triangle_3">
                  <a:extLst>
                    <a:ext uri="{FF2B5EF4-FFF2-40B4-BE49-F238E27FC236}">
                      <a16:creationId xmlns:a16="http://schemas.microsoft.com/office/drawing/2014/main" id="{15BDD580-432E-BF8A-2193-C45600118389}"/>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88" name="Triangle_4">
                  <a:extLst>
                    <a:ext uri="{FF2B5EF4-FFF2-40B4-BE49-F238E27FC236}">
                      <a16:creationId xmlns:a16="http://schemas.microsoft.com/office/drawing/2014/main" id="{0ADF1EF3-AAE4-F13A-DA7A-445159BF50E2}"/>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53" name="Group 852">
                <a:extLst>
                  <a:ext uri="{FF2B5EF4-FFF2-40B4-BE49-F238E27FC236}">
                    <a16:creationId xmlns:a16="http://schemas.microsoft.com/office/drawing/2014/main" id="{DB21F233-50A3-7233-0872-B0FE797886E0}"/>
                  </a:ext>
                </a:extLst>
              </p:cNvPr>
              <p:cNvGrpSpPr>
                <a:grpSpLocks/>
              </p:cNvGrpSpPr>
              <p:nvPr/>
            </p:nvGrpSpPr>
            <p:grpSpPr bwMode="gray">
              <a:xfrm>
                <a:off x="1786689" y="3360566"/>
                <a:ext cx="217142" cy="217142"/>
                <a:chOff x="1564620" y="2750836"/>
                <a:chExt cx="330948" cy="330948"/>
              </a:xfrm>
              <a:grpFill/>
            </p:grpSpPr>
            <p:sp>
              <p:nvSpPr>
                <p:cNvPr id="879" name="dfine_grid_single_shape_frame">
                  <a:extLst>
                    <a:ext uri="{FF2B5EF4-FFF2-40B4-BE49-F238E27FC236}">
                      <a16:creationId xmlns:a16="http://schemas.microsoft.com/office/drawing/2014/main" id="{E051532C-BAA4-01F9-227B-A72870A93B32}"/>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80" name="Triangle_1">
                  <a:extLst>
                    <a:ext uri="{FF2B5EF4-FFF2-40B4-BE49-F238E27FC236}">
                      <a16:creationId xmlns:a16="http://schemas.microsoft.com/office/drawing/2014/main" id="{7D4753B5-A2B1-0997-E896-C2D0200B8DD7}"/>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81" name="Triangle_2">
                  <a:extLst>
                    <a:ext uri="{FF2B5EF4-FFF2-40B4-BE49-F238E27FC236}">
                      <a16:creationId xmlns:a16="http://schemas.microsoft.com/office/drawing/2014/main" id="{1118E2E4-C50B-6C88-896E-ACEB1E9155ED}"/>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82" name="Triangle_3">
                  <a:extLst>
                    <a:ext uri="{FF2B5EF4-FFF2-40B4-BE49-F238E27FC236}">
                      <a16:creationId xmlns:a16="http://schemas.microsoft.com/office/drawing/2014/main" id="{449CDFD2-7867-B2BF-F466-A203A840243C}"/>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83" name="Triangle_4">
                  <a:extLst>
                    <a:ext uri="{FF2B5EF4-FFF2-40B4-BE49-F238E27FC236}">
                      <a16:creationId xmlns:a16="http://schemas.microsoft.com/office/drawing/2014/main" id="{D692C3AE-60C0-79BA-F1D6-97460C7F74E9}"/>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54" name="Group 853">
                <a:extLst>
                  <a:ext uri="{FF2B5EF4-FFF2-40B4-BE49-F238E27FC236}">
                    <a16:creationId xmlns:a16="http://schemas.microsoft.com/office/drawing/2014/main" id="{6A77A1C5-8F4C-D674-D92B-524AE71EF71A}"/>
                  </a:ext>
                </a:extLst>
              </p:cNvPr>
              <p:cNvGrpSpPr>
                <a:grpSpLocks/>
              </p:cNvGrpSpPr>
              <p:nvPr/>
            </p:nvGrpSpPr>
            <p:grpSpPr bwMode="gray">
              <a:xfrm>
                <a:off x="1786689" y="3577707"/>
                <a:ext cx="217142" cy="217142"/>
                <a:chOff x="1564620" y="3081783"/>
                <a:chExt cx="330948" cy="330948"/>
              </a:xfrm>
              <a:grpFill/>
            </p:grpSpPr>
            <p:sp>
              <p:nvSpPr>
                <p:cNvPr id="874" name="dfine_grid_single_shape_frame">
                  <a:extLst>
                    <a:ext uri="{FF2B5EF4-FFF2-40B4-BE49-F238E27FC236}">
                      <a16:creationId xmlns:a16="http://schemas.microsoft.com/office/drawing/2014/main" id="{9B27E0F7-ABB7-A6D4-5B1D-33EEC94F383D}"/>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75" name="Triangle_1">
                  <a:extLst>
                    <a:ext uri="{FF2B5EF4-FFF2-40B4-BE49-F238E27FC236}">
                      <a16:creationId xmlns:a16="http://schemas.microsoft.com/office/drawing/2014/main" id="{D5F3CDFB-2B6D-390A-B0F9-AF60233306E2}"/>
                    </a:ext>
                  </a:extLst>
                </p:cNvPr>
                <p:cNvSpPr>
                  <a:spLocks/>
                </p:cNvSpPr>
                <p:nvPr/>
              </p:nvSpPr>
              <p:spPr bwMode="gray">
                <a:xfrm rot="10800000">
                  <a:off x="1564620"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76" name="Triangle_2">
                  <a:extLst>
                    <a:ext uri="{FF2B5EF4-FFF2-40B4-BE49-F238E27FC236}">
                      <a16:creationId xmlns:a16="http://schemas.microsoft.com/office/drawing/2014/main" id="{B0E32F72-87EE-8CF0-A07F-2CECC6EEB4C1}"/>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77" name="Triangle_3">
                  <a:extLst>
                    <a:ext uri="{FF2B5EF4-FFF2-40B4-BE49-F238E27FC236}">
                      <a16:creationId xmlns:a16="http://schemas.microsoft.com/office/drawing/2014/main" id="{29FF7DC0-7F65-EA0F-48C7-1921726E4031}"/>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78" name="Triangle_4">
                  <a:extLst>
                    <a:ext uri="{FF2B5EF4-FFF2-40B4-BE49-F238E27FC236}">
                      <a16:creationId xmlns:a16="http://schemas.microsoft.com/office/drawing/2014/main" id="{DC8189F9-70EF-6E37-2BAC-CBC025F42875}"/>
                    </a:ext>
                  </a:extLst>
                </p:cNvPr>
                <p:cNvSpPr>
                  <a:spLocks/>
                </p:cNvSpPr>
                <p:nvPr/>
              </p:nvSpPr>
              <p:spPr bwMode="gray">
                <a:xfrm rot="16200000">
                  <a:off x="1647357"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55" name="Group 854">
                <a:extLst>
                  <a:ext uri="{FF2B5EF4-FFF2-40B4-BE49-F238E27FC236}">
                    <a16:creationId xmlns:a16="http://schemas.microsoft.com/office/drawing/2014/main" id="{1D281E18-B502-2E85-4D35-E7D2A1669FE2}"/>
                  </a:ext>
                </a:extLst>
              </p:cNvPr>
              <p:cNvGrpSpPr>
                <a:grpSpLocks/>
              </p:cNvGrpSpPr>
              <p:nvPr/>
            </p:nvGrpSpPr>
            <p:grpSpPr bwMode="gray">
              <a:xfrm>
                <a:off x="1786689" y="3794848"/>
                <a:ext cx="217142" cy="217142"/>
                <a:chOff x="1564620" y="3412730"/>
                <a:chExt cx="330948" cy="330948"/>
              </a:xfrm>
              <a:grpFill/>
            </p:grpSpPr>
            <p:sp>
              <p:nvSpPr>
                <p:cNvPr id="869" name="dfine_grid_single_shape_frame">
                  <a:extLst>
                    <a:ext uri="{FF2B5EF4-FFF2-40B4-BE49-F238E27FC236}">
                      <a16:creationId xmlns:a16="http://schemas.microsoft.com/office/drawing/2014/main" id="{E39D809A-BFBA-4F93-9C2A-8BC37C5E929F}"/>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70" name="Triangle_1">
                  <a:extLst>
                    <a:ext uri="{FF2B5EF4-FFF2-40B4-BE49-F238E27FC236}">
                      <a16:creationId xmlns:a16="http://schemas.microsoft.com/office/drawing/2014/main" id="{83BDFF3B-A7D7-4664-FC94-F7EB407F46E1}"/>
                    </a:ext>
                  </a:extLst>
                </p:cNvPr>
                <p:cNvSpPr>
                  <a:spLocks/>
                </p:cNvSpPr>
                <p:nvPr/>
              </p:nvSpPr>
              <p:spPr bwMode="gray">
                <a:xfrm rot="10800000">
                  <a:off x="1564620"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71" name="Triangle_2">
                  <a:extLst>
                    <a:ext uri="{FF2B5EF4-FFF2-40B4-BE49-F238E27FC236}">
                      <a16:creationId xmlns:a16="http://schemas.microsoft.com/office/drawing/2014/main" id="{3739F52E-8710-DDE8-70F0-D03A1237CCE9}"/>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72" name="Triangle_3">
                  <a:extLst>
                    <a:ext uri="{FF2B5EF4-FFF2-40B4-BE49-F238E27FC236}">
                      <a16:creationId xmlns:a16="http://schemas.microsoft.com/office/drawing/2014/main" id="{E9B6EA14-7980-B2B2-0C3C-659CFBD59241}"/>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73" name="Triangle_4">
                  <a:extLst>
                    <a:ext uri="{FF2B5EF4-FFF2-40B4-BE49-F238E27FC236}">
                      <a16:creationId xmlns:a16="http://schemas.microsoft.com/office/drawing/2014/main" id="{02CB3574-DEF4-94F6-5223-F9DD07ADC4C9}"/>
                    </a:ext>
                  </a:extLst>
                </p:cNvPr>
                <p:cNvSpPr>
                  <a:spLocks/>
                </p:cNvSpPr>
                <p:nvPr/>
              </p:nvSpPr>
              <p:spPr bwMode="gray">
                <a:xfrm rot="16200000">
                  <a:off x="1647357"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56" name="Group 855">
                <a:extLst>
                  <a:ext uri="{FF2B5EF4-FFF2-40B4-BE49-F238E27FC236}">
                    <a16:creationId xmlns:a16="http://schemas.microsoft.com/office/drawing/2014/main" id="{02E69510-22CA-489C-9643-A1BEC88D4018}"/>
                  </a:ext>
                </a:extLst>
              </p:cNvPr>
              <p:cNvGrpSpPr>
                <a:grpSpLocks/>
              </p:cNvGrpSpPr>
              <p:nvPr/>
            </p:nvGrpSpPr>
            <p:grpSpPr bwMode="gray">
              <a:xfrm>
                <a:off x="1786689" y="4011989"/>
                <a:ext cx="217142" cy="217142"/>
                <a:chOff x="1564620" y="3743677"/>
                <a:chExt cx="330948" cy="330948"/>
              </a:xfrm>
              <a:grpFill/>
            </p:grpSpPr>
            <p:sp>
              <p:nvSpPr>
                <p:cNvPr id="864" name="dfine_grid_single_shape_frame">
                  <a:extLst>
                    <a:ext uri="{FF2B5EF4-FFF2-40B4-BE49-F238E27FC236}">
                      <a16:creationId xmlns:a16="http://schemas.microsoft.com/office/drawing/2014/main" id="{7D5B73A8-A06A-911F-F155-6559D20F4B99}"/>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65" name="Triangle_1">
                  <a:extLst>
                    <a:ext uri="{FF2B5EF4-FFF2-40B4-BE49-F238E27FC236}">
                      <a16:creationId xmlns:a16="http://schemas.microsoft.com/office/drawing/2014/main" id="{CD23E465-E01A-ADB2-2523-34E3329D0CAE}"/>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66" name="Triangle_2">
                  <a:extLst>
                    <a:ext uri="{FF2B5EF4-FFF2-40B4-BE49-F238E27FC236}">
                      <a16:creationId xmlns:a16="http://schemas.microsoft.com/office/drawing/2014/main" id="{318FF5B9-1B5F-322F-17BE-C109AAC910FD}"/>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67" name="Triangle_3">
                  <a:extLst>
                    <a:ext uri="{FF2B5EF4-FFF2-40B4-BE49-F238E27FC236}">
                      <a16:creationId xmlns:a16="http://schemas.microsoft.com/office/drawing/2014/main" id="{34A6C046-638C-94F5-8D6B-4F7903B09510}"/>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68" name="Triangle_4">
                  <a:extLst>
                    <a:ext uri="{FF2B5EF4-FFF2-40B4-BE49-F238E27FC236}">
                      <a16:creationId xmlns:a16="http://schemas.microsoft.com/office/drawing/2014/main" id="{80C5390D-D0F4-446F-8472-627173944F28}"/>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57" name="Group 856">
                <a:extLst>
                  <a:ext uri="{FF2B5EF4-FFF2-40B4-BE49-F238E27FC236}">
                    <a16:creationId xmlns:a16="http://schemas.microsoft.com/office/drawing/2014/main" id="{125777E7-FF07-BE85-E349-45C89E352F77}"/>
                  </a:ext>
                </a:extLst>
              </p:cNvPr>
              <p:cNvGrpSpPr>
                <a:grpSpLocks/>
              </p:cNvGrpSpPr>
              <p:nvPr/>
            </p:nvGrpSpPr>
            <p:grpSpPr bwMode="gray">
              <a:xfrm>
                <a:off x="1786689" y="4229130"/>
                <a:ext cx="217142" cy="217142"/>
                <a:chOff x="1564620" y="4074624"/>
                <a:chExt cx="330948" cy="330948"/>
              </a:xfrm>
              <a:grpFill/>
            </p:grpSpPr>
            <p:sp>
              <p:nvSpPr>
                <p:cNvPr id="859" name="dfine_grid_single_shape_frame">
                  <a:extLst>
                    <a:ext uri="{FF2B5EF4-FFF2-40B4-BE49-F238E27FC236}">
                      <a16:creationId xmlns:a16="http://schemas.microsoft.com/office/drawing/2014/main" id="{3C885C86-30DB-137C-17E9-DC632679CB31}"/>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60" name="Triangle_1">
                  <a:extLst>
                    <a:ext uri="{FF2B5EF4-FFF2-40B4-BE49-F238E27FC236}">
                      <a16:creationId xmlns:a16="http://schemas.microsoft.com/office/drawing/2014/main" id="{5B35CD4E-B463-7E0A-5277-D97D79A5B806}"/>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61" name="Triangle_2">
                  <a:extLst>
                    <a:ext uri="{FF2B5EF4-FFF2-40B4-BE49-F238E27FC236}">
                      <a16:creationId xmlns:a16="http://schemas.microsoft.com/office/drawing/2014/main" id="{00A27F35-8299-1031-B3F7-48CEA2A9543D}"/>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62" name="Triangle_3">
                  <a:extLst>
                    <a:ext uri="{FF2B5EF4-FFF2-40B4-BE49-F238E27FC236}">
                      <a16:creationId xmlns:a16="http://schemas.microsoft.com/office/drawing/2014/main" id="{E28C53C0-164F-3B24-B330-913C0CFDF320}"/>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863" name="Triangle_4">
                  <a:extLst>
                    <a:ext uri="{FF2B5EF4-FFF2-40B4-BE49-F238E27FC236}">
                      <a16:creationId xmlns:a16="http://schemas.microsoft.com/office/drawing/2014/main" id="{DCCF87F9-7D66-67F9-5813-19BADA9E8987}"/>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sp>
            <p:nvSpPr>
              <p:cNvPr id="858" name="Rectangle 857">
                <a:extLst>
                  <a:ext uri="{FF2B5EF4-FFF2-40B4-BE49-F238E27FC236}">
                    <a16:creationId xmlns:a16="http://schemas.microsoft.com/office/drawing/2014/main" id="{A0C84907-7037-C8DB-FF19-8F3FFC85CFE8}"/>
                  </a:ext>
                </a:extLst>
              </p:cNvPr>
              <p:cNvSpPr>
                <a:spLocks/>
              </p:cNvSpPr>
              <p:nvPr/>
            </p:nvSpPr>
            <p:spPr bwMode="gray">
              <a:xfrm>
                <a:off x="1109744" y="1585436"/>
                <a:ext cx="1291037" cy="290847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 name="Group 7">
              <a:extLst>
                <a:ext uri="{FF2B5EF4-FFF2-40B4-BE49-F238E27FC236}">
                  <a16:creationId xmlns:a16="http://schemas.microsoft.com/office/drawing/2014/main" id="{C4A29F97-6DD3-B407-3D83-C6E43AE525BE}"/>
                </a:ext>
              </a:extLst>
            </p:cNvPr>
            <p:cNvGrpSpPr>
              <a:grpSpLocks/>
            </p:cNvGrpSpPr>
            <p:nvPr/>
          </p:nvGrpSpPr>
          <p:grpSpPr bwMode="gray">
            <a:xfrm flipH="1">
              <a:off x="5760249" y="1660550"/>
              <a:ext cx="2134081" cy="2908473"/>
              <a:chOff x="266700" y="1585436"/>
              <a:chExt cx="2134081" cy="2908473"/>
            </a:xfrm>
            <a:noFill/>
          </p:grpSpPr>
          <p:grpSp>
            <p:nvGrpSpPr>
              <p:cNvPr id="10" name="Group 9">
                <a:extLst>
                  <a:ext uri="{FF2B5EF4-FFF2-40B4-BE49-F238E27FC236}">
                    <a16:creationId xmlns:a16="http://schemas.microsoft.com/office/drawing/2014/main" id="{596C167B-CE07-493F-1521-FC822BD75BBE}"/>
                  </a:ext>
                </a:extLst>
              </p:cNvPr>
              <p:cNvGrpSpPr>
                <a:grpSpLocks/>
              </p:cNvGrpSpPr>
              <p:nvPr/>
            </p:nvGrpSpPr>
            <p:grpSpPr bwMode="gray">
              <a:xfrm>
                <a:off x="700982" y="1623437"/>
                <a:ext cx="217142" cy="217142"/>
                <a:chOff x="902726" y="2088942"/>
                <a:chExt cx="330948" cy="330948"/>
              </a:xfrm>
              <a:grpFill/>
            </p:grpSpPr>
            <p:sp>
              <p:nvSpPr>
                <p:cNvPr id="722" name="dfine_grid_single_shape_frame">
                  <a:extLst>
                    <a:ext uri="{FF2B5EF4-FFF2-40B4-BE49-F238E27FC236}">
                      <a16:creationId xmlns:a16="http://schemas.microsoft.com/office/drawing/2014/main" id="{76AF40D9-8414-CDA0-6A5A-A17EC6D48469}"/>
                    </a:ext>
                  </a:extLst>
                </p:cNvPr>
                <p:cNvSpPr>
                  <a:spLocks/>
                </p:cNvSpPr>
                <p:nvPr>
                  <p:custDataLst>
                    <p:tags r:id="rId69"/>
                  </p:custDataLst>
                </p:nvPr>
              </p:nvSpPr>
              <p:spPr bwMode="gray">
                <a:xfrm>
                  <a:off x="902726"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23" name="Triangle_1">
                  <a:extLst>
                    <a:ext uri="{FF2B5EF4-FFF2-40B4-BE49-F238E27FC236}">
                      <a16:creationId xmlns:a16="http://schemas.microsoft.com/office/drawing/2014/main" id="{ABAB57F1-F3D0-0710-5895-1A7BFF2F6457}"/>
                    </a:ext>
                  </a:extLst>
                </p:cNvPr>
                <p:cNvSpPr>
                  <a:spLocks/>
                </p:cNvSpPr>
                <p:nvPr/>
              </p:nvSpPr>
              <p:spPr bwMode="gray">
                <a:xfrm rot="10800000">
                  <a:off x="902726"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24" name="Triangle_2">
                  <a:extLst>
                    <a:ext uri="{FF2B5EF4-FFF2-40B4-BE49-F238E27FC236}">
                      <a16:creationId xmlns:a16="http://schemas.microsoft.com/office/drawing/2014/main" id="{543BF588-B3F4-2BAE-FD81-D36034CCBBCA}"/>
                    </a:ext>
                  </a:extLst>
                </p:cNvPr>
                <p:cNvSpPr>
                  <a:spLocks/>
                </p:cNvSpPr>
                <p:nvPr/>
              </p:nvSpPr>
              <p:spPr bwMode="gray">
                <a:xfrm>
                  <a:off x="902726"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25" name="Triangle_3">
                  <a:extLst>
                    <a:ext uri="{FF2B5EF4-FFF2-40B4-BE49-F238E27FC236}">
                      <a16:creationId xmlns:a16="http://schemas.microsoft.com/office/drawing/2014/main" id="{662D6587-2FF0-59EB-9300-82D0C49D7E9A}"/>
                    </a:ext>
                  </a:extLst>
                </p:cNvPr>
                <p:cNvSpPr>
                  <a:spLocks/>
                </p:cNvSpPr>
                <p:nvPr/>
              </p:nvSpPr>
              <p:spPr bwMode="gray">
                <a:xfrm rot="5400000">
                  <a:off x="819989"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26" name="Triangle_4">
                  <a:extLst>
                    <a:ext uri="{FF2B5EF4-FFF2-40B4-BE49-F238E27FC236}">
                      <a16:creationId xmlns:a16="http://schemas.microsoft.com/office/drawing/2014/main" id="{8420C249-5236-540E-8317-3E5EE29A2BCF}"/>
                    </a:ext>
                  </a:extLst>
                </p:cNvPr>
                <p:cNvSpPr>
                  <a:spLocks/>
                </p:cNvSpPr>
                <p:nvPr/>
              </p:nvSpPr>
              <p:spPr bwMode="gray">
                <a:xfrm rot="16200000">
                  <a:off x="985463"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1" name="Group 10">
                <a:extLst>
                  <a:ext uri="{FF2B5EF4-FFF2-40B4-BE49-F238E27FC236}">
                    <a16:creationId xmlns:a16="http://schemas.microsoft.com/office/drawing/2014/main" id="{046313BD-18F3-AAE3-67F8-AA74F8E9CE32}"/>
                  </a:ext>
                </a:extLst>
              </p:cNvPr>
              <p:cNvGrpSpPr>
                <a:grpSpLocks/>
              </p:cNvGrpSpPr>
              <p:nvPr/>
            </p:nvGrpSpPr>
            <p:grpSpPr bwMode="gray">
              <a:xfrm>
                <a:off x="700982" y="1840578"/>
                <a:ext cx="217142" cy="217142"/>
                <a:chOff x="902726" y="2419889"/>
                <a:chExt cx="330948" cy="330948"/>
              </a:xfrm>
              <a:grpFill/>
            </p:grpSpPr>
            <p:sp>
              <p:nvSpPr>
                <p:cNvPr id="717" name="dfine_grid_single_shape_frame">
                  <a:extLst>
                    <a:ext uri="{FF2B5EF4-FFF2-40B4-BE49-F238E27FC236}">
                      <a16:creationId xmlns:a16="http://schemas.microsoft.com/office/drawing/2014/main" id="{CB6EE5FE-8944-F601-362B-EDA64EA98AFA}"/>
                    </a:ext>
                  </a:extLst>
                </p:cNvPr>
                <p:cNvSpPr>
                  <a:spLocks/>
                </p:cNvSpPr>
                <p:nvPr/>
              </p:nvSpPr>
              <p:spPr bwMode="gray">
                <a:xfrm>
                  <a:off x="902726"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18" name="Triangle_1">
                  <a:extLst>
                    <a:ext uri="{FF2B5EF4-FFF2-40B4-BE49-F238E27FC236}">
                      <a16:creationId xmlns:a16="http://schemas.microsoft.com/office/drawing/2014/main" id="{A9D7C929-92E3-593E-04D0-4542DCD2CC14}"/>
                    </a:ext>
                  </a:extLst>
                </p:cNvPr>
                <p:cNvSpPr>
                  <a:spLocks/>
                </p:cNvSpPr>
                <p:nvPr/>
              </p:nvSpPr>
              <p:spPr bwMode="gray">
                <a:xfrm rot="10800000">
                  <a:off x="902726"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19" name="Triangle_2">
                  <a:extLst>
                    <a:ext uri="{FF2B5EF4-FFF2-40B4-BE49-F238E27FC236}">
                      <a16:creationId xmlns:a16="http://schemas.microsoft.com/office/drawing/2014/main" id="{B03348E7-6F2A-D2ED-1951-FF9F11805C65}"/>
                    </a:ext>
                  </a:extLst>
                </p:cNvPr>
                <p:cNvSpPr>
                  <a:spLocks/>
                </p:cNvSpPr>
                <p:nvPr/>
              </p:nvSpPr>
              <p:spPr bwMode="gray">
                <a:xfrm>
                  <a:off x="902726"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20" name="Triangle_3">
                  <a:extLst>
                    <a:ext uri="{FF2B5EF4-FFF2-40B4-BE49-F238E27FC236}">
                      <a16:creationId xmlns:a16="http://schemas.microsoft.com/office/drawing/2014/main" id="{C7D21580-1B96-3E3A-4AB8-7098CD993411}"/>
                    </a:ext>
                  </a:extLst>
                </p:cNvPr>
                <p:cNvSpPr>
                  <a:spLocks/>
                </p:cNvSpPr>
                <p:nvPr/>
              </p:nvSpPr>
              <p:spPr bwMode="gray">
                <a:xfrm rot="5400000">
                  <a:off x="819989"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21" name="Triangle_4">
                  <a:extLst>
                    <a:ext uri="{FF2B5EF4-FFF2-40B4-BE49-F238E27FC236}">
                      <a16:creationId xmlns:a16="http://schemas.microsoft.com/office/drawing/2014/main" id="{764246B6-1B9C-F49D-DD2B-A009E7DA19CA}"/>
                    </a:ext>
                  </a:extLst>
                </p:cNvPr>
                <p:cNvSpPr>
                  <a:spLocks/>
                </p:cNvSpPr>
                <p:nvPr/>
              </p:nvSpPr>
              <p:spPr bwMode="gray">
                <a:xfrm rot="16200000">
                  <a:off x="98546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2" name="Group 11">
                <a:extLst>
                  <a:ext uri="{FF2B5EF4-FFF2-40B4-BE49-F238E27FC236}">
                    <a16:creationId xmlns:a16="http://schemas.microsoft.com/office/drawing/2014/main" id="{2C1CF0B2-F0AC-90BD-ADD8-052011023FC3}"/>
                  </a:ext>
                </a:extLst>
              </p:cNvPr>
              <p:cNvGrpSpPr>
                <a:grpSpLocks/>
              </p:cNvGrpSpPr>
              <p:nvPr/>
            </p:nvGrpSpPr>
            <p:grpSpPr bwMode="gray">
              <a:xfrm>
                <a:off x="700982" y="2057719"/>
                <a:ext cx="217142" cy="217142"/>
                <a:chOff x="902726" y="2750836"/>
                <a:chExt cx="330948" cy="330948"/>
              </a:xfrm>
              <a:grpFill/>
            </p:grpSpPr>
            <p:sp>
              <p:nvSpPr>
                <p:cNvPr id="712" name="dfine_grid_single_shape_frame">
                  <a:extLst>
                    <a:ext uri="{FF2B5EF4-FFF2-40B4-BE49-F238E27FC236}">
                      <a16:creationId xmlns:a16="http://schemas.microsoft.com/office/drawing/2014/main" id="{41CE2A1A-BA87-C871-EDB0-0740E28015FC}"/>
                    </a:ext>
                  </a:extLst>
                </p:cNvPr>
                <p:cNvSpPr>
                  <a:spLocks/>
                </p:cNvSpPr>
                <p:nvPr/>
              </p:nvSpPr>
              <p:spPr bwMode="gray">
                <a:xfrm>
                  <a:off x="902726"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13" name="Triangle_1">
                  <a:extLst>
                    <a:ext uri="{FF2B5EF4-FFF2-40B4-BE49-F238E27FC236}">
                      <a16:creationId xmlns:a16="http://schemas.microsoft.com/office/drawing/2014/main" id="{4A972BF2-3704-3876-F4BF-C1E7A43ADC1A}"/>
                    </a:ext>
                  </a:extLst>
                </p:cNvPr>
                <p:cNvSpPr>
                  <a:spLocks/>
                </p:cNvSpPr>
                <p:nvPr/>
              </p:nvSpPr>
              <p:spPr bwMode="gray">
                <a:xfrm rot="10800000">
                  <a:off x="902726"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14" name="Triangle_2">
                  <a:extLst>
                    <a:ext uri="{FF2B5EF4-FFF2-40B4-BE49-F238E27FC236}">
                      <a16:creationId xmlns:a16="http://schemas.microsoft.com/office/drawing/2014/main" id="{7AE37C15-F4BD-7A13-73E5-B6F527F5E59D}"/>
                    </a:ext>
                  </a:extLst>
                </p:cNvPr>
                <p:cNvSpPr>
                  <a:spLocks/>
                </p:cNvSpPr>
                <p:nvPr/>
              </p:nvSpPr>
              <p:spPr bwMode="gray">
                <a:xfrm>
                  <a:off x="902726"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15" name="Triangle_3">
                  <a:extLst>
                    <a:ext uri="{FF2B5EF4-FFF2-40B4-BE49-F238E27FC236}">
                      <a16:creationId xmlns:a16="http://schemas.microsoft.com/office/drawing/2014/main" id="{4AB984ED-EAE1-7F31-8936-14173F5BD937}"/>
                    </a:ext>
                  </a:extLst>
                </p:cNvPr>
                <p:cNvSpPr>
                  <a:spLocks/>
                </p:cNvSpPr>
                <p:nvPr/>
              </p:nvSpPr>
              <p:spPr bwMode="gray">
                <a:xfrm rot="5400000">
                  <a:off x="819989"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16" name="Triangle_4">
                  <a:extLst>
                    <a:ext uri="{FF2B5EF4-FFF2-40B4-BE49-F238E27FC236}">
                      <a16:creationId xmlns:a16="http://schemas.microsoft.com/office/drawing/2014/main" id="{4951837D-38F3-756D-EDCB-F0D7DA1F6D36}"/>
                    </a:ext>
                  </a:extLst>
                </p:cNvPr>
                <p:cNvSpPr>
                  <a:spLocks/>
                </p:cNvSpPr>
                <p:nvPr/>
              </p:nvSpPr>
              <p:spPr bwMode="gray">
                <a:xfrm rot="16200000">
                  <a:off x="98546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3" name="Group 12">
                <a:extLst>
                  <a:ext uri="{FF2B5EF4-FFF2-40B4-BE49-F238E27FC236}">
                    <a16:creationId xmlns:a16="http://schemas.microsoft.com/office/drawing/2014/main" id="{6215BF49-CEAA-09AA-73C1-001AC8389AF7}"/>
                  </a:ext>
                </a:extLst>
              </p:cNvPr>
              <p:cNvGrpSpPr>
                <a:grpSpLocks/>
              </p:cNvGrpSpPr>
              <p:nvPr/>
            </p:nvGrpSpPr>
            <p:grpSpPr bwMode="gray">
              <a:xfrm>
                <a:off x="700982" y="2274860"/>
                <a:ext cx="217142" cy="217142"/>
                <a:chOff x="902726" y="3081783"/>
                <a:chExt cx="330948" cy="330948"/>
              </a:xfrm>
              <a:grpFill/>
            </p:grpSpPr>
            <p:sp>
              <p:nvSpPr>
                <p:cNvPr id="707" name="dfine_grid_single_shape_frame">
                  <a:extLst>
                    <a:ext uri="{FF2B5EF4-FFF2-40B4-BE49-F238E27FC236}">
                      <a16:creationId xmlns:a16="http://schemas.microsoft.com/office/drawing/2014/main" id="{BB7F717C-0A93-2A5B-AA76-9AF3D6DBDD59}"/>
                    </a:ext>
                  </a:extLst>
                </p:cNvPr>
                <p:cNvSpPr>
                  <a:spLocks/>
                </p:cNvSpPr>
                <p:nvPr/>
              </p:nvSpPr>
              <p:spPr bwMode="gray">
                <a:xfrm>
                  <a:off x="902726"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08" name="Triangle_1">
                  <a:extLst>
                    <a:ext uri="{FF2B5EF4-FFF2-40B4-BE49-F238E27FC236}">
                      <a16:creationId xmlns:a16="http://schemas.microsoft.com/office/drawing/2014/main" id="{136E5829-EA7B-76A2-76E0-950F9801A056}"/>
                    </a:ext>
                  </a:extLst>
                </p:cNvPr>
                <p:cNvSpPr>
                  <a:spLocks/>
                </p:cNvSpPr>
                <p:nvPr/>
              </p:nvSpPr>
              <p:spPr bwMode="gray">
                <a:xfrm rot="10800000">
                  <a:off x="902726"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09" name="Triangle_2">
                  <a:extLst>
                    <a:ext uri="{FF2B5EF4-FFF2-40B4-BE49-F238E27FC236}">
                      <a16:creationId xmlns:a16="http://schemas.microsoft.com/office/drawing/2014/main" id="{E7E05B41-2188-C64F-D66B-D8A7D733ACFF}"/>
                    </a:ext>
                  </a:extLst>
                </p:cNvPr>
                <p:cNvSpPr>
                  <a:spLocks/>
                </p:cNvSpPr>
                <p:nvPr/>
              </p:nvSpPr>
              <p:spPr bwMode="gray">
                <a:xfrm>
                  <a:off x="902726"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10" name="Triangle_3">
                  <a:extLst>
                    <a:ext uri="{FF2B5EF4-FFF2-40B4-BE49-F238E27FC236}">
                      <a16:creationId xmlns:a16="http://schemas.microsoft.com/office/drawing/2014/main" id="{B41A58ED-0D06-8396-0795-98321F1A5F21}"/>
                    </a:ext>
                  </a:extLst>
                </p:cNvPr>
                <p:cNvSpPr>
                  <a:spLocks/>
                </p:cNvSpPr>
                <p:nvPr/>
              </p:nvSpPr>
              <p:spPr bwMode="gray">
                <a:xfrm rot="5400000">
                  <a:off x="819989"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11" name="Triangle_4">
                  <a:extLst>
                    <a:ext uri="{FF2B5EF4-FFF2-40B4-BE49-F238E27FC236}">
                      <a16:creationId xmlns:a16="http://schemas.microsoft.com/office/drawing/2014/main" id="{88EADA67-B9D7-194D-364D-A1A3C3B4DAD7}"/>
                    </a:ext>
                  </a:extLst>
                </p:cNvPr>
                <p:cNvSpPr>
                  <a:spLocks/>
                </p:cNvSpPr>
                <p:nvPr/>
              </p:nvSpPr>
              <p:spPr bwMode="gray">
                <a:xfrm rot="16200000">
                  <a:off x="98546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4" name="Group 13">
                <a:extLst>
                  <a:ext uri="{FF2B5EF4-FFF2-40B4-BE49-F238E27FC236}">
                    <a16:creationId xmlns:a16="http://schemas.microsoft.com/office/drawing/2014/main" id="{884454F0-67B9-4843-8D07-3CA9569F57AF}"/>
                  </a:ext>
                </a:extLst>
              </p:cNvPr>
              <p:cNvGrpSpPr>
                <a:grpSpLocks/>
              </p:cNvGrpSpPr>
              <p:nvPr/>
            </p:nvGrpSpPr>
            <p:grpSpPr bwMode="gray">
              <a:xfrm>
                <a:off x="700982" y="2492001"/>
                <a:ext cx="217142" cy="217142"/>
                <a:chOff x="902726" y="3412730"/>
                <a:chExt cx="330948" cy="330948"/>
              </a:xfrm>
              <a:grpFill/>
            </p:grpSpPr>
            <p:sp>
              <p:nvSpPr>
                <p:cNvPr id="702" name="dfine_grid_single_shape_frame">
                  <a:extLst>
                    <a:ext uri="{FF2B5EF4-FFF2-40B4-BE49-F238E27FC236}">
                      <a16:creationId xmlns:a16="http://schemas.microsoft.com/office/drawing/2014/main" id="{5C2F70FF-F397-CA95-6015-0A15C45BE6F3}"/>
                    </a:ext>
                  </a:extLst>
                </p:cNvPr>
                <p:cNvSpPr>
                  <a:spLocks/>
                </p:cNvSpPr>
                <p:nvPr/>
              </p:nvSpPr>
              <p:spPr bwMode="gray">
                <a:xfrm>
                  <a:off x="902726"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03" name="Triangle_1">
                  <a:extLst>
                    <a:ext uri="{FF2B5EF4-FFF2-40B4-BE49-F238E27FC236}">
                      <a16:creationId xmlns:a16="http://schemas.microsoft.com/office/drawing/2014/main" id="{E04F95BD-67A0-9CDE-531F-D9ACD0892172}"/>
                    </a:ext>
                  </a:extLst>
                </p:cNvPr>
                <p:cNvSpPr>
                  <a:spLocks/>
                </p:cNvSpPr>
                <p:nvPr/>
              </p:nvSpPr>
              <p:spPr bwMode="gray">
                <a:xfrm rot="10800000">
                  <a:off x="902726"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04" name="Triangle_2">
                  <a:extLst>
                    <a:ext uri="{FF2B5EF4-FFF2-40B4-BE49-F238E27FC236}">
                      <a16:creationId xmlns:a16="http://schemas.microsoft.com/office/drawing/2014/main" id="{35D68398-4CFC-2AFF-0BE6-BD98CD76A300}"/>
                    </a:ext>
                  </a:extLst>
                </p:cNvPr>
                <p:cNvSpPr>
                  <a:spLocks/>
                </p:cNvSpPr>
                <p:nvPr/>
              </p:nvSpPr>
              <p:spPr bwMode="gray">
                <a:xfrm>
                  <a:off x="902726"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05" name="Triangle_3">
                  <a:extLst>
                    <a:ext uri="{FF2B5EF4-FFF2-40B4-BE49-F238E27FC236}">
                      <a16:creationId xmlns:a16="http://schemas.microsoft.com/office/drawing/2014/main" id="{C3EE54A5-5185-9FF6-7397-42114513D7B1}"/>
                    </a:ext>
                  </a:extLst>
                </p:cNvPr>
                <p:cNvSpPr>
                  <a:spLocks/>
                </p:cNvSpPr>
                <p:nvPr/>
              </p:nvSpPr>
              <p:spPr bwMode="gray">
                <a:xfrm rot="5400000">
                  <a:off x="819989"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06" name="Triangle_4">
                  <a:extLst>
                    <a:ext uri="{FF2B5EF4-FFF2-40B4-BE49-F238E27FC236}">
                      <a16:creationId xmlns:a16="http://schemas.microsoft.com/office/drawing/2014/main" id="{A02AB896-FABF-F7A4-7441-FDAAAB3B3A96}"/>
                    </a:ext>
                  </a:extLst>
                </p:cNvPr>
                <p:cNvSpPr>
                  <a:spLocks/>
                </p:cNvSpPr>
                <p:nvPr/>
              </p:nvSpPr>
              <p:spPr bwMode="gray">
                <a:xfrm rot="16200000">
                  <a:off x="98546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 name="Group 14">
                <a:extLst>
                  <a:ext uri="{FF2B5EF4-FFF2-40B4-BE49-F238E27FC236}">
                    <a16:creationId xmlns:a16="http://schemas.microsoft.com/office/drawing/2014/main" id="{3E5B1B12-3C5D-7CF4-A0BE-7D895B6E7161}"/>
                  </a:ext>
                </a:extLst>
              </p:cNvPr>
              <p:cNvGrpSpPr>
                <a:grpSpLocks/>
              </p:cNvGrpSpPr>
              <p:nvPr/>
            </p:nvGrpSpPr>
            <p:grpSpPr bwMode="gray">
              <a:xfrm>
                <a:off x="700982" y="2709142"/>
                <a:ext cx="217142" cy="217142"/>
                <a:chOff x="902726" y="3743677"/>
                <a:chExt cx="330948" cy="330948"/>
              </a:xfrm>
              <a:grpFill/>
            </p:grpSpPr>
            <p:sp>
              <p:nvSpPr>
                <p:cNvPr id="697" name="dfine_grid_single_shape_frame">
                  <a:extLst>
                    <a:ext uri="{FF2B5EF4-FFF2-40B4-BE49-F238E27FC236}">
                      <a16:creationId xmlns:a16="http://schemas.microsoft.com/office/drawing/2014/main" id="{7329A981-3D01-00D9-4E73-DACD51445A42}"/>
                    </a:ext>
                  </a:extLst>
                </p:cNvPr>
                <p:cNvSpPr>
                  <a:spLocks/>
                </p:cNvSpPr>
                <p:nvPr/>
              </p:nvSpPr>
              <p:spPr bwMode="gray">
                <a:xfrm>
                  <a:off x="902726"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98" name="Triangle_1">
                  <a:extLst>
                    <a:ext uri="{FF2B5EF4-FFF2-40B4-BE49-F238E27FC236}">
                      <a16:creationId xmlns:a16="http://schemas.microsoft.com/office/drawing/2014/main" id="{ED3833AF-DDA0-9799-B13C-D94AB5FB22AC}"/>
                    </a:ext>
                  </a:extLst>
                </p:cNvPr>
                <p:cNvSpPr>
                  <a:spLocks/>
                </p:cNvSpPr>
                <p:nvPr/>
              </p:nvSpPr>
              <p:spPr bwMode="gray">
                <a:xfrm rot="10800000">
                  <a:off x="902726"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99" name="Triangle_2">
                  <a:extLst>
                    <a:ext uri="{FF2B5EF4-FFF2-40B4-BE49-F238E27FC236}">
                      <a16:creationId xmlns:a16="http://schemas.microsoft.com/office/drawing/2014/main" id="{6F228461-B8FD-9A5D-8619-E6F812598671}"/>
                    </a:ext>
                  </a:extLst>
                </p:cNvPr>
                <p:cNvSpPr>
                  <a:spLocks/>
                </p:cNvSpPr>
                <p:nvPr/>
              </p:nvSpPr>
              <p:spPr bwMode="gray">
                <a:xfrm>
                  <a:off x="902726"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00" name="Triangle_3">
                  <a:extLst>
                    <a:ext uri="{FF2B5EF4-FFF2-40B4-BE49-F238E27FC236}">
                      <a16:creationId xmlns:a16="http://schemas.microsoft.com/office/drawing/2014/main" id="{E42E3E10-AA83-77DC-9001-4C23946EF377}"/>
                    </a:ext>
                  </a:extLst>
                </p:cNvPr>
                <p:cNvSpPr>
                  <a:spLocks/>
                </p:cNvSpPr>
                <p:nvPr/>
              </p:nvSpPr>
              <p:spPr bwMode="gray">
                <a:xfrm rot="5400000">
                  <a:off x="819989"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701" name="Triangle_4">
                  <a:extLst>
                    <a:ext uri="{FF2B5EF4-FFF2-40B4-BE49-F238E27FC236}">
                      <a16:creationId xmlns:a16="http://schemas.microsoft.com/office/drawing/2014/main" id="{9EAC5EA7-A62E-E4F8-D37E-AE56E28DAD64}"/>
                    </a:ext>
                  </a:extLst>
                </p:cNvPr>
                <p:cNvSpPr>
                  <a:spLocks/>
                </p:cNvSpPr>
                <p:nvPr/>
              </p:nvSpPr>
              <p:spPr bwMode="gray">
                <a:xfrm rot="16200000">
                  <a:off x="98546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 name="Group 15">
                <a:extLst>
                  <a:ext uri="{FF2B5EF4-FFF2-40B4-BE49-F238E27FC236}">
                    <a16:creationId xmlns:a16="http://schemas.microsoft.com/office/drawing/2014/main" id="{DCB06465-E44A-3E2C-A544-EEF8B61F8A79}"/>
                  </a:ext>
                </a:extLst>
              </p:cNvPr>
              <p:cNvGrpSpPr>
                <a:grpSpLocks/>
              </p:cNvGrpSpPr>
              <p:nvPr/>
            </p:nvGrpSpPr>
            <p:grpSpPr bwMode="gray">
              <a:xfrm>
                <a:off x="700982" y="2926283"/>
                <a:ext cx="217142" cy="217142"/>
                <a:chOff x="902726" y="4074624"/>
                <a:chExt cx="330948" cy="330948"/>
              </a:xfrm>
              <a:grpFill/>
            </p:grpSpPr>
            <p:sp>
              <p:nvSpPr>
                <p:cNvPr id="692" name="dfine_grid_single_shape_frame">
                  <a:extLst>
                    <a:ext uri="{FF2B5EF4-FFF2-40B4-BE49-F238E27FC236}">
                      <a16:creationId xmlns:a16="http://schemas.microsoft.com/office/drawing/2014/main" id="{46C30862-6007-7CC9-6B34-08A9CCBECE79}"/>
                    </a:ext>
                  </a:extLst>
                </p:cNvPr>
                <p:cNvSpPr>
                  <a:spLocks/>
                </p:cNvSpPr>
                <p:nvPr/>
              </p:nvSpPr>
              <p:spPr bwMode="gray">
                <a:xfrm>
                  <a:off x="902726"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93" name="Triangle_1">
                  <a:extLst>
                    <a:ext uri="{FF2B5EF4-FFF2-40B4-BE49-F238E27FC236}">
                      <a16:creationId xmlns:a16="http://schemas.microsoft.com/office/drawing/2014/main" id="{371E959C-C14F-C2EA-5CC3-4D8825BEDB86}"/>
                    </a:ext>
                  </a:extLst>
                </p:cNvPr>
                <p:cNvSpPr>
                  <a:spLocks/>
                </p:cNvSpPr>
                <p:nvPr/>
              </p:nvSpPr>
              <p:spPr bwMode="gray">
                <a:xfrm rot="10800000">
                  <a:off x="902726"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94" name="Triangle_2">
                  <a:extLst>
                    <a:ext uri="{FF2B5EF4-FFF2-40B4-BE49-F238E27FC236}">
                      <a16:creationId xmlns:a16="http://schemas.microsoft.com/office/drawing/2014/main" id="{150EDD1D-FC54-7FF6-C23D-8291802EED5B}"/>
                    </a:ext>
                  </a:extLst>
                </p:cNvPr>
                <p:cNvSpPr>
                  <a:spLocks/>
                </p:cNvSpPr>
                <p:nvPr/>
              </p:nvSpPr>
              <p:spPr bwMode="gray">
                <a:xfrm>
                  <a:off x="902726"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95" name="Triangle_3">
                  <a:extLst>
                    <a:ext uri="{FF2B5EF4-FFF2-40B4-BE49-F238E27FC236}">
                      <a16:creationId xmlns:a16="http://schemas.microsoft.com/office/drawing/2014/main" id="{8849918B-7BED-E85E-8973-A7096810D4D4}"/>
                    </a:ext>
                  </a:extLst>
                </p:cNvPr>
                <p:cNvSpPr>
                  <a:spLocks/>
                </p:cNvSpPr>
                <p:nvPr/>
              </p:nvSpPr>
              <p:spPr bwMode="gray">
                <a:xfrm rot="5400000">
                  <a:off x="819989"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96" name="Triangle_4">
                  <a:extLst>
                    <a:ext uri="{FF2B5EF4-FFF2-40B4-BE49-F238E27FC236}">
                      <a16:creationId xmlns:a16="http://schemas.microsoft.com/office/drawing/2014/main" id="{6CDB946E-4767-4D55-ED9E-DA1FEBF15519}"/>
                    </a:ext>
                  </a:extLst>
                </p:cNvPr>
                <p:cNvSpPr>
                  <a:spLocks/>
                </p:cNvSpPr>
                <p:nvPr/>
              </p:nvSpPr>
              <p:spPr bwMode="gray">
                <a:xfrm rot="16200000">
                  <a:off x="98546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7" name="Group 16">
                <a:extLst>
                  <a:ext uri="{FF2B5EF4-FFF2-40B4-BE49-F238E27FC236}">
                    <a16:creationId xmlns:a16="http://schemas.microsoft.com/office/drawing/2014/main" id="{F25C4E87-0F0A-E8D4-C3A1-E09BA21D10F8}"/>
                  </a:ext>
                </a:extLst>
              </p:cNvPr>
              <p:cNvGrpSpPr>
                <a:grpSpLocks/>
              </p:cNvGrpSpPr>
              <p:nvPr/>
            </p:nvGrpSpPr>
            <p:grpSpPr bwMode="gray">
              <a:xfrm>
                <a:off x="918123" y="1623437"/>
                <a:ext cx="217142" cy="217142"/>
                <a:chOff x="1233673" y="2088942"/>
                <a:chExt cx="330948" cy="330948"/>
              </a:xfrm>
              <a:grpFill/>
            </p:grpSpPr>
            <p:sp>
              <p:nvSpPr>
                <p:cNvPr id="687" name="dfine_grid_single_shape_frame">
                  <a:extLst>
                    <a:ext uri="{FF2B5EF4-FFF2-40B4-BE49-F238E27FC236}">
                      <a16:creationId xmlns:a16="http://schemas.microsoft.com/office/drawing/2014/main" id="{083E3F49-177B-AC2E-BC6F-6572E0362D54}"/>
                    </a:ext>
                  </a:extLst>
                </p:cNvPr>
                <p:cNvSpPr>
                  <a:spLocks/>
                </p:cNvSpPr>
                <p:nvPr/>
              </p:nvSpPr>
              <p:spPr bwMode="gray">
                <a:xfrm>
                  <a:off x="1233673"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88" name="Triangle_1">
                  <a:extLst>
                    <a:ext uri="{FF2B5EF4-FFF2-40B4-BE49-F238E27FC236}">
                      <a16:creationId xmlns:a16="http://schemas.microsoft.com/office/drawing/2014/main" id="{AA83508F-883C-D7CD-F867-121771468B32}"/>
                    </a:ext>
                  </a:extLst>
                </p:cNvPr>
                <p:cNvSpPr>
                  <a:spLocks/>
                </p:cNvSpPr>
                <p:nvPr/>
              </p:nvSpPr>
              <p:spPr bwMode="gray">
                <a:xfrm rot="10800000">
                  <a:off x="1233673"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89" name="Triangle_2">
                  <a:extLst>
                    <a:ext uri="{FF2B5EF4-FFF2-40B4-BE49-F238E27FC236}">
                      <a16:creationId xmlns:a16="http://schemas.microsoft.com/office/drawing/2014/main" id="{610F4671-0D86-1B19-4490-D46CD5050A64}"/>
                    </a:ext>
                  </a:extLst>
                </p:cNvPr>
                <p:cNvSpPr>
                  <a:spLocks/>
                </p:cNvSpPr>
                <p:nvPr/>
              </p:nvSpPr>
              <p:spPr bwMode="gray">
                <a:xfrm>
                  <a:off x="1233673"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90" name="Triangle_3">
                  <a:extLst>
                    <a:ext uri="{FF2B5EF4-FFF2-40B4-BE49-F238E27FC236}">
                      <a16:creationId xmlns:a16="http://schemas.microsoft.com/office/drawing/2014/main" id="{E3CF1F48-A4A1-527A-4BF0-38F04271D11C}"/>
                    </a:ext>
                  </a:extLst>
                </p:cNvPr>
                <p:cNvSpPr>
                  <a:spLocks/>
                </p:cNvSpPr>
                <p:nvPr/>
              </p:nvSpPr>
              <p:spPr bwMode="gray">
                <a:xfrm rot="5400000">
                  <a:off x="1150936"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91" name="Triangle_4">
                  <a:extLst>
                    <a:ext uri="{FF2B5EF4-FFF2-40B4-BE49-F238E27FC236}">
                      <a16:creationId xmlns:a16="http://schemas.microsoft.com/office/drawing/2014/main" id="{7807CB56-09DB-76A8-9C8B-46E35DAD435C}"/>
                    </a:ext>
                  </a:extLst>
                </p:cNvPr>
                <p:cNvSpPr>
                  <a:spLocks/>
                </p:cNvSpPr>
                <p:nvPr/>
              </p:nvSpPr>
              <p:spPr bwMode="gray">
                <a:xfrm rot="16200000">
                  <a:off x="1316410"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8" name="Group 17">
                <a:extLst>
                  <a:ext uri="{FF2B5EF4-FFF2-40B4-BE49-F238E27FC236}">
                    <a16:creationId xmlns:a16="http://schemas.microsoft.com/office/drawing/2014/main" id="{549FC2A5-7690-8295-733F-FEA5D60524CC}"/>
                  </a:ext>
                </a:extLst>
              </p:cNvPr>
              <p:cNvGrpSpPr>
                <a:grpSpLocks/>
              </p:cNvGrpSpPr>
              <p:nvPr/>
            </p:nvGrpSpPr>
            <p:grpSpPr bwMode="gray">
              <a:xfrm>
                <a:off x="918123" y="1840578"/>
                <a:ext cx="217142" cy="217142"/>
                <a:chOff x="1233673" y="2419889"/>
                <a:chExt cx="330948" cy="330948"/>
              </a:xfrm>
              <a:grpFill/>
            </p:grpSpPr>
            <p:sp>
              <p:nvSpPr>
                <p:cNvPr id="682" name="dfine_grid_single_shape_frame">
                  <a:extLst>
                    <a:ext uri="{FF2B5EF4-FFF2-40B4-BE49-F238E27FC236}">
                      <a16:creationId xmlns:a16="http://schemas.microsoft.com/office/drawing/2014/main" id="{1D018474-091E-8B78-5D02-BB918FA3C57F}"/>
                    </a:ext>
                  </a:extLst>
                </p:cNvPr>
                <p:cNvSpPr>
                  <a:spLocks/>
                </p:cNvSpPr>
                <p:nvPr/>
              </p:nvSpPr>
              <p:spPr bwMode="gray">
                <a:xfrm>
                  <a:off x="1233673"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83" name="Triangle_1">
                  <a:extLst>
                    <a:ext uri="{FF2B5EF4-FFF2-40B4-BE49-F238E27FC236}">
                      <a16:creationId xmlns:a16="http://schemas.microsoft.com/office/drawing/2014/main" id="{87FBB1EA-13C3-4CBE-FFCF-3D794D56BFF9}"/>
                    </a:ext>
                  </a:extLst>
                </p:cNvPr>
                <p:cNvSpPr>
                  <a:spLocks/>
                </p:cNvSpPr>
                <p:nvPr/>
              </p:nvSpPr>
              <p:spPr bwMode="gray">
                <a:xfrm rot="10800000">
                  <a:off x="1233673"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84" name="Triangle_2">
                  <a:extLst>
                    <a:ext uri="{FF2B5EF4-FFF2-40B4-BE49-F238E27FC236}">
                      <a16:creationId xmlns:a16="http://schemas.microsoft.com/office/drawing/2014/main" id="{73320EB1-9FD5-F4EC-8FCA-579D754261FB}"/>
                    </a:ext>
                  </a:extLst>
                </p:cNvPr>
                <p:cNvSpPr>
                  <a:spLocks/>
                </p:cNvSpPr>
                <p:nvPr/>
              </p:nvSpPr>
              <p:spPr bwMode="gray">
                <a:xfrm>
                  <a:off x="1233673"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85" name="Triangle_3">
                  <a:extLst>
                    <a:ext uri="{FF2B5EF4-FFF2-40B4-BE49-F238E27FC236}">
                      <a16:creationId xmlns:a16="http://schemas.microsoft.com/office/drawing/2014/main" id="{9B70DE90-CFB0-588D-6302-5027F43FEA13}"/>
                    </a:ext>
                  </a:extLst>
                </p:cNvPr>
                <p:cNvSpPr>
                  <a:spLocks/>
                </p:cNvSpPr>
                <p:nvPr/>
              </p:nvSpPr>
              <p:spPr bwMode="gray">
                <a:xfrm rot="5400000">
                  <a:off x="1150936"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86" name="Triangle_4">
                  <a:extLst>
                    <a:ext uri="{FF2B5EF4-FFF2-40B4-BE49-F238E27FC236}">
                      <a16:creationId xmlns:a16="http://schemas.microsoft.com/office/drawing/2014/main" id="{8F261BA6-F475-24CC-4EAF-FE3CB0D088F1}"/>
                    </a:ext>
                  </a:extLst>
                </p:cNvPr>
                <p:cNvSpPr>
                  <a:spLocks/>
                </p:cNvSpPr>
                <p:nvPr/>
              </p:nvSpPr>
              <p:spPr bwMode="gray">
                <a:xfrm rot="16200000">
                  <a:off x="1316410"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9" name="Group 18">
                <a:extLst>
                  <a:ext uri="{FF2B5EF4-FFF2-40B4-BE49-F238E27FC236}">
                    <a16:creationId xmlns:a16="http://schemas.microsoft.com/office/drawing/2014/main" id="{78285B4D-9BDF-A819-E3BB-4A96E39657EA}"/>
                  </a:ext>
                </a:extLst>
              </p:cNvPr>
              <p:cNvGrpSpPr>
                <a:grpSpLocks/>
              </p:cNvGrpSpPr>
              <p:nvPr/>
            </p:nvGrpSpPr>
            <p:grpSpPr bwMode="gray">
              <a:xfrm>
                <a:off x="918123" y="2057719"/>
                <a:ext cx="217142" cy="217142"/>
                <a:chOff x="1233673" y="2750836"/>
                <a:chExt cx="330948" cy="330948"/>
              </a:xfrm>
              <a:grpFill/>
            </p:grpSpPr>
            <p:sp>
              <p:nvSpPr>
                <p:cNvPr id="677" name="dfine_grid_single_shape_frame">
                  <a:extLst>
                    <a:ext uri="{FF2B5EF4-FFF2-40B4-BE49-F238E27FC236}">
                      <a16:creationId xmlns:a16="http://schemas.microsoft.com/office/drawing/2014/main" id="{CCDD859C-68C7-83D9-F066-5DDF06545F87}"/>
                    </a:ext>
                  </a:extLst>
                </p:cNvPr>
                <p:cNvSpPr>
                  <a:spLocks/>
                </p:cNvSpPr>
                <p:nvPr/>
              </p:nvSpPr>
              <p:spPr bwMode="gray">
                <a:xfrm>
                  <a:off x="1233673"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78" name="Triangle_1">
                  <a:extLst>
                    <a:ext uri="{FF2B5EF4-FFF2-40B4-BE49-F238E27FC236}">
                      <a16:creationId xmlns:a16="http://schemas.microsoft.com/office/drawing/2014/main" id="{BD712977-9725-2A23-A7BC-613026DE2E2A}"/>
                    </a:ext>
                  </a:extLst>
                </p:cNvPr>
                <p:cNvSpPr>
                  <a:spLocks/>
                </p:cNvSpPr>
                <p:nvPr/>
              </p:nvSpPr>
              <p:spPr bwMode="gray">
                <a:xfrm rot="10800000">
                  <a:off x="1233673"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79" name="Triangle_2">
                  <a:extLst>
                    <a:ext uri="{FF2B5EF4-FFF2-40B4-BE49-F238E27FC236}">
                      <a16:creationId xmlns:a16="http://schemas.microsoft.com/office/drawing/2014/main" id="{92724F6E-3960-F6B6-59F2-C6AC5CAF0ECD}"/>
                    </a:ext>
                  </a:extLst>
                </p:cNvPr>
                <p:cNvSpPr>
                  <a:spLocks/>
                </p:cNvSpPr>
                <p:nvPr/>
              </p:nvSpPr>
              <p:spPr bwMode="gray">
                <a:xfrm>
                  <a:off x="1233673"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80" name="Triangle_3">
                  <a:extLst>
                    <a:ext uri="{FF2B5EF4-FFF2-40B4-BE49-F238E27FC236}">
                      <a16:creationId xmlns:a16="http://schemas.microsoft.com/office/drawing/2014/main" id="{21AE7D7D-A87E-2F73-2DB9-27D7D6E651C8}"/>
                    </a:ext>
                  </a:extLst>
                </p:cNvPr>
                <p:cNvSpPr>
                  <a:spLocks/>
                </p:cNvSpPr>
                <p:nvPr/>
              </p:nvSpPr>
              <p:spPr bwMode="gray">
                <a:xfrm rot="5400000">
                  <a:off x="1150936"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81" name="Triangle_4">
                  <a:extLst>
                    <a:ext uri="{FF2B5EF4-FFF2-40B4-BE49-F238E27FC236}">
                      <a16:creationId xmlns:a16="http://schemas.microsoft.com/office/drawing/2014/main" id="{83ADF37C-8731-E992-31D0-CEDFA69820E3}"/>
                    </a:ext>
                  </a:extLst>
                </p:cNvPr>
                <p:cNvSpPr>
                  <a:spLocks/>
                </p:cNvSpPr>
                <p:nvPr/>
              </p:nvSpPr>
              <p:spPr bwMode="gray">
                <a:xfrm rot="16200000">
                  <a:off x="1316410"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0" name="Group 19">
                <a:extLst>
                  <a:ext uri="{FF2B5EF4-FFF2-40B4-BE49-F238E27FC236}">
                    <a16:creationId xmlns:a16="http://schemas.microsoft.com/office/drawing/2014/main" id="{7B7860F8-28E7-297F-9D27-8B6F49A8227F}"/>
                  </a:ext>
                </a:extLst>
              </p:cNvPr>
              <p:cNvGrpSpPr>
                <a:grpSpLocks/>
              </p:cNvGrpSpPr>
              <p:nvPr/>
            </p:nvGrpSpPr>
            <p:grpSpPr bwMode="gray">
              <a:xfrm>
                <a:off x="918123" y="2274860"/>
                <a:ext cx="217142" cy="217142"/>
                <a:chOff x="1233673" y="3081783"/>
                <a:chExt cx="330948" cy="330948"/>
              </a:xfrm>
              <a:grpFill/>
            </p:grpSpPr>
            <p:sp>
              <p:nvSpPr>
                <p:cNvPr id="672" name="dfine_grid_single_shape_frame">
                  <a:extLst>
                    <a:ext uri="{FF2B5EF4-FFF2-40B4-BE49-F238E27FC236}">
                      <a16:creationId xmlns:a16="http://schemas.microsoft.com/office/drawing/2014/main" id="{302EC8B4-2152-735C-4131-340441163CDF}"/>
                    </a:ext>
                  </a:extLst>
                </p:cNvPr>
                <p:cNvSpPr>
                  <a:spLocks/>
                </p:cNvSpPr>
                <p:nvPr/>
              </p:nvSpPr>
              <p:spPr bwMode="gray">
                <a:xfrm>
                  <a:off x="1233673"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73" name="Triangle_1">
                  <a:extLst>
                    <a:ext uri="{FF2B5EF4-FFF2-40B4-BE49-F238E27FC236}">
                      <a16:creationId xmlns:a16="http://schemas.microsoft.com/office/drawing/2014/main" id="{CCFE4139-3C8B-9EE5-AEAB-BD917D1CCDB9}"/>
                    </a:ext>
                  </a:extLst>
                </p:cNvPr>
                <p:cNvSpPr>
                  <a:spLocks/>
                </p:cNvSpPr>
                <p:nvPr/>
              </p:nvSpPr>
              <p:spPr bwMode="gray">
                <a:xfrm rot="10800000">
                  <a:off x="1233673"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74" name="Triangle_2">
                  <a:extLst>
                    <a:ext uri="{FF2B5EF4-FFF2-40B4-BE49-F238E27FC236}">
                      <a16:creationId xmlns:a16="http://schemas.microsoft.com/office/drawing/2014/main" id="{3E9EBFBA-504C-22E3-366E-FFA3045DF7EB}"/>
                    </a:ext>
                  </a:extLst>
                </p:cNvPr>
                <p:cNvSpPr>
                  <a:spLocks/>
                </p:cNvSpPr>
                <p:nvPr/>
              </p:nvSpPr>
              <p:spPr bwMode="gray">
                <a:xfrm>
                  <a:off x="1233673"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75" name="Triangle_3">
                  <a:extLst>
                    <a:ext uri="{FF2B5EF4-FFF2-40B4-BE49-F238E27FC236}">
                      <a16:creationId xmlns:a16="http://schemas.microsoft.com/office/drawing/2014/main" id="{BD605794-8FE4-E034-4C96-A496568E7B88}"/>
                    </a:ext>
                  </a:extLst>
                </p:cNvPr>
                <p:cNvSpPr>
                  <a:spLocks/>
                </p:cNvSpPr>
                <p:nvPr/>
              </p:nvSpPr>
              <p:spPr bwMode="gray">
                <a:xfrm rot="5400000">
                  <a:off x="1150936"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76" name="Triangle_4">
                  <a:extLst>
                    <a:ext uri="{FF2B5EF4-FFF2-40B4-BE49-F238E27FC236}">
                      <a16:creationId xmlns:a16="http://schemas.microsoft.com/office/drawing/2014/main" id="{520EFAD0-8D26-C1C1-3639-68292D5FABC1}"/>
                    </a:ext>
                  </a:extLst>
                </p:cNvPr>
                <p:cNvSpPr>
                  <a:spLocks/>
                </p:cNvSpPr>
                <p:nvPr/>
              </p:nvSpPr>
              <p:spPr bwMode="gray">
                <a:xfrm rot="16200000">
                  <a:off x="1316410"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1" name="Group 20">
                <a:extLst>
                  <a:ext uri="{FF2B5EF4-FFF2-40B4-BE49-F238E27FC236}">
                    <a16:creationId xmlns:a16="http://schemas.microsoft.com/office/drawing/2014/main" id="{2426661E-EBDE-3D27-F802-9D8F875A88B2}"/>
                  </a:ext>
                </a:extLst>
              </p:cNvPr>
              <p:cNvGrpSpPr>
                <a:grpSpLocks/>
              </p:cNvGrpSpPr>
              <p:nvPr/>
            </p:nvGrpSpPr>
            <p:grpSpPr bwMode="gray">
              <a:xfrm>
                <a:off x="918123" y="2492001"/>
                <a:ext cx="217142" cy="217142"/>
                <a:chOff x="1233673" y="3412730"/>
                <a:chExt cx="330948" cy="330948"/>
              </a:xfrm>
              <a:grpFill/>
            </p:grpSpPr>
            <p:sp>
              <p:nvSpPr>
                <p:cNvPr id="667" name="dfine_grid_single_shape_frame">
                  <a:extLst>
                    <a:ext uri="{FF2B5EF4-FFF2-40B4-BE49-F238E27FC236}">
                      <a16:creationId xmlns:a16="http://schemas.microsoft.com/office/drawing/2014/main" id="{5E21FF8C-E40A-ECA4-6913-B8E898088191}"/>
                    </a:ext>
                  </a:extLst>
                </p:cNvPr>
                <p:cNvSpPr>
                  <a:spLocks/>
                </p:cNvSpPr>
                <p:nvPr/>
              </p:nvSpPr>
              <p:spPr bwMode="gray">
                <a:xfrm>
                  <a:off x="1233673"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68" name="Triangle_1">
                  <a:extLst>
                    <a:ext uri="{FF2B5EF4-FFF2-40B4-BE49-F238E27FC236}">
                      <a16:creationId xmlns:a16="http://schemas.microsoft.com/office/drawing/2014/main" id="{AFCB971D-02EC-A295-DAA1-F29160E368BA}"/>
                    </a:ext>
                  </a:extLst>
                </p:cNvPr>
                <p:cNvSpPr>
                  <a:spLocks/>
                </p:cNvSpPr>
                <p:nvPr/>
              </p:nvSpPr>
              <p:spPr bwMode="gray">
                <a:xfrm rot="10800000">
                  <a:off x="1233673"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69" name="Triangle_2">
                  <a:extLst>
                    <a:ext uri="{FF2B5EF4-FFF2-40B4-BE49-F238E27FC236}">
                      <a16:creationId xmlns:a16="http://schemas.microsoft.com/office/drawing/2014/main" id="{FA8840F9-64AD-005E-393E-A00585B403C1}"/>
                    </a:ext>
                  </a:extLst>
                </p:cNvPr>
                <p:cNvSpPr>
                  <a:spLocks/>
                </p:cNvSpPr>
                <p:nvPr/>
              </p:nvSpPr>
              <p:spPr bwMode="gray">
                <a:xfrm>
                  <a:off x="1233673"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70" name="Triangle_3">
                  <a:extLst>
                    <a:ext uri="{FF2B5EF4-FFF2-40B4-BE49-F238E27FC236}">
                      <a16:creationId xmlns:a16="http://schemas.microsoft.com/office/drawing/2014/main" id="{4402A1E7-3F91-533F-5367-27A33D47A64C}"/>
                    </a:ext>
                  </a:extLst>
                </p:cNvPr>
                <p:cNvSpPr>
                  <a:spLocks/>
                </p:cNvSpPr>
                <p:nvPr/>
              </p:nvSpPr>
              <p:spPr bwMode="gray">
                <a:xfrm rot="5400000">
                  <a:off x="1150936"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71" name="Triangle_4">
                  <a:extLst>
                    <a:ext uri="{FF2B5EF4-FFF2-40B4-BE49-F238E27FC236}">
                      <a16:creationId xmlns:a16="http://schemas.microsoft.com/office/drawing/2014/main" id="{68ED3BCB-D2B9-B126-3160-468E34C5970E}"/>
                    </a:ext>
                  </a:extLst>
                </p:cNvPr>
                <p:cNvSpPr>
                  <a:spLocks/>
                </p:cNvSpPr>
                <p:nvPr/>
              </p:nvSpPr>
              <p:spPr bwMode="gray">
                <a:xfrm rot="16200000">
                  <a:off x="1316410" y="3495467"/>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 name="Group 21">
                <a:extLst>
                  <a:ext uri="{FF2B5EF4-FFF2-40B4-BE49-F238E27FC236}">
                    <a16:creationId xmlns:a16="http://schemas.microsoft.com/office/drawing/2014/main" id="{1007BF45-E071-241A-A666-6376D652879B}"/>
                  </a:ext>
                </a:extLst>
              </p:cNvPr>
              <p:cNvGrpSpPr>
                <a:grpSpLocks/>
              </p:cNvGrpSpPr>
              <p:nvPr/>
            </p:nvGrpSpPr>
            <p:grpSpPr bwMode="gray">
              <a:xfrm>
                <a:off x="918123" y="2709142"/>
                <a:ext cx="217142" cy="217142"/>
                <a:chOff x="1233673" y="3743677"/>
                <a:chExt cx="330948" cy="330948"/>
              </a:xfrm>
              <a:grpFill/>
            </p:grpSpPr>
            <p:sp>
              <p:nvSpPr>
                <p:cNvPr id="662" name="dfine_grid_single_shape_frame">
                  <a:extLst>
                    <a:ext uri="{FF2B5EF4-FFF2-40B4-BE49-F238E27FC236}">
                      <a16:creationId xmlns:a16="http://schemas.microsoft.com/office/drawing/2014/main" id="{1B08AF8A-4F78-9E41-AFEC-91301E4AFA89}"/>
                    </a:ext>
                  </a:extLst>
                </p:cNvPr>
                <p:cNvSpPr>
                  <a:spLocks/>
                </p:cNvSpPr>
                <p:nvPr/>
              </p:nvSpPr>
              <p:spPr bwMode="gray">
                <a:xfrm>
                  <a:off x="1233673"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63" name="Triangle_1">
                  <a:extLst>
                    <a:ext uri="{FF2B5EF4-FFF2-40B4-BE49-F238E27FC236}">
                      <a16:creationId xmlns:a16="http://schemas.microsoft.com/office/drawing/2014/main" id="{9966B8F2-BDF0-84E5-3BC8-AAD1D5F1A049}"/>
                    </a:ext>
                  </a:extLst>
                </p:cNvPr>
                <p:cNvSpPr>
                  <a:spLocks/>
                </p:cNvSpPr>
                <p:nvPr/>
              </p:nvSpPr>
              <p:spPr bwMode="gray">
                <a:xfrm rot="10800000">
                  <a:off x="1233673"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64" name="Triangle_2">
                  <a:extLst>
                    <a:ext uri="{FF2B5EF4-FFF2-40B4-BE49-F238E27FC236}">
                      <a16:creationId xmlns:a16="http://schemas.microsoft.com/office/drawing/2014/main" id="{734991CD-E774-E678-3539-995F18B9317D}"/>
                    </a:ext>
                  </a:extLst>
                </p:cNvPr>
                <p:cNvSpPr>
                  <a:spLocks/>
                </p:cNvSpPr>
                <p:nvPr/>
              </p:nvSpPr>
              <p:spPr bwMode="gray">
                <a:xfrm>
                  <a:off x="1233673"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65" name="Triangle_3">
                  <a:extLst>
                    <a:ext uri="{FF2B5EF4-FFF2-40B4-BE49-F238E27FC236}">
                      <a16:creationId xmlns:a16="http://schemas.microsoft.com/office/drawing/2014/main" id="{D4407283-1780-4C7D-3ADD-3CB99199EAFC}"/>
                    </a:ext>
                  </a:extLst>
                </p:cNvPr>
                <p:cNvSpPr>
                  <a:spLocks/>
                </p:cNvSpPr>
                <p:nvPr/>
              </p:nvSpPr>
              <p:spPr bwMode="gray">
                <a:xfrm rot="5400000">
                  <a:off x="1150936"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66" name="Triangle_4">
                  <a:extLst>
                    <a:ext uri="{FF2B5EF4-FFF2-40B4-BE49-F238E27FC236}">
                      <a16:creationId xmlns:a16="http://schemas.microsoft.com/office/drawing/2014/main" id="{3D25BFE7-8496-8BB7-7A10-836E09B460E0}"/>
                    </a:ext>
                  </a:extLst>
                </p:cNvPr>
                <p:cNvSpPr>
                  <a:spLocks/>
                </p:cNvSpPr>
                <p:nvPr/>
              </p:nvSpPr>
              <p:spPr bwMode="gray">
                <a:xfrm rot="16200000">
                  <a:off x="1316410"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 name="Group 22">
                <a:extLst>
                  <a:ext uri="{FF2B5EF4-FFF2-40B4-BE49-F238E27FC236}">
                    <a16:creationId xmlns:a16="http://schemas.microsoft.com/office/drawing/2014/main" id="{28E7BF14-DBED-B7F0-76B9-D2A3CF630C8D}"/>
                  </a:ext>
                </a:extLst>
              </p:cNvPr>
              <p:cNvGrpSpPr>
                <a:grpSpLocks/>
              </p:cNvGrpSpPr>
              <p:nvPr/>
            </p:nvGrpSpPr>
            <p:grpSpPr bwMode="gray">
              <a:xfrm>
                <a:off x="918123" y="2926283"/>
                <a:ext cx="217142" cy="217142"/>
                <a:chOff x="1233673" y="4074624"/>
                <a:chExt cx="330948" cy="330948"/>
              </a:xfrm>
              <a:grpFill/>
            </p:grpSpPr>
            <p:sp>
              <p:nvSpPr>
                <p:cNvPr id="657" name="dfine_grid_single_shape_frame">
                  <a:extLst>
                    <a:ext uri="{FF2B5EF4-FFF2-40B4-BE49-F238E27FC236}">
                      <a16:creationId xmlns:a16="http://schemas.microsoft.com/office/drawing/2014/main" id="{998F04CA-059F-48FA-818F-7AE1A6F84F6D}"/>
                    </a:ext>
                  </a:extLst>
                </p:cNvPr>
                <p:cNvSpPr>
                  <a:spLocks/>
                </p:cNvSpPr>
                <p:nvPr/>
              </p:nvSpPr>
              <p:spPr bwMode="gray">
                <a:xfrm>
                  <a:off x="1233673"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58" name="Triangle_1">
                  <a:extLst>
                    <a:ext uri="{FF2B5EF4-FFF2-40B4-BE49-F238E27FC236}">
                      <a16:creationId xmlns:a16="http://schemas.microsoft.com/office/drawing/2014/main" id="{0813BF3F-35C9-50DE-550B-F01652E3DEE3}"/>
                    </a:ext>
                  </a:extLst>
                </p:cNvPr>
                <p:cNvSpPr>
                  <a:spLocks/>
                </p:cNvSpPr>
                <p:nvPr/>
              </p:nvSpPr>
              <p:spPr bwMode="gray">
                <a:xfrm rot="10800000">
                  <a:off x="1233673"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59" name="Triangle_2">
                  <a:extLst>
                    <a:ext uri="{FF2B5EF4-FFF2-40B4-BE49-F238E27FC236}">
                      <a16:creationId xmlns:a16="http://schemas.microsoft.com/office/drawing/2014/main" id="{EA94AF65-20CF-2E95-726C-13714A6F26EC}"/>
                    </a:ext>
                  </a:extLst>
                </p:cNvPr>
                <p:cNvSpPr>
                  <a:spLocks/>
                </p:cNvSpPr>
                <p:nvPr/>
              </p:nvSpPr>
              <p:spPr bwMode="gray">
                <a:xfrm>
                  <a:off x="1233673"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60" name="Triangle_3">
                  <a:extLst>
                    <a:ext uri="{FF2B5EF4-FFF2-40B4-BE49-F238E27FC236}">
                      <a16:creationId xmlns:a16="http://schemas.microsoft.com/office/drawing/2014/main" id="{19D959BF-0C0C-3581-69F7-E7A1433067D8}"/>
                    </a:ext>
                  </a:extLst>
                </p:cNvPr>
                <p:cNvSpPr>
                  <a:spLocks/>
                </p:cNvSpPr>
                <p:nvPr/>
              </p:nvSpPr>
              <p:spPr bwMode="gray">
                <a:xfrm rot="5400000">
                  <a:off x="1150936"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61" name="Triangle_4">
                  <a:extLst>
                    <a:ext uri="{FF2B5EF4-FFF2-40B4-BE49-F238E27FC236}">
                      <a16:creationId xmlns:a16="http://schemas.microsoft.com/office/drawing/2014/main" id="{C1D3FC6A-1E51-9181-B199-A40387D379ED}"/>
                    </a:ext>
                  </a:extLst>
                </p:cNvPr>
                <p:cNvSpPr>
                  <a:spLocks/>
                </p:cNvSpPr>
                <p:nvPr/>
              </p:nvSpPr>
              <p:spPr bwMode="gray">
                <a:xfrm rot="16200000">
                  <a:off x="1316410"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4" name="Group 23">
                <a:extLst>
                  <a:ext uri="{FF2B5EF4-FFF2-40B4-BE49-F238E27FC236}">
                    <a16:creationId xmlns:a16="http://schemas.microsoft.com/office/drawing/2014/main" id="{D57AFAD4-3CAE-3A5A-218F-44E3DB3C2C5A}"/>
                  </a:ext>
                </a:extLst>
              </p:cNvPr>
              <p:cNvGrpSpPr>
                <a:grpSpLocks/>
              </p:cNvGrpSpPr>
              <p:nvPr/>
            </p:nvGrpSpPr>
            <p:grpSpPr bwMode="gray">
              <a:xfrm>
                <a:off x="700982" y="2492001"/>
                <a:ext cx="217142" cy="217142"/>
                <a:chOff x="902726" y="3412730"/>
                <a:chExt cx="330948" cy="330948"/>
              </a:xfrm>
              <a:grpFill/>
            </p:grpSpPr>
            <p:sp>
              <p:nvSpPr>
                <p:cNvPr id="652" name="dfine_grid_single_shape_frame">
                  <a:extLst>
                    <a:ext uri="{FF2B5EF4-FFF2-40B4-BE49-F238E27FC236}">
                      <a16:creationId xmlns:a16="http://schemas.microsoft.com/office/drawing/2014/main" id="{6EC644CB-3A8E-783C-43E3-ED6EB4CDD6F4}"/>
                    </a:ext>
                  </a:extLst>
                </p:cNvPr>
                <p:cNvSpPr>
                  <a:spLocks/>
                </p:cNvSpPr>
                <p:nvPr/>
              </p:nvSpPr>
              <p:spPr bwMode="gray">
                <a:xfrm>
                  <a:off x="902726"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53" name="Triangle_1">
                  <a:extLst>
                    <a:ext uri="{FF2B5EF4-FFF2-40B4-BE49-F238E27FC236}">
                      <a16:creationId xmlns:a16="http://schemas.microsoft.com/office/drawing/2014/main" id="{B50409C5-2272-B8D6-2EDA-B21153F6C721}"/>
                    </a:ext>
                  </a:extLst>
                </p:cNvPr>
                <p:cNvSpPr>
                  <a:spLocks/>
                </p:cNvSpPr>
                <p:nvPr/>
              </p:nvSpPr>
              <p:spPr bwMode="gray">
                <a:xfrm rot="10800000">
                  <a:off x="902726"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54" name="Triangle_2">
                  <a:extLst>
                    <a:ext uri="{FF2B5EF4-FFF2-40B4-BE49-F238E27FC236}">
                      <a16:creationId xmlns:a16="http://schemas.microsoft.com/office/drawing/2014/main" id="{11961788-2109-0FD7-824A-F19FD9F06153}"/>
                    </a:ext>
                  </a:extLst>
                </p:cNvPr>
                <p:cNvSpPr>
                  <a:spLocks/>
                </p:cNvSpPr>
                <p:nvPr/>
              </p:nvSpPr>
              <p:spPr bwMode="gray">
                <a:xfrm>
                  <a:off x="902726"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55" name="Triangle_3">
                  <a:extLst>
                    <a:ext uri="{FF2B5EF4-FFF2-40B4-BE49-F238E27FC236}">
                      <a16:creationId xmlns:a16="http://schemas.microsoft.com/office/drawing/2014/main" id="{81211A1E-E030-C3C0-372A-0D9C9156A868}"/>
                    </a:ext>
                  </a:extLst>
                </p:cNvPr>
                <p:cNvSpPr>
                  <a:spLocks/>
                </p:cNvSpPr>
                <p:nvPr/>
              </p:nvSpPr>
              <p:spPr bwMode="gray">
                <a:xfrm rot="5400000">
                  <a:off x="819989"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56" name="Triangle_4">
                  <a:extLst>
                    <a:ext uri="{FF2B5EF4-FFF2-40B4-BE49-F238E27FC236}">
                      <a16:creationId xmlns:a16="http://schemas.microsoft.com/office/drawing/2014/main" id="{05D2326B-E93A-9B1F-986B-9B0FB255DE13}"/>
                    </a:ext>
                  </a:extLst>
                </p:cNvPr>
                <p:cNvSpPr>
                  <a:spLocks/>
                </p:cNvSpPr>
                <p:nvPr/>
              </p:nvSpPr>
              <p:spPr bwMode="gray">
                <a:xfrm rot="16200000">
                  <a:off x="98546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5" name="Group 24">
                <a:extLst>
                  <a:ext uri="{FF2B5EF4-FFF2-40B4-BE49-F238E27FC236}">
                    <a16:creationId xmlns:a16="http://schemas.microsoft.com/office/drawing/2014/main" id="{FFB15AE3-CB2A-CCDC-82E7-D48C04891D87}"/>
                  </a:ext>
                </a:extLst>
              </p:cNvPr>
              <p:cNvGrpSpPr>
                <a:grpSpLocks/>
              </p:cNvGrpSpPr>
              <p:nvPr/>
            </p:nvGrpSpPr>
            <p:grpSpPr bwMode="gray">
              <a:xfrm>
                <a:off x="266700" y="1623437"/>
                <a:ext cx="217142" cy="217142"/>
                <a:chOff x="240832" y="2088942"/>
                <a:chExt cx="330948" cy="330948"/>
              </a:xfrm>
              <a:grpFill/>
            </p:grpSpPr>
            <p:sp>
              <p:nvSpPr>
                <p:cNvPr id="647" name="dfine_grid_single_shape_frame">
                  <a:extLst>
                    <a:ext uri="{FF2B5EF4-FFF2-40B4-BE49-F238E27FC236}">
                      <a16:creationId xmlns:a16="http://schemas.microsoft.com/office/drawing/2014/main" id="{DE8ED54F-8A35-3887-120D-0FF9C8D98618}"/>
                    </a:ext>
                  </a:extLst>
                </p:cNvPr>
                <p:cNvSpPr>
                  <a:spLocks/>
                </p:cNvSpPr>
                <p:nvPr>
                  <p:custDataLst>
                    <p:tags r:id="rId68"/>
                  </p:custDataLst>
                </p:nvPr>
              </p:nvSpPr>
              <p:spPr bwMode="gray">
                <a:xfrm>
                  <a:off x="240832"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48" name="Triangle_1">
                  <a:extLst>
                    <a:ext uri="{FF2B5EF4-FFF2-40B4-BE49-F238E27FC236}">
                      <a16:creationId xmlns:a16="http://schemas.microsoft.com/office/drawing/2014/main" id="{C19016C4-EBC8-A7E1-8361-B9E79B65E350}"/>
                    </a:ext>
                  </a:extLst>
                </p:cNvPr>
                <p:cNvSpPr>
                  <a:spLocks/>
                </p:cNvSpPr>
                <p:nvPr/>
              </p:nvSpPr>
              <p:spPr bwMode="gray">
                <a:xfrm rot="10800000">
                  <a:off x="240832"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49" name="Triangle_2">
                  <a:extLst>
                    <a:ext uri="{FF2B5EF4-FFF2-40B4-BE49-F238E27FC236}">
                      <a16:creationId xmlns:a16="http://schemas.microsoft.com/office/drawing/2014/main" id="{D8187A8E-D5CB-D5AE-4120-9931F203515C}"/>
                    </a:ext>
                  </a:extLst>
                </p:cNvPr>
                <p:cNvSpPr>
                  <a:spLocks/>
                </p:cNvSpPr>
                <p:nvPr/>
              </p:nvSpPr>
              <p:spPr bwMode="gray">
                <a:xfrm>
                  <a:off x="240832"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50" name="Triangle_3">
                  <a:extLst>
                    <a:ext uri="{FF2B5EF4-FFF2-40B4-BE49-F238E27FC236}">
                      <a16:creationId xmlns:a16="http://schemas.microsoft.com/office/drawing/2014/main" id="{F1897F56-9C5F-58E7-A66B-D3141900AC03}"/>
                    </a:ext>
                  </a:extLst>
                </p:cNvPr>
                <p:cNvSpPr>
                  <a:spLocks/>
                </p:cNvSpPr>
                <p:nvPr/>
              </p:nvSpPr>
              <p:spPr bwMode="gray">
                <a:xfrm rot="5400000">
                  <a:off x="158095"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51" name="Triangle_4">
                  <a:extLst>
                    <a:ext uri="{FF2B5EF4-FFF2-40B4-BE49-F238E27FC236}">
                      <a16:creationId xmlns:a16="http://schemas.microsoft.com/office/drawing/2014/main" id="{ECE66A10-1984-B85D-AADD-0558139DED9D}"/>
                    </a:ext>
                  </a:extLst>
                </p:cNvPr>
                <p:cNvSpPr>
                  <a:spLocks/>
                </p:cNvSpPr>
                <p:nvPr/>
              </p:nvSpPr>
              <p:spPr bwMode="gray">
                <a:xfrm rot="16200000">
                  <a:off x="323569"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6" name="Group 25">
                <a:extLst>
                  <a:ext uri="{FF2B5EF4-FFF2-40B4-BE49-F238E27FC236}">
                    <a16:creationId xmlns:a16="http://schemas.microsoft.com/office/drawing/2014/main" id="{FE420D93-A21A-FA7D-69FD-FBCDC6F55663}"/>
                  </a:ext>
                </a:extLst>
              </p:cNvPr>
              <p:cNvGrpSpPr>
                <a:grpSpLocks/>
              </p:cNvGrpSpPr>
              <p:nvPr/>
            </p:nvGrpSpPr>
            <p:grpSpPr bwMode="gray">
              <a:xfrm>
                <a:off x="266700" y="1840578"/>
                <a:ext cx="217142" cy="217142"/>
                <a:chOff x="240832" y="2419889"/>
                <a:chExt cx="330948" cy="330948"/>
              </a:xfrm>
              <a:grpFill/>
            </p:grpSpPr>
            <p:sp>
              <p:nvSpPr>
                <p:cNvPr id="642" name="dfine_grid_single_shape_frame">
                  <a:extLst>
                    <a:ext uri="{FF2B5EF4-FFF2-40B4-BE49-F238E27FC236}">
                      <a16:creationId xmlns:a16="http://schemas.microsoft.com/office/drawing/2014/main" id="{2C4035E2-2979-9BCB-59D2-8D969E1DF661}"/>
                    </a:ext>
                  </a:extLst>
                </p:cNvPr>
                <p:cNvSpPr>
                  <a:spLocks/>
                </p:cNvSpPr>
                <p:nvPr>
                  <p:custDataLst>
                    <p:tags r:id="rId67"/>
                  </p:custDataLst>
                </p:nvPr>
              </p:nvSpPr>
              <p:spPr bwMode="gray">
                <a:xfrm>
                  <a:off x="240832"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43" name="Triangle_1">
                  <a:extLst>
                    <a:ext uri="{FF2B5EF4-FFF2-40B4-BE49-F238E27FC236}">
                      <a16:creationId xmlns:a16="http://schemas.microsoft.com/office/drawing/2014/main" id="{21EF5A3D-3DA1-2311-7FC7-9C2C88B6D71D}"/>
                    </a:ext>
                  </a:extLst>
                </p:cNvPr>
                <p:cNvSpPr>
                  <a:spLocks/>
                </p:cNvSpPr>
                <p:nvPr/>
              </p:nvSpPr>
              <p:spPr bwMode="gray">
                <a:xfrm rot="10800000">
                  <a:off x="240832"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44" name="Triangle_2">
                  <a:extLst>
                    <a:ext uri="{FF2B5EF4-FFF2-40B4-BE49-F238E27FC236}">
                      <a16:creationId xmlns:a16="http://schemas.microsoft.com/office/drawing/2014/main" id="{89EC9BD9-07DB-5F14-8F61-8DD78B40399C}"/>
                    </a:ext>
                  </a:extLst>
                </p:cNvPr>
                <p:cNvSpPr>
                  <a:spLocks/>
                </p:cNvSpPr>
                <p:nvPr/>
              </p:nvSpPr>
              <p:spPr bwMode="gray">
                <a:xfrm>
                  <a:off x="240832"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45" name="Triangle_3">
                  <a:extLst>
                    <a:ext uri="{FF2B5EF4-FFF2-40B4-BE49-F238E27FC236}">
                      <a16:creationId xmlns:a16="http://schemas.microsoft.com/office/drawing/2014/main" id="{DFF8192B-F4DD-2CC5-700C-7062E78DB8BD}"/>
                    </a:ext>
                  </a:extLst>
                </p:cNvPr>
                <p:cNvSpPr>
                  <a:spLocks/>
                </p:cNvSpPr>
                <p:nvPr/>
              </p:nvSpPr>
              <p:spPr bwMode="gray">
                <a:xfrm rot="5400000">
                  <a:off x="158095"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46" name="Triangle_4">
                  <a:extLst>
                    <a:ext uri="{FF2B5EF4-FFF2-40B4-BE49-F238E27FC236}">
                      <a16:creationId xmlns:a16="http://schemas.microsoft.com/office/drawing/2014/main" id="{4CF3E20F-3514-1068-8BA5-F6B128F351F5}"/>
                    </a:ext>
                  </a:extLst>
                </p:cNvPr>
                <p:cNvSpPr>
                  <a:spLocks/>
                </p:cNvSpPr>
                <p:nvPr/>
              </p:nvSpPr>
              <p:spPr bwMode="gray">
                <a:xfrm rot="16200000">
                  <a:off x="323569"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7" name="Group 26">
                <a:extLst>
                  <a:ext uri="{FF2B5EF4-FFF2-40B4-BE49-F238E27FC236}">
                    <a16:creationId xmlns:a16="http://schemas.microsoft.com/office/drawing/2014/main" id="{EB3CC101-767D-11BC-2563-E37FA4BD5EFC}"/>
                  </a:ext>
                </a:extLst>
              </p:cNvPr>
              <p:cNvGrpSpPr>
                <a:grpSpLocks/>
              </p:cNvGrpSpPr>
              <p:nvPr/>
            </p:nvGrpSpPr>
            <p:grpSpPr bwMode="gray">
              <a:xfrm>
                <a:off x="266700" y="2057719"/>
                <a:ext cx="217142" cy="217142"/>
                <a:chOff x="240832" y="2750836"/>
                <a:chExt cx="330948" cy="330948"/>
              </a:xfrm>
              <a:grpFill/>
            </p:grpSpPr>
            <p:sp>
              <p:nvSpPr>
                <p:cNvPr id="637" name="dfine_grid_single_shape_frame">
                  <a:extLst>
                    <a:ext uri="{FF2B5EF4-FFF2-40B4-BE49-F238E27FC236}">
                      <a16:creationId xmlns:a16="http://schemas.microsoft.com/office/drawing/2014/main" id="{F2669332-413D-CF45-CD8C-D41AFA9A8FF4}"/>
                    </a:ext>
                  </a:extLst>
                </p:cNvPr>
                <p:cNvSpPr>
                  <a:spLocks/>
                </p:cNvSpPr>
                <p:nvPr>
                  <p:custDataLst>
                    <p:tags r:id="rId66"/>
                  </p:custDataLst>
                </p:nvPr>
              </p:nvSpPr>
              <p:spPr bwMode="gray">
                <a:xfrm>
                  <a:off x="240832"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38" name="triangle_physics_v2_top">
                  <a:extLst>
                    <a:ext uri="{FF2B5EF4-FFF2-40B4-BE49-F238E27FC236}">
                      <a16:creationId xmlns:a16="http://schemas.microsoft.com/office/drawing/2014/main" id="{477F6CAC-DD0E-E87B-CF32-CC5F75732200}"/>
                    </a:ext>
                  </a:extLst>
                </p:cNvPr>
                <p:cNvSpPr>
                  <a:spLocks/>
                </p:cNvSpPr>
                <p:nvPr/>
              </p:nvSpPr>
              <p:spPr bwMode="gray">
                <a:xfrm rot="10800000">
                  <a:off x="240832"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39" name="Triangle_2">
                  <a:extLst>
                    <a:ext uri="{FF2B5EF4-FFF2-40B4-BE49-F238E27FC236}">
                      <a16:creationId xmlns:a16="http://schemas.microsoft.com/office/drawing/2014/main" id="{E4226E29-D29A-ED77-9FD1-9F49BD0338D3}"/>
                    </a:ext>
                  </a:extLst>
                </p:cNvPr>
                <p:cNvSpPr>
                  <a:spLocks/>
                </p:cNvSpPr>
                <p:nvPr/>
              </p:nvSpPr>
              <p:spPr bwMode="gray">
                <a:xfrm>
                  <a:off x="240832"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40" name="Triangle_3">
                  <a:extLst>
                    <a:ext uri="{FF2B5EF4-FFF2-40B4-BE49-F238E27FC236}">
                      <a16:creationId xmlns:a16="http://schemas.microsoft.com/office/drawing/2014/main" id="{D1E06AF8-5AF3-97D0-5404-53A107571AE5}"/>
                    </a:ext>
                  </a:extLst>
                </p:cNvPr>
                <p:cNvSpPr>
                  <a:spLocks/>
                </p:cNvSpPr>
                <p:nvPr/>
              </p:nvSpPr>
              <p:spPr bwMode="gray">
                <a:xfrm rot="5400000">
                  <a:off x="158095"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41" name="triangle_physics_v2_left">
                  <a:extLst>
                    <a:ext uri="{FF2B5EF4-FFF2-40B4-BE49-F238E27FC236}">
                      <a16:creationId xmlns:a16="http://schemas.microsoft.com/office/drawing/2014/main" id="{D54DB91F-32B3-6131-53EE-630C5F21DA0A}"/>
                    </a:ext>
                  </a:extLst>
                </p:cNvPr>
                <p:cNvSpPr>
                  <a:spLocks/>
                </p:cNvSpPr>
                <p:nvPr/>
              </p:nvSpPr>
              <p:spPr bwMode="gray">
                <a:xfrm rot="16200000">
                  <a:off x="323569"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8" name="Group 27">
                <a:extLst>
                  <a:ext uri="{FF2B5EF4-FFF2-40B4-BE49-F238E27FC236}">
                    <a16:creationId xmlns:a16="http://schemas.microsoft.com/office/drawing/2014/main" id="{FE86CBD9-D68F-4651-F2E8-E125E6783828}"/>
                  </a:ext>
                </a:extLst>
              </p:cNvPr>
              <p:cNvGrpSpPr>
                <a:grpSpLocks/>
              </p:cNvGrpSpPr>
              <p:nvPr/>
            </p:nvGrpSpPr>
            <p:grpSpPr bwMode="gray">
              <a:xfrm>
                <a:off x="266700" y="2274860"/>
                <a:ext cx="217142" cy="217142"/>
                <a:chOff x="240832" y="3081783"/>
                <a:chExt cx="330948" cy="330948"/>
              </a:xfrm>
              <a:grpFill/>
            </p:grpSpPr>
            <p:sp>
              <p:nvSpPr>
                <p:cNvPr id="632" name="dfine_grid_single_shape_frame">
                  <a:extLst>
                    <a:ext uri="{FF2B5EF4-FFF2-40B4-BE49-F238E27FC236}">
                      <a16:creationId xmlns:a16="http://schemas.microsoft.com/office/drawing/2014/main" id="{AB3FF640-7210-5450-6AEC-9F9D29423041}"/>
                    </a:ext>
                  </a:extLst>
                </p:cNvPr>
                <p:cNvSpPr>
                  <a:spLocks/>
                </p:cNvSpPr>
                <p:nvPr/>
              </p:nvSpPr>
              <p:spPr bwMode="gray">
                <a:xfrm>
                  <a:off x="240832"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33" name="Triangle_1">
                  <a:extLst>
                    <a:ext uri="{FF2B5EF4-FFF2-40B4-BE49-F238E27FC236}">
                      <a16:creationId xmlns:a16="http://schemas.microsoft.com/office/drawing/2014/main" id="{3DAE370F-A63A-690D-136F-9873C49E55A8}"/>
                    </a:ext>
                  </a:extLst>
                </p:cNvPr>
                <p:cNvSpPr>
                  <a:spLocks/>
                </p:cNvSpPr>
                <p:nvPr/>
              </p:nvSpPr>
              <p:spPr bwMode="gray">
                <a:xfrm rot="10800000">
                  <a:off x="240832"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34" name="Triangle_2">
                  <a:extLst>
                    <a:ext uri="{FF2B5EF4-FFF2-40B4-BE49-F238E27FC236}">
                      <a16:creationId xmlns:a16="http://schemas.microsoft.com/office/drawing/2014/main" id="{034C50CB-74EE-D2CC-B7BD-5E8258C61F4F}"/>
                    </a:ext>
                  </a:extLst>
                </p:cNvPr>
                <p:cNvSpPr>
                  <a:spLocks/>
                </p:cNvSpPr>
                <p:nvPr/>
              </p:nvSpPr>
              <p:spPr bwMode="gray">
                <a:xfrm>
                  <a:off x="240832"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35" name="Triangle_3">
                  <a:extLst>
                    <a:ext uri="{FF2B5EF4-FFF2-40B4-BE49-F238E27FC236}">
                      <a16:creationId xmlns:a16="http://schemas.microsoft.com/office/drawing/2014/main" id="{DC4365A2-3A2E-0030-D56C-CDBD20022161}"/>
                    </a:ext>
                  </a:extLst>
                </p:cNvPr>
                <p:cNvSpPr>
                  <a:spLocks/>
                </p:cNvSpPr>
                <p:nvPr/>
              </p:nvSpPr>
              <p:spPr bwMode="gray">
                <a:xfrm rot="5400000">
                  <a:off x="158096" y="316452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36" name="Triangle_4">
                  <a:extLst>
                    <a:ext uri="{FF2B5EF4-FFF2-40B4-BE49-F238E27FC236}">
                      <a16:creationId xmlns:a16="http://schemas.microsoft.com/office/drawing/2014/main" id="{35B40EEB-A8A5-035B-7821-BCDE66412B78}"/>
                    </a:ext>
                  </a:extLst>
                </p:cNvPr>
                <p:cNvSpPr>
                  <a:spLocks/>
                </p:cNvSpPr>
                <p:nvPr/>
              </p:nvSpPr>
              <p:spPr bwMode="gray">
                <a:xfrm rot="16200000">
                  <a:off x="323569"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9" name="Group 28">
                <a:extLst>
                  <a:ext uri="{FF2B5EF4-FFF2-40B4-BE49-F238E27FC236}">
                    <a16:creationId xmlns:a16="http://schemas.microsoft.com/office/drawing/2014/main" id="{FE55BA2A-3BD5-71FE-B8BA-8820893BF9B6}"/>
                  </a:ext>
                </a:extLst>
              </p:cNvPr>
              <p:cNvGrpSpPr>
                <a:grpSpLocks/>
              </p:cNvGrpSpPr>
              <p:nvPr/>
            </p:nvGrpSpPr>
            <p:grpSpPr bwMode="gray">
              <a:xfrm>
                <a:off x="266700" y="2492001"/>
                <a:ext cx="217142" cy="217142"/>
                <a:chOff x="240832" y="3412730"/>
                <a:chExt cx="330948" cy="330948"/>
              </a:xfrm>
              <a:grpFill/>
            </p:grpSpPr>
            <p:sp>
              <p:nvSpPr>
                <p:cNvPr id="627" name="dfine_grid_single_shape_frame">
                  <a:extLst>
                    <a:ext uri="{FF2B5EF4-FFF2-40B4-BE49-F238E27FC236}">
                      <a16:creationId xmlns:a16="http://schemas.microsoft.com/office/drawing/2014/main" id="{654F6A85-90DA-C1AB-2C3F-0E0FF4FFDAD0}"/>
                    </a:ext>
                  </a:extLst>
                </p:cNvPr>
                <p:cNvSpPr>
                  <a:spLocks/>
                </p:cNvSpPr>
                <p:nvPr/>
              </p:nvSpPr>
              <p:spPr bwMode="gray">
                <a:xfrm>
                  <a:off x="240832"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28" name="triangle_math_v2_top">
                  <a:extLst>
                    <a:ext uri="{FF2B5EF4-FFF2-40B4-BE49-F238E27FC236}">
                      <a16:creationId xmlns:a16="http://schemas.microsoft.com/office/drawing/2014/main" id="{AC607F9C-D9E6-2C22-4E21-C4C756599649}"/>
                    </a:ext>
                  </a:extLst>
                </p:cNvPr>
                <p:cNvSpPr>
                  <a:spLocks/>
                </p:cNvSpPr>
                <p:nvPr/>
              </p:nvSpPr>
              <p:spPr bwMode="gray">
                <a:xfrm rot="10800000">
                  <a:off x="240832"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29" name="Triangle_2">
                  <a:extLst>
                    <a:ext uri="{FF2B5EF4-FFF2-40B4-BE49-F238E27FC236}">
                      <a16:creationId xmlns:a16="http://schemas.microsoft.com/office/drawing/2014/main" id="{8EDE9738-5836-7561-3C84-22973CA51A91}"/>
                    </a:ext>
                  </a:extLst>
                </p:cNvPr>
                <p:cNvSpPr>
                  <a:spLocks/>
                </p:cNvSpPr>
                <p:nvPr/>
              </p:nvSpPr>
              <p:spPr bwMode="gray">
                <a:xfrm>
                  <a:off x="240832"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30" name="Triangle_3">
                  <a:extLst>
                    <a:ext uri="{FF2B5EF4-FFF2-40B4-BE49-F238E27FC236}">
                      <a16:creationId xmlns:a16="http://schemas.microsoft.com/office/drawing/2014/main" id="{6BABD017-D12E-0983-87FB-0F9CF8592181}"/>
                    </a:ext>
                  </a:extLst>
                </p:cNvPr>
                <p:cNvSpPr>
                  <a:spLocks/>
                </p:cNvSpPr>
                <p:nvPr/>
              </p:nvSpPr>
              <p:spPr bwMode="gray">
                <a:xfrm rot="5400000">
                  <a:off x="158095"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31" name="triangle_math_v2_left">
                  <a:extLst>
                    <a:ext uri="{FF2B5EF4-FFF2-40B4-BE49-F238E27FC236}">
                      <a16:creationId xmlns:a16="http://schemas.microsoft.com/office/drawing/2014/main" id="{8E86D0B9-169B-33E2-6594-DC7EF3FCB01E}"/>
                    </a:ext>
                  </a:extLst>
                </p:cNvPr>
                <p:cNvSpPr>
                  <a:spLocks/>
                </p:cNvSpPr>
                <p:nvPr/>
              </p:nvSpPr>
              <p:spPr bwMode="gray">
                <a:xfrm rot="16200000">
                  <a:off x="323569" y="3495467"/>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85CEEF"/>
                    </a:solidFill>
                  </a:endParaRPr>
                </a:p>
              </p:txBody>
            </p:sp>
          </p:grpSp>
          <p:grpSp>
            <p:nvGrpSpPr>
              <p:cNvPr id="30" name="Group 29">
                <a:extLst>
                  <a:ext uri="{FF2B5EF4-FFF2-40B4-BE49-F238E27FC236}">
                    <a16:creationId xmlns:a16="http://schemas.microsoft.com/office/drawing/2014/main" id="{BBB889B4-392B-F1C3-B64E-DF4D0646105B}"/>
                  </a:ext>
                </a:extLst>
              </p:cNvPr>
              <p:cNvGrpSpPr>
                <a:grpSpLocks/>
              </p:cNvGrpSpPr>
              <p:nvPr/>
            </p:nvGrpSpPr>
            <p:grpSpPr bwMode="gray">
              <a:xfrm>
                <a:off x="266700" y="2709142"/>
                <a:ext cx="217142" cy="217142"/>
                <a:chOff x="240832" y="3743677"/>
                <a:chExt cx="330948" cy="330948"/>
              </a:xfrm>
              <a:grpFill/>
            </p:grpSpPr>
            <p:sp>
              <p:nvSpPr>
                <p:cNvPr id="622" name="dfine_grid_single_shape_frame">
                  <a:extLst>
                    <a:ext uri="{FF2B5EF4-FFF2-40B4-BE49-F238E27FC236}">
                      <a16:creationId xmlns:a16="http://schemas.microsoft.com/office/drawing/2014/main" id="{D955AD6F-7C12-DD7F-2CC9-210E40C08E61}"/>
                    </a:ext>
                  </a:extLst>
                </p:cNvPr>
                <p:cNvSpPr>
                  <a:spLocks/>
                </p:cNvSpPr>
                <p:nvPr/>
              </p:nvSpPr>
              <p:spPr bwMode="gray">
                <a:xfrm>
                  <a:off x="240832"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23" name="Triangle_1">
                  <a:extLst>
                    <a:ext uri="{FF2B5EF4-FFF2-40B4-BE49-F238E27FC236}">
                      <a16:creationId xmlns:a16="http://schemas.microsoft.com/office/drawing/2014/main" id="{FCED3BAE-9791-B473-D935-A0EA31803F77}"/>
                    </a:ext>
                  </a:extLst>
                </p:cNvPr>
                <p:cNvSpPr>
                  <a:spLocks/>
                </p:cNvSpPr>
                <p:nvPr/>
              </p:nvSpPr>
              <p:spPr bwMode="gray">
                <a:xfrm rot="10800000">
                  <a:off x="240832"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24" name="Triangle_2">
                  <a:extLst>
                    <a:ext uri="{FF2B5EF4-FFF2-40B4-BE49-F238E27FC236}">
                      <a16:creationId xmlns:a16="http://schemas.microsoft.com/office/drawing/2014/main" id="{4B5F271C-EA79-0D41-B7BB-B26E78065FB4}"/>
                    </a:ext>
                  </a:extLst>
                </p:cNvPr>
                <p:cNvSpPr>
                  <a:spLocks/>
                </p:cNvSpPr>
                <p:nvPr/>
              </p:nvSpPr>
              <p:spPr bwMode="gray">
                <a:xfrm>
                  <a:off x="240832"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25" name="Triangle_3">
                  <a:extLst>
                    <a:ext uri="{FF2B5EF4-FFF2-40B4-BE49-F238E27FC236}">
                      <a16:creationId xmlns:a16="http://schemas.microsoft.com/office/drawing/2014/main" id="{1130CB44-27D0-D1BF-789C-E3F5625C8575}"/>
                    </a:ext>
                  </a:extLst>
                </p:cNvPr>
                <p:cNvSpPr>
                  <a:spLocks/>
                </p:cNvSpPr>
                <p:nvPr/>
              </p:nvSpPr>
              <p:spPr bwMode="gray">
                <a:xfrm rot="5400000">
                  <a:off x="158095"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26" name="Triangle_4">
                  <a:extLst>
                    <a:ext uri="{FF2B5EF4-FFF2-40B4-BE49-F238E27FC236}">
                      <a16:creationId xmlns:a16="http://schemas.microsoft.com/office/drawing/2014/main" id="{0B0F4F8F-1DA8-D190-56BD-D84E101EB8B3}"/>
                    </a:ext>
                  </a:extLst>
                </p:cNvPr>
                <p:cNvSpPr>
                  <a:spLocks/>
                </p:cNvSpPr>
                <p:nvPr/>
              </p:nvSpPr>
              <p:spPr bwMode="gray">
                <a:xfrm rot="16200000">
                  <a:off x="323569"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31" name="Group 30">
                <a:extLst>
                  <a:ext uri="{FF2B5EF4-FFF2-40B4-BE49-F238E27FC236}">
                    <a16:creationId xmlns:a16="http://schemas.microsoft.com/office/drawing/2014/main" id="{F012F801-8ABB-8CF3-E5C4-852C064A26DD}"/>
                  </a:ext>
                </a:extLst>
              </p:cNvPr>
              <p:cNvGrpSpPr>
                <a:grpSpLocks/>
              </p:cNvGrpSpPr>
              <p:nvPr/>
            </p:nvGrpSpPr>
            <p:grpSpPr bwMode="gray">
              <a:xfrm>
                <a:off x="266700" y="2926283"/>
                <a:ext cx="217142" cy="217142"/>
                <a:chOff x="240832" y="4074624"/>
                <a:chExt cx="330948" cy="330948"/>
              </a:xfrm>
              <a:grpFill/>
            </p:grpSpPr>
            <p:sp>
              <p:nvSpPr>
                <p:cNvPr id="617" name="dfine_grid_single_shape_frame">
                  <a:extLst>
                    <a:ext uri="{FF2B5EF4-FFF2-40B4-BE49-F238E27FC236}">
                      <a16:creationId xmlns:a16="http://schemas.microsoft.com/office/drawing/2014/main" id="{990D09B8-D6C9-89A1-14D9-FF99A211C69F}"/>
                    </a:ext>
                  </a:extLst>
                </p:cNvPr>
                <p:cNvSpPr>
                  <a:spLocks/>
                </p:cNvSpPr>
                <p:nvPr/>
              </p:nvSpPr>
              <p:spPr bwMode="gray">
                <a:xfrm>
                  <a:off x="240832"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18" name="triangle_other_v2_top">
                  <a:extLst>
                    <a:ext uri="{FF2B5EF4-FFF2-40B4-BE49-F238E27FC236}">
                      <a16:creationId xmlns:a16="http://schemas.microsoft.com/office/drawing/2014/main" id="{CF40CB58-3FA3-B518-CE7A-D9B434F68DB2}"/>
                    </a:ext>
                  </a:extLst>
                </p:cNvPr>
                <p:cNvSpPr>
                  <a:spLocks/>
                </p:cNvSpPr>
                <p:nvPr/>
              </p:nvSpPr>
              <p:spPr bwMode="gray">
                <a:xfrm rot="10800000">
                  <a:off x="240832"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19" name="Triangle_2">
                  <a:extLst>
                    <a:ext uri="{FF2B5EF4-FFF2-40B4-BE49-F238E27FC236}">
                      <a16:creationId xmlns:a16="http://schemas.microsoft.com/office/drawing/2014/main" id="{40A37743-560A-BD08-D415-8527FF420FF6}"/>
                    </a:ext>
                  </a:extLst>
                </p:cNvPr>
                <p:cNvSpPr>
                  <a:spLocks/>
                </p:cNvSpPr>
                <p:nvPr/>
              </p:nvSpPr>
              <p:spPr bwMode="gray">
                <a:xfrm>
                  <a:off x="240832"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20" name="Triangle_3">
                  <a:extLst>
                    <a:ext uri="{FF2B5EF4-FFF2-40B4-BE49-F238E27FC236}">
                      <a16:creationId xmlns:a16="http://schemas.microsoft.com/office/drawing/2014/main" id="{AFE6D217-A0E4-A435-7DBD-1E14BC84C067}"/>
                    </a:ext>
                  </a:extLst>
                </p:cNvPr>
                <p:cNvSpPr>
                  <a:spLocks/>
                </p:cNvSpPr>
                <p:nvPr/>
              </p:nvSpPr>
              <p:spPr bwMode="gray">
                <a:xfrm rot="5400000">
                  <a:off x="158095"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21" name="triangle_other_v2_left">
                  <a:extLst>
                    <a:ext uri="{FF2B5EF4-FFF2-40B4-BE49-F238E27FC236}">
                      <a16:creationId xmlns:a16="http://schemas.microsoft.com/office/drawing/2014/main" id="{98CDA2F2-A963-3C41-2C43-5307837DBE64}"/>
                    </a:ext>
                  </a:extLst>
                </p:cNvPr>
                <p:cNvSpPr>
                  <a:spLocks/>
                </p:cNvSpPr>
                <p:nvPr/>
              </p:nvSpPr>
              <p:spPr bwMode="gray">
                <a:xfrm rot="16200000">
                  <a:off x="323569"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32" name="Group 31">
                <a:extLst>
                  <a:ext uri="{FF2B5EF4-FFF2-40B4-BE49-F238E27FC236}">
                    <a16:creationId xmlns:a16="http://schemas.microsoft.com/office/drawing/2014/main" id="{BDE19BCD-110F-8C1F-B033-EA0A4CB54254}"/>
                  </a:ext>
                </a:extLst>
              </p:cNvPr>
              <p:cNvGrpSpPr>
                <a:grpSpLocks/>
              </p:cNvGrpSpPr>
              <p:nvPr/>
            </p:nvGrpSpPr>
            <p:grpSpPr bwMode="gray">
              <a:xfrm>
                <a:off x="483841" y="1623437"/>
                <a:ext cx="217142" cy="217142"/>
                <a:chOff x="571779" y="2088942"/>
                <a:chExt cx="330948" cy="330948"/>
              </a:xfrm>
              <a:grpFill/>
            </p:grpSpPr>
            <p:sp>
              <p:nvSpPr>
                <p:cNvPr id="612" name="dfine_grid_single_shape_frame">
                  <a:extLst>
                    <a:ext uri="{FF2B5EF4-FFF2-40B4-BE49-F238E27FC236}">
                      <a16:creationId xmlns:a16="http://schemas.microsoft.com/office/drawing/2014/main" id="{F7A56940-5443-5A09-AB76-C8827C032B96}"/>
                    </a:ext>
                  </a:extLst>
                </p:cNvPr>
                <p:cNvSpPr>
                  <a:spLocks/>
                </p:cNvSpPr>
                <p:nvPr>
                  <p:custDataLst>
                    <p:tags r:id="rId65"/>
                  </p:custDataLst>
                </p:nvPr>
              </p:nvSpPr>
              <p:spPr bwMode="gray">
                <a:xfrm>
                  <a:off x="571779"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13" name="Triangle_1">
                  <a:extLst>
                    <a:ext uri="{FF2B5EF4-FFF2-40B4-BE49-F238E27FC236}">
                      <a16:creationId xmlns:a16="http://schemas.microsoft.com/office/drawing/2014/main" id="{28910A1E-57F9-ACBB-0A1E-D055D5ECAD8F}"/>
                    </a:ext>
                  </a:extLst>
                </p:cNvPr>
                <p:cNvSpPr>
                  <a:spLocks/>
                </p:cNvSpPr>
                <p:nvPr/>
              </p:nvSpPr>
              <p:spPr bwMode="gray">
                <a:xfrm rot="10800000">
                  <a:off x="571779"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14" name="Triangle_2">
                  <a:extLst>
                    <a:ext uri="{FF2B5EF4-FFF2-40B4-BE49-F238E27FC236}">
                      <a16:creationId xmlns:a16="http://schemas.microsoft.com/office/drawing/2014/main" id="{37F91083-EEBC-D238-CC29-540581C419C2}"/>
                    </a:ext>
                  </a:extLst>
                </p:cNvPr>
                <p:cNvSpPr>
                  <a:spLocks/>
                </p:cNvSpPr>
                <p:nvPr/>
              </p:nvSpPr>
              <p:spPr bwMode="gray">
                <a:xfrm>
                  <a:off x="571779"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15" name="Triangle_3">
                  <a:extLst>
                    <a:ext uri="{FF2B5EF4-FFF2-40B4-BE49-F238E27FC236}">
                      <a16:creationId xmlns:a16="http://schemas.microsoft.com/office/drawing/2014/main" id="{D58B078B-AE10-0068-53A3-435EEB971F6C}"/>
                    </a:ext>
                  </a:extLst>
                </p:cNvPr>
                <p:cNvSpPr>
                  <a:spLocks/>
                </p:cNvSpPr>
                <p:nvPr/>
              </p:nvSpPr>
              <p:spPr bwMode="gray">
                <a:xfrm rot="5400000">
                  <a:off x="489042"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16" name="Triangle_4">
                  <a:extLst>
                    <a:ext uri="{FF2B5EF4-FFF2-40B4-BE49-F238E27FC236}">
                      <a16:creationId xmlns:a16="http://schemas.microsoft.com/office/drawing/2014/main" id="{63E809AC-2734-FCEE-21B6-F713D0D93ED2}"/>
                    </a:ext>
                  </a:extLst>
                </p:cNvPr>
                <p:cNvSpPr>
                  <a:spLocks/>
                </p:cNvSpPr>
                <p:nvPr/>
              </p:nvSpPr>
              <p:spPr bwMode="gray">
                <a:xfrm rot="16200000">
                  <a:off x="654516"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33" name="Group 32">
                <a:extLst>
                  <a:ext uri="{FF2B5EF4-FFF2-40B4-BE49-F238E27FC236}">
                    <a16:creationId xmlns:a16="http://schemas.microsoft.com/office/drawing/2014/main" id="{728756AC-5FA9-4236-6376-896AE343FBEA}"/>
                  </a:ext>
                </a:extLst>
              </p:cNvPr>
              <p:cNvGrpSpPr>
                <a:grpSpLocks/>
              </p:cNvGrpSpPr>
              <p:nvPr/>
            </p:nvGrpSpPr>
            <p:grpSpPr bwMode="gray">
              <a:xfrm>
                <a:off x="483841" y="1840578"/>
                <a:ext cx="217142" cy="217142"/>
                <a:chOff x="571779" y="2419889"/>
                <a:chExt cx="330948" cy="330948"/>
              </a:xfrm>
              <a:grpFill/>
            </p:grpSpPr>
            <p:sp>
              <p:nvSpPr>
                <p:cNvPr id="607" name="dfine_grid_single_shape_frame">
                  <a:extLst>
                    <a:ext uri="{FF2B5EF4-FFF2-40B4-BE49-F238E27FC236}">
                      <a16:creationId xmlns:a16="http://schemas.microsoft.com/office/drawing/2014/main" id="{BFD72449-95A2-FAA7-84EA-F0CC6A024FA9}"/>
                    </a:ext>
                  </a:extLst>
                </p:cNvPr>
                <p:cNvSpPr>
                  <a:spLocks/>
                </p:cNvSpPr>
                <p:nvPr/>
              </p:nvSpPr>
              <p:spPr bwMode="gray">
                <a:xfrm>
                  <a:off x="571779"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08" name="Triangle_1">
                  <a:extLst>
                    <a:ext uri="{FF2B5EF4-FFF2-40B4-BE49-F238E27FC236}">
                      <a16:creationId xmlns:a16="http://schemas.microsoft.com/office/drawing/2014/main" id="{74F5F068-6F2E-F1B4-1DC4-9B09A5AC2B18}"/>
                    </a:ext>
                  </a:extLst>
                </p:cNvPr>
                <p:cNvSpPr>
                  <a:spLocks/>
                </p:cNvSpPr>
                <p:nvPr/>
              </p:nvSpPr>
              <p:spPr bwMode="gray">
                <a:xfrm rot="10800000">
                  <a:off x="571779"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09" name="Triangle_2">
                  <a:extLst>
                    <a:ext uri="{FF2B5EF4-FFF2-40B4-BE49-F238E27FC236}">
                      <a16:creationId xmlns:a16="http://schemas.microsoft.com/office/drawing/2014/main" id="{3744B0EA-0C95-C960-345F-4AA47EDB6D78}"/>
                    </a:ext>
                  </a:extLst>
                </p:cNvPr>
                <p:cNvSpPr>
                  <a:spLocks/>
                </p:cNvSpPr>
                <p:nvPr/>
              </p:nvSpPr>
              <p:spPr bwMode="gray">
                <a:xfrm>
                  <a:off x="571779"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10" name="Triangle_3">
                  <a:extLst>
                    <a:ext uri="{FF2B5EF4-FFF2-40B4-BE49-F238E27FC236}">
                      <a16:creationId xmlns:a16="http://schemas.microsoft.com/office/drawing/2014/main" id="{FBB55341-EA0F-B627-AF6A-31472C409AF1}"/>
                    </a:ext>
                  </a:extLst>
                </p:cNvPr>
                <p:cNvSpPr>
                  <a:spLocks/>
                </p:cNvSpPr>
                <p:nvPr/>
              </p:nvSpPr>
              <p:spPr bwMode="gray">
                <a:xfrm rot="5400000">
                  <a:off x="489042"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11" name="Triangle_4">
                  <a:extLst>
                    <a:ext uri="{FF2B5EF4-FFF2-40B4-BE49-F238E27FC236}">
                      <a16:creationId xmlns:a16="http://schemas.microsoft.com/office/drawing/2014/main" id="{BF83BB51-5C34-6CEB-5A6D-9F0E167D99C4}"/>
                    </a:ext>
                  </a:extLst>
                </p:cNvPr>
                <p:cNvSpPr>
                  <a:spLocks/>
                </p:cNvSpPr>
                <p:nvPr/>
              </p:nvSpPr>
              <p:spPr bwMode="gray">
                <a:xfrm rot="16200000">
                  <a:off x="654516"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34" name="Group 33">
                <a:extLst>
                  <a:ext uri="{FF2B5EF4-FFF2-40B4-BE49-F238E27FC236}">
                    <a16:creationId xmlns:a16="http://schemas.microsoft.com/office/drawing/2014/main" id="{B083D4E2-FEFD-A392-8117-EA705ACF8A03}"/>
                  </a:ext>
                </a:extLst>
              </p:cNvPr>
              <p:cNvGrpSpPr>
                <a:grpSpLocks/>
              </p:cNvGrpSpPr>
              <p:nvPr/>
            </p:nvGrpSpPr>
            <p:grpSpPr bwMode="gray">
              <a:xfrm>
                <a:off x="483841" y="2057719"/>
                <a:ext cx="217142" cy="217142"/>
                <a:chOff x="571779" y="2750836"/>
                <a:chExt cx="330948" cy="330948"/>
              </a:xfrm>
              <a:grpFill/>
            </p:grpSpPr>
            <p:sp>
              <p:nvSpPr>
                <p:cNvPr id="602" name="dfine_grid_single_shape_frame">
                  <a:extLst>
                    <a:ext uri="{FF2B5EF4-FFF2-40B4-BE49-F238E27FC236}">
                      <a16:creationId xmlns:a16="http://schemas.microsoft.com/office/drawing/2014/main" id="{3A8D5FA9-9D0D-623F-A928-DDBD720469CA}"/>
                    </a:ext>
                  </a:extLst>
                </p:cNvPr>
                <p:cNvSpPr>
                  <a:spLocks/>
                </p:cNvSpPr>
                <p:nvPr/>
              </p:nvSpPr>
              <p:spPr bwMode="gray">
                <a:xfrm>
                  <a:off x="571779"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03" name="Triangle_1">
                  <a:extLst>
                    <a:ext uri="{FF2B5EF4-FFF2-40B4-BE49-F238E27FC236}">
                      <a16:creationId xmlns:a16="http://schemas.microsoft.com/office/drawing/2014/main" id="{A23D2D82-A2A0-9969-5ED8-064C73852E95}"/>
                    </a:ext>
                  </a:extLst>
                </p:cNvPr>
                <p:cNvSpPr>
                  <a:spLocks/>
                </p:cNvSpPr>
                <p:nvPr/>
              </p:nvSpPr>
              <p:spPr bwMode="gray">
                <a:xfrm rot="10800000">
                  <a:off x="571779"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04" name="Triangle_2">
                  <a:extLst>
                    <a:ext uri="{FF2B5EF4-FFF2-40B4-BE49-F238E27FC236}">
                      <a16:creationId xmlns:a16="http://schemas.microsoft.com/office/drawing/2014/main" id="{D781416D-982C-F7A3-F363-50B5ED0E52FD}"/>
                    </a:ext>
                  </a:extLst>
                </p:cNvPr>
                <p:cNvSpPr>
                  <a:spLocks/>
                </p:cNvSpPr>
                <p:nvPr/>
              </p:nvSpPr>
              <p:spPr bwMode="gray">
                <a:xfrm>
                  <a:off x="571779"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05" name="Triangle_3">
                  <a:extLst>
                    <a:ext uri="{FF2B5EF4-FFF2-40B4-BE49-F238E27FC236}">
                      <a16:creationId xmlns:a16="http://schemas.microsoft.com/office/drawing/2014/main" id="{4634B0DE-A5B5-B3E1-53B1-E060193F49EA}"/>
                    </a:ext>
                  </a:extLst>
                </p:cNvPr>
                <p:cNvSpPr>
                  <a:spLocks/>
                </p:cNvSpPr>
                <p:nvPr/>
              </p:nvSpPr>
              <p:spPr bwMode="gray">
                <a:xfrm rot="5400000">
                  <a:off x="489042"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06" name="Triangle_4">
                  <a:extLst>
                    <a:ext uri="{FF2B5EF4-FFF2-40B4-BE49-F238E27FC236}">
                      <a16:creationId xmlns:a16="http://schemas.microsoft.com/office/drawing/2014/main" id="{FEBF7BCC-4342-D9B6-C19E-B193F035CC4C}"/>
                    </a:ext>
                  </a:extLst>
                </p:cNvPr>
                <p:cNvSpPr>
                  <a:spLocks/>
                </p:cNvSpPr>
                <p:nvPr/>
              </p:nvSpPr>
              <p:spPr bwMode="gray">
                <a:xfrm rot="16200000">
                  <a:off x="654516"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35" name="Group 34">
                <a:extLst>
                  <a:ext uri="{FF2B5EF4-FFF2-40B4-BE49-F238E27FC236}">
                    <a16:creationId xmlns:a16="http://schemas.microsoft.com/office/drawing/2014/main" id="{6F79548A-1C04-E150-C482-78E1CFCD8C2D}"/>
                  </a:ext>
                </a:extLst>
              </p:cNvPr>
              <p:cNvGrpSpPr>
                <a:grpSpLocks/>
              </p:cNvGrpSpPr>
              <p:nvPr/>
            </p:nvGrpSpPr>
            <p:grpSpPr bwMode="gray">
              <a:xfrm>
                <a:off x="483841" y="2274860"/>
                <a:ext cx="217142" cy="217142"/>
                <a:chOff x="571779" y="3081783"/>
                <a:chExt cx="330948" cy="330948"/>
              </a:xfrm>
              <a:grpFill/>
            </p:grpSpPr>
            <p:sp>
              <p:nvSpPr>
                <p:cNvPr id="597" name="dfine_grid_single_shape_frame">
                  <a:extLst>
                    <a:ext uri="{FF2B5EF4-FFF2-40B4-BE49-F238E27FC236}">
                      <a16:creationId xmlns:a16="http://schemas.microsoft.com/office/drawing/2014/main" id="{4379299C-657C-6359-51F7-EC573FEEC422}"/>
                    </a:ext>
                  </a:extLst>
                </p:cNvPr>
                <p:cNvSpPr>
                  <a:spLocks/>
                </p:cNvSpPr>
                <p:nvPr/>
              </p:nvSpPr>
              <p:spPr bwMode="gray">
                <a:xfrm>
                  <a:off x="571779"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98" name="Triangle_1">
                  <a:extLst>
                    <a:ext uri="{FF2B5EF4-FFF2-40B4-BE49-F238E27FC236}">
                      <a16:creationId xmlns:a16="http://schemas.microsoft.com/office/drawing/2014/main" id="{59F877E5-1F85-E72D-8BB0-D715A0850FF2}"/>
                    </a:ext>
                  </a:extLst>
                </p:cNvPr>
                <p:cNvSpPr>
                  <a:spLocks/>
                </p:cNvSpPr>
                <p:nvPr/>
              </p:nvSpPr>
              <p:spPr bwMode="gray">
                <a:xfrm rot="10800000">
                  <a:off x="571779"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99" name="Triangle_2">
                  <a:extLst>
                    <a:ext uri="{FF2B5EF4-FFF2-40B4-BE49-F238E27FC236}">
                      <a16:creationId xmlns:a16="http://schemas.microsoft.com/office/drawing/2014/main" id="{AB851BEC-B0A2-3F9F-38A0-0E38E9D7B777}"/>
                    </a:ext>
                  </a:extLst>
                </p:cNvPr>
                <p:cNvSpPr>
                  <a:spLocks/>
                </p:cNvSpPr>
                <p:nvPr/>
              </p:nvSpPr>
              <p:spPr bwMode="gray">
                <a:xfrm>
                  <a:off x="571779"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00" name="Triangle_3">
                  <a:extLst>
                    <a:ext uri="{FF2B5EF4-FFF2-40B4-BE49-F238E27FC236}">
                      <a16:creationId xmlns:a16="http://schemas.microsoft.com/office/drawing/2014/main" id="{3152E4B6-3862-626A-9793-AC6178B571D0}"/>
                    </a:ext>
                  </a:extLst>
                </p:cNvPr>
                <p:cNvSpPr>
                  <a:spLocks/>
                </p:cNvSpPr>
                <p:nvPr/>
              </p:nvSpPr>
              <p:spPr bwMode="gray">
                <a:xfrm rot="5400000">
                  <a:off x="489042"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601" name="Triangle_4">
                  <a:extLst>
                    <a:ext uri="{FF2B5EF4-FFF2-40B4-BE49-F238E27FC236}">
                      <a16:creationId xmlns:a16="http://schemas.microsoft.com/office/drawing/2014/main" id="{B4A90CF4-2803-6C96-1C4E-C0BD6F07F225}"/>
                    </a:ext>
                  </a:extLst>
                </p:cNvPr>
                <p:cNvSpPr>
                  <a:spLocks/>
                </p:cNvSpPr>
                <p:nvPr/>
              </p:nvSpPr>
              <p:spPr bwMode="gray">
                <a:xfrm rot="16200000">
                  <a:off x="654516"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36" name="Group 35">
                <a:extLst>
                  <a:ext uri="{FF2B5EF4-FFF2-40B4-BE49-F238E27FC236}">
                    <a16:creationId xmlns:a16="http://schemas.microsoft.com/office/drawing/2014/main" id="{B6B30AF7-FF60-BEB7-B5AE-F263FCD59D77}"/>
                  </a:ext>
                </a:extLst>
              </p:cNvPr>
              <p:cNvGrpSpPr>
                <a:grpSpLocks/>
              </p:cNvGrpSpPr>
              <p:nvPr/>
            </p:nvGrpSpPr>
            <p:grpSpPr bwMode="gray">
              <a:xfrm>
                <a:off x="483841" y="2492001"/>
                <a:ext cx="217142" cy="217142"/>
                <a:chOff x="571779" y="3412730"/>
                <a:chExt cx="330948" cy="330948"/>
              </a:xfrm>
              <a:grpFill/>
            </p:grpSpPr>
            <p:sp>
              <p:nvSpPr>
                <p:cNvPr id="592" name="dfine_grid_single_shape_frame">
                  <a:extLst>
                    <a:ext uri="{FF2B5EF4-FFF2-40B4-BE49-F238E27FC236}">
                      <a16:creationId xmlns:a16="http://schemas.microsoft.com/office/drawing/2014/main" id="{2BFFB4E4-C7EA-9FD0-F601-35BFA2C2E551}"/>
                    </a:ext>
                  </a:extLst>
                </p:cNvPr>
                <p:cNvSpPr>
                  <a:spLocks/>
                </p:cNvSpPr>
                <p:nvPr>
                  <p:custDataLst>
                    <p:tags r:id="rId64"/>
                  </p:custDataLst>
                </p:nvPr>
              </p:nvSpPr>
              <p:spPr bwMode="gray">
                <a:xfrm>
                  <a:off x="571779"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93" name="Triangle_1">
                  <a:extLst>
                    <a:ext uri="{FF2B5EF4-FFF2-40B4-BE49-F238E27FC236}">
                      <a16:creationId xmlns:a16="http://schemas.microsoft.com/office/drawing/2014/main" id="{89574D80-6889-4747-49BD-94A981972722}"/>
                    </a:ext>
                  </a:extLst>
                </p:cNvPr>
                <p:cNvSpPr>
                  <a:spLocks/>
                </p:cNvSpPr>
                <p:nvPr/>
              </p:nvSpPr>
              <p:spPr bwMode="gray">
                <a:xfrm rot="10800000">
                  <a:off x="571779"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94" name="Triangle_2">
                  <a:extLst>
                    <a:ext uri="{FF2B5EF4-FFF2-40B4-BE49-F238E27FC236}">
                      <a16:creationId xmlns:a16="http://schemas.microsoft.com/office/drawing/2014/main" id="{80A598C1-E908-D260-32A9-1051447C1C41}"/>
                    </a:ext>
                  </a:extLst>
                </p:cNvPr>
                <p:cNvSpPr>
                  <a:spLocks/>
                </p:cNvSpPr>
                <p:nvPr/>
              </p:nvSpPr>
              <p:spPr bwMode="gray">
                <a:xfrm>
                  <a:off x="571779"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95" name="Triangle_3">
                  <a:extLst>
                    <a:ext uri="{FF2B5EF4-FFF2-40B4-BE49-F238E27FC236}">
                      <a16:creationId xmlns:a16="http://schemas.microsoft.com/office/drawing/2014/main" id="{D7C658F6-0626-3B46-0D61-1F3A6ACA4CCC}"/>
                    </a:ext>
                  </a:extLst>
                </p:cNvPr>
                <p:cNvSpPr>
                  <a:spLocks/>
                </p:cNvSpPr>
                <p:nvPr/>
              </p:nvSpPr>
              <p:spPr bwMode="gray">
                <a:xfrm rot="5400000">
                  <a:off x="489042"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96" name="Triangle_4">
                  <a:extLst>
                    <a:ext uri="{FF2B5EF4-FFF2-40B4-BE49-F238E27FC236}">
                      <a16:creationId xmlns:a16="http://schemas.microsoft.com/office/drawing/2014/main" id="{6FF7648F-6FA9-D32C-FF70-6A79B919F0C4}"/>
                    </a:ext>
                  </a:extLst>
                </p:cNvPr>
                <p:cNvSpPr>
                  <a:spLocks/>
                </p:cNvSpPr>
                <p:nvPr/>
              </p:nvSpPr>
              <p:spPr bwMode="gray">
                <a:xfrm rot="16200000">
                  <a:off x="654516"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37" name="Group 36">
                <a:extLst>
                  <a:ext uri="{FF2B5EF4-FFF2-40B4-BE49-F238E27FC236}">
                    <a16:creationId xmlns:a16="http://schemas.microsoft.com/office/drawing/2014/main" id="{51E500C7-DF89-F8E0-F322-C21295CF8A15}"/>
                  </a:ext>
                </a:extLst>
              </p:cNvPr>
              <p:cNvGrpSpPr>
                <a:grpSpLocks/>
              </p:cNvGrpSpPr>
              <p:nvPr/>
            </p:nvGrpSpPr>
            <p:grpSpPr bwMode="gray">
              <a:xfrm>
                <a:off x="483841" y="2709142"/>
                <a:ext cx="217142" cy="217142"/>
                <a:chOff x="571779" y="3743677"/>
                <a:chExt cx="330948" cy="330948"/>
              </a:xfrm>
              <a:grpFill/>
            </p:grpSpPr>
            <p:sp>
              <p:nvSpPr>
                <p:cNvPr id="587" name="dfine_grid_single_shape_frame">
                  <a:extLst>
                    <a:ext uri="{FF2B5EF4-FFF2-40B4-BE49-F238E27FC236}">
                      <a16:creationId xmlns:a16="http://schemas.microsoft.com/office/drawing/2014/main" id="{2B174B25-5F10-E5C6-6C90-E7A34B2A001F}"/>
                    </a:ext>
                  </a:extLst>
                </p:cNvPr>
                <p:cNvSpPr>
                  <a:spLocks/>
                </p:cNvSpPr>
                <p:nvPr/>
              </p:nvSpPr>
              <p:spPr bwMode="gray">
                <a:xfrm>
                  <a:off x="571779"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88" name="Triangle_1">
                  <a:extLst>
                    <a:ext uri="{FF2B5EF4-FFF2-40B4-BE49-F238E27FC236}">
                      <a16:creationId xmlns:a16="http://schemas.microsoft.com/office/drawing/2014/main" id="{3DA2E450-19FE-39EE-4C6C-E4669DAD9785}"/>
                    </a:ext>
                  </a:extLst>
                </p:cNvPr>
                <p:cNvSpPr>
                  <a:spLocks/>
                </p:cNvSpPr>
                <p:nvPr/>
              </p:nvSpPr>
              <p:spPr bwMode="gray">
                <a:xfrm rot="10800000">
                  <a:off x="571779"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89" name="Triangle_2">
                  <a:extLst>
                    <a:ext uri="{FF2B5EF4-FFF2-40B4-BE49-F238E27FC236}">
                      <a16:creationId xmlns:a16="http://schemas.microsoft.com/office/drawing/2014/main" id="{0EC4F853-2C0B-8ACE-0E5F-7D4F8B6D8B0E}"/>
                    </a:ext>
                  </a:extLst>
                </p:cNvPr>
                <p:cNvSpPr>
                  <a:spLocks/>
                </p:cNvSpPr>
                <p:nvPr/>
              </p:nvSpPr>
              <p:spPr bwMode="gray">
                <a:xfrm>
                  <a:off x="571779"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90" name="Triangle_3">
                  <a:extLst>
                    <a:ext uri="{FF2B5EF4-FFF2-40B4-BE49-F238E27FC236}">
                      <a16:creationId xmlns:a16="http://schemas.microsoft.com/office/drawing/2014/main" id="{F32D2B70-7A4B-6EBD-261D-A4BF9EA53068}"/>
                    </a:ext>
                  </a:extLst>
                </p:cNvPr>
                <p:cNvSpPr>
                  <a:spLocks/>
                </p:cNvSpPr>
                <p:nvPr/>
              </p:nvSpPr>
              <p:spPr bwMode="gray">
                <a:xfrm rot="5400000">
                  <a:off x="489042"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91" name="Triangle_4">
                  <a:extLst>
                    <a:ext uri="{FF2B5EF4-FFF2-40B4-BE49-F238E27FC236}">
                      <a16:creationId xmlns:a16="http://schemas.microsoft.com/office/drawing/2014/main" id="{858BF772-7869-B7BB-F623-654566C8740B}"/>
                    </a:ext>
                  </a:extLst>
                </p:cNvPr>
                <p:cNvSpPr>
                  <a:spLocks/>
                </p:cNvSpPr>
                <p:nvPr/>
              </p:nvSpPr>
              <p:spPr bwMode="gray">
                <a:xfrm rot="16200000">
                  <a:off x="654516"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38" name="Group 37">
                <a:extLst>
                  <a:ext uri="{FF2B5EF4-FFF2-40B4-BE49-F238E27FC236}">
                    <a16:creationId xmlns:a16="http://schemas.microsoft.com/office/drawing/2014/main" id="{2FFE9244-4CBC-393E-74A0-FC1C93C6E69A}"/>
                  </a:ext>
                </a:extLst>
              </p:cNvPr>
              <p:cNvGrpSpPr>
                <a:grpSpLocks/>
              </p:cNvGrpSpPr>
              <p:nvPr/>
            </p:nvGrpSpPr>
            <p:grpSpPr bwMode="gray">
              <a:xfrm>
                <a:off x="483841" y="2926283"/>
                <a:ext cx="217142" cy="217142"/>
                <a:chOff x="571779" y="4074624"/>
                <a:chExt cx="330948" cy="330948"/>
              </a:xfrm>
              <a:grpFill/>
            </p:grpSpPr>
            <p:sp>
              <p:nvSpPr>
                <p:cNvPr id="582" name="dfine_grid_single_shape_frame">
                  <a:extLst>
                    <a:ext uri="{FF2B5EF4-FFF2-40B4-BE49-F238E27FC236}">
                      <a16:creationId xmlns:a16="http://schemas.microsoft.com/office/drawing/2014/main" id="{44088698-214D-5180-A8EC-47FAF73893D1}"/>
                    </a:ext>
                  </a:extLst>
                </p:cNvPr>
                <p:cNvSpPr>
                  <a:spLocks/>
                </p:cNvSpPr>
                <p:nvPr/>
              </p:nvSpPr>
              <p:spPr bwMode="gray">
                <a:xfrm>
                  <a:off x="571779"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83" name="Triangle_1">
                  <a:extLst>
                    <a:ext uri="{FF2B5EF4-FFF2-40B4-BE49-F238E27FC236}">
                      <a16:creationId xmlns:a16="http://schemas.microsoft.com/office/drawing/2014/main" id="{89A33D9A-FCD1-7EF2-0C0B-B6F57D1085B5}"/>
                    </a:ext>
                  </a:extLst>
                </p:cNvPr>
                <p:cNvSpPr>
                  <a:spLocks/>
                </p:cNvSpPr>
                <p:nvPr/>
              </p:nvSpPr>
              <p:spPr bwMode="gray">
                <a:xfrm rot="10800000">
                  <a:off x="571779"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84" name="Triangle_2">
                  <a:extLst>
                    <a:ext uri="{FF2B5EF4-FFF2-40B4-BE49-F238E27FC236}">
                      <a16:creationId xmlns:a16="http://schemas.microsoft.com/office/drawing/2014/main" id="{2F67E6F7-1029-05B0-0A13-97A91604C1A9}"/>
                    </a:ext>
                  </a:extLst>
                </p:cNvPr>
                <p:cNvSpPr>
                  <a:spLocks/>
                </p:cNvSpPr>
                <p:nvPr/>
              </p:nvSpPr>
              <p:spPr bwMode="gray">
                <a:xfrm>
                  <a:off x="571779"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85" name="Triangle_3">
                  <a:extLst>
                    <a:ext uri="{FF2B5EF4-FFF2-40B4-BE49-F238E27FC236}">
                      <a16:creationId xmlns:a16="http://schemas.microsoft.com/office/drawing/2014/main" id="{6B5C4DA7-58DB-E705-C7F3-A393F02AC16B}"/>
                    </a:ext>
                  </a:extLst>
                </p:cNvPr>
                <p:cNvSpPr>
                  <a:spLocks/>
                </p:cNvSpPr>
                <p:nvPr/>
              </p:nvSpPr>
              <p:spPr bwMode="gray">
                <a:xfrm rot="5400000">
                  <a:off x="489042"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86" name="Triangle_4">
                  <a:extLst>
                    <a:ext uri="{FF2B5EF4-FFF2-40B4-BE49-F238E27FC236}">
                      <a16:creationId xmlns:a16="http://schemas.microsoft.com/office/drawing/2014/main" id="{138CFB6A-339A-7F5E-3A9A-590167F58A77}"/>
                    </a:ext>
                  </a:extLst>
                </p:cNvPr>
                <p:cNvSpPr>
                  <a:spLocks/>
                </p:cNvSpPr>
                <p:nvPr/>
              </p:nvSpPr>
              <p:spPr bwMode="gray">
                <a:xfrm rot="16200000">
                  <a:off x="654516"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39" name="Group 38">
                <a:extLst>
                  <a:ext uri="{FF2B5EF4-FFF2-40B4-BE49-F238E27FC236}">
                    <a16:creationId xmlns:a16="http://schemas.microsoft.com/office/drawing/2014/main" id="{E0D2A27E-052C-127B-399D-BBB8AABD2705}"/>
                  </a:ext>
                </a:extLst>
              </p:cNvPr>
              <p:cNvGrpSpPr>
                <a:grpSpLocks/>
              </p:cNvGrpSpPr>
              <p:nvPr/>
            </p:nvGrpSpPr>
            <p:grpSpPr bwMode="gray">
              <a:xfrm>
                <a:off x="700982" y="1623437"/>
                <a:ext cx="217142" cy="217142"/>
                <a:chOff x="902726" y="2088942"/>
                <a:chExt cx="330948" cy="330948"/>
              </a:xfrm>
              <a:grpFill/>
            </p:grpSpPr>
            <p:sp>
              <p:nvSpPr>
                <p:cNvPr id="577" name="dfine_grid_single_shape_frame">
                  <a:extLst>
                    <a:ext uri="{FF2B5EF4-FFF2-40B4-BE49-F238E27FC236}">
                      <a16:creationId xmlns:a16="http://schemas.microsoft.com/office/drawing/2014/main" id="{2AFDA2E0-E2C7-E4CE-6EE8-D3797E4EABE5}"/>
                    </a:ext>
                  </a:extLst>
                </p:cNvPr>
                <p:cNvSpPr>
                  <a:spLocks/>
                </p:cNvSpPr>
                <p:nvPr>
                  <p:custDataLst>
                    <p:tags r:id="rId63"/>
                  </p:custDataLst>
                </p:nvPr>
              </p:nvSpPr>
              <p:spPr bwMode="gray">
                <a:xfrm>
                  <a:off x="902726"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78" name="Triangle_1">
                  <a:extLst>
                    <a:ext uri="{FF2B5EF4-FFF2-40B4-BE49-F238E27FC236}">
                      <a16:creationId xmlns:a16="http://schemas.microsoft.com/office/drawing/2014/main" id="{419C8927-F455-8F39-073F-170DC95C1C84}"/>
                    </a:ext>
                  </a:extLst>
                </p:cNvPr>
                <p:cNvSpPr>
                  <a:spLocks/>
                </p:cNvSpPr>
                <p:nvPr/>
              </p:nvSpPr>
              <p:spPr bwMode="gray">
                <a:xfrm rot="10800000">
                  <a:off x="902726"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79" name="Triangle_2">
                  <a:extLst>
                    <a:ext uri="{FF2B5EF4-FFF2-40B4-BE49-F238E27FC236}">
                      <a16:creationId xmlns:a16="http://schemas.microsoft.com/office/drawing/2014/main" id="{389ADA47-94EF-C57C-D39D-AB3823C5530E}"/>
                    </a:ext>
                  </a:extLst>
                </p:cNvPr>
                <p:cNvSpPr>
                  <a:spLocks/>
                </p:cNvSpPr>
                <p:nvPr/>
              </p:nvSpPr>
              <p:spPr bwMode="gray">
                <a:xfrm>
                  <a:off x="902726"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80" name="Triangle_3">
                  <a:extLst>
                    <a:ext uri="{FF2B5EF4-FFF2-40B4-BE49-F238E27FC236}">
                      <a16:creationId xmlns:a16="http://schemas.microsoft.com/office/drawing/2014/main" id="{3FF32975-A296-AF37-84A3-9987393B84DF}"/>
                    </a:ext>
                  </a:extLst>
                </p:cNvPr>
                <p:cNvSpPr>
                  <a:spLocks/>
                </p:cNvSpPr>
                <p:nvPr/>
              </p:nvSpPr>
              <p:spPr bwMode="gray">
                <a:xfrm rot="5400000">
                  <a:off x="819989"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81" name="Triangle_4">
                  <a:extLst>
                    <a:ext uri="{FF2B5EF4-FFF2-40B4-BE49-F238E27FC236}">
                      <a16:creationId xmlns:a16="http://schemas.microsoft.com/office/drawing/2014/main" id="{3086F394-8430-86E1-85A8-6524EF1362B3}"/>
                    </a:ext>
                  </a:extLst>
                </p:cNvPr>
                <p:cNvSpPr>
                  <a:spLocks/>
                </p:cNvSpPr>
                <p:nvPr/>
              </p:nvSpPr>
              <p:spPr bwMode="gray">
                <a:xfrm rot="16200000">
                  <a:off x="985463"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40" name="Group 39">
                <a:extLst>
                  <a:ext uri="{FF2B5EF4-FFF2-40B4-BE49-F238E27FC236}">
                    <a16:creationId xmlns:a16="http://schemas.microsoft.com/office/drawing/2014/main" id="{136E3812-F3F4-94DD-A0B5-0CBB249504C6}"/>
                  </a:ext>
                </a:extLst>
              </p:cNvPr>
              <p:cNvGrpSpPr>
                <a:grpSpLocks/>
              </p:cNvGrpSpPr>
              <p:nvPr/>
            </p:nvGrpSpPr>
            <p:grpSpPr bwMode="gray">
              <a:xfrm>
                <a:off x="700982" y="1840578"/>
                <a:ext cx="217142" cy="217142"/>
                <a:chOff x="902726" y="2419889"/>
                <a:chExt cx="330948" cy="330948"/>
              </a:xfrm>
              <a:grpFill/>
            </p:grpSpPr>
            <p:sp>
              <p:nvSpPr>
                <p:cNvPr id="572" name="dfine_grid_single_shape_frame">
                  <a:extLst>
                    <a:ext uri="{FF2B5EF4-FFF2-40B4-BE49-F238E27FC236}">
                      <a16:creationId xmlns:a16="http://schemas.microsoft.com/office/drawing/2014/main" id="{EF594014-8270-D9AF-1239-7EA7FD507AF6}"/>
                    </a:ext>
                  </a:extLst>
                </p:cNvPr>
                <p:cNvSpPr>
                  <a:spLocks/>
                </p:cNvSpPr>
                <p:nvPr>
                  <p:custDataLst>
                    <p:tags r:id="rId62"/>
                  </p:custDataLst>
                </p:nvPr>
              </p:nvSpPr>
              <p:spPr bwMode="gray">
                <a:xfrm>
                  <a:off x="902726"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73" name="Triangle_1">
                  <a:extLst>
                    <a:ext uri="{FF2B5EF4-FFF2-40B4-BE49-F238E27FC236}">
                      <a16:creationId xmlns:a16="http://schemas.microsoft.com/office/drawing/2014/main" id="{B72B2E05-1DA5-A5EF-62A8-B778CBE81077}"/>
                    </a:ext>
                  </a:extLst>
                </p:cNvPr>
                <p:cNvSpPr>
                  <a:spLocks/>
                </p:cNvSpPr>
                <p:nvPr/>
              </p:nvSpPr>
              <p:spPr bwMode="gray">
                <a:xfrm rot="10800000">
                  <a:off x="902726"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74" name="Triangle_2">
                  <a:extLst>
                    <a:ext uri="{FF2B5EF4-FFF2-40B4-BE49-F238E27FC236}">
                      <a16:creationId xmlns:a16="http://schemas.microsoft.com/office/drawing/2014/main" id="{EAE5E7A8-6CA2-4D8F-3CAF-BA52A518A4B9}"/>
                    </a:ext>
                  </a:extLst>
                </p:cNvPr>
                <p:cNvSpPr>
                  <a:spLocks/>
                </p:cNvSpPr>
                <p:nvPr/>
              </p:nvSpPr>
              <p:spPr bwMode="gray">
                <a:xfrm>
                  <a:off x="902726"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75" name="Triangle_3">
                  <a:extLst>
                    <a:ext uri="{FF2B5EF4-FFF2-40B4-BE49-F238E27FC236}">
                      <a16:creationId xmlns:a16="http://schemas.microsoft.com/office/drawing/2014/main" id="{35D6DFD9-12E4-6E53-1A2F-5D6093D00EA5}"/>
                    </a:ext>
                  </a:extLst>
                </p:cNvPr>
                <p:cNvSpPr>
                  <a:spLocks/>
                </p:cNvSpPr>
                <p:nvPr/>
              </p:nvSpPr>
              <p:spPr bwMode="gray">
                <a:xfrm rot="5400000">
                  <a:off x="819989"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76" name="Triangle_4">
                  <a:extLst>
                    <a:ext uri="{FF2B5EF4-FFF2-40B4-BE49-F238E27FC236}">
                      <a16:creationId xmlns:a16="http://schemas.microsoft.com/office/drawing/2014/main" id="{8BD2E416-46E9-85AE-AA57-346280E44E90}"/>
                    </a:ext>
                  </a:extLst>
                </p:cNvPr>
                <p:cNvSpPr>
                  <a:spLocks/>
                </p:cNvSpPr>
                <p:nvPr/>
              </p:nvSpPr>
              <p:spPr bwMode="gray">
                <a:xfrm rot="16200000">
                  <a:off x="98546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41" name="Group 40">
                <a:extLst>
                  <a:ext uri="{FF2B5EF4-FFF2-40B4-BE49-F238E27FC236}">
                    <a16:creationId xmlns:a16="http://schemas.microsoft.com/office/drawing/2014/main" id="{E94BEE0E-AF3E-2EC2-6626-75A14CF44C3B}"/>
                  </a:ext>
                </a:extLst>
              </p:cNvPr>
              <p:cNvGrpSpPr>
                <a:grpSpLocks/>
              </p:cNvGrpSpPr>
              <p:nvPr/>
            </p:nvGrpSpPr>
            <p:grpSpPr bwMode="gray">
              <a:xfrm>
                <a:off x="700982" y="2057719"/>
                <a:ext cx="217142" cy="217142"/>
                <a:chOff x="902726" y="2750836"/>
                <a:chExt cx="330948" cy="330948"/>
              </a:xfrm>
              <a:grpFill/>
            </p:grpSpPr>
            <p:sp>
              <p:nvSpPr>
                <p:cNvPr id="567" name="dfine_grid_single_shape_frame">
                  <a:extLst>
                    <a:ext uri="{FF2B5EF4-FFF2-40B4-BE49-F238E27FC236}">
                      <a16:creationId xmlns:a16="http://schemas.microsoft.com/office/drawing/2014/main" id="{85A7EE1E-5A4B-E147-F276-CA2FEE032CDD}"/>
                    </a:ext>
                  </a:extLst>
                </p:cNvPr>
                <p:cNvSpPr>
                  <a:spLocks/>
                </p:cNvSpPr>
                <p:nvPr/>
              </p:nvSpPr>
              <p:spPr bwMode="gray">
                <a:xfrm>
                  <a:off x="902726"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68" name="Triangle_1">
                  <a:extLst>
                    <a:ext uri="{FF2B5EF4-FFF2-40B4-BE49-F238E27FC236}">
                      <a16:creationId xmlns:a16="http://schemas.microsoft.com/office/drawing/2014/main" id="{AC5DC08F-DB79-D3EA-6740-5D9E9B37F08D}"/>
                    </a:ext>
                  </a:extLst>
                </p:cNvPr>
                <p:cNvSpPr>
                  <a:spLocks/>
                </p:cNvSpPr>
                <p:nvPr/>
              </p:nvSpPr>
              <p:spPr bwMode="gray">
                <a:xfrm rot="10800000">
                  <a:off x="902726"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69" name="Triangle_2">
                  <a:extLst>
                    <a:ext uri="{FF2B5EF4-FFF2-40B4-BE49-F238E27FC236}">
                      <a16:creationId xmlns:a16="http://schemas.microsoft.com/office/drawing/2014/main" id="{601177A0-CE5B-12ED-28EB-F3DD89C24300}"/>
                    </a:ext>
                  </a:extLst>
                </p:cNvPr>
                <p:cNvSpPr>
                  <a:spLocks/>
                </p:cNvSpPr>
                <p:nvPr/>
              </p:nvSpPr>
              <p:spPr bwMode="gray">
                <a:xfrm>
                  <a:off x="902726"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70" name="Triangle_3">
                  <a:extLst>
                    <a:ext uri="{FF2B5EF4-FFF2-40B4-BE49-F238E27FC236}">
                      <a16:creationId xmlns:a16="http://schemas.microsoft.com/office/drawing/2014/main" id="{80F6F4BE-800E-F4B2-18A0-78719F26EAE7}"/>
                    </a:ext>
                  </a:extLst>
                </p:cNvPr>
                <p:cNvSpPr>
                  <a:spLocks/>
                </p:cNvSpPr>
                <p:nvPr/>
              </p:nvSpPr>
              <p:spPr bwMode="gray">
                <a:xfrm rot="5400000">
                  <a:off x="819989"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71" name="Triangle_4">
                  <a:extLst>
                    <a:ext uri="{FF2B5EF4-FFF2-40B4-BE49-F238E27FC236}">
                      <a16:creationId xmlns:a16="http://schemas.microsoft.com/office/drawing/2014/main" id="{1E2F96A9-25DE-F986-668A-55CE4E973114}"/>
                    </a:ext>
                  </a:extLst>
                </p:cNvPr>
                <p:cNvSpPr>
                  <a:spLocks/>
                </p:cNvSpPr>
                <p:nvPr/>
              </p:nvSpPr>
              <p:spPr bwMode="gray">
                <a:xfrm rot="16200000">
                  <a:off x="98546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42" name="Group 41">
                <a:extLst>
                  <a:ext uri="{FF2B5EF4-FFF2-40B4-BE49-F238E27FC236}">
                    <a16:creationId xmlns:a16="http://schemas.microsoft.com/office/drawing/2014/main" id="{FE5993A6-98CA-5C45-6B65-2504E7303B2D}"/>
                  </a:ext>
                </a:extLst>
              </p:cNvPr>
              <p:cNvGrpSpPr>
                <a:grpSpLocks/>
              </p:cNvGrpSpPr>
              <p:nvPr/>
            </p:nvGrpSpPr>
            <p:grpSpPr bwMode="gray">
              <a:xfrm>
                <a:off x="700982" y="2274860"/>
                <a:ext cx="217142" cy="217142"/>
                <a:chOff x="902726" y="3081783"/>
                <a:chExt cx="330948" cy="330948"/>
              </a:xfrm>
              <a:grpFill/>
            </p:grpSpPr>
            <p:sp>
              <p:nvSpPr>
                <p:cNvPr id="562" name="dfine_grid_single_shape_frame">
                  <a:extLst>
                    <a:ext uri="{FF2B5EF4-FFF2-40B4-BE49-F238E27FC236}">
                      <a16:creationId xmlns:a16="http://schemas.microsoft.com/office/drawing/2014/main" id="{8636D22A-4C48-D3A2-E1EF-1690A00520DF}"/>
                    </a:ext>
                  </a:extLst>
                </p:cNvPr>
                <p:cNvSpPr>
                  <a:spLocks/>
                </p:cNvSpPr>
                <p:nvPr>
                  <p:custDataLst>
                    <p:tags r:id="rId61"/>
                  </p:custDataLst>
                </p:nvPr>
              </p:nvSpPr>
              <p:spPr bwMode="gray">
                <a:xfrm>
                  <a:off x="902726"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63" name="Triangle_1">
                  <a:extLst>
                    <a:ext uri="{FF2B5EF4-FFF2-40B4-BE49-F238E27FC236}">
                      <a16:creationId xmlns:a16="http://schemas.microsoft.com/office/drawing/2014/main" id="{1C0EAFE9-3DC3-FA7A-1216-2DCE7FDA124F}"/>
                    </a:ext>
                  </a:extLst>
                </p:cNvPr>
                <p:cNvSpPr>
                  <a:spLocks/>
                </p:cNvSpPr>
                <p:nvPr/>
              </p:nvSpPr>
              <p:spPr bwMode="gray">
                <a:xfrm rot="10800000">
                  <a:off x="902726"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64" name="Triangle_2">
                  <a:extLst>
                    <a:ext uri="{FF2B5EF4-FFF2-40B4-BE49-F238E27FC236}">
                      <a16:creationId xmlns:a16="http://schemas.microsoft.com/office/drawing/2014/main" id="{AF0F4C6B-19AF-D224-47DE-1E425FC9E4BD}"/>
                    </a:ext>
                  </a:extLst>
                </p:cNvPr>
                <p:cNvSpPr>
                  <a:spLocks/>
                </p:cNvSpPr>
                <p:nvPr/>
              </p:nvSpPr>
              <p:spPr bwMode="gray">
                <a:xfrm>
                  <a:off x="902726"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65" name="Triangle_3">
                  <a:extLst>
                    <a:ext uri="{FF2B5EF4-FFF2-40B4-BE49-F238E27FC236}">
                      <a16:creationId xmlns:a16="http://schemas.microsoft.com/office/drawing/2014/main" id="{39D47698-DD24-75BE-37C2-C7999B750DF1}"/>
                    </a:ext>
                  </a:extLst>
                </p:cNvPr>
                <p:cNvSpPr>
                  <a:spLocks/>
                </p:cNvSpPr>
                <p:nvPr/>
              </p:nvSpPr>
              <p:spPr bwMode="gray">
                <a:xfrm rot="5400000">
                  <a:off x="819989"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66" name="Triangle_4">
                  <a:extLst>
                    <a:ext uri="{FF2B5EF4-FFF2-40B4-BE49-F238E27FC236}">
                      <a16:creationId xmlns:a16="http://schemas.microsoft.com/office/drawing/2014/main" id="{D5A5E375-575F-85DF-161C-3963120C1144}"/>
                    </a:ext>
                  </a:extLst>
                </p:cNvPr>
                <p:cNvSpPr>
                  <a:spLocks/>
                </p:cNvSpPr>
                <p:nvPr/>
              </p:nvSpPr>
              <p:spPr bwMode="gray">
                <a:xfrm rot="16200000">
                  <a:off x="985463" y="3164520"/>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43" name="Group 42">
                <a:extLst>
                  <a:ext uri="{FF2B5EF4-FFF2-40B4-BE49-F238E27FC236}">
                    <a16:creationId xmlns:a16="http://schemas.microsoft.com/office/drawing/2014/main" id="{0A26EAA4-1C2B-9505-F1A4-F4A356A6F99D}"/>
                  </a:ext>
                </a:extLst>
              </p:cNvPr>
              <p:cNvGrpSpPr>
                <a:grpSpLocks/>
              </p:cNvGrpSpPr>
              <p:nvPr/>
            </p:nvGrpSpPr>
            <p:grpSpPr bwMode="gray">
              <a:xfrm>
                <a:off x="700982" y="2709142"/>
                <a:ext cx="217142" cy="217142"/>
                <a:chOff x="902726" y="3743677"/>
                <a:chExt cx="330948" cy="330948"/>
              </a:xfrm>
              <a:grpFill/>
            </p:grpSpPr>
            <p:sp>
              <p:nvSpPr>
                <p:cNvPr id="557" name="dfine_grid_single_shape_frame">
                  <a:extLst>
                    <a:ext uri="{FF2B5EF4-FFF2-40B4-BE49-F238E27FC236}">
                      <a16:creationId xmlns:a16="http://schemas.microsoft.com/office/drawing/2014/main" id="{6FA120A7-6BBB-EEBE-3392-CE323935259F}"/>
                    </a:ext>
                  </a:extLst>
                </p:cNvPr>
                <p:cNvSpPr>
                  <a:spLocks/>
                </p:cNvSpPr>
                <p:nvPr/>
              </p:nvSpPr>
              <p:spPr bwMode="gray">
                <a:xfrm>
                  <a:off x="902726"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58" name="Triangle_1">
                  <a:extLst>
                    <a:ext uri="{FF2B5EF4-FFF2-40B4-BE49-F238E27FC236}">
                      <a16:creationId xmlns:a16="http://schemas.microsoft.com/office/drawing/2014/main" id="{2B32DB9F-0A4B-6310-190D-EFF371E3441A}"/>
                    </a:ext>
                  </a:extLst>
                </p:cNvPr>
                <p:cNvSpPr>
                  <a:spLocks/>
                </p:cNvSpPr>
                <p:nvPr/>
              </p:nvSpPr>
              <p:spPr bwMode="gray">
                <a:xfrm rot="10800000">
                  <a:off x="902726"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59" name="Triangle_2">
                  <a:extLst>
                    <a:ext uri="{FF2B5EF4-FFF2-40B4-BE49-F238E27FC236}">
                      <a16:creationId xmlns:a16="http://schemas.microsoft.com/office/drawing/2014/main" id="{06DA4A0F-007B-EA87-B92E-D4124908363D}"/>
                    </a:ext>
                  </a:extLst>
                </p:cNvPr>
                <p:cNvSpPr>
                  <a:spLocks/>
                </p:cNvSpPr>
                <p:nvPr/>
              </p:nvSpPr>
              <p:spPr bwMode="gray">
                <a:xfrm>
                  <a:off x="902726"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60" name="Triangle_3">
                  <a:extLst>
                    <a:ext uri="{FF2B5EF4-FFF2-40B4-BE49-F238E27FC236}">
                      <a16:creationId xmlns:a16="http://schemas.microsoft.com/office/drawing/2014/main" id="{ED985476-C86C-CE8F-2593-95CCD09F22EF}"/>
                    </a:ext>
                  </a:extLst>
                </p:cNvPr>
                <p:cNvSpPr>
                  <a:spLocks/>
                </p:cNvSpPr>
                <p:nvPr/>
              </p:nvSpPr>
              <p:spPr bwMode="gray">
                <a:xfrm rot="5400000">
                  <a:off x="819989"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61" name="Triangle_4">
                  <a:extLst>
                    <a:ext uri="{FF2B5EF4-FFF2-40B4-BE49-F238E27FC236}">
                      <a16:creationId xmlns:a16="http://schemas.microsoft.com/office/drawing/2014/main" id="{2CEE7FA5-843A-FC26-4F26-8F820D72CCC0}"/>
                    </a:ext>
                  </a:extLst>
                </p:cNvPr>
                <p:cNvSpPr>
                  <a:spLocks/>
                </p:cNvSpPr>
                <p:nvPr/>
              </p:nvSpPr>
              <p:spPr bwMode="gray">
                <a:xfrm rot="16200000">
                  <a:off x="985463" y="3826414"/>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44" name="Group 43">
                <a:extLst>
                  <a:ext uri="{FF2B5EF4-FFF2-40B4-BE49-F238E27FC236}">
                    <a16:creationId xmlns:a16="http://schemas.microsoft.com/office/drawing/2014/main" id="{67CB7098-9696-30E3-6515-8B1C1AAB843E}"/>
                  </a:ext>
                </a:extLst>
              </p:cNvPr>
              <p:cNvGrpSpPr>
                <a:grpSpLocks/>
              </p:cNvGrpSpPr>
              <p:nvPr/>
            </p:nvGrpSpPr>
            <p:grpSpPr bwMode="gray">
              <a:xfrm>
                <a:off x="700982" y="2926283"/>
                <a:ext cx="217142" cy="217142"/>
                <a:chOff x="902726" y="4074624"/>
                <a:chExt cx="330948" cy="330948"/>
              </a:xfrm>
              <a:grpFill/>
            </p:grpSpPr>
            <p:sp>
              <p:nvSpPr>
                <p:cNvPr id="552" name="dfine_grid_single_shape_frame">
                  <a:extLst>
                    <a:ext uri="{FF2B5EF4-FFF2-40B4-BE49-F238E27FC236}">
                      <a16:creationId xmlns:a16="http://schemas.microsoft.com/office/drawing/2014/main" id="{6B5D74A4-03ED-A2E7-10B9-CA368E4A35E5}"/>
                    </a:ext>
                  </a:extLst>
                </p:cNvPr>
                <p:cNvSpPr>
                  <a:spLocks/>
                </p:cNvSpPr>
                <p:nvPr/>
              </p:nvSpPr>
              <p:spPr bwMode="gray">
                <a:xfrm>
                  <a:off x="902726"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53" name="Triangle_1">
                  <a:extLst>
                    <a:ext uri="{FF2B5EF4-FFF2-40B4-BE49-F238E27FC236}">
                      <a16:creationId xmlns:a16="http://schemas.microsoft.com/office/drawing/2014/main" id="{FB9D6419-3E5D-D845-B6B7-19BDDADC4F6D}"/>
                    </a:ext>
                  </a:extLst>
                </p:cNvPr>
                <p:cNvSpPr>
                  <a:spLocks/>
                </p:cNvSpPr>
                <p:nvPr/>
              </p:nvSpPr>
              <p:spPr bwMode="gray">
                <a:xfrm rot="10800000">
                  <a:off x="902726"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54" name="Triangle_2">
                  <a:extLst>
                    <a:ext uri="{FF2B5EF4-FFF2-40B4-BE49-F238E27FC236}">
                      <a16:creationId xmlns:a16="http://schemas.microsoft.com/office/drawing/2014/main" id="{F3486DAD-08F1-6496-EEB8-31CF76812B27}"/>
                    </a:ext>
                  </a:extLst>
                </p:cNvPr>
                <p:cNvSpPr>
                  <a:spLocks/>
                </p:cNvSpPr>
                <p:nvPr/>
              </p:nvSpPr>
              <p:spPr bwMode="gray">
                <a:xfrm>
                  <a:off x="902726"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55" name="Triangle_3">
                  <a:extLst>
                    <a:ext uri="{FF2B5EF4-FFF2-40B4-BE49-F238E27FC236}">
                      <a16:creationId xmlns:a16="http://schemas.microsoft.com/office/drawing/2014/main" id="{DD87F17B-C4B2-BBF6-104D-E8F4B59F2F91}"/>
                    </a:ext>
                  </a:extLst>
                </p:cNvPr>
                <p:cNvSpPr>
                  <a:spLocks/>
                </p:cNvSpPr>
                <p:nvPr/>
              </p:nvSpPr>
              <p:spPr bwMode="gray">
                <a:xfrm rot="5400000">
                  <a:off x="819989"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56" name="Triangle_4">
                  <a:extLst>
                    <a:ext uri="{FF2B5EF4-FFF2-40B4-BE49-F238E27FC236}">
                      <a16:creationId xmlns:a16="http://schemas.microsoft.com/office/drawing/2014/main" id="{2FDD3CD4-9D5E-FDC6-6CC8-34A684A2B091}"/>
                    </a:ext>
                  </a:extLst>
                </p:cNvPr>
                <p:cNvSpPr>
                  <a:spLocks/>
                </p:cNvSpPr>
                <p:nvPr/>
              </p:nvSpPr>
              <p:spPr bwMode="gray">
                <a:xfrm rot="16200000">
                  <a:off x="98546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sp>
            <p:nvSpPr>
              <p:cNvPr id="45" name="Triangle_2">
                <a:extLst>
                  <a:ext uri="{FF2B5EF4-FFF2-40B4-BE49-F238E27FC236}">
                    <a16:creationId xmlns:a16="http://schemas.microsoft.com/office/drawing/2014/main" id="{6001279A-A5D0-EB55-1CBD-5A8504E3FC9C}"/>
                  </a:ext>
                </a:extLst>
              </p:cNvPr>
              <p:cNvSpPr>
                <a:spLocks/>
              </p:cNvSpPr>
              <p:nvPr/>
            </p:nvSpPr>
            <p:spPr bwMode="gray">
              <a:xfrm>
                <a:off x="920750" y="2384013"/>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6" name="Triangle_2">
                <a:extLst>
                  <a:ext uri="{FF2B5EF4-FFF2-40B4-BE49-F238E27FC236}">
                    <a16:creationId xmlns:a16="http://schemas.microsoft.com/office/drawing/2014/main" id="{F21F0098-DEF0-BD9A-5807-BD0EF933381A}"/>
                  </a:ext>
                </a:extLst>
              </p:cNvPr>
              <p:cNvSpPr>
                <a:spLocks/>
              </p:cNvSpPr>
              <p:nvPr/>
            </p:nvSpPr>
            <p:spPr bwMode="gray">
              <a:xfrm>
                <a:off x="700982" y="1949148"/>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7" name="Triangle_3">
                <a:extLst>
                  <a:ext uri="{FF2B5EF4-FFF2-40B4-BE49-F238E27FC236}">
                    <a16:creationId xmlns:a16="http://schemas.microsoft.com/office/drawing/2014/main" id="{2818A8C2-AFA5-230F-46B1-066F47AC267F}"/>
                  </a:ext>
                </a:extLst>
              </p:cNvPr>
              <p:cNvSpPr>
                <a:spLocks/>
              </p:cNvSpPr>
              <p:nvPr/>
            </p:nvSpPr>
            <p:spPr bwMode="gray">
              <a:xfrm rot="10800000">
                <a:off x="266700" y="1623437"/>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8" name="Triangle_2">
                <a:extLst>
                  <a:ext uri="{FF2B5EF4-FFF2-40B4-BE49-F238E27FC236}">
                    <a16:creationId xmlns:a16="http://schemas.microsoft.com/office/drawing/2014/main" id="{D9EB6109-A364-C40F-9ABF-77496769D930}"/>
                  </a:ext>
                </a:extLst>
              </p:cNvPr>
              <p:cNvSpPr>
                <a:spLocks/>
              </p:cNvSpPr>
              <p:nvPr/>
            </p:nvSpPr>
            <p:spPr bwMode="gray">
              <a:xfrm>
                <a:off x="266700" y="1732007"/>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9" name="Triangle_3">
                <a:extLst>
                  <a:ext uri="{FF2B5EF4-FFF2-40B4-BE49-F238E27FC236}">
                    <a16:creationId xmlns:a16="http://schemas.microsoft.com/office/drawing/2014/main" id="{5135D06F-E45D-3411-CEB6-F0E9FBE3B65A}"/>
                  </a:ext>
                </a:extLst>
              </p:cNvPr>
              <p:cNvSpPr>
                <a:spLocks/>
              </p:cNvSpPr>
              <p:nvPr/>
            </p:nvSpPr>
            <p:spPr bwMode="gray">
              <a:xfrm rot="10800000">
                <a:off x="266700" y="1840578"/>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0" name="Triangle_1">
                <a:extLst>
                  <a:ext uri="{FF2B5EF4-FFF2-40B4-BE49-F238E27FC236}">
                    <a16:creationId xmlns:a16="http://schemas.microsoft.com/office/drawing/2014/main" id="{FC9D34FD-DB27-C6B1-4D7D-FD3AC529B84E}"/>
                  </a:ext>
                </a:extLst>
              </p:cNvPr>
              <p:cNvSpPr>
                <a:spLocks/>
              </p:cNvSpPr>
              <p:nvPr/>
            </p:nvSpPr>
            <p:spPr bwMode="gray">
              <a:xfrm rot="10800000">
                <a:off x="483841" y="2492001"/>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1" name="Triangle_2">
                <a:extLst>
                  <a:ext uri="{FF2B5EF4-FFF2-40B4-BE49-F238E27FC236}">
                    <a16:creationId xmlns:a16="http://schemas.microsoft.com/office/drawing/2014/main" id="{D683D754-7F69-80E9-3EC2-F591EFC1770F}"/>
                  </a:ext>
                </a:extLst>
              </p:cNvPr>
              <p:cNvSpPr>
                <a:spLocks/>
              </p:cNvSpPr>
              <p:nvPr/>
            </p:nvSpPr>
            <p:spPr bwMode="gray">
              <a:xfrm>
                <a:off x="700982" y="2383431"/>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2" name="Triangle_2">
                <a:extLst>
                  <a:ext uri="{FF2B5EF4-FFF2-40B4-BE49-F238E27FC236}">
                    <a16:creationId xmlns:a16="http://schemas.microsoft.com/office/drawing/2014/main" id="{6AEC5AA5-7E27-6658-53EA-9A8631978DA1}"/>
                  </a:ext>
                </a:extLst>
              </p:cNvPr>
              <p:cNvSpPr>
                <a:spLocks/>
              </p:cNvSpPr>
              <p:nvPr/>
            </p:nvSpPr>
            <p:spPr bwMode="gray">
              <a:xfrm>
                <a:off x="266700" y="2166289"/>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nvGrpSpPr>
              <p:cNvPr id="53" name="Group 52">
                <a:extLst>
                  <a:ext uri="{FF2B5EF4-FFF2-40B4-BE49-F238E27FC236}">
                    <a16:creationId xmlns:a16="http://schemas.microsoft.com/office/drawing/2014/main" id="{F8F57654-C12E-BDCF-2CA2-C815C386E5DB}"/>
                  </a:ext>
                </a:extLst>
              </p:cNvPr>
              <p:cNvGrpSpPr>
                <a:grpSpLocks/>
              </p:cNvGrpSpPr>
              <p:nvPr/>
            </p:nvGrpSpPr>
            <p:grpSpPr bwMode="gray">
              <a:xfrm>
                <a:off x="700982" y="3143425"/>
                <a:ext cx="217142" cy="217142"/>
                <a:chOff x="902726" y="2419889"/>
                <a:chExt cx="330948" cy="330948"/>
              </a:xfrm>
              <a:grpFill/>
            </p:grpSpPr>
            <p:sp>
              <p:nvSpPr>
                <p:cNvPr id="547" name="dfine_grid_single_shape_frame">
                  <a:extLst>
                    <a:ext uri="{FF2B5EF4-FFF2-40B4-BE49-F238E27FC236}">
                      <a16:creationId xmlns:a16="http://schemas.microsoft.com/office/drawing/2014/main" id="{5E96F7AA-9D9E-702D-34E9-3B3AB13D9FB3}"/>
                    </a:ext>
                  </a:extLst>
                </p:cNvPr>
                <p:cNvSpPr>
                  <a:spLocks/>
                </p:cNvSpPr>
                <p:nvPr/>
              </p:nvSpPr>
              <p:spPr bwMode="gray">
                <a:xfrm>
                  <a:off x="902726"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48" name="Triangle_1">
                  <a:extLst>
                    <a:ext uri="{FF2B5EF4-FFF2-40B4-BE49-F238E27FC236}">
                      <a16:creationId xmlns:a16="http://schemas.microsoft.com/office/drawing/2014/main" id="{46EEA1A9-25E9-69B5-7B83-D3EC549E285A}"/>
                    </a:ext>
                  </a:extLst>
                </p:cNvPr>
                <p:cNvSpPr>
                  <a:spLocks/>
                </p:cNvSpPr>
                <p:nvPr/>
              </p:nvSpPr>
              <p:spPr bwMode="gray">
                <a:xfrm rot="10800000">
                  <a:off x="902726"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49" name="Triangle_2">
                  <a:extLst>
                    <a:ext uri="{FF2B5EF4-FFF2-40B4-BE49-F238E27FC236}">
                      <a16:creationId xmlns:a16="http://schemas.microsoft.com/office/drawing/2014/main" id="{8C42679D-2125-D9A2-FDD1-5D3455C637D1}"/>
                    </a:ext>
                  </a:extLst>
                </p:cNvPr>
                <p:cNvSpPr>
                  <a:spLocks/>
                </p:cNvSpPr>
                <p:nvPr/>
              </p:nvSpPr>
              <p:spPr bwMode="gray">
                <a:xfrm>
                  <a:off x="902726"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50" name="Triangle_3">
                  <a:extLst>
                    <a:ext uri="{FF2B5EF4-FFF2-40B4-BE49-F238E27FC236}">
                      <a16:creationId xmlns:a16="http://schemas.microsoft.com/office/drawing/2014/main" id="{7F5B01C8-71BA-E30A-2F00-AEFF224A2378}"/>
                    </a:ext>
                  </a:extLst>
                </p:cNvPr>
                <p:cNvSpPr>
                  <a:spLocks/>
                </p:cNvSpPr>
                <p:nvPr/>
              </p:nvSpPr>
              <p:spPr bwMode="gray">
                <a:xfrm rot="5400000">
                  <a:off x="819989"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51" name="Triangle_4">
                  <a:extLst>
                    <a:ext uri="{FF2B5EF4-FFF2-40B4-BE49-F238E27FC236}">
                      <a16:creationId xmlns:a16="http://schemas.microsoft.com/office/drawing/2014/main" id="{D6373DEE-5B26-F2EB-1D54-4DFF0265155E}"/>
                    </a:ext>
                  </a:extLst>
                </p:cNvPr>
                <p:cNvSpPr>
                  <a:spLocks/>
                </p:cNvSpPr>
                <p:nvPr/>
              </p:nvSpPr>
              <p:spPr bwMode="gray">
                <a:xfrm rot="16200000">
                  <a:off x="98546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54" name="Group 53">
                <a:extLst>
                  <a:ext uri="{FF2B5EF4-FFF2-40B4-BE49-F238E27FC236}">
                    <a16:creationId xmlns:a16="http://schemas.microsoft.com/office/drawing/2014/main" id="{E02B1C3C-EEA5-9571-2AC8-2BFC788ED25D}"/>
                  </a:ext>
                </a:extLst>
              </p:cNvPr>
              <p:cNvGrpSpPr>
                <a:grpSpLocks/>
              </p:cNvGrpSpPr>
              <p:nvPr/>
            </p:nvGrpSpPr>
            <p:grpSpPr bwMode="gray">
              <a:xfrm>
                <a:off x="700982" y="3360566"/>
                <a:ext cx="217142" cy="217142"/>
                <a:chOff x="902726" y="2750836"/>
                <a:chExt cx="330948" cy="330948"/>
              </a:xfrm>
              <a:grpFill/>
            </p:grpSpPr>
            <p:sp>
              <p:nvSpPr>
                <p:cNvPr id="542" name="dfine_grid_single_shape_frame">
                  <a:extLst>
                    <a:ext uri="{FF2B5EF4-FFF2-40B4-BE49-F238E27FC236}">
                      <a16:creationId xmlns:a16="http://schemas.microsoft.com/office/drawing/2014/main" id="{BADD24E0-5638-7689-CE8D-6E7EE406C8F3}"/>
                    </a:ext>
                  </a:extLst>
                </p:cNvPr>
                <p:cNvSpPr>
                  <a:spLocks/>
                </p:cNvSpPr>
                <p:nvPr/>
              </p:nvSpPr>
              <p:spPr bwMode="gray">
                <a:xfrm>
                  <a:off x="902726"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43" name="Triangle_1">
                  <a:extLst>
                    <a:ext uri="{FF2B5EF4-FFF2-40B4-BE49-F238E27FC236}">
                      <a16:creationId xmlns:a16="http://schemas.microsoft.com/office/drawing/2014/main" id="{7351B38C-6D98-793F-7DC3-C5A1301B99D3}"/>
                    </a:ext>
                  </a:extLst>
                </p:cNvPr>
                <p:cNvSpPr>
                  <a:spLocks/>
                </p:cNvSpPr>
                <p:nvPr/>
              </p:nvSpPr>
              <p:spPr bwMode="gray">
                <a:xfrm rot="10800000">
                  <a:off x="902726"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44" name="Triangle_2">
                  <a:extLst>
                    <a:ext uri="{FF2B5EF4-FFF2-40B4-BE49-F238E27FC236}">
                      <a16:creationId xmlns:a16="http://schemas.microsoft.com/office/drawing/2014/main" id="{99A98DF2-7F7D-2F64-6723-CE83E1380676}"/>
                    </a:ext>
                  </a:extLst>
                </p:cNvPr>
                <p:cNvSpPr>
                  <a:spLocks/>
                </p:cNvSpPr>
                <p:nvPr/>
              </p:nvSpPr>
              <p:spPr bwMode="gray">
                <a:xfrm>
                  <a:off x="902726"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45" name="Triangle_3">
                  <a:extLst>
                    <a:ext uri="{FF2B5EF4-FFF2-40B4-BE49-F238E27FC236}">
                      <a16:creationId xmlns:a16="http://schemas.microsoft.com/office/drawing/2014/main" id="{1225E4A4-227E-79FA-A040-0D7E70B70589}"/>
                    </a:ext>
                  </a:extLst>
                </p:cNvPr>
                <p:cNvSpPr>
                  <a:spLocks/>
                </p:cNvSpPr>
                <p:nvPr/>
              </p:nvSpPr>
              <p:spPr bwMode="gray">
                <a:xfrm rot="5400000">
                  <a:off x="819989"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46" name="Triangle_4">
                  <a:extLst>
                    <a:ext uri="{FF2B5EF4-FFF2-40B4-BE49-F238E27FC236}">
                      <a16:creationId xmlns:a16="http://schemas.microsoft.com/office/drawing/2014/main" id="{3E3649F5-E72E-9DBA-FB19-9A84EA2FFB5E}"/>
                    </a:ext>
                  </a:extLst>
                </p:cNvPr>
                <p:cNvSpPr>
                  <a:spLocks/>
                </p:cNvSpPr>
                <p:nvPr/>
              </p:nvSpPr>
              <p:spPr bwMode="gray">
                <a:xfrm rot="16200000">
                  <a:off x="98546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55" name="Group 54">
                <a:extLst>
                  <a:ext uri="{FF2B5EF4-FFF2-40B4-BE49-F238E27FC236}">
                    <a16:creationId xmlns:a16="http://schemas.microsoft.com/office/drawing/2014/main" id="{FA733D90-93C4-C662-8ED4-F55D2C4E2DBC}"/>
                  </a:ext>
                </a:extLst>
              </p:cNvPr>
              <p:cNvGrpSpPr>
                <a:grpSpLocks/>
              </p:cNvGrpSpPr>
              <p:nvPr/>
            </p:nvGrpSpPr>
            <p:grpSpPr bwMode="gray">
              <a:xfrm>
                <a:off x="700982" y="3577707"/>
                <a:ext cx="217142" cy="217142"/>
                <a:chOff x="902726" y="3081783"/>
                <a:chExt cx="330948" cy="330948"/>
              </a:xfrm>
              <a:grpFill/>
            </p:grpSpPr>
            <p:sp>
              <p:nvSpPr>
                <p:cNvPr id="537" name="dfine_grid_single_shape_frame">
                  <a:extLst>
                    <a:ext uri="{FF2B5EF4-FFF2-40B4-BE49-F238E27FC236}">
                      <a16:creationId xmlns:a16="http://schemas.microsoft.com/office/drawing/2014/main" id="{2BE0A598-BC01-08D1-54D7-542F2D9F13C4}"/>
                    </a:ext>
                  </a:extLst>
                </p:cNvPr>
                <p:cNvSpPr>
                  <a:spLocks/>
                </p:cNvSpPr>
                <p:nvPr/>
              </p:nvSpPr>
              <p:spPr bwMode="gray">
                <a:xfrm>
                  <a:off x="902726"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38" name="Triangle_1">
                  <a:extLst>
                    <a:ext uri="{FF2B5EF4-FFF2-40B4-BE49-F238E27FC236}">
                      <a16:creationId xmlns:a16="http://schemas.microsoft.com/office/drawing/2014/main" id="{84D4262C-0FBE-EF80-95BA-58F231A739B9}"/>
                    </a:ext>
                  </a:extLst>
                </p:cNvPr>
                <p:cNvSpPr>
                  <a:spLocks/>
                </p:cNvSpPr>
                <p:nvPr/>
              </p:nvSpPr>
              <p:spPr bwMode="gray">
                <a:xfrm rot="10800000">
                  <a:off x="902726"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39" name="Triangle_2">
                  <a:extLst>
                    <a:ext uri="{FF2B5EF4-FFF2-40B4-BE49-F238E27FC236}">
                      <a16:creationId xmlns:a16="http://schemas.microsoft.com/office/drawing/2014/main" id="{4EF03AF9-048F-D4F9-AB3D-FC52D2B48C9E}"/>
                    </a:ext>
                  </a:extLst>
                </p:cNvPr>
                <p:cNvSpPr>
                  <a:spLocks/>
                </p:cNvSpPr>
                <p:nvPr/>
              </p:nvSpPr>
              <p:spPr bwMode="gray">
                <a:xfrm>
                  <a:off x="902726"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40" name="Triangle_3">
                  <a:extLst>
                    <a:ext uri="{FF2B5EF4-FFF2-40B4-BE49-F238E27FC236}">
                      <a16:creationId xmlns:a16="http://schemas.microsoft.com/office/drawing/2014/main" id="{1C63D25C-53BE-6D98-7ACD-DB95AA06BE2E}"/>
                    </a:ext>
                  </a:extLst>
                </p:cNvPr>
                <p:cNvSpPr>
                  <a:spLocks/>
                </p:cNvSpPr>
                <p:nvPr/>
              </p:nvSpPr>
              <p:spPr bwMode="gray">
                <a:xfrm rot="5400000">
                  <a:off x="819989"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41" name="Triangle_4">
                  <a:extLst>
                    <a:ext uri="{FF2B5EF4-FFF2-40B4-BE49-F238E27FC236}">
                      <a16:creationId xmlns:a16="http://schemas.microsoft.com/office/drawing/2014/main" id="{2F3CFF58-BF91-59FF-4D0D-1F19396C1CB6}"/>
                    </a:ext>
                  </a:extLst>
                </p:cNvPr>
                <p:cNvSpPr>
                  <a:spLocks/>
                </p:cNvSpPr>
                <p:nvPr/>
              </p:nvSpPr>
              <p:spPr bwMode="gray">
                <a:xfrm rot="16200000">
                  <a:off x="98546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56" name="Group 55">
                <a:extLst>
                  <a:ext uri="{FF2B5EF4-FFF2-40B4-BE49-F238E27FC236}">
                    <a16:creationId xmlns:a16="http://schemas.microsoft.com/office/drawing/2014/main" id="{B2C257F6-9445-5254-CFBE-A1F28A907B5B}"/>
                  </a:ext>
                </a:extLst>
              </p:cNvPr>
              <p:cNvGrpSpPr>
                <a:grpSpLocks/>
              </p:cNvGrpSpPr>
              <p:nvPr/>
            </p:nvGrpSpPr>
            <p:grpSpPr bwMode="gray">
              <a:xfrm>
                <a:off x="700982" y="3794848"/>
                <a:ext cx="217142" cy="217142"/>
                <a:chOff x="902726" y="3412730"/>
                <a:chExt cx="330948" cy="330948"/>
              </a:xfrm>
              <a:grpFill/>
            </p:grpSpPr>
            <p:sp>
              <p:nvSpPr>
                <p:cNvPr id="532" name="dfine_grid_single_shape_frame">
                  <a:extLst>
                    <a:ext uri="{FF2B5EF4-FFF2-40B4-BE49-F238E27FC236}">
                      <a16:creationId xmlns:a16="http://schemas.microsoft.com/office/drawing/2014/main" id="{A07D15BE-FC19-4263-5EF0-85508EB70A8E}"/>
                    </a:ext>
                  </a:extLst>
                </p:cNvPr>
                <p:cNvSpPr>
                  <a:spLocks/>
                </p:cNvSpPr>
                <p:nvPr/>
              </p:nvSpPr>
              <p:spPr bwMode="gray">
                <a:xfrm>
                  <a:off x="902726"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33" name="Triangle_1">
                  <a:extLst>
                    <a:ext uri="{FF2B5EF4-FFF2-40B4-BE49-F238E27FC236}">
                      <a16:creationId xmlns:a16="http://schemas.microsoft.com/office/drawing/2014/main" id="{CEAFB313-7C5F-2EC6-A1AD-669F77039234}"/>
                    </a:ext>
                  </a:extLst>
                </p:cNvPr>
                <p:cNvSpPr>
                  <a:spLocks/>
                </p:cNvSpPr>
                <p:nvPr/>
              </p:nvSpPr>
              <p:spPr bwMode="gray">
                <a:xfrm rot="10800000">
                  <a:off x="902726"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34" name="Triangle_2">
                  <a:extLst>
                    <a:ext uri="{FF2B5EF4-FFF2-40B4-BE49-F238E27FC236}">
                      <a16:creationId xmlns:a16="http://schemas.microsoft.com/office/drawing/2014/main" id="{841535B9-47AB-12F8-4B73-EB18FEBEDDC4}"/>
                    </a:ext>
                  </a:extLst>
                </p:cNvPr>
                <p:cNvSpPr>
                  <a:spLocks/>
                </p:cNvSpPr>
                <p:nvPr/>
              </p:nvSpPr>
              <p:spPr bwMode="gray">
                <a:xfrm>
                  <a:off x="902726"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35" name="Triangle_3">
                  <a:extLst>
                    <a:ext uri="{FF2B5EF4-FFF2-40B4-BE49-F238E27FC236}">
                      <a16:creationId xmlns:a16="http://schemas.microsoft.com/office/drawing/2014/main" id="{505294BE-E35E-D0B6-097D-2085E98BFF0A}"/>
                    </a:ext>
                  </a:extLst>
                </p:cNvPr>
                <p:cNvSpPr>
                  <a:spLocks/>
                </p:cNvSpPr>
                <p:nvPr/>
              </p:nvSpPr>
              <p:spPr bwMode="gray">
                <a:xfrm rot="5400000">
                  <a:off x="819989"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36" name="Triangle_4">
                  <a:extLst>
                    <a:ext uri="{FF2B5EF4-FFF2-40B4-BE49-F238E27FC236}">
                      <a16:creationId xmlns:a16="http://schemas.microsoft.com/office/drawing/2014/main" id="{A738AB1F-5D6C-F551-CA19-8F36E6DF7113}"/>
                    </a:ext>
                  </a:extLst>
                </p:cNvPr>
                <p:cNvSpPr>
                  <a:spLocks/>
                </p:cNvSpPr>
                <p:nvPr/>
              </p:nvSpPr>
              <p:spPr bwMode="gray">
                <a:xfrm rot="16200000">
                  <a:off x="98546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57" name="Group 56">
                <a:extLst>
                  <a:ext uri="{FF2B5EF4-FFF2-40B4-BE49-F238E27FC236}">
                    <a16:creationId xmlns:a16="http://schemas.microsoft.com/office/drawing/2014/main" id="{792900AB-CE44-AC65-2FBE-0AB33E3800FF}"/>
                  </a:ext>
                </a:extLst>
              </p:cNvPr>
              <p:cNvGrpSpPr>
                <a:grpSpLocks/>
              </p:cNvGrpSpPr>
              <p:nvPr/>
            </p:nvGrpSpPr>
            <p:grpSpPr bwMode="gray">
              <a:xfrm>
                <a:off x="700982" y="4011989"/>
                <a:ext cx="217142" cy="217142"/>
                <a:chOff x="902726" y="3743677"/>
                <a:chExt cx="330948" cy="330948"/>
              </a:xfrm>
              <a:grpFill/>
            </p:grpSpPr>
            <p:sp>
              <p:nvSpPr>
                <p:cNvPr id="527" name="dfine_grid_single_shape_frame">
                  <a:extLst>
                    <a:ext uri="{FF2B5EF4-FFF2-40B4-BE49-F238E27FC236}">
                      <a16:creationId xmlns:a16="http://schemas.microsoft.com/office/drawing/2014/main" id="{86875789-4A81-0938-FF00-0546CFF641C0}"/>
                    </a:ext>
                  </a:extLst>
                </p:cNvPr>
                <p:cNvSpPr>
                  <a:spLocks/>
                </p:cNvSpPr>
                <p:nvPr/>
              </p:nvSpPr>
              <p:spPr bwMode="gray">
                <a:xfrm>
                  <a:off x="902726"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28" name="Triangle_1">
                  <a:extLst>
                    <a:ext uri="{FF2B5EF4-FFF2-40B4-BE49-F238E27FC236}">
                      <a16:creationId xmlns:a16="http://schemas.microsoft.com/office/drawing/2014/main" id="{AB459279-DD34-0687-E760-2DCA41DD75F8}"/>
                    </a:ext>
                  </a:extLst>
                </p:cNvPr>
                <p:cNvSpPr>
                  <a:spLocks/>
                </p:cNvSpPr>
                <p:nvPr/>
              </p:nvSpPr>
              <p:spPr bwMode="gray">
                <a:xfrm rot="10800000">
                  <a:off x="902726"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29" name="Triangle_2">
                  <a:extLst>
                    <a:ext uri="{FF2B5EF4-FFF2-40B4-BE49-F238E27FC236}">
                      <a16:creationId xmlns:a16="http://schemas.microsoft.com/office/drawing/2014/main" id="{5DE55DD8-A111-F853-25C5-9AE2841AE8EA}"/>
                    </a:ext>
                  </a:extLst>
                </p:cNvPr>
                <p:cNvSpPr>
                  <a:spLocks/>
                </p:cNvSpPr>
                <p:nvPr/>
              </p:nvSpPr>
              <p:spPr bwMode="gray">
                <a:xfrm>
                  <a:off x="902726"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30" name="Triangle_3">
                  <a:extLst>
                    <a:ext uri="{FF2B5EF4-FFF2-40B4-BE49-F238E27FC236}">
                      <a16:creationId xmlns:a16="http://schemas.microsoft.com/office/drawing/2014/main" id="{6248B887-AE96-79C3-B15F-A57320B625D4}"/>
                    </a:ext>
                  </a:extLst>
                </p:cNvPr>
                <p:cNvSpPr>
                  <a:spLocks/>
                </p:cNvSpPr>
                <p:nvPr/>
              </p:nvSpPr>
              <p:spPr bwMode="gray">
                <a:xfrm rot="5400000">
                  <a:off x="819989"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31" name="Triangle_4">
                  <a:extLst>
                    <a:ext uri="{FF2B5EF4-FFF2-40B4-BE49-F238E27FC236}">
                      <a16:creationId xmlns:a16="http://schemas.microsoft.com/office/drawing/2014/main" id="{81960C9D-08FC-AB80-E024-BCE791E8DEA1}"/>
                    </a:ext>
                  </a:extLst>
                </p:cNvPr>
                <p:cNvSpPr>
                  <a:spLocks/>
                </p:cNvSpPr>
                <p:nvPr/>
              </p:nvSpPr>
              <p:spPr bwMode="gray">
                <a:xfrm rot="16200000">
                  <a:off x="98546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58" name="Group 57">
                <a:extLst>
                  <a:ext uri="{FF2B5EF4-FFF2-40B4-BE49-F238E27FC236}">
                    <a16:creationId xmlns:a16="http://schemas.microsoft.com/office/drawing/2014/main" id="{2DD15CA1-E7DD-3C9C-19F5-485A07E0F459}"/>
                  </a:ext>
                </a:extLst>
              </p:cNvPr>
              <p:cNvGrpSpPr>
                <a:grpSpLocks/>
              </p:cNvGrpSpPr>
              <p:nvPr/>
            </p:nvGrpSpPr>
            <p:grpSpPr bwMode="gray">
              <a:xfrm>
                <a:off x="700982" y="4229130"/>
                <a:ext cx="217142" cy="217142"/>
                <a:chOff x="902726" y="4074624"/>
                <a:chExt cx="330948" cy="330948"/>
              </a:xfrm>
              <a:grpFill/>
            </p:grpSpPr>
            <p:sp>
              <p:nvSpPr>
                <p:cNvPr id="522" name="dfine_grid_single_shape_frame">
                  <a:extLst>
                    <a:ext uri="{FF2B5EF4-FFF2-40B4-BE49-F238E27FC236}">
                      <a16:creationId xmlns:a16="http://schemas.microsoft.com/office/drawing/2014/main" id="{36A9CFAD-CD6B-7F3A-A2A8-AB54ADBD132F}"/>
                    </a:ext>
                  </a:extLst>
                </p:cNvPr>
                <p:cNvSpPr>
                  <a:spLocks/>
                </p:cNvSpPr>
                <p:nvPr/>
              </p:nvSpPr>
              <p:spPr bwMode="gray">
                <a:xfrm>
                  <a:off x="902726"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23" name="Triangle_1">
                  <a:extLst>
                    <a:ext uri="{FF2B5EF4-FFF2-40B4-BE49-F238E27FC236}">
                      <a16:creationId xmlns:a16="http://schemas.microsoft.com/office/drawing/2014/main" id="{ACC6FE50-EBD2-8A8B-61BD-AE8A88FEE0D3}"/>
                    </a:ext>
                  </a:extLst>
                </p:cNvPr>
                <p:cNvSpPr>
                  <a:spLocks/>
                </p:cNvSpPr>
                <p:nvPr/>
              </p:nvSpPr>
              <p:spPr bwMode="gray">
                <a:xfrm rot="10800000">
                  <a:off x="902726"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24" name="Triangle_2">
                  <a:extLst>
                    <a:ext uri="{FF2B5EF4-FFF2-40B4-BE49-F238E27FC236}">
                      <a16:creationId xmlns:a16="http://schemas.microsoft.com/office/drawing/2014/main" id="{3D38D656-83C4-670D-5EC6-A4CB7611AD2D}"/>
                    </a:ext>
                  </a:extLst>
                </p:cNvPr>
                <p:cNvSpPr>
                  <a:spLocks/>
                </p:cNvSpPr>
                <p:nvPr/>
              </p:nvSpPr>
              <p:spPr bwMode="gray">
                <a:xfrm>
                  <a:off x="902726"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25" name="Triangle_3">
                  <a:extLst>
                    <a:ext uri="{FF2B5EF4-FFF2-40B4-BE49-F238E27FC236}">
                      <a16:creationId xmlns:a16="http://schemas.microsoft.com/office/drawing/2014/main" id="{3002E1A1-9140-DFC6-74E9-8515D0F27A12}"/>
                    </a:ext>
                  </a:extLst>
                </p:cNvPr>
                <p:cNvSpPr>
                  <a:spLocks/>
                </p:cNvSpPr>
                <p:nvPr/>
              </p:nvSpPr>
              <p:spPr bwMode="gray">
                <a:xfrm rot="5400000">
                  <a:off x="819989"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26" name="Triangle_4">
                  <a:extLst>
                    <a:ext uri="{FF2B5EF4-FFF2-40B4-BE49-F238E27FC236}">
                      <a16:creationId xmlns:a16="http://schemas.microsoft.com/office/drawing/2014/main" id="{0A5014AE-442B-3744-56BE-D9F362507BA8}"/>
                    </a:ext>
                  </a:extLst>
                </p:cNvPr>
                <p:cNvSpPr>
                  <a:spLocks/>
                </p:cNvSpPr>
                <p:nvPr/>
              </p:nvSpPr>
              <p:spPr bwMode="gray">
                <a:xfrm rot="16200000">
                  <a:off x="98546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59" name="Group 58">
                <a:extLst>
                  <a:ext uri="{FF2B5EF4-FFF2-40B4-BE49-F238E27FC236}">
                    <a16:creationId xmlns:a16="http://schemas.microsoft.com/office/drawing/2014/main" id="{C867C6B6-2C70-186D-DBEE-ADA2B624B707}"/>
                  </a:ext>
                </a:extLst>
              </p:cNvPr>
              <p:cNvGrpSpPr>
                <a:grpSpLocks/>
              </p:cNvGrpSpPr>
              <p:nvPr/>
            </p:nvGrpSpPr>
            <p:grpSpPr bwMode="gray">
              <a:xfrm>
                <a:off x="918123" y="3143425"/>
                <a:ext cx="217142" cy="217142"/>
                <a:chOff x="1233673" y="2419889"/>
                <a:chExt cx="330948" cy="330948"/>
              </a:xfrm>
              <a:grpFill/>
            </p:grpSpPr>
            <p:sp>
              <p:nvSpPr>
                <p:cNvPr id="517" name="dfine_grid_single_shape_frame">
                  <a:extLst>
                    <a:ext uri="{FF2B5EF4-FFF2-40B4-BE49-F238E27FC236}">
                      <a16:creationId xmlns:a16="http://schemas.microsoft.com/office/drawing/2014/main" id="{48D69E2B-09F7-0663-1576-138A0DDDCD40}"/>
                    </a:ext>
                  </a:extLst>
                </p:cNvPr>
                <p:cNvSpPr>
                  <a:spLocks/>
                </p:cNvSpPr>
                <p:nvPr/>
              </p:nvSpPr>
              <p:spPr bwMode="gray">
                <a:xfrm>
                  <a:off x="1233673"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18" name="Triangle_1">
                  <a:extLst>
                    <a:ext uri="{FF2B5EF4-FFF2-40B4-BE49-F238E27FC236}">
                      <a16:creationId xmlns:a16="http://schemas.microsoft.com/office/drawing/2014/main" id="{37E3016C-9AA4-EDD0-7503-D9787B2D2265}"/>
                    </a:ext>
                  </a:extLst>
                </p:cNvPr>
                <p:cNvSpPr>
                  <a:spLocks/>
                </p:cNvSpPr>
                <p:nvPr/>
              </p:nvSpPr>
              <p:spPr bwMode="gray">
                <a:xfrm rot="10800000">
                  <a:off x="1233673"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19" name="Triangle_2">
                  <a:extLst>
                    <a:ext uri="{FF2B5EF4-FFF2-40B4-BE49-F238E27FC236}">
                      <a16:creationId xmlns:a16="http://schemas.microsoft.com/office/drawing/2014/main" id="{568A6D91-7B0A-54A5-8B97-C2DFBC1FAE96}"/>
                    </a:ext>
                  </a:extLst>
                </p:cNvPr>
                <p:cNvSpPr>
                  <a:spLocks/>
                </p:cNvSpPr>
                <p:nvPr/>
              </p:nvSpPr>
              <p:spPr bwMode="gray">
                <a:xfrm>
                  <a:off x="1233673"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20" name="Triangle_3">
                  <a:extLst>
                    <a:ext uri="{FF2B5EF4-FFF2-40B4-BE49-F238E27FC236}">
                      <a16:creationId xmlns:a16="http://schemas.microsoft.com/office/drawing/2014/main" id="{42D59672-F2E2-C50E-257B-34CD0BF51D4D}"/>
                    </a:ext>
                  </a:extLst>
                </p:cNvPr>
                <p:cNvSpPr>
                  <a:spLocks/>
                </p:cNvSpPr>
                <p:nvPr/>
              </p:nvSpPr>
              <p:spPr bwMode="gray">
                <a:xfrm rot="5400000">
                  <a:off x="1150936"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21" name="Triangle_4">
                  <a:extLst>
                    <a:ext uri="{FF2B5EF4-FFF2-40B4-BE49-F238E27FC236}">
                      <a16:creationId xmlns:a16="http://schemas.microsoft.com/office/drawing/2014/main" id="{87956B4E-0DF6-9EB6-AF9C-06E463B82E06}"/>
                    </a:ext>
                  </a:extLst>
                </p:cNvPr>
                <p:cNvSpPr>
                  <a:spLocks/>
                </p:cNvSpPr>
                <p:nvPr/>
              </p:nvSpPr>
              <p:spPr bwMode="gray">
                <a:xfrm rot="16200000">
                  <a:off x="1316410"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60" name="Group 59">
                <a:extLst>
                  <a:ext uri="{FF2B5EF4-FFF2-40B4-BE49-F238E27FC236}">
                    <a16:creationId xmlns:a16="http://schemas.microsoft.com/office/drawing/2014/main" id="{7E54E6C3-C82D-3654-DF40-55766F9015B5}"/>
                  </a:ext>
                </a:extLst>
              </p:cNvPr>
              <p:cNvGrpSpPr>
                <a:grpSpLocks/>
              </p:cNvGrpSpPr>
              <p:nvPr/>
            </p:nvGrpSpPr>
            <p:grpSpPr bwMode="gray">
              <a:xfrm>
                <a:off x="918123" y="3360566"/>
                <a:ext cx="217142" cy="217142"/>
                <a:chOff x="1233673" y="2750836"/>
                <a:chExt cx="330948" cy="330948"/>
              </a:xfrm>
              <a:grpFill/>
            </p:grpSpPr>
            <p:sp>
              <p:nvSpPr>
                <p:cNvPr id="512" name="dfine_grid_single_shape_frame">
                  <a:extLst>
                    <a:ext uri="{FF2B5EF4-FFF2-40B4-BE49-F238E27FC236}">
                      <a16:creationId xmlns:a16="http://schemas.microsoft.com/office/drawing/2014/main" id="{DED2E3BE-8767-1E1F-7D7C-EE4E4054BF19}"/>
                    </a:ext>
                  </a:extLst>
                </p:cNvPr>
                <p:cNvSpPr>
                  <a:spLocks/>
                </p:cNvSpPr>
                <p:nvPr/>
              </p:nvSpPr>
              <p:spPr bwMode="gray">
                <a:xfrm>
                  <a:off x="1233673"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13" name="Triangle_1">
                  <a:extLst>
                    <a:ext uri="{FF2B5EF4-FFF2-40B4-BE49-F238E27FC236}">
                      <a16:creationId xmlns:a16="http://schemas.microsoft.com/office/drawing/2014/main" id="{F3EDCD40-C89D-C83A-D4C7-4F8E8B00DA73}"/>
                    </a:ext>
                  </a:extLst>
                </p:cNvPr>
                <p:cNvSpPr>
                  <a:spLocks/>
                </p:cNvSpPr>
                <p:nvPr/>
              </p:nvSpPr>
              <p:spPr bwMode="gray">
                <a:xfrm rot="10800000">
                  <a:off x="1233673"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14" name="Triangle_2">
                  <a:extLst>
                    <a:ext uri="{FF2B5EF4-FFF2-40B4-BE49-F238E27FC236}">
                      <a16:creationId xmlns:a16="http://schemas.microsoft.com/office/drawing/2014/main" id="{CC19CCB2-D2CC-696D-B6FF-FC60465BA7B5}"/>
                    </a:ext>
                  </a:extLst>
                </p:cNvPr>
                <p:cNvSpPr>
                  <a:spLocks/>
                </p:cNvSpPr>
                <p:nvPr/>
              </p:nvSpPr>
              <p:spPr bwMode="gray">
                <a:xfrm>
                  <a:off x="1233673"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15" name="Triangle_3">
                  <a:extLst>
                    <a:ext uri="{FF2B5EF4-FFF2-40B4-BE49-F238E27FC236}">
                      <a16:creationId xmlns:a16="http://schemas.microsoft.com/office/drawing/2014/main" id="{32E013FB-C127-3887-DBBA-F80CF4B73EE4}"/>
                    </a:ext>
                  </a:extLst>
                </p:cNvPr>
                <p:cNvSpPr>
                  <a:spLocks/>
                </p:cNvSpPr>
                <p:nvPr/>
              </p:nvSpPr>
              <p:spPr bwMode="gray">
                <a:xfrm rot="5400000">
                  <a:off x="1150936"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16" name="Triangle_4">
                  <a:extLst>
                    <a:ext uri="{FF2B5EF4-FFF2-40B4-BE49-F238E27FC236}">
                      <a16:creationId xmlns:a16="http://schemas.microsoft.com/office/drawing/2014/main" id="{C9B044AE-FD46-B99C-AC90-8354A502DE23}"/>
                    </a:ext>
                  </a:extLst>
                </p:cNvPr>
                <p:cNvSpPr>
                  <a:spLocks/>
                </p:cNvSpPr>
                <p:nvPr/>
              </p:nvSpPr>
              <p:spPr bwMode="gray">
                <a:xfrm rot="16200000">
                  <a:off x="1316410"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61" name="Group 60">
                <a:extLst>
                  <a:ext uri="{FF2B5EF4-FFF2-40B4-BE49-F238E27FC236}">
                    <a16:creationId xmlns:a16="http://schemas.microsoft.com/office/drawing/2014/main" id="{0AD4FFB4-A780-7FBA-4FA4-1C5C10F1B9F0}"/>
                  </a:ext>
                </a:extLst>
              </p:cNvPr>
              <p:cNvGrpSpPr>
                <a:grpSpLocks/>
              </p:cNvGrpSpPr>
              <p:nvPr/>
            </p:nvGrpSpPr>
            <p:grpSpPr bwMode="gray">
              <a:xfrm>
                <a:off x="918123" y="3577707"/>
                <a:ext cx="217142" cy="217142"/>
                <a:chOff x="1233673" y="3081783"/>
                <a:chExt cx="330948" cy="330948"/>
              </a:xfrm>
              <a:grpFill/>
            </p:grpSpPr>
            <p:sp>
              <p:nvSpPr>
                <p:cNvPr id="507" name="dfine_grid_single_shape_frame">
                  <a:extLst>
                    <a:ext uri="{FF2B5EF4-FFF2-40B4-BE49-F238E27FC236}">
                      <a16:creationId xmlns:a16="http://schemas.microsoft.com/office/drawing/2014/main" id="{F6658AA7-5D71-FACE-5323-613979B5440D}"/>
                    </a:ext>
                  </a:extLst>
                </p:cNvPr>
                <p:cNvSpPr>
                  <a:spLocks/>
                </p:cNvSpPr>
                <p:nvPr/>
              </p:nvSpPr>
              <p:spPr bwMode="gray">
                <a:xfrm>
                  <a:off x="1233673"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08" name="Triangle_1">
                  <a:extLst>
                    <a:ext uri="{FF2B5EF4-FFF2-40B4-BE49-F238E27FC236}">
                      <a16:creationId xmlns:a16="http://schemas.microsoft.com/office/drawing/2014/main" id="{31DCDD8C-2DC7-1C29-2159-0FBBCD7DD13A}"/>
                    </a:ext>
                  </a:extLst>
                </p:cNvPr>
                <p:cNvSpPr>
                  <a:spLocks/>
                </p:cNvSpPr>
                <p:nvPr/>
              </p:nvSpPr>
              <p:spPr bwMode="gray">
                <a:xfrm rot="10800000">
                  <a:off x="1233673" y="3081783"/>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09" name="Triangle_2">
                  <a:extLst>
                    <a:ext uri="{FF2B5EF4-FFF2-40B4-BE49-F238E27FC236}">
                      <a16:creationId xmlns:a16="http://schemas.microsoft.com/office/drawing/2014/main" id="{FAC0BA71-46B7-D80C-B38C-E124A7E2ABF2}"/>
                    </a:ext>
                  </a:extLst>
                </p:cNvPr>
                <p:cNvSpPr>
                  <a:spLocks/>
                </p:cNvSpPr>
                <p:nvPr/>
              </p:nvSpPr>
              <p:spPr bwMode="gray">
                <a:xfrm>
                  <a:off x="1233673"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10" name="Triangle_3">
                  <a:extLst>
                    <a:ext uri="{FF2B5EF4-FFF2-40B4-BE49-F238E27FC236}">
                      <a16:creationId xmlns:a16="http://schemas.microsoft.com/office/drawing/2014/main" id="{2B734810-FF5C-CC87-A4DA-7261E6F575D2}"/>
                    </a:ext>
                  </a:extLst>
                </p:cNvPr>
                <p:cNvSpPr>
                  <a:spLocks/>
                </p:cNvSpPr>
                <p:nvPr/>
              </p:nvSpPr>
              <p:spPr bwMode="gray">
                <a:xfrm rot="5400000">
                  <a:off x="1150936"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11" name="Triangle_4">
                  <a:extLst>
                    <a:ext uri="{FF2B5EF4-FFF2-40B4-BE49-F238E27FC236}">
                      <a16:creationId xmlns:a16="http://schemas.microsoft.com/office/drawing/2014/main" id="{1E9EA8BC-90D2-2D17-0C57-14DE8EB4007C}"/>
                    </a:ext>
                  </a:extLst>
                </p:cNvPr>
                <p:cNvSpPr>
                  <a:spLocks/>
                </p:cNvSpPr>
                <p:nvPr/>
              </p:nvSpPr>
              <p:spPr bwMode="gray">
                <a:xfrm rot="16200000">
                  <a:off x="1316410"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62" name="Group 61">
                <a:extLst>
                  <a:ext uri="{FF2B5EF4-FFF2-40B4-BE49-F238E27FC236}">
                    <a16:creationId xmlns:a16="http://schemas.microsoft.com/office/drawing/2014/main" id="{0C705ED5-FE27-2D90-B06B-47A6C3563432}"/>
                  </a:ext>
                </a:extLst>
              </p:cNvPr>
              <p:cNvGrpSpPr>
                <a:grpSpLocks/>
              </p:cNvGrpSpPr>
              <p:nvPr/>
            </p:nvGrpSpPr>
            <p:grpSpPr bwMode="gray">
              <a:xfrm>
                <a:off x="918123" y="3794848"/>
                <a:ext cx="217142" cy="217142"/>
                <a:chOff x="1233673" y="3412730"/>
                <a:chExt cx="330948" cy="330948"/>
              </a:xfrm>
              <a:grpFill/>
            </p:grpSpPr>
            <p:sp>
              <p:nvSpPr>
                <p:cNvPr id="502" name="dfine_grid_single_shape_frame">
                  <a:extLst>
                    <a:ext uri="{FF2B5EF4-FFF2-40B4-BE49-F238E27FC236}">
                      <a16:creationId xmlns:a16="http://schemas.microsoft.com/office/drawing/2014/main" id="{DF19959B-B2A2-F765-BBB5-B582271FDBA2}"/>
                    </a:ext>
                  </a:extLst>
                </p:cNvPr>
                <p:cNvSpPr>
                  <a:spLocks/>
                </p:cNvSpPr>
                <p:nvPr/>
              </p:nvSpPr>
              <p:spPr bwMode="gray">
                <a:xfrm>
                  <a:off x="1233673"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03" name="Triangle_1">
                  <a:extLst>
                    <a:ext uri="{FF2B5EF4-FFF2-40B4-BE49-F238E27FC236}">
                      <a16:creationId xmlns:a16="http://schemas.microsoft.com/office/drawing/2014/main" id="{E0378EDC-B4AA-61AE-494D-0C49AF6B5F1F}"/>
                    </a:ext>
                  </a:extLst>
                </p:cNvPr>
                <p:cNvSpPr>
                  <a:spLocks/>
                </p:cNvSpPr>
                <p:nvPr/>
              </p:nvSpPr>
              <p:spPr bwMode="gray">
                <a:xfrm rot="10800000">
                  <a:off x="1233673"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04" name="Triangle_2">
                  <a:extLst>
                    <a:ext uri="{FF2B5EF4-FFF2-40B4-BE49-F238E27FC236}">
                      <a16:creationId xmlns:a16="http://schemas.microsoft.com/office/drawing/2014/main" id="{0779E446-195B-C2FE-CA45-41BDD08BA783}"/>
                    </a:ext>
                  </a:extLst>
                </p:cNvPr>
                <p:cNvSpPr>
                  <a:spLocks/>
                </p:cNvSpPr>
                <p:nvPr/>
              </p:nvSpPr>
              <p:spPr bwMode="gray">
                <a:xfrm>
                  <a:off x="1233673"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05" name="Triangle_3">
                  <a:extLst>
                    <a:ext uri="{FF2B5EF4-FFF2-40B4-BE49-F238E27FC236}">
                      <a16:creationId xmlns:a16="http://schemas.microsoft.com/office/drawing/2014/main" id="{52795EFA-9B97-F79D-9BA7-BD22F2079365}"/>
                    </a:ext>
                  </a:extLst>
                </p:cNvPr>
                <p:cNvSpPr>
                  <a:spLocks/>
                </p:cNvSpPr>
                <p:nvPr/>
              </p:nvSpPr>
              <p:spPr bwMode="gray">
                <a:xfrm rot="5400000">
                  <a:off x="1150936"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06" name="Triangle_4">
                  <a:extLst>
                    <a:ext uri="{FF2B5EF4-FFF2-40B4-BE49-F238E27FC236}">
                      <a16:creationId xmlns:a16="http://schemas.microsoft.com/office/drawing/2014/main" id="{A6F1DF0E-FDCD-2BB4-5AE9-FD179592E7FC}"/>
                    </a:ext>
                  </a:extLst>
                </p:cNvPr>
                <p:cNvSpPr>
                  <a:spLocks/>
                </p:cNvSpPr>
                <p:nvPr/>
              </p:nvSpPr>
              <p:spPr bwMode="gray">
                <a:xfrm rot="16200000">
                  <a:off x="1316410"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63" name="Group 62">
                <a:extLst>
                  <a:ext uri="{FF2B5EF4-FFF2-40B4-BE49-F238E27FC236}">
                    <a16:creationId xmlns:a16="http://schemas.microsoft.com/office/drawing/2014/main" id="{6F055B9E-F9F6-0EDD-2D56-6C20121A55AD}"/>
                  </a:ext>
                </a:extLst>
              </p:cNvPr>
              <p:cNvGrpSpPr>
                <a:grpSpLocks/>
              </p:cNvGrpSpPr>
              <p:nvPr/>
            </p:nvGrpSpPr>
            <p:grpSpPr bwMode="gray">
              <a:xfrm>
                <a:off x="918123" y="4011989"/>
                <a:ext cx="217142" cy="217142"/>
                <a:chOff x="1233673" y="3743677"/>
                <a:chExt cx="330948" cy="330948"/>
              </a:xfrm>
              <a:grpFill/>
            </p:grpSpPr>
            <p:sp>
              <p:nvSpPr>
                <p:cNvPr id="497" name="dfine_grid_single_shape_frame">
                  <a:extLst>
                    <a:ext uri="{FF2B5EF4-FFF2-40B4-BE49-F238E27FC236}">
                      <a16:creationId xmlns:a16="http://schemas.microsoft.com/office/drawing/2014/main" id="{1BCB8504-37C4-8326-609A-97047C20FC53}"/>
                    </a:ext>
                  </a:extLst>
                </p:cNvPr>
                <p:cNvSpPr>
                  <a:spLocks/>
                </p:cNvSpPr>
                <p:nvPr/>
              </p:nvSpPr>
              <p:spPr bwMode="gray">
                <a:xfrm>
                  <a:off x="1233673"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98" name="Triangle_1">
                  <a:extLst>
                    <a:ext uri="{FF2B5EF4-FFF2-40B4-BE49-F238E27FC236}">
                      <a16:creationId xmlns:a16="http://schemas.microsoft.com/office/drawing/2014/main" id="{97E98128-8D64-DE8A-FF67-A708BC771B11}"/>
                    </a:ext>
                  </a:extLst>
                </p:cNvPr>
                <p:cNvSpPr>
                  <a:spLocks/>
                </p:cNvSpPr>
                <p:nvPr/>
              </p:nvSpPr>
              <p:spPr bwMode="gray">
                <a:xfrm rot="10800000">
                  <a:off x="1233673"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99" name="Triangle_2">
                  <a:extLst>
                    <a:ext uri="{FF2B5EF4-FFF2-40B4-BE49-F238E27FC236}">
                      <a16:creationId xmlns:a16="http://schemas.microsoft.com/office/drawing/2014/main" id="{65F1C696-0473-69E3-FEA6-C3C0769AD270}"/>
                    </a:ext>
                  </a:extLst>
                </p:cNvPr>
                <p:cNvSpPr>
                  <a:spLocks/>
                </p:cNvSpPr>
                <p:nvPr/>
              </p:nvSpPr>
              <p:spPr bwMode="gray">
                <a:xfrm>
                  <a:off x="1233673"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00" name="Triangle_3">
                  <a:extLst>
                    <a:ext uri="{FF2B5EF4-FFF2-40B4-BE49-F238E27FC236}">
                      <a16:creationId xmlns:a16="http://schemas.microsoft.com/office/drawing/2014/main" id="{CEF95AF1-8E2A-0532-A35D-473CDD232606}"/>
                    </a:ext>
                  </a:extLst>
                </p:cNvPr>
                <p:cNvSpPr>
                  <a:spLocks/>
                </p:cNvSpPr>
                <p:nvPr/>
              </p:nvSpPr>
              <p:spPr bwMode="gray">
                <a:xfrm rot="5400000">
                  <a:off x="1150936"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501" name="Triangle_4">
                  <a:extLst>
                    <a:ext uri="{FF2B5EF4-FFF2-40B4-BE49-F238E27FC236}">
                      <a16:creationId xmlns:a16="http://schemas.microsoft.com/office/drawing/2014/main" id="{5D2FF3D2-2B25-FDCC-FBEC-0F2EEBF4F93E}"/>
                    </a:ext>
                  </a:extLst>
                </p:cNvPr>
                <p:cNvSpPr>
                  <a:spLocks/>
                </p:cNvSpPr>
                <p:nvPr/>
              </p:nvSpPr>
              <p:spPr bwMode="gray">
                <a:xfrm rot="16200000">
                  <a:off x="1316410"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64" name="Group 63">
                <a:extLst>
                  <a:ext uri="{FF2B5EF4-FFF2-40B4-BE49-F238E27FC236}">
                    <a16:creationId xmlns:a16="http://schemas.microsoft.com/office/drawing/2014/main" id="{CC000502-C20E-278A-0988-BDD44322B8AB}"/>
                  </a:ext>
                </a:extLst>
              </p:cNvPr>
              <p:cNvGrpSpPr>
                <a:grpSpLocks/>
              </p:cNvGrpSpPr>
              <p:nvPr/>
            </p:nvGrpSpPr>
            <p:grpSpPr bwMode="gray">
              <a:xfrm>
                <a:off x="918123" y="4229130"/>
                <a:ext cx="217142" cy="217142"/>
                <a:chOff x="1233673" y="4074624"/>
                <a:chExt cx="330948" cy="330948"/>
              </a:xfrm>
              <a:grpFill/>
            </p:grpSpPr>
            <p:sp>
              <p:nvSpPr>
                <p:cNvPr id="492" name="dfine_grid_single_shape_frame">
                  <a:extLst>
                    <a:ext uri="{FF2B5EF4-FFF2-40B4-BE49-F238E27FC236}">
                      <a16:creationId xmlns:a16="http://schemas.microsoft.com/office/drawing/2014/main" id="{B7EF537E-2B77-69B3-C192-EB47220091E7}"/>
                    </a:ext>
                  </a:extLst>
                </p:cNvPr>
                <p:cNvSpPr>
                  <a:spLocks/>
                </p:cNvSpPr>
                <p:nvPr/>
              </p:nvSpPr>
              <p:spPr bwMode="gray">
                <a:xfrm>
                  <a:off x="1233673"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93" name="Triangle_1">
                  <a:extLst>
                    <a:ext uri="{FF2B5EF4-FFF2-40B4-BE49-F238E27FC236}">
                      <a16:creationId xmlns:a16="http://schemas.microsoft.com/office/drawing/2014/main" id="{08ABB9CB-F8E4-184C-591C-EEFB9C34516E}"/>
                    </a:ext>
                  </a:extLst>
                </p:cNvPr>
                <p:cNvSpPr>
                  <a:spLocks/>
                </p:cNvSpPr>
                <p:nvPr/>
              </p:nvSpPr>
              <p:spPr bwMode="gray">
                <a:xfrm rot="10800000">
                  <a:off x="1233673"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94" name="Triangle_2">
                  <a:extLst>
                    <a:ext uri="{FF2B5EF4-FFF2-40B4-BE49-F238E27FC236}">
                      <a16:creationId xmlns:a16="http://schemas.microsoft.com/office/drawing/2014/main" id="{78944A7D-845A-12B7-B443-0BDC6B99713C}"/>
                    </a:ext>
                  </a:extLst>
                </p:cNvPr>
                <p:cNvSpPr>
                  <a:spLocks/>
                </p:cNvSpPr>
                <p:nvPr/>
              </p:nvSpPr>
              <p:spPr bwMode="gray">
                <a:xfrm>
                  <a:off x="1233673"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95" name="Triangle_3">
                  <a:extLst>
                    <a:ext uri="{FF2B5EF4-FFF2-40B4-BE49-F238E27FC236}">
                      <a16:creationId xmlns:a16="http://schemas.microsoft.com/office/drawing/2014/main" id="{75FE6C8E-D016-11A0-B0E9-2270987E06E7}"/>
                    </a:ext>
                  </a:extLst>
                </p:cNvPr>
                <p:cNvSpPr>
                  <a:spLocks/>
                </p:cNvSpPr>
                <p:nvPr/>
              </p:nvSpPr>
              <p:spPr bwMode="gray">
                <a:xfrm rot="5400000">
                  <a:off x="1150936"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96" name="Triangle_4">
                  <a:extLst>
                    <a:ext uri="{FF2B5EF4-FFF2-40B4-BE49-F238E27FC236}">
                      <a16:creationId xmlns:a16="http://schemas.microsoft.com/office/drawing/2014/main" id="{049A8CF3-1BD7-0E64-474A-8F5F67A19598}"/>
                    </a:ext>
                  </a:extLst>
                </p:cNvPr>
                <p:cNvSpPr>
                  <a:spLocks/>
                </p:cNvSpPr>
                <p:nvPr/>
              </p:nvSpPr>
              <p:spPr bwMode="gray">
                <a:xfrm rot="16200000">
                  <a:off x="1316410"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65" name="Group 64">
                <a:extLst>
                  <a:ext uri="{FF2B5EF4-FFF2-40B4-BE49-F238E27FC236}">
                    <a16:creationId xmlns:a16="http://schemas.microsoft.com/office/drawing/2014/main" id="{ABE321F1-FEBA-FBF2-85D2-613ABCEE394D}"/>
                  </a:ext>
                </a:extLst>
              </p:cNvPr>
              <p:cNvGrpSpPr>
                <a:grpSpLocks/>
              </p:cNvGrpSpPr>
              <p:nvPr/>
            </p:nvGrpSpPr>
            <p:grpSpPr bwMode="gray">
              <a:xfrm>
                <a:off x="1135264" y="1623437"/>
                <a:ext cx="217142" cy="217142"/>
                <a:chOff x="1564620" y="2088942"/>
                <a:chExt cx="330948" cy="330948"/>
              </a:xfrm>
              <a:grpFill/>
            </p:grpSpPr>
            <p:sp>
              <p:nvSpPr>
                <p:cNvPr id="487" name="dfine_grid_single_shape_frame">
                  <a:extLst>
                    <a:ext uri="{FF2B5EF4-FFF2-40B4-BE49-F238E27FC236}">
                      <a16:creationId xmlns:a16="http://schemas.microsoft.com/office/drawing/2014/main" id="{BBEF8FC7-B337-A76F-3AC3-8A7F16B5AA25}"/>
                    </a:ext>
                  </a:extLst>
                </p:cNvPr>
                <p:cNvSpPr>
                  <a:spLocks/>
                </p:cNvSpPr>
                <p:nvPr/>
              </p:nvSpPr>
              <p:spPr bwMode="gray">
                <a:xfrm>
                  <a:off x="1564620"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88" name="Triangle_1">
                  <a:extLst>
                    <a:ext uri="{FF2B5EF4-FFF2-40B4-BE49-F238E27FC236}">
                      <a16:creationId xmlns:a16="http://schemas.microsoft.com/office/drawing/2014/main" id="{398F39C1-D0D1-2955-DBDF-A5FE6AA8CB44}"/>
                    </a:ext>
                  </a:extLst>
                </p:cNvPr>
                <p:cNvSpPr>
                  <a:spLocks/>
                </p:cNvSpPr>
                <p:nvPr/>
              </p:nvSpPr>
              <p:spPr bwMode="gray">
                <a:xfrm rot="10800000">
                  <a:off x="1564620"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89" name="Triangle_2">
                  <a:extLst>
                    <a:ext uri="{FF2B5EF4-FFF2-40B4-BE49-F238E27FC236}">
                      <a16:creationId xmlns:a16="http://schemas.microsoft.com/office/drawing/2014/main" id="{52C11203-95B0-387D-8317-9322CC36563E}"/>
                    </a:ext>
                  </a:extLst>
                </p:cNvPr>
                <p:cNvSpPr>
                  <a:spLocks/>
                </p:cNvSpPr>
                <p:nvPr/>
              </p:nvSpPr>
              <p:spPr bwMode="gray">
                <a:xfrm>
                  <a:off x="1564620"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90" name="Triangle_3">
                  <a:extLst>
                    <a:ext uri="{FF2B5EF4-FFF2-40B4-BE49-F238E27FC236}">
                      <a16:creationId xmlns:a16="http://schemas.microsoft.com/office/drawing/2014/main" id="{7CC47966-F977-AF3D-152D-247B4BEE16AD}"/>
                    </a:ext>
                  </a:extLst>
                </p:cNvPr>
                <p:cNvSpPr>
                  <a:spLocks/>
                </p:cNvSpPr>
                <p:nvPr/>
              </p:nvSpPr>
              <p:spPr bwMode="gray">
                <a:xfrm rot="5400000">
                  <a:off x="1481883"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91" name="Triangle_4">
                  <a:extLst>
                    <a:ext uri="{FF2B5EF4-FFF2-40B4-BE49-F238E27FC236}">
                      <a16:creationId xmlns:a16="http://schemas.microsoft.com/office/drawing/2014/main" id="{7009B137-EF4B-E768-4055-C59B4C743198}"/>
                    </a:ext>
                  </a:extLst>
                </p:cNvPr>
                <p:cNvSpPr>
                  <a:spLocks/>
                </p:cNvSpPr>
                <p:nvPr/>
              </p:nvSpPr>
              <p:spPr bwMode="gray">
                <a:xfrm rot="16200000">
                  <a:off x="1647357"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66" name="Group 65">
                <a:extLst>
                  <a:ext uri="{FF2B5EF4-FFF2-40B4-BE49-F238E27FC236}">
                    <a16:creationId xmlns:a16="http://schemas.microsoft.com/office/drawing/2014/main" id="{F4679EFA-651A-12BD-8EA3-F52390C42A6D}"/>
                  </a:ext>
                </a:extLst>
              </p:cNvPr>
              <p:cNvGrpSpPr>
                <a:grpSpLocks/>
              </p:cNvGrpSpPr>
              <p:nvPr/>
            </p:nvGrpSpPr>
            <p:grpSpPr bwMode="gray">
              <a:xfrm>
                <a:off x="1135264" y="1840578"/>
                <a:ext cx="217142" cy="217142"/>
                <a:chOff x="1564620" y="2419889"/>
                <a:chExt cx="330948" cy="330948"/>
              </a:xfrm>
              <a:grpFill/>
            </p:grpSpPr>
            <p:sp>
              <p:nvSpPr>
                <p:cNvPr id="482" name="dfine_grid_single_shape_frame">
                  <a:extLst>
                    <a:ext uri="{FF2B5EF4-FFF2-40B4-BE49-F238E27FC236}">
                      <a16:creationId xmlns:a16="http://schemas.microsoft.com/office/drawing/2014/main" id="{B453F20F-C6C2-6654-D424-03A172E74E6F}"/>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83" name="Triangle_1">
                  <a:extLst>
                    <a:ext uri="{FF2B5EF4-FFF2-40B4-BE49-F238E27FC236}">
                      <a16:creationId xmlns:a16="http://schemas.microsoft.com/office/drawing/2014/main" id="{F751BA82-6382-3A2C-D652-2F9256EFF0F2}"/>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84" name="Triangle_2">
                  <a:extLst>
                    <a:ext uri="{FF2B5EF4-FFF2-40B4-BE49-F238E27FC236}">
                      <a16:creationId xmlns:a16="http://schemas.microsoft.com/office/drawing/2014/main" id="{D43CE98B-8734-2261-F518-3FB126F6C57A}"/>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85" name="Triangle_3">
                  <a:extLst>
                    <a:ext uri="{FF2B5EF4-FFF2-40B4-BE49-F238E27FC236}">
                      <a16:creationId xmlns:a16="http://schemas.microsoft.com/office/drawing/2014/main" id="{C100F53B-586B-793C-05A2-310B387D2212}"/>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86" name="Triangle_4">
                  <a:extLst>
                    <a:ext uri="{FF2B5EF4-FFF2-40B4-BE49-F238E27FC236}">
                      <a16:creationId xmlns:a16="http://schemas.microsoft.com/office/drawing/2014/main" id="{8F81E80B-9042-5619-EBBE-1AECCB832238}"/>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67" name="Group 66">
                <a:extLst>
                  <a:ext uri="{FF2B5EF4-FFF2-40B4-BE49-F238E27FC236}">
                    <a16:creationId xmlns:a16="http://schemas.microsoft.com/office/drawing/2014/main" id="{E50BE0EB-63DB-9FF4-3B33-1378EBA4C20F}"/>
                  </a:ext>
                </a:extLst>
              </p:cNvPr>
              <p:cNvGrpSpPr>
                <a:grpSpLocks/>
              </p:cNvGrpSpPr>
              <p:nvPr/>
            </p:nvGrpSpPr>
            <p:grpSpPr bwMode="gray">
              <a:xfrm>
                <a:off x="1135264" y="2057719"/>
                <a:ext cx="217142" cy="217142"/>
                <a:chOff x="1564620" y="2750836"/>
                <a:chExt cx="330948" cy="330948"/>
              </a:xfrm>
              <a:grpFill/>
            </p:grpSpPr>
            <p:sp>
              <p:nvSpPr>
                <p:cNvPr id="477" name="dfine_grid_single_shape_frame">
                  <a:extLst>
                    <a:ext uri="{FF2B5EF4-FFF2-40B4-BE49-F238E27FC236}">
                      <a16:creationId xmlns:a16="http://schemas.microsoft.com/office/drawing/2014/main" id="{12820239-A661-99E1-843B-5C93D2551C73}"/>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78" name="Triangle_1">
                  <a:extLst>
                    <a:ext uri="{FF2B5EF4-FFF2-40B4-BE49-F238E27FC236}">
                      <a16:creationId xmlns:a16="http://schemas.microsoft.com/office/drawing/2014/main" id="{B4062EC4-8743-96E9-32A8-D104AB6AA7EC}"/>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79" name="Triangle_2">
                  <a:extLst>
                    <a:ext uri="{FF2B5EF4-FFF2-40B4-BE49-F238E27FC236}">
                      <a16:creationId xmlns:a16="http://schemas.microsoft.com/office/drawing/2014/main" id="{1169DE5A-02E2-44D5-64EB-57FCA6E58D7B}"/>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80" name="Triangle_3">
                  <a:extLst>
                    <a:ext uri="{FF2B5EF4-FFF2-40B4-BE49-F238E27FC236}">
                      <a16:creationId xmlns:a16="http://schemas.microsoft.com/office/drawing/2014/main" id="{5E50EA65-F81B-0FC7-ECB4-D34B44CDCCD4}"/>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81" name="Triangle_4">
                  <a:extLst>
                    <a:ext uri="{FF2B5EF4-FFF2-40B4-BE49-F238E27FC236}">
                      <a16:creationId xmlns:a16="http://schemas.microsoft.com/office/drawing/2014/main" id="{A73ADA87-8679-A129-4D07-66C0C7947957}"/>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68" name="Group 67">
                <a:extLst>
                  <a:ext uri="{FF2B5EF4-FFF2-40B4-BE49-F238E27FC236}">
                    <a16:creationId xmlns:a16="http://schemas.microsoft.com/office/drawing/2014/main" id="{E2494C3B-6677-3601-C8E7-92D93B65D923}"/>
                  </a:ext>
                </a:extLst>
              </p:cNvPr>
              <p:cNvGrpSpPr>
                <a:grpSpLocks/>
              </p:cNvGrpSpPr>
              <p:nvPr/>
            </p:nvGrpSpPr>
            <p:grpSpPr bwMode="gray">
              <a:xfrm>
                <a:off x="1135264" y="2274860"/>
                <a:ext cx="217142" cy="217142"/>
                <a:chOff x="1564620" y="3081783"/>
                <a:chExt cx="330948" cy="330948"/>
              </a:xfrm>
              <a:grpFill/>
            </p:grpSpPr>
            <p:sp>
              <p:nvSpPr>
                <p:cNvPr id="472" name="dfine_grid_single_shape_frame">
                  <a:extLst>
                    <a:ext uri="{FF2B5EF4-FFF2-40B4-BE49-F238E27FC236}">
                      <a16:creationId xmlns:a16="http://schemas.microsoft.com/office/drawing/2014/main" id="{E88172AD-26C8-AFF6-7BAD-6F50C12AD644}"/>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73" name="Triangle_1">
                  <a:extLst>
                    <a:ext uri="{FF2B5EF4-FFF2-40B4-BE49-F238E27FC236}">
                      <a16:creationId xmlns:a16="http://schemas.microsoft.com/office/drawing/2014/main" id="{F0971275-7273-2F34-151A-8B922E1AA512}"/>
                    </a:ext>
                  </a:extLst>
                </p:cNvPr>
                <p:cNvSpPr>
                  <a:spLocks/>
                </p:cNvSpPr>
                <p:nvPr/>
              </p:nvSpPr>
              <p:spPr bwMode="gray">
                <a:xfrm rot="10800000">
                  <a:off x="1564620"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74" name="Triangle_2">
                  <a:extLst>
                    <a:ext uri="{FF2B5EF4-FFF2-40B4-BE49-F238E27FC236}">
                      <a16:creationId xmlns:a16="http://schemas.microsoft.com/office/drawing/2014/main" id="{EC5DB72F-1CEE-78D9-F36E-B0EAB4F47F0F}"/>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75" name="Triangle_3">
                  <a:extLst>
                    <a:ext uri="{FF2B5EF4-FFF2-40B4-BE49-F238E27FC236}">
                      <a16:creationId xmlns:a16="http://schemas.microsoft.com/office/drawing/2014/main" id="{650D9D66-6862-988F-CCEE-FBC1E0772F04}"/>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76" name="Triangle_4">
                  <a:extLst>
                    <a:ext uri="{FF2B5EF4-FFF2-40B4-BE49-F238E27FC236}">
                      <a16:creationId xmlns:a16="http://schemas.microsoft.com/office/drawing/2014/main" id="{96F9945A-45BD-A5C2-F800-7527F44DF71C}"/>
                    </a:ext>
                  </a:extLst>
                </p:cNvPr>
                <p:cNvSpPr>
                  <a:spLocks/>
                </p:cNvSpPr>
                <p:nvPr/>
              </p:nvSpPr>
              <p:spPr bwMode="gray">
                <a:xfrm rot="16200000">
                  <a:off x="1647357"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69" name="Group 68">
                <a:extLst>
                  <a:ext uri="{FF2B5EF4-FFF2-40B4-BE49-F238E27FC236}">
                    <a16:creationId xmlns:a16="http://schemas.microsoft.com/office/drawing/2014/main" id="{F52BF849-9478-28C0-D5AE-81BB3233D668}"/>
                  </a:ext>
                </a:extLst>
              </p:cNvPr>
              <p:cNvGrpSpPr>
                <a:grpSpLocks/>
              </p:cNvGrpSpPr>
              <p:nvPr/>
            </p:nvGrpSpPr>
            <p:grpSpPr bwMode="gray">
              <a:xfrm>
                <a:off x="1135264" y="2492001"/>
                <a:ext cx="217142" cy="217142"/>
                <a:chOff x="1564620" y="3412730"/>
                <a:chExt cx="330948" cy="330948"/>
              </a:xfrm>
              <a:grpFill/>
            </p:grpSpPr>
            <p:sp>
              <p:nvSpPr>
                <p:cNvPr id="467" name="dfine_grid_single_shape_frame">
                  <a:extLst>
                    <a:ext uri="{FF2B5EF4-FFF2-40B4-BE49-F238E27FC236}">
                      <a16:creationId xmlns:a16="http://schemas.microsoft.com/office/drawing/2014/main" id="{63AEC540-B81F-8749-D1C8-08ECD7B3C16A}"/>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68" name="Triangle_1">
                  <a:extLst>
                    <a:ext uri="{FF2B5EF4-FFF2-40B4-BE49-F238E27FC236}">
                      <a16:creationId xmlns:a16="http://schemas.microsoft.com/office/drawing/2014/main" id="{51183821-82FE-D0CC-32B3-27D971EF8CBF}"/>
                    </a:ext>
                  </a:extLst>
                </p:cNvPr>
                <p:cNvSpPr>
                  <a:spLocks/>
                </p:cNvSpPr>
                <p:nvPr/>
              </p:nvSpPr>
              <p:spPr bwMode="gray">
                <a:xfrm rot="10800000">
                  <a:off x="1564620"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69" name="Triangle_2">
                  <a:extLst>
                    <a:ext uri="{FF2B5EF4-FFF2-40B4-BE49-F238E27FC236}">
                      <a16:creationId xmlns:a16="http://schemas.microsoft.com/office/drawing/2014/main" id="{775B08AA-8EC6-6F14-BF80-3991A1AA16C5}"/>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70" name="Triangle_3">
                  <a:extLst>
                    <a:ext uri="{FF2B5EF4-FFF2-40B4-BE49-F238E27FC236}">
                      <a16:creationId xmlns:a16="http://schemas.microsoft.com/office/drawing/2014/main" id="{02609C29-E006-5DA8-3C24-B0CC588A03EA}"/>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71" name="Triangle_4">
                  <a:extLst>
                    <a:ext uri="{FF2B5EF4-FFF2-40B4-BE49-F238E27FC236}">
                      <a16:creationId xmlns:a16="http://schemas.microsoft.com/office/drawing/2014/main" id="{C0761DEE-E8C5-ABB9-641B-EF0DAA9C074A}"/>
                    </a:ext>
                  </a:extLst>
                </p:cNvPr>
                <p:cNvSpPr>
                  <a:spLocks/>
                </p:cNvSpPr>
                <p:nvPr/>
              </p:nvSpPr>
              <p:spPr bwMode="gray">
                <a:xfrm rot="16200000">
                  <a:off x="1647357"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0" name="Group 69">
                <a:extLst>
                  <a:ext uri="{FF2B5EF4-FFF2-40B4-BE49-F238E27FC236}">
                    <a16:creationId xmlns:a16="http://schemas.microsoft.com/office/drawing/2014/main" id="{69614DFD-1955-D8C3-591D-83140A883C43}"/>
                  </a:ext>
                </a:extLst>
              </p:cNvPr>
              <p:cNvGrpSpPr>
                <a:grpSpLocks/>
              </p:cNvGrpSpPr>
              <p:nvPr/>
            </p:nvGrpSpPr>
            <p:grpSpPr bwMode="gray">
              <a:xfrm>
                <a:off x="1135264" y="2709142"/>
                <a:ext cx="217142" cy="217142"/>
                <a:chOff x="1564620" y="3743677"/>
                <a:chExt cx="330948" cy="330948"/>
              </a:xfrm>
              <a:grpFill/>
            </p:grpSpPr>
            <p:sp>
              <p:nvSpPr>
                <p:cNvPr id="462" name="dfine_grid_single_shape_frame">
                  <a:extLst>
                    <a:ext uri="{FF2B5EF4-FFF2-40B4-BE49-F238E27FC236}">
                      <a16:creationId xmlns:a16="http://schemas.microsoft.com/office/drawing/2014/main" id="{8DA082BC-F9B2-5F5F-93B7-09D676A2D3F3}"/>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63" name="Triangle_1">
                  <a:extLst>
                    <a:ext uri="{FF2B5EF4-FFF2-40B4-BE49-F238E27FC236}">
                      <a16:creationId xmlns:a16="http://schemas.microsoft.com/office/drawing/2014/main" id="{D1228F82-E3CA-D1CB-534D-C060567EB339}"/>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64" name="Triangle_2">
                  <a:extLst>
                    <a:ext uri="{FF2B5EF4-FFF2-40B4-BE49-F238E27FC236}">
                      <a16:creationId xmlns:a16="http://schemas.microsoft.com/office/drawing/2014/main" id="{AA440148-9CBC-F933-57EB-231C1C693C4F}"/>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65" name="Triangle_3">
                  <a:extLst>
                    <a:ext uri="{FF2B5EF4-FFF2-40B4-BE49-F238E27FC236}">
                      <a16:creationId xmlns:a16="http://schemas.microsoft.com/office/drawing/2014/main" id="{E1708AED-DD14-4FB6-7F27-8E7169C8309A}"/>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66" name="Triangle_4">
                  <a:extLst>
                    <a:ext uri="{FF2B5EF4-FFF2-40B4-BE49-F238E27FC236}">
                      <a16:creationId xmlns:a16="http://schemas.microsoft.com/office/drawing/2014/main" id="{223379D1-7155-3954-920F-B808D496AB15}"/>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1" name="Group 70">
                <a:extLst>
                  <a:ext uri="{FF2B5EF4-FFF2-40B4-BE49-F238E27FC236}">
                    <a16:creationId xmlns:a16="http://schemas.microsoft.com/office/drawing/2014/main" id="{818B61C0-9E70-3652-3463-ED1941389E39}"/>
                  </a:ext>
                </a:extLst>
              </p:cNvPr>
              <p:cNvGrpSpPr>
                <a:grpSpLocks/>
              </p:cNvGrpSpPr>
              <p:nvPr/>
            </p:nvGrpSpPr>
            <p:grpSpPr bwMode="gray">
              <a:xfrm>
                <a:off x="1135264" y="2926283"/>
                <a:ext cx="217142" cy="217142"/>
                <a:chOff x="1564620" y="4074624"/>
                <a:chExt cx="330948" cy="330948"/>
              </a:xfrm>
              <a:grpFill/>
            </p:grpSpPr>
            <p:sp>
              <p:nvSpPr>
                <p:cNvPr id="457" name="dfine_grid_single_shape_frame">
                  <a:extLst>
                    <a:ext uri="{FF2B5EF4-FFF2-40B4-BE49-F238E27FC236}">
                      <a16:creationId xmlns:a16="http://schemas.microsoft.com/office/drawing/2014/main" id="{BC119D8D-C8BF-15FD-35C5-035D1C113F64}"/>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58" name="Triangle_1">
                  <a:extLst>
                    <a:ext uri="{FF2B5EF4-FFF2-40B4-BE49-F238E27FC236}">
                      <a16:creationId xmlns:a16="http://schemas.microsoft.com/office/drawing/2014/main" id="{080F7B83-2CDB-4A54-04FD-096D5BC9C789}"/>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59" name="Triangle_2">
                  <a:extLst>
                    <a:ext uri="{FF2B5EF4-FFF2-40B4-BE49-F238E27FC236}">
                      <a16:creationId xmlns:a16="http://schemas.microsoft.com/office/drawing/2014/main" id="{055A437B-C809-BE69-E316-A99A4D0A04C8}"/>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60" name="Triangle_3">
                  <a:extLst>
                    <a:ext uri="{FF2B5EF4-FFF2-40B4-BE49-F238E27FC236}">
                      <a16:creationId xmlns:a16="http://schemas.microsoft.com/office/drawing/2014/main" id="{A30DF234-C5D3-D76E-F836-E5B13BDADCBC}"/>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61" name="Triangle_4">
                  <a:extLst>
                    <a:ext uri="{FF2B5EF4-FFF2-40B4-BE49-F238E27FC236}">
                      <a16:creationId xmlns:a16="http://schemas.microsoft.com/office/drawing/2014/main" id="{65568E50-E58C-2CBE-F446-7A3C8DDBA5F4}"/>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2" name="Group 71">
                <a:extLst>
                  <a:ext uri="{FF2B5EF4-FFF2-40B4-BE49-F238E27FC236}">
                    <a16:creationId xmlns:a16="http://schemas.microsoft.com/office/drawing/2014/main" id="{22D95F39-4CB4-8F53-E29B-F6167E6DE5E3}"/>
                  </a:ext>
                </a:extLst>
              </p:cNvPr>
              <p:cNvGrpSpPr>
                <a:grpSpLocks/>
              </p:cNvGrpSpPr>
              <p:nvPr/>
            </p:nvGrpSpPr>
            <p:grpSpPr bwMode="gray">
              <a:xfrm>
                <a:off x="1135264" y="3143425"/>
                <a:ext cx="217142" cy="217142"/>
                <a:chOff x="1564620" y="2419889"/>
                <a:chExt cx="330948" cy="330948"/>
              </a:xfrm>
              <a:grpFill/>
            </p:grpSpPr>
            <p:sp>
              <p:nvSpPr>
                <p:cNvPr id="452" name="dfine_grid_single_shape_frame">
                  <a:extLst>
                    <a:ext uri="{FF2B5EF4-FFF2-40B4-BE49-F238E27FC236}">
                      <a16:creationId xmlns:a16="http://schemas.microsoft.com/office/drawing/2014/main" id="{B87DCF9B-4134-AC52-161A-472B1C00FC54}"/>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53" name="Triangle_1">
                  <a:extLst>
                    <a:ext uri="{FF2B5EF4-FFF2-40B4-BE49-F238E27FC236}">
                      <a16:creationId xmlns:a16="http://schemas.microsoft.com/office/drawing/2014/main" id="{DFB16D6E-50C6-391D-CBA0-8611313043DC}"/>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54" name="Triangle_2">
                  <a:extLst>
                    <a:ext uri="{FF2B5EF4-FFF2-40B4-BE49-F238E27FC236}">
                      <a16:creationId xmlns:a16="http://schemas.microsoft.com/office/drawing/2014/main" id="{C54E2F40-7528-C56F-7F35-6BDA201315BE}"/>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55" name="Triangle_3">
                  <a:extLst>
                    <a:ext uri="{FF2B5EF4-FFF2-40B4-BE49-F238E27FC236}">
                      <a16:creationId xmlns:a16="http://schemas.microsoft.com/office/drawing/2014/main" id="{2D3A4702-1722-B853-38A8-6AB0DB38D20B}"/>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56" name="Triangle_4">
                  <a:extLst>
                    <a:ext uri="{FF2B5EF4-FFF2-40B4-BE49-F238E27FC236}">
                      <a16:creationId xmlns:a16="http://schemas.microsoft.com/office/drawing/2014/main" id="{3F1F0703-A851-D2F7-60D8-37BF2E23DE8D}"/>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3" name="Group 72">
                <a:extLst>
                  <a:ext uri="{FF2B5EF4-FFF2-40B4-BE49-F238E27FC236}">
                    <a16:creationId xmlns:a16="http://schemas.microsoft.com/office/drawing/2014/main" id="{B797646B-54E4-686F-B088-37ABF3B25755}"/>
                  </a:ext>
                </a:extLst>
              </p:cNvPr>
              <p:cNvGrpSpPr>
                <a:grpSpLocks/>
              </p:cNvGrpSpPr>
              <p:nvPr/>
            </p:nvGrpSpPr>
            <p:grpSpPr bwMode="gray">
              <a:xfrm>
                <a:off x="1135264" y="3360566"/>
                <a:ext cx="217142" cy="217142"/>
                <a:chOff x="1564620" y="2750836"/>
                <a:chExt cx="330948" cy="330948"/>
              </a:xfrm>
              <a:grpFill/>
            </p:grpSpPr>
            <p:sp>
              <p:nvSpPr>
                <p:cNvPr id="447" name="dfine_grid_single_shape_frame">
                  <a:extLst>
                    <a:ext uri="{FF2B5EF4-FFF2-40B4-BE49-F238E27FC236}">
                      <a16:creationId xmlns:a16="http://schemas.microsoft.com/office/drawing/2014/main" id="{A0AB7956-0680-9758-76EB-FBE9B8E8E80F}"/>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48" name="Triangle_1">
                  <a:extLst>
                    <a:ext uri="{FF2B5EF4-FFF2-40B4-BE49-F238E27FC236}">
                      <a16:creationId xmlns:a16="http://schemas.microsoft.com/office/drawing/2014/main" id="{3D070D5C-D7A5-D353-6F95-E00E3104815C}"/>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49" name="Triangle_2">
                  <a:extLst>
                    <a:ext uri="{FF2B5EF4-FFF2-40B4-BE49-F238E27FC236}">
                      <a16:creationId xmlns:a16="http://schemas.microsoft.com/office/drawing/2014/main" id="{AAD93197-3403-C00B-A7F6-E3840D6B2427}"/>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50" name="Triangle_3">
                  <a:extLst>
                    <a:ext uri="{FF2B5EF4-FFF2-40B4-BE49-F238E27FC236}">
                      <a16:creationId xmlns:a16="http://schemas.microsoft.com/office/drawing/2014/main" id="{6FDAEC88-82C4-70BB-D085-514E8EDF0D2F}"/>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51" name="Triangle_4">
                  <a:extLst>
                    <a:ext uri="{FF2B5EF4-FFF2-40B4-BE49-F238E27FC236}">
                      <a16:creationId xmlns:a16="http://schemas.microsoft.com/office/drawing/2014/main" id="{E88B6C72-FF10-CF16-8617-532D0B89F19B}"/>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4" name="Group 73">
                <a:extLst>
                  <a:ext uri="{FF2B5EF4-FFF2-40B4-BE49-F238E27FC236}">
                    <a16:creationId xmlns:a16="http://schemas.microsoft.com/office/drawing/2014/main" id="{488B866A-A88C-01AA-6D9A-ECE536148A61}"/>
                  </a:ext>
                </a:extLst>
              </p:cNvPr>
              <p:cNvGrpSpPr>
                <a:grpSpLocks/>
              </p:cNvGrpSpPr>
              <p:nvPr/>
            </p:nvGrpSpPr>
            <p:grpSpPr bwMode="gray">
              <a:xfrm>
                <a:off x="1135264" y="3577707"/>
                <a:ext cx="217142" cy="217142"/>
                <a:chOff x="1564620" y="3081783"/>
                <a:chExt cx="330948" cy="330948"/>
              </a:xfrm>
              <a:grpFill/>
            </p:grpSpPr>
            <p:sp>
              <p:nvSpPr>
                <p:cNvPr id="442" name="dfine_grid_single_shape_frame">
                  <a:extLst>
                    <a:ext uri="{FF2B5EF4-FFF2-40B4-BE49-F238E27FC236}">
                      <a16:creationId xmlns:a16="http://schemas.microsoft.com/office/drawing/2014/main" id="{8A7786EB-7C95-6426-EE2A-0740D445C9EE}"/>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43" name="Triangle_1">
                  <a:extLst>
                    <a:ext uri="{FF2B5EF4-FFF2-40B4-BE49-F238E27FC236}">
                      <a16:creationId xmlns:a16="http://schemas.microsoft.com/office/drawing/2014/main" id="{CA4B0DDB-03D2-AE5E-756D-FB0341F04275}"/>
                    </a:ext>
                  </a:extLst>
                </p:cNvPr>
                <p:cNvSpPr>
                  <a:spLocks/>
                </p:cNvSpPr>
                <p:nvPr/>
              </p:nvSpPr>
              <p:spPr bwMode="gray">
                <a:xfrm rot="10800000">
                  <a:off x="1564620"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44" name="Triangle_2">
                  <a:extLst>
                    <a:ext uri="{FF2B5EF4-FFF2-40B4-BE49-F238E27FC236}">
                      <a16:creationId xmlns:a16="http://schemas.microsoft.com/office/drawing/2014/main" id="{E2917968-7AF1-EBB7-358C-C8CF22AF282A}"/>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45" name="Triangle_3">
                  <a:extLst>
                    <a:ext uri="{FF2B5EF4-FFF2-40B4-BE49-F238E27FC236}">
                      <a16:creationId xmlns:a16="http://schemas.microsoft.com/office/drawing/2014/main" id="{43629B97-8B81-A430-606C-C4407FF17F4A}"/>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46" name="Triangle_4">
                  <a:extLst>
                    <a:ext uri="{FF2B5EF4-FFF2-40B4-BE49-F238E27FC236}">
                      <a16:creationId xmlns:a16="http://schemas.microsoft.com/office/drawing/2014/main" id="{CD6F05C7-D621-D3E8-BD39-043D0581A28D}"/>
                    </a:ext>
                  </a:extLst>
                </p:cNvPr>
                <p:cNvSpPr>
                  <a:spLocks/>
                </p:cNvSpPr>
                <p:nvPr/>
              </p:nvSpPr>
              <p:spPr bwMode="gray">
                <a:xfrm rot="16200000">
                  <a:off x="1647357"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5" name="Group 74">
                <a:extLst>
                  <a:ext uri="{FF2B5EF4-FFF2-40B4-BE49-F238E27FC236}">
                    <a16:creationId xmlns:a16="http://schemas.microsoft.com/office/drawing/2014/main" id="{21D5F4C2-5026-65CA-F10D-1E2F6AA2BEE6}"/>
                  </a:ext>
                </a:extLst>
              </p:cNvPr>
              <p:cNvGrpSpPr>
                <a:grpSpLocks/>
              </p:cNvGrpSpPr>
              <p:nvPr/>
            </p:nvGrpSpPr>
            <p:grpSpPr bwMode="gray">
              <a:xfrm>
                <a:off x="1135264" y="3794848"/>
                <a:ext cx="217142" cy="217142"/>
                <a:chOff x="1564620" y="3412730"/>
                <a:chExt cx="330948" cy="330948"/>
              </a:xfrm>
              <a:grpFill/>
            </p:grpSpPr>
            <p:sp>
              <p:nvSpPr>
                <p:cNvPr id="437" name="dfine_grid_single_shape_frame">
                  <a:extLst>
                    <a:ext uri="{FF2B5EF4-FFF2-40B4-BE49-F238E27FC236}">
                      <a16:creationId xmlns:a16="http://schemas.microsoft.com/office/drawing/2014/main" id="{26248B41-48F3-43FA-E45D-82371B7D1EB6}"/>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38" name="Triangle_1">
                  <a:extLst>
                    <a:ext uri="{FF2B5EF4-FFF2-40B4-BE49-F238E27FC236}">
                      <a16:creationId xmlns:a16="http://schemas.microsoft.com/office/drawing/2014/main" id="{AFE908F8-FAAC-A72C-35C7-FDC24E21F8EA}"/>
                    </a:ext>
                  </a:extLst>
                </p:cNvPr>
                <p:cNvSpPr>
                  <a:spLocks/>
                </p:cNvSpPr>
                <p:nvPr/>
              </p:nvSpPr>
              <p:spPr bwMode="gray">
                <a:xfrm rot="10800000">
                  <a:off x="1564620"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39" name="Triangle_2">
                  <a:extLst>
                    <a:ext uri="{FF2B5EF4-FFF2-40B4-BE49-F238E27FC236}">
                      <a16:creationId xmlns:a16="http://schemas.microsoft.com/office/drawing/2014/main" id="{A7D6C75A-C9FE-62CF-9CA7-3953418D2328}"/>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40" name="Triangle_3">
                  <a:extLst>
                    <a:ext uri="{FF2B5EF4-FFF2-40B4-BE49-F238E27FC236}">
                      <a16:creationId xmlns:a16="http://schemas.microsoft.com/office/drawing/2014/main" id="{3CF84B71-C487-DD4A-4591-8DF5890BD517}"/>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41" name="Triangle_4">
                  <a:extLst>
                    <a:ext uri="{FF2B5EF4-FFF2-40B4-BE49-F238E27FC236}">
                      <a16:creationId xmlns:a16="http://schemas.microsoft.com/office/drawing/2014/main" id="{A0B0C49F-7E64-A4B1-750F-5A7A64162BEC}"/>
                    </a:ext>
                  </a:extLst>
                </p:cNvPr>
                <p:cNvSpPr>
                  <a:spLocks/>
                </p:cNvSpPr>
                <p:nvPr/>
              </p:nvSpPr>
              <p:spPr bwMode="gray">
                <a:xfrm rot="16200000">
                  <a:off x="1647357"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6" name="Group 75">
                <a:extLst>
                  <a:ext uri="{FF2B5EF4-FFF2-40B4-BE49-F238E27FC236}">
                    <a16:creationId xmlns:a16="http://schemas.microsoft.com/office/drawing/2014/main" id="{FFB9FCED-9F46-EA6E-773F-02BD88E729FD}"/>
                  </a:ext>
                </a:extLst>
              </p:cNvPr>
              <p:cNvGrpSpPr>
                <a:grpSpLocks/>
              </p:cNvGrpSpPr>
              <p:nvPr/>
            </p:nvGrpSpPr>
            <p:grpSpPr bwMode="gray">
              <a:xfrm>
                <a:off x="1135264" y="4011989"/>
                <a:ext cx="217142" cy="217142"/>
                <a:chOff x="1564620" y="3743677"/>
                <a:chExt cx="330948" cy="330948"/>
              </a:xfrm>
              <a:grpFill/>
            </p:grpSpPr>
            <p:sp>
              <p:nvSpPr>
                <p:cNvPr id="432" name="dfine_grid_single_shape_frame">
                  <a:extLst>
                    <a:ext uri="{FF2B5EF4-FFF2-40B4-BE49-F238E27FC236}">
                      <a16:creationId xmlns:a16="http://schemas.microsoft.com/office/drawing/2014/main" id="{81D61EBC-0B00-8FDE-F528-A4319C7C7D4D}"/>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33" name="Triangle_1">
                  <a:extLst>
                    <a:ext uri="{FF2B5EF4-FFF2-40B4-BE49-F238E27FC236}">
                      <a16:creationId xmlns:a16="http://schemas.microsoft.com/office/drawing/2014/main" id="{57160DA8-FAFA-9BA2-3D8A-FF2D3267FA0A}"/>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34" name="Triangle_2">
                  <a:extLst>
                    <a:ext uri="{FF2B5EF4-FFF2-40B4-BE49-F238E27FC236}">
                      <a16:creationId xmlns:a16="http://schemas.microsoft.com/office/drawing/2014/main" id="{878A48C2-37BB-D15E-E573-F0E7E7A0DA02}"/>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35" name="Triangle_3">
                  <a:extLst>
                    <a:ext uri="{FF2B5EF4-FFF2-40B4-BE49-F238E27FC236}">
                      <a16:creationId xmlns:a16="http://schemas.microsoft.com/office/drawing/2014/main" id="{EAD4C09F-E50E-97AB-1989-6C17B3DF95B6}"/>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36" name="Triangle_4">
                  <a:extLst>
                    <a:ext uri="{FF2B5EF4-FFF2-40B4-BE49-F238E27FC236}">
                      <a16:creationId xmlns:a16="http://schemas.microsoft.com/office/drawing/2014/main" id="{0844FBF9-F16F-F43A-EA02-6E7E3DC13A50}"/>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7" name="Group 76">
                <a:extLst>
                  <a:ext uri="{FF2B5EF4-FFF2-40B4-BE49-F238E27FC236}">
                    <a16:creationId xmlns:a16="http://schemas.microsoft.com/office/drawing/2014/main" id="{EAAA1751-A249-CF6B-8CF7-A240AF2F0CAD}"/>
                  </a:ext>
                </a:extLst>
              </p:cNvPr>
              <p:cNvGrpSpPr>
                <a:grpSpLocks/>
              </p:cNvGrpSpPr>
              <p:nvPr/>
            </p:nvGrpSpPr>
            <p:grpSpPr bwMode="gray">
              <a:xfrm>
                <a:off x="1135264" y="4229130"/>
                <a:ext cx="217142" cy="217142"/>
                <a:chOff x="1564620" y="4074624"/>
                <a:chExt cx="330948" cy="330948"/>
              </a:xfrm>
              <a:grpFill/>
            </p:grpSpPr>
            <p:sp>
              <p:nvSpPr>
                <p:cNvPr id="427" name="dfine_grid_single_shape_frame">
                  <a:extLst>
                    <a:ext uri="{FF2B5EF4-FFF2-40B4-BE49-F238E27FC236}">
                      <a16:creationId xmlns:a16="http://schemas.microsoft.com/office/drawing/2014/main" id="{EC4E25BD-8AF0-7003-A42B-C483EA5CD820}"/>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28" name="Triangle_1">
                  <a:extLst>
                    <a:ext uri="{FF2B5EF4-FFF2-40B4-BE49-F238E27FC236}">
                      <a16:creationId xmlns:a16="http://schemas.microsoft.com/office/drawing/2014/main" id="{BEDEA407-1720-6130-A9A0-821BC5F20A95}"/>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29" name="Triangle_2">
                  <a:extLst>
                    <a:ext uri="{FF2B5EF4-FFF2-40B4-BE49-F238E27FC236}">
                      <a16:creationId xmlns:a16="http://schemas.microsoft.com/office/drawing/2014/main" id="{4F11AA67-1CDF-D2E3-E4A5-CDAA04DEF772}"/>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30" name="Triangle_3">
                  <a:extLst>
                    <a:ext uri="{FF2B5EF4-FFF2-40B4-BE49-F238E27FC236}">
                      <a16:creationId xmlns:a16="http://schemas.microsoft.com/office/drawing/2014/main" id="{8CA46421-894B-9ED3-34F5-988C4B8EA67D}"/>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31" name="Triangle_4">
                  <a:extLst>
                    <a:ext uri="{FF2B5EF4-FFF2-40B4-BE49-F238E27FC236}">
                      <a16:creationId xmlns:a16="http://schemas.microsoft.com/office/drawing/2014/main" id="{A12FECA5-05A8-BA54-F351-7E3CEDB362DB}"/>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8" name="Group 77">
                <a:extLst>
                  <a:ext uri="{FF2B5EF4-FFF2-40B4-BE49-F238E27FC236}">
                    <a16:creationId xmlns:a16="http://schemas.microsoft.com/office/drawing/2014/main" id="{C269426E-4139-F837-D6EA-3B48DF112E1E}"/>
                  </a:ext>
                </a:extLst>
              </p:cNvPr>
              <p:cNvGrpSpPr>
                <a:grpSpLocks/>
              </p:cNvGrpSpPr>
              <p:nvPr/>
            </p:nvGrpSpPr>
            <p:grpSpPr bwMode="gray">
              <a:xfrm>
                <a:off x="700982" y="3794848"/>
                <a:ext cx="217142" cy="217142"/>
                <a:chOff x="902726" y="3412730"/>
                <a:chExt cx="330948" cy="330948"/>
              </a:xfrm>
              <a:grpFill/>
            </p:grpSpPr>
            <p:sp>
              <p:nvSpPr>
                <p:cNvPr id="422" name="dfine_grid_single_shape_frame">
                  <a:extLst>
                    <a:ext uri="{FF2B5EF4-FFF2-40B4-BE49-F238E27FC236}">
                      <a16:creationId xmlns:a16="http://schemas.microsoft.com/office/drawing/2014/main" id="{7E214EA4-03DF-5445-F9CF-8855C2BAEEBD}"/>
                    </a:ext>
                  </a:extLst>
                </p:cNvPr>
                <p:cNvSpPr>
                  <a:spLocks/>
                </p:cNvSpPr>
                <p:nvPr/>
              </p:nvSpPr>
              <p:spPr bwMode="gray">
                <a:xfrm>
                  <a:off x="902726"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23" name="Triangle_1">
                  <a:extLst>
                    <a:ext uri="{FF2B5EF4-FFF2-40B4-BE49-F238E27FC236}">
                      <a16:creationId xmlns:a16="http://schemas.microsoft.com/office/drawing/2014/main" id="{EC74EFEE-8E1D-B2A5-8A27-10308ED9217E}"/>
                    </a:ext>
                  </a:extLst>
                </p:cNvPr>
                <p:cNvSpPr>
                  <a:spLocks/>
                </p:cNvSpPr>
                <p:nvPr/>
              </p:nvSpPr>
              <p:spPr bwMode="gray">
                <a:xfrm rot="10800000">
                  <a:off x="902726"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24" name="Triangle_2">
                  <a:extLst>
                    <a:ext uri="{FF2B5EF4-FFF2-40B4-BE49-F238E27FC236}">
                      <a16:creationId xmlns:a16="http://schemas.microsoft.com/office/drawing/2014/main" id="{9B19480A-3B7A-3B81-82CC-70AAD86B4A74}"/>
                    </a:ext>
                  </a:extLst>
                </p:cNvPr>
                <p:cNvSpPr>
                  <a:spLocks/>
                </p:cNvSpPr>
                <p:nvPr/>
              </p:nvSpPr>
              <p:spPr bwMode="gray">
                <a:xfrm>
                  <a:off x="902726"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25" name="Triangle_3">
                  <a:extLst>
                    <a:ext uri="{FF2B5EF4-FFF2-40B4-BE49-F238E27FC236}">
                      <a16:creationId xmlns:a16="http://schemas.microsoft.com/office/drawing/2014/main" id="{2379FB43-830C-9A8E-D613-1B46650AD924}"/>
                    </a:ext>
                  </a:extLst>
                </p:cNvPr>
                <p:cNvSpPr>
                  <a:spLocks/>
                </p:cNvSpPr>
                <p:nvPr/>
              </p:nvSpPr>
              <p:spPr bwMode="gray">
                <a:xfrm rot="5400000">
                  <a:off x="819989"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26" name="Triangle_4">
                  <a:extLst>
                    <a:ext uri="{FF2B5EF4-FFF2-40B4-BE49-F238E27FC236}">
                      <a16:creationId xmlns:a16="http://schemas.microsoft.com/office/drawing/2014/main" id="{1CDC7ADF-FC76-4CFA-D416-BF8218CB42C6}"/>
                    </a:ext>
                  </a:extLst>
                </p:cNvPr>
                <p:cNvSpPr>
                  <a:spLocks/>
                </p:cNvSpPr>
                <p:nvPr/>
              </p:nvSpPr>
              <p:spPr bwMode="gray">
                <a:xfrm rot="16200000">
                  <a:off x="98546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79" name="Group 78">
                <a:extLst>
                  <a:ext uri="{FF2B5EF4-FFF2-40B4-BE49-F238E27FC236}">
                    <a16:creationId xmlns:a16="http://schemas.microsoft.com/office/drawing/2014/main" id="{CA6BDE30-C158-17C1-F26A-D45255721E3D}"/>
                  </a:ext>
                </a:extLst>
              </p:cNvPr>
              <p:cNvGrpSpPr>
                <a:grpSpLocks/>
              </p:cNvGrpSpPr>
              <p:nvPr/>
            </p:nvGrpSpPr>
            <p:grpSpPr bwMode="gray">
              <a:xfrm>
                <a:off x="266700" y="3143425"/>
                <a:ext cx="217142" cy="217142"/>
                <a:chOff x="240832" y="2419889"/>
                <a:chExt cx="330948" cy="330948"/>
              </a:xfrm>
              <a:grpFill/>
            </p:grpSpPr>
            <p:sp>
              <p:nvSpPr>
                <p:cNvPr id="417" name="dfine_grid_single_shape_frame">
                  <a:extLst>
                    <a:ext uri="{FF2B5EF4-FFF2-40B4-BE49-F238E27FC236}">
                      <a16:creationId xmlns:a16="http://schemas.microsoft.com/office/drawing/2014/main" id="{42ED4A37-46BC-94AD-7E2A-A905FC5FE4EA}"/>
                    </a:ext>
                  </a:extLst>
                </p:cNvPr>
                <p:cNvSpPr>
                  <a:spLocks/>
                </p:cNvSpPr>
                <p:nvPr>
                  <p:custDataLst>
                    <p:tags r:id="rId60"/>
                  </p:custDataLst>
                </p:nvPr>
              </p:nvSpPr>
              <p:spPr bwMode="gray">
                <a:xfrm>
                  <a:off x="240832"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18" name="Triangle_1">
                  <a:extLst>
                    <a:ext uri="{FF2B5EF4-FFF2-40B4-BE49-F238E27FC236}">
                      <a16:creationId xmlns:a16="http://schemas.microsoft.com/office/drawing/2014/main" id="{B224052E-04C9-8B9A-24C3-EB01F6B9BEEC}"/>
                    </a:ext>
                  </a:extLst>
                </p:cNvPr>
                <p:cNvSpPr>
                  <a:spLocks/>
                </p:cNvSpPr>
                <p:nvPr/>
              </p:nvSpPr>
              <p:spPr bwMode="gray">
                <a:xfrm rot="10800000">
                  <a:off x="240832"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19" name="Triangle_2">
                  <a:extLst>
                    <a:ext uri="{FF2B5EF4-FFF2-40B4-BE49-F238E27FC236}">
                      <a16:creationId xmlns:a16="http://schemas.microsoft.com/office/drawing/2014/main" id="{81E627A0-5EB2-0813-2A28-1375665564D9}"/>
                    </a:ext>
                  </a:extLst>
                </p:cNvPr>
                <p:cNvSpPr>
                  <a:spLocks/>
                </p:cNvSpPr>
                <p:nvPr/>
              </p:nvSpPr>
              <p:spPr bwMode="gray">
                <a:xfrm>
                  <a:off x="240832"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20" name="Triangle_3">
                  <a:extLst>
                    <a:ext uri="{FF2B5EF4-FFF2-40B4-BE49-F238E27FC236}">
                      <a16:creationId xmlns:a16="http://schemas.microsoft.com/office/drawing/2014/main" id="{512F05C4-78E6-9D4A-AB60-327777D1A4C3}"/>
                    </a:ext>
                  </a:extLst>
                </p:cNvPr>
                <p:cNvSpPr>
                  <a:spLocks/>
                </p:cNvSpPr>
                <p:nvPr/>
              </p:nvSpPr>
              <p:spPr bwMode="gray">
                <a:xfrm rot="5400000">
                  <a:off x="158095"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21" name="Triangle_4">
                  <a:extLst>
                    <a:ext uri="{FF2B5EF4-FFF2-40B4-BE49-F238E27FC236}">
                      <a16:creationId xmlns:a16="http://schemas.microsoft.com/office/drawing/2014/main" id="{9346718B-1BCC-A5FD-6DDE-FF0D667A7335}"/>
                    </a:ext>
                  </a:extLst>
                </p:cNvPr>
                <p:cNvSpPr>
                  <a:spLocks/>
                </p:cNvSpPr>
                <p:nvPr/>
              </p:nvSpPr>
              <p:spPr bwMode="gray">
                <a:xfrm rot="16200000">
                  <a:off x="323569"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0" name="Group 79">
                <a:extLst>
                  <a:ext uri="{FF2B5EF4-FFF2-40B4-BE49-F238E27FC236}">
                    <a16:creationId xmlns:a16="http://schemas.microsoft.com/office/drawing/2014/main" id="{AE2DF3B7-F60F-D0ED-90C1-88A035363D42}"/>
                  </a:ext>
                </a:extLst>
              </p:cNvPr>
              <p:cNvGrpSpPr>
                <a:grpSpLocks/>
              </p:cNvGrpSpPr>
              <p:nvPr/>
            </p:nvGrpSpPr>
            <p:grpSpPr bwMode="gray">
              <a:xfrm>
                <a:off x="266700" y="3360566"/>
                <a:ext cx="217142" cy="217142"/>
                <a:chOff x="240832" y="2750836"/>
                <a:chExt cx="330948" cy="330948"/>
              </a:xfrm>
              <a:grpFill/>
            </p:grpSpPr>
            <p:sp>
              <p:nvSpPr>
                <p:cNvPr id="412" name="dfine_grid_single_shape_frame">
                  <a:extLst>
                    <a:ext uri="{FF2B5EF4-FFF2-40B4-BE49-F238E27FC236}">
                      <a16:creationId xmlns:a16="http://schemas.microsoft.com/office/drawing/2014/main" id="{243A0F88-AE1C-1B52-A653-2D85DB0A36D3}"/>
                    </a:ext>
                  </a:extLst>
                </p:cNvPr>
                <p:cNvSpPr>
                  <a:spLocks/>
                </p:cNvSpPr>
                <p:nvPr>
                  <p:custDataLst>
                    <p:tags r:id="rId59"/>
                  </p:custDataLst>
                </p:nvPr>
              </p:nvSpPr>
              <p:spPr bwMode="gray">
                <a:xfrm>
                  <a:off x="240832"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13" name="Triangle_1">
                  <a:extLst>
                    <a:ext uri="{FF2B5EF4-FFF2-40B4-BE49-F238E27FC236}">
                      <a16:creationId xmlns:a16="http://schemas.microsoft.com/office/drawing/2014/main" id="{58450FA7-ADDC-0C8C-EAED-955077829A69}"/>
                    </a:ext>
                  </a:extLst>
                </p:cNvPr>
                <p:cNvSpPr>
                  <a:spLocks/>
                </p:cNvSpPr>
                <p:nvPr/>
              </p:nvSpPr>
              <p:spPr bwMode="gray">
                <a:xfrm rot="10800000">
                  <a:off x="240832"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14" name="Triangle_2">
                  <a:extLst>
                    <a:ext uri="{FF2B5EF4-FFF2-40B4-BE49-F238E27FC236}">
                      <a16:creationId xmlns:a16="http://schemas.microsoft.com/office/drawing/2014/main" id="{F6FBFF27-9C3A-4E7F-3594-CAE1514E32BC}"/>
                    </a:ext>
                  </a:extLst>
                </p:cNvPr>
                <p:cNvSpPr>
                  <a:spLocks/>
                </p:cNvSpPr>
                <p:nvPr/>
              </p:nvSpPr>
              <p:spPr bwMode="gray">
                <a:xfrm>
                  <a:off x="240832"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15" name="Triangle_3">
                  <a:extLst>
                    <a:ext uri="{FF2B5EF4-FFF2-40B4-BE49-F238E27FC236}">
                      <a16:creationId xmlns:a16="http://schemas.microsoft.com/office/drawing/2014/main" id="{FD3A35A2-4FB2-F129-91B0-0663EB2F3029}"/>
                    </a:ext>
                  </a:extLst>
                </p:cNvPr>
                <p:cNvSpPr>
                  <a:spLocks/>
                </p:cNvSpPr>
                <p:nvPr/>
              </p:nvSpPr>
              <p:spPr bwMode="gray">
                <a:xfrm rot="5400000">
                  <a:off x="158095"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16" name="Triangle_4">
                  <a:extLst>
                    <a:ext uri="{FF2B5EF4-FFF2-40B4-BE49-F238E27FC236}">
                      <a16:creationId xmlns:a16="http://schemas.microsoft.com/office/drawing/2014/main" id="{8E05EEDB-0821-ED75-B04A-8AD15DF02D2F}"/>
                    </a:ext>
                  </a:extLst>
                </p:cNvPr>
                <p:cNvSpPr>
                  <a:spLocks/>
                </p:cNvSpPr>
                <p:nvPr/>
              </p:nvSpPr>
              <p:spPr bwMode="gray">
                <a:xfrm rot="16200000">
                  <a:off x="323569" y="2833573"/>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1" name="Group 80">
                <a:extLst>
                  <a:ext uri="{FF2B5EF4-FFF2-40B4-BE49-F238E27FC236}">
                    <a16:creationId xmlns:a16="http://schemas.microsoft.com/office/drawing/2014/main" id="{1D27AF43-1627-A24E-C4EB-C5A099EBE897}"/>
                  </a:ext>
                </a:extLst>
              </p:cNvPr>
              <p:cNvGrpSpPr>
                <a:grpSpLocks/>
              </p:cNvGrpSpPr>
              <p:nvPr/>
            </p:nvGrpSpPr>
            <p:grpSpPr bwMode="gray">
              <a:xfrm>
                <a:off x="266700" y="3577707"/>
                <a:ext cx="217142" cy="217142"/>
                <a:chOff x="240832" y="3081783"/>
                <a:chExt cx="330948" cy="330948"/>
              </a:xfrm>
              <a:grpFill/>
            </p:grpSpPr>
            <p:sp>
              <p:nvSpPr>
                <p:cNvPr id="407" name="dfine_grid_single_shape_frame">
                  <a:extLst>
                    <a:ext uri="{FF2B5EF4-FFF2-40B4-BE49-F238E27FC236}">
                      <a16:creationId xmlns:a16="http://schemas.microsoft.com/office/drawing/2014/main" id="{7B956373-3047-EB09-CCEB-5E05754F5537}"/>
                    </a:ext>
                  </a:extLst>
                </p:cNvPr>
                <p:cNvSpPr>
                  <a:spLocks/>
                </p:cNvSpPr>
                <p:nvPr/>
              </p:nvSpPr>
              <p:spPr bwMode="gray">
                <a:xfrm>
                  <a:off x="240832"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08" name="Triangle_1">
                  <a:extLst>
                    <a:ext uri="{FF2B5EF4-FFF2-40B4-BE49-F238E27FC236}">
                      <a16:creationId xmlns:a16="http://schemas.microsoft.com/office/drawing/2014/main" id="{CA7C8CE8-4501-2510-3AA6-95592EE0A932}"/>
                    </a:ext>
                  </a:extLst>
                </p:cNvPr>
                <p:cNvSpPr>
                  <a:spLocks/>
                </p:cNvSpPr>
                <p:nvPr/>
              </p:nvSpPr>
              <p:spPr bwMode="gray">
                <a:xfrm rot="10800000">
                  <a:off x="240832"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09" name="Triangle_2">
                  <a:extLst>
                    <a:ext uri="{FF2B5EF4-FFF2-40B4-BE49-F238E27FC236}">
                      <a16:creationId xmlns:a16="http://schemas.microsoft.com/office/drawing/2014/main" id="{0EB75C32-3CBF-C1AF-135F-F25626BCE840}"/>
                    </a:ext>
                  </a:extLst>
                </p:cNvPr>
                <p:cNvSpPr>
                  <a:spLocks/>
                </p:cNvSpPr>
                <p:nvPr/>
              </p:nvSpPr>
              <p:spPr bwMode="gray">
                <a:xfrm>
                  <a:off x="240832"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10" name="Triangle_3">
                  <a:extLst>
                    <a:ext uri="{FF2B5EF4-FFF2-40B4-BE49-F238E27FC236}">
                      <a16:creationId xmlns:a16="http://schemas.microsoft.com/office/drawing/2014/main" id="{42C8F536-9B78-7F8C-60C6-53734238A39C}"/>
                    </a:ext>
                  </a:extLst>
                </p:cNvPr>
                <p:cNvSpPr>
                  <a:spLocks/>
                </p:cNvSpPr>
                <p:nvPr/>
              </p:nvSpPr>
              <p:spPr bwMode="gray">
                <a:xfrm rot="5400000">
                  <a:off x="158096" y="316452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11" name="Triangle_4">
                  <a:extLst>
                    <a:ext uri="{FF2B5EF4-FFF2-40B4-BE49-F238E27FC236}">
                      <a16:creationId xmlns:a16="http://schemas.microsoft.com/office/drawing/2014/main" id="{425391A1-CBBB-FC38-A80C-1082C80BF8D8}"/>
                    </a:ext>
                  </a:extLst>
                </p:cNvPr>
                <p:cNvSpPr>
                  <a:spLocks/>
                </p:cNvSpPr>
                <p:nvPr/>
              </p:nvSpPr>
              <p:spPr bwMode="gray">
                <a:xfrm rot="16200000">
                  <a:off x="323569"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2" name="Group 81">
                <a:extLst>
                  <a:ext uri="{FF2B5EF4-FFF2-40B4-BE49-F238E27FC236}">
                    <a16:creationId xmlns:a16="http://schemas.microsoft.com/office/drawing/2014/main" id="{01318F1C-2601-4D9B-6043-0E358B93861E}"/>
                  </a:ext>
                </a:extLst>
              </p:cNvPr>
              <p:cNvGrpSpPr>
                <a:grpSpLocks/>
              </p:cNvGrpSpPr>
              <p:nvPr/>
            </p:nvGrpSpPr>
            <p:grpSpPr bwMode="gray">
              <a:xfrm>
                <a:off x="266700" y="3794848"/>
                <a:ext cx="217142" cy="217142"/>
                <a:chOff x="240832" y="3412730"/>
                <a:chExt cx="330948" cy="330948"/>
              </a:xfrm>
              <a:grpFill/>
            </p:grpSpPr>
            <p:sp>
              <p:nvSpPr>
                <p:cNvPr id="402" name="dfine_grid_single_shape_frame">
                  <a:extLst>
                    <a:ext uri="{FF2B5EF4-FFF2-40B4-BE49-F238E27FC236}">
                      <a16:creationId xmlns:a16="http://schemas.microsoft.com/office/drawing/2014/main" id="{60756500-EA4D-A0B5-1993-626DEC3C6185}"/>
                    </a:ext>
                  </a:extLst>
                </p:cNvPr>
                <p:cNvSpPr>
                  <a:spLocks/>
                </p:cNvSpPr>
                <p:nvPr/>
              </p:nvSpPr>
              <p:spPr bwMode="gray">
                <a:xfrm>
                  <a:off x="240832"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03" name="triangle_phd_v2_top">
                  <a:extLst>
                    <a:ext uri="{FF2B5EF4-FFF2-40B4-BE49-F238E27FC236}">
                      <a16:creationId xmlns:a16="http://schemas.microsoft.com/office/drawing/2014/main" id="{CC3598D0-65A8-BFFC-E53E-08004804B854}"/>
                    </a:ext>
                  </a:extLst>
                </p:cNvPr>
                <p:cNvSpPr>
                  <a:spLocks/>
                </p:cNvSpPr>
                <p:nvPr/>
              </p:nvSpPr>
              <p:spPr bwMode="gray">
                <a:xfrm rot="10800000">
                  <a:off x="240832"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04" name="Triangle_2">
                  <a:extLst>
                    <a:ext uri="{FF2B5EF4-FFF2-40B4-BE49-F238E27FC236}">
                      <a16:creationId xmlns:a16="http://schemas.microsoft.com/office/drawing/2014/main" id="{C40E42AD-F5D0-FE64-A444-A2DBCCB3A19E}"/>
                    </a:ext>
                  </a:extLst>
                </p:cNvPr>
                <p:cNvSpPr>
                  <a:spLocks/>
                </p:cNvSpPr>
                <p:nvPr/>
              </p:nvSpPr>
              <p:spPr bwMode="gray">
                <a:xfrm>
                  <a:off x="240832"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05" name="Triangle_3">
                  <a:extLst>
                    <a:ext uri="{FF2B5EF4-FFF2-40B4-BE49-F238E27FC236}">
                      <a16:creationId xmlns:a16="http://schemas.microsoft.com/office/drawing/2014/main" id="{4B294919-A893-073C-2CB4-2EF474FBE802}"/>
                    </a:ext>
                  </a:extLst>
                </p:cNvPr>
                <p:cNvSpPr>
                  <a:spLocks/>
                </p:cNvSpPr>
                <p:nvPr/>
              </p:nvSpPr>
              <p:spPr bwMode="gray">
                <a:xfrm rot="5400000">
                  <a:off x="158095"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06" name="triangle_phd_v2_left">
                  <a:extLst>
                    <a:ext uri="{FF2B5EF4-FFF2-40B4-BE49-F238E27FC236}">
                      <a16:creationId xmlns:a16="http://schemas.microsoft.com/office/drawing/2014/main" id="{42AC54A2-91ED-872C-5C4A-2F001B92A0C5}"/>
                    </a:ext>
                  </a:extLst>
                </p:cNvPr>
                <p:cNvSpPr>
                  <a:spLocks/>
                </p:cNvSpPr>
                <p:nvPr/>
              </p:nvSpPr>
              <p:spPr bwMode="gray">
                <a:xfrm rot="16200000">
                  <a:off x="323569"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3" name="Group 82">
                <a:extLst>
                  <a:ext uri="{FF2B5EF4-FFF2-40B4-BE49-F238E27FC236}">
                    <a16:creationId xmlns:a16="http://schemas.microsoft.com/office/drawing/2014/main" id="{AEFA4C26-32CD-75A4-C2D4-5498B95B73B5}"/>
                  </a:ext>
                </a:extLst>
              </p:cNvPr>
              <p:cNvGrpSpPr>
                <a:grpSpLocks/>
              </p:cNvGrpSpPr>
              <p:nvPr/>
            </p:nvGrpSpPr>
            <p:grpSpPr bwMode="gray">
              <a:xfrm>
                <a:off x="266700" y="4011989"/>
                <a:ext cx="217142" cy="217142"/>
                <a:chOff x="240832" y="3743677"/>
                <a:chExt cx="330948" cy="330948"/>
              </a:xfrm>
              <a:grpFill/>
            </p:grpSpPr>
            <p:sp>
              <p:nvSpPr>
                <p:cNvPr id="397" name="dfine_grid_single_shape_frame">
                  <a:extLst>
                    <a:ext uri="{FF2B5EF4-FFF2-40B4-BE49-F238E27FC236}">
                      <a16:creationId xmlns:a16="http://schemas.microsoft.com/office/drawing/2014/main" id="{A1952E70-A83D-FF90-7F52-A55CD86CB385}"/>
                    </a:ext>
                  </a:extLst>
                </p:cNvPr>
                <p:cNvSpPr>
                  <a:spLocks/>
                </p:cNvSpPr>
                <p:nvPr/>
              </p:nvSpPr>
              <p:spPr bwMode="gray">
                <a:xfrm>
                  <a:off x="240832"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98" name="Triangle_1">
                  <a:extLst>
                    <a:ext uri="{FF2B5EF4-FFF2-40B4-BE49-F238E27FC236}">
                      <a16:creationId xmlns:a16="http://schemas.microsoft.com/office/drawing/2014/main" id="{DD45A104-5FB4-7A8E-7885-5681B81D107C}"/>
                    </a:ext>
                  </a:extLst>
                </p:cNvPr>
                <p:cNvSpPr>
                  <a:spLocks/>
                </p:cNvSpPr>
                <p:nvPr/>
              </p:nvSpPr>
              <p:spPr bwMode="gray">
                <a:xfrm rot="10800000">
                  <a:off x="240832"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99" name="Triangle_2">
                  <a:extLst>
                    <a:ext uri="{FF2B5EF4-FFF2-40B4-BE49-F238E27FC236}">
                      <a16:creationId xmlns:a16="http://schemas.microsoft.com/office/drawing/2014/main" id="{FB43E552-48C4-0FF9-4994-42B35C61BCCF}"/>
                    </a:ext>
                  </a:extLst>
                </p:cNvPr>
                <p:cNvSpPr>
                  <a:spLocks/>
                </p:cNvSpPr>
                <p:nvPr/>
              </p:nvSpPr>
              <p:spPr bwMode="gray">
                <a:xfrm>
                  <a:off x="240832"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00" name="Triangle_3">
                  <a:extLst>
                    <a:ext uri="{FF2B5EF4-FFF2-40B4-BE49-F238E27FC236}">
                      <a16:creationId xmlns:a16="http://schemas.microsoft.com/office/drawing/2014/main" id="{421E392E-9D8C-8FD0-F8AA-08597B68B2CF}"/>
                    </a:ext>
                  </a:extLst>
                </p:cNvPr>
                <p:cNvSpPr>
                  <a:spLocks/>
                </p:cNvSpPr>
                <p:nvPr/>
              </p:nvSpPr>
              <p:spPr bwMode="gray">
                <a:xfrm rot="5400000">
                  <a:off x="158095"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401" name="Triangle_4">
                  <a:extLst>
                    <a:ext uri="{FF2B5EF4-FFF2-40B4-BE49-F238E27FC236}">
                      <a16:creationId xmlns:a16="http://schemas.microsoft.com/office/drawing/2014/main" id="{8A8AEA60-0EA3-DB96-250E-57C4846EA907}"/>
                    </a:ext>
                  </a:extLst>
                </p:cNvPr>
                <p:cNvSpPr>
                  <a:spLocks/>
                </p:cNvSpPr>
                <p:nvPr/>
              </p:nvSpPr>
              <p:spPr bwMode="gray">
                <a:xfrm rot="16200000">
                  <a:off x="323569"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4" name="Group 83">
                <a:extLst>
                  <a:ext uri="{FF2B5EF4-FFF2-40B4-BE49-F238E27FC236}">
                    <a16:creationId xmlns:a16="http://schemas.microsoft.com/office/drawing/2014/main" id="{2F078CEF-3B65-A9A0-6600-8A52CA980C75}"/>
                  </a:ext>
                </a:extLst>
              </p:cNvPr>
              <p:cNvGrpSpPr>
                <a:grpSpLocks/>
              </p:cNvGrpSpPr>
              <p:nvPr/>
            </p:nvGrpSpPr>
            <p:grpSpPr bwMode="gray">
              <a:xfrm>
                <a:off x="266700" y="4229130"/>
                <a:ext cx="217142" cy="217142"/>
                <a:chOff x="240832" y="4074624"/>
                <a:chExt cx="330948" cy="330948"/>
              </a:xfrm>
              <a:grpFill/>
            </p:grpSpPr>
            <p:sp>
              <p:nvSpPr>
                <p:cNvPr id="392" name="dfine_grid_single_shape_frame">
                  <a:extLst>
                    <a:ext uri="{FF2B5EF4-FFF2-40B4-BE49-F238E27FC236}">
                      <a16:creationId xmlns:a16="http://schemas.microsoft.com/office/drawing/2014/main" id="{7DAE902D-A590-F649-86B5-B6A20D1D2BBE}"/>
                    </a:ext>
                  </a:extLst>
                </p:cNvPr>
                <p:cNvSpPr>
                  <a:spLocks/>
                </p:cNvSpPr>
                <p:nvPr/>
              </p:nvSpPr>
              <p:spPr bwMode="gray">
                <a:xfrm>
                  <a:off x="240832"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93" name="Triangle_1">
                  <a:extLst>
                    <a:ext uri="{FF2B5EF4-FFF2-40B4-BE49-F238E27FC236}">
                      <a16:creationId xmlns:a16="http://schemas.microsoft.com/office/drawing/2014/main" id="{79284D57-AF7C-E555-A48A-15447A093A1C}"/>
                    </a:ext>
                  </a:extLst>
                </p:cNvPr>
                <p:cNvSpPr>
                  <a:spLocks/>
                </p:cNvSpPr>
                <p:nvPr/>
              </p:nvSpPr>
              <p:spPr bwMode="gray">
                <a:xfrm rot="10800000">
                  <a:off x="240832"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94" name="Triangle_2">
                  <a:extLst>
                    <a:ext uri="{FF2B5EF4-FFF2-40B4-BE49-F238E27FC236}">
                      <a16:creationId xmlns:a16="http://schemas.microsoft.com/office/drawing/2014/main" id="{F22BE765-A511-6827-3D1D-C386ED89B83B}"/>
                    </a:ext>
                  </a:extLst>
                </p:cNvPr>
                <p:cNvSpPr>
                  <a:spLocks/>
                </p:cNvSpPr>
                <p:nvPr/>
              </p:nvSpPr>
              <p:spPr bwMode="gray">
                <a:xfrm>
                  <a:off x="240832"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95" name="Triangle_3">
                  <a:extLst>
                    <a:ext uri="{FF2B5EF4-FFF2-40B4-BE49-F238E27FC236}">
                      <a16:creationId xmlns:a16="http://schemas.microsoft.com/office/drawing/2014/main" id="{903E6B89-EB1B-AB4C-4340-DB57744076B8}"/>
                    </a:ext>
                  </a:extLst>
                </p:cNvPr>
                <p:cNvSpPr>
                  <a:spLocks/>
                </p:cNvSpPr>
                <p:nvPr/>
              </p:nvSpPr>
              <p:spPr bwMode="gray">
                <a:xfrm rot="5400000">
                  <a:off x="158095"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96" name="Triangle_4">
                  <a:extLst>
                    <a:ext uri="{FF2B5EF4-FFF2-40B4-BE49-F238E27FC236}">
                      <a16:creationId xmlns:a16="http://schemas.microsoft.com/office/drawing/2014/main" id="{37014FA4-212A-601E-26CC-5ABC33DCFF34}"/>
                    </a:ext>
                  </a:extLst>
                </p:cNvPr>
                <p:cNvSpPr>
                  <a:spLocks/>
                </p:cNvSpPr>
                <p:nvPr/>
              </p:nvSpPr>
              <p:spPr bwMode="gray">
                <a:xfrm rot="16200000">
                  <a:off x="323569"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5" name="Group 84">
                <a:extLst>
                  <a:ext uri="{FF2B5EF4-FFF2-40B4-BE49-F238E27FC236}">
                    <a16:creationId xmlns:a16="http://schemas.microsoft.com/office/drawing/2014/main" id="{15388B50-CE4E-0E0A-CC0E-B62BF364AB76}"/>
                  </a:ext>
                </a:extLst>
              </p:cNvPr>
              <p:cNvGrpSpPr>
                <a:grpSpLocks/>
              </p:cNvGrpSpPr>
              <p:nvPr/>
            </p:nvGrpSpPr>
            <p:grpSpPr bwMode="gray">
              <a:xfrm>
                <a:off x="483841" y="3143425"/>
                <a:ext cx="217142" cy="217142"/>
                <a:chOff x="571779" y="2419889"/>
                <a:chExt cx="330948" cy="330948"/>
              </a:xfrm>
              <a:grpFill/>
            </p:grpSpPr>
            <p:sp>
              <p:nvSpPr>
                <p:cNvPr id="387" name="dfine_grid_single_shape_frame">
                  <a:extLst>
                    <a:ext uri="{FF2B5EF4-FFF2-40B4-BE49-F238E27FC236}">
                      <a16:creationId xmlns:a16="http://schemas.microsoft.com/office/drawing/2014/main" id="{99391CE7-6DF3-A267-2792-D22867B3F8E7}"/>
                    </a:ext>
                  </a:extLst>
                </p:cNvPr>
                <p:cNvSpPr>
                  <a:spLocks/>
                </p:cNvSpPr>
                <p:nvPr/>
              </p:nvSpPr>
              <p:spPr bwMode="gray">
                <a:xfrm>
                  <a:off x="571779"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88" name="Triangle_1">
                  <a:extLst>
                    <a:ext uri="{FF2B5EF4-FFF2-40B4-BE49-F238E27FC236}">
                      <a16:creationId xmlns:a16="http://schemas.microsoft.com/office/drawing/2014/main" id="{FB1E6390-1F90-B9E3-C63D-3F70A00D90C6}"/>
                    </a:ext>
                  </a:extLst>
                </p:cNvPr>
                <p:cNvSpPr>
                  <a:spLocks/>
                </p:cNvSpPr>
                <p:nvPr/>
              </p:nvSpPr>
              <p:spPr bwMode="gray">
                <a:xfrm rot="10800000">
                  <a:off x="571779"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89" name="Triangle_2">
                  <a:extLst>
                    <a:ext uri="{FF2B5EF4-FFF2-40B4-BE49-F238E27FC236}">
                      <a16:creationId xmlns:a16="http://schemas.microsoft.com/office/drawing/2014/main" id="{69A06DAC-B64A-4223-5B62-D3FB4B1E23B1}"/>
                    </a:ext>
                  </a:extLst>
                </p:cNvPr>
                <p:cNvSpPr>
                  <a:spLocks/>
                </p:cNvSpPr>
                <p:nvPr/>
              </p:nvSpPr>
              <p:spPr bwMode="gray">
                <a:xfrm>
                  <a:off x="571779"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90" name="Triangle_3">
                  <a:extLst>
                    <a:ext uri="{FF2B5EF4-FFF2-40B4-BE49-F238E27FC236}">
                      <a16:creationId xmlns:a16="http://schemas.microsoft.com/office/drawing/2014/main" id="{39C2BBF9-4522-48C9-8C81-8D9E3383223C}"/>
                    </a:ext>
                  </a:extLst>
                </p:cNvPr>
                <p:cNvSpPr>
                  <a:spLocks/>
                </p:cNvSpPr>
                <p:nvPr/>
              </p:nvSpPr>
              <p:spPr bwMode="gray">
                <a:xfrm rot="5400000">
                  <a:off x="489042"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91" name="Triangle_4">
                  <a:extLst>
                    <a:ext uri="{FF2B5EF4-FFF2-40B4-BE49-F238E27FC236}">
                      <a16:creationId xmlns:a16="http://schemas.microsoft.com/office/drawing/2014/main" id="{836FB15F-0648-8CB1-B445-1EE9C9408828}"/>
                    </a:ext>
                  </a:extLst>
                </p:cNvPr>
                <p:cNvSpPr>
                  <a:spLocks/>
                </p:cNvSpPr>
                <p:nvPr/>
              </p:nvSpPr>
              <p:spPr bwMode="gray">
                <a:xfrm rot="16200000">
                  <a:off x="654516"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6" name="Group 85">
                <a:extLst>
                  <a:ext uri="{FF2B5EF4-FFF2-40B4-BE49-F238E27FC236}">
                    <a16:creationId xmlns:a16="http://schemas.microsoft.com/office/drawing/2014/main" id="{D0AF7F69-8CFA-1207-5FA4-D768C3FB379E}"/>
                  </a:ext>
                </a:extLst>
              </p:cNvPr>
              <p:cNvGrpSpPr>
                <a:grpSpLocks/>
              </p:cNvGrpSpPr>
              <p:nvPr/>
            </p:nvGrpSpPr>
            <p:grpSpPr bwMode="gray">
              <a:xfrm>
                <a:off x="483841" y="3360566"/>
                <a:ext cx="217142" cy="217142"/>
                <a:chOff x="571779" y="2750836"/>
                <a:chExt cx="330948" cy="330948"/>
              </a:xfrm>
              <a:grpFill/>
            </p:grpSpPr>
            <p:sp>
              <p:nvSpPr>
                <p:cNvPr id="382" name="dfine_grid_single_shape_frame">
                  <a:extLst>
                    <a:ext uri="{FF2B5EF4-FFF2-40B4-BE49-F238E27FC236}">
                      <a16:creationId xmlns:a16="http://schemas.microsoft.com/office/drawing/2014/main" id="{328933B4-6077-FC2A-F545-0738A5D5D4CC}"/>
                    </a:ext>
                  </a:extLst>
                </p:cNvPr>
                <p:cNvSpPr>
                  <a:spLocks/>
                </p:cNvSpPr>
                <p:nvPr/>
              </p:nvSpPr>
              <p:spPr bwMode="gray">
                <a:xfrm>
                  <a:off x="571779"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83" name="Triangle_1">
                  <a:extLst>
                    <a:ext uri="{FF2B5EF4-FFF2-40B4-BE49-F238E27FC236}">
                      <a16:creationId xmlns:a16="http://schemas.microsoft.com/office/drawing/2014/main" id="{CBE6A208-A126-D602-09D7-7EEE51EB8AF2}"/>
                    </a:ext>
                  </a:extLst>
                </p:cNvPr>
                <p:cNvSpPr>
                  <a:spLocks/>
                </p:cNvSpPr>
                <p:nvPr/>
              </p:nvSpPr>
              <p:spPr bwMode="gray">
                <a:xfrm rot="10800000">
                  <a:off x="571779"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84" name="Triangle_2">
                  <a:extLst>
                    <a:ext uri="{FF2B5EF4-FFF2-40B4-BE49-F238E27FC236}">
                      <a16:creationId xmlns:a16="http://schemas.microsoft.com/office/drawing/2014/main" id="{F2B435AF-0383-8B94-4230-80510F77EDCA}"/>
                    </a:ext>
                  </a:extLst>
                </p:cNvPr>
                <p:cNvSpPr>
                  <a:spLocks/>
                </p:cNvSpPr>
                <p:nvPr/>
              </p:nvSpPr>
              <p:spPr bwMode="gray">
                <a:xfrm>
                  <a:off x="571779"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85" name="Triangle_3">
                  <a:extLst>
                    <a:ext uri="{FF2B5EF4-FFF2-40B4-BE49-F238E27FC236}">
                      <a16:creationId xmlns:a16="http://schemas.microsoft.com/office/drawing/2014/main" id="{35290D43-2BC3-2886-B7B7-764D3F2AA7C1}"/>
                    </a:ext>
                  </a:extLst>
                </p:cNvPr>
                <p:cNvSpPr>
                  <a:spLocks/>
                </p:cNvSpPr>
                <p:nvPr/>
              </p:nvSpPr>
              <p:spPr bwMode="gray">
                <a:xfrm rot="5400000">
                  <a:off x="489042"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86" name="Triangle_4">
                  <a:extLst>
                    <a:ext uri="{FF2B5EF4-FFF2-40B4-BE49-F238E27FC236}">
                      <a16:creationId xmlns:a16="http://schemas.microsoft.com/office/drawing/2014/main" id="{5895F68D-7C1D-B75B-6CF5-1DF1F41B7B3C}"/>
                    </a:ext>
                  </a:extLst>
                </p:cNvPr>
                <p:cNvSpPr>
                  <a:spLocks/>
                </p:cNvSpPr>
                <p:nvPr/>
              </p:nvSpPr>
              <p:spPr bwMode="gray">
                <a:xfrm rot="16200000">
                  <a:off x="654516"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7" name="Group 86">
                <a:extLst>
                  <a:ext uri="{FF2B5EF4-FFF2-40B4-BE49-F238E27FC236}">
                    <a16:creationId xmlns:a16="http://schemas.microsoft.com/office/drawing/2014/main" id="{6FC53B08-6A0B-3976-85ED-938CF4EAA5D3}"/>
                  </a:ext>
                </a:extLst>
              </p:cNvPr>
              <p:cNvGrpSpPr>
                <a:grpSpLocks/>
              </p:cNvGrpSpPr>
              <p:nvPr/>
            </p:nvGrpSpPr>
            <p:grpSpPr bwMode="gray">
              <a:xfrm>
                <a:off x="483841" y="3577707"/>
                <a:ext cx="217142" cy="217142"/>
                <a:chOff x="571779" y="3081783"/>
                <a:chExt cx="330948" cy="330948"/>
              </a:xfrm>
              <a:grpFill/>
            </p:grpSpPr>
            <p:sp>
              <p:nvSpPr>
                <p:cNvPr id="377" name="dfine_grid_single_shape_frame">
                  <a:extLst>
                    <a:ext uri="{FF2B5EF4-FFF2-40B4-BE49-F238E27FC236}">
                      <a16:creationId xmlns:a16="http://schemas.microsoft.com/office/drawing/2014/main" id="{B22C1D95-1FE8-E876-F97A-CA39B2646450}"/>
                    </a:ext>
                  </a:extLst>
                </p:cNvPr>
                <p:cNvSpPr>
                  <a:spLocks/>
                </p:cNvSpPr>
                <p:nvPr/>
              </p:nvSpPr>
              <p:spPr bwMode="gray">
                <a:xfrm>
                  <a:off x="571779"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78" name="Triangle_1">
                  <a:extLst>
                    <a:ext uri="{FF2B5EF4-FFF2-40B4-BE49-F238E27FC236}">
                      <a16:creationId xmlns:a16="http://schemas.microsoft.com/office/drawing/2014/main" id="{3ABB9CB8-7116-EC34-7375-D17B37646B3C}"/>
                    </a:ext>
                  </a:extLst>
                </p:cNvPr>
                <p:cNvSpPr>
                  <a:spLocks/>
                </p:cNvSpPr>
                <p:nvPr/>
              </p:nvSpPr>
              <p:spPr bwMode="gray">
                <a:xfrm rot="10800000">
                  <a:off x="571779"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79" name="Triangle_2">
                  <a:extLst>
                    <a:ext uri="{FF2B5EF4-FFF2-40B4-BE49-F238E27FC236}">
                      <a16:creationId xmlns:a16="http://schemas.microsoft.com/office/drawing/2014/main" id="{3BD5A900-7027-DA9B-95E9-77C460BF93A3}"/>
                    </a:ext>
                  </a:extLst>
                </p:cNvPr>
                <p:cNvSpPr>
                  <a:spLocks/>
                </p:cNvSpPr>
                <p:nvPr/>
              </p:nvSpPr>
              <p:spPr bwMode="gray">
                <a:xfrm>
                  <a:off x="571779"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80" name="Triangle_3">
                  <a:extLst>
                    <a:ext uri="{FF2B5EF4-FFF2-40B4-BE49-F238E27FC236}">
                      <a16:creationId xmlns:a16="http://schemas.microsoft.com/office/drawing/2014/main" id="{B2651266-661E-B039-C3CC-469A8F2F06CB}"/>
                    </a:ext>
                  </a:extLst>
                </p:cNvPr>
                <p:cNvSpPr>
                  <a:spLocks/>
                </p:cNvSpPr>
                <p:nvPr/>
              </p:nvSpPr>
              <p:spPr bwMode="gray">
                <a:xfrm rot="5400000">
                  <a:off x="489042"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81" name="Triangle_4">
                  <a:extLst>
                    <a:ext uri="{FF2B5EF4-FFF2-40B4-BE49-F238E27FC236}">
                      <a16:creationId xmlns:a16="http://schemas.microsoft.com/office/drawing/2014/main" id="{80C31426-9D80-5817-7D61-74A78627EF19}"/>
                    </a:ext>
                  </a:extLst>
                </p:cNvPr>
                <p:cNvSpPr>
                  <a:spLocks/>
                </p:cNvSpPr>
                <p:nvPr/>
              </p:nvSpPr>
              <p:spPr bwMode="gray">
                <a:xfrm rot="16200000">
                  <a:off x="654516"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8" name="Group 87">
                <a:extLst>
                  <a:ext uri="{FF2B5EF4-FFF2-40B4-BE49-F238E27FC236}">
                    <a16:creationId xmlns:a16="http://schemas.microsoft.com/office/drawing/2014/main" id="{E74ABB56-FD49-1838-7849-34D6EE002EBE}"/>
                  </a:ext>
                </a:extLst>
              </p:cNvPr>
              <p:cNvGrpSpPr>
                <a:grpSpLocks/>
              </p:cNvGrpSpPr>
              <p:nvPr/>
            </p:nvGrpSpPr>
            <p:grpSpPr bwMode="gray">
              <a:xfrm>
                <a:off x="483841" y="3794848"/>
                <a:ext cx="217142" cy="217142"/>
                <a:chOff x="571779" y="3412730"/>
                <a:chExt cx="330948" cy="330948"/>
              </a:xfrm>
              <a:grpFill/>
            </p:grpSpPr>
            <p:sp>
              <p:nvSpPr>
                <p:cNvPr id="372" name="dfine_grid_single_shape_frame">
                  <a:extLst>
                    <a:ext uri="{FF2B5EF4-FFF2-40B4-BE49-F238E27FC236}">
                      <a16:creationId xmlns:a16="http://schemas.microsoft.com/office/drawing/2014/main" id="{26C55D9E-30B2-CD62-365C-420DD8B8F8B9}"/>
                    </a:ext>
                  </a:extLst>
                </p:cNvPr>
                <p:cNvSpPr>
                  <a:spLocks/>
                </p:cNvSpPr>
                <p:nvPr>
                  <p:custDataLst>
                    <p:tags r:id="rId58"/>
                  </p:custDataLst>
                </p:nvPr>
              </p:nvSpPr>
              <p:spPr bwMode="gray">
                <a:xfrm>
                  <a:off x="571779"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73" name="Triangle_1">
                  <a:extLst>
                    <a:ext uri="{FF2B5EF4-FFF2-40B4-BE49-F238E27FC236}">
                      <a16:creationId xmlns:a16="http://schemas.microsoft.com/office/drawing/2014/main" id="{B0E5B9AE-B47C-6860-A2DB-23F6103517A5}"/>
                    </a:ext>
                  </a:extLst>
                </p:cNvPr>
                <p:cNvSpPr>
                  <a:spLocks/>
                </p:cNvSpPr>
                <p:nvPr/>
              </p:nvSpPr>
              <p:spPr bwMode="gray">
                <a:xfrm rot="10800000">
                  <a:off x="571779"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74" name="Triangle_2">
                  <a:extLst>
                    <a:ext uri="{FF2B5EF4-FFF2-40B4-BE49-F238E27FC236}">
                      <a16:creationId xmlns:a16="http://schemas.microsoft.com/office/drawing/2014/main" id="{A2DD6560-E2EB-DDDF-3117-BED5A9ED9F4A}"/>
                    </a:ext>
                  </a:extLst>
                </p:cNvPr>
                <p:cNvSpPr>
                  <a:spLocks/>
                </p:cNvSpPr>
                <p:nvPr/>
              </p:nvSpPr>
              <p:spPr bwMode="gray">
                <a:xfrm>
                  <a:off x="571779"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75" name="Triangle_3">
                  <a:extLst>
                    <a:ext uri="{FF2B5EF4-FFF2-40B4-BE49-F238E27FC236}">
                      <a16:creationId xmlns:a16="http://schemas.microsoft.com/office/drawing/2014/main" id="{B054E2D5-603B-0A1B-DDDF-E9A86D9CF063}"/>
                    </a:ext>
                  </a:extLst>
                </p:cNvPr>
                <p:cNvSpPr>
                  <a:spLocks/>
                </p:cNvSpPr>
                <p:nvPr/>
              </p:nvSpPr>
              <p:spPr bwMode="gray">
                <a:xfrm rot="5400000">
                  <a:off x="489042"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76" name="Triangle_4">
                  <a:extLst>
                    <a:ext uri="{FF2B5EF4-FFF2-40B4-BE49-F238E27FC236}">
                      <a16:creationId xmlns:a16="http://schemas.microsoft.com/office/drawing/2014/main" id="{4D002E84-6029-19BA-4C8D-566F2F11CF2B}"/>
                    </a:ext>
                  </a:extLst>
                </p:cNvPr>
                <p:cNvSpPr>
                  <a:spLocks/>
                </p:cNvSpPr>
                <p:nvPr/>
              </p:nvSpPr>
              <p:spPr bwMode="gray">
                <a:xfrm rot="16200000">
                  <a:off x="654516"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89" name="Group 88">
                <a:extLst>
                  <a:ext uri="{FF2B5EF4-FFF2-40B4-BE49-F238E27FC236}">
                    <a16:creationId xmlns:a16="http://schemas.microsoft.com/office/drawing/2014/main" id="{0E1739A7-3F2C-6BA0-982A-AC0DF637A2A9}"/>
                  </a:ext>
                </a:extLst>
              </p:cNvPr>
              <p:cNvGrpSpPr>
                <a:grpSpLocks/>
              </p:cNvGrpSpPr>
              <p:nvPr/>
            </p:nvGrpSpPr>
            <p:grpSpPr bwMode="gray">
              <a:xfrm>
                <a:off x="483841" y="4011989"/>
                <a:ext cx="217142" cy="217142"/>
                <a:chOff x="571779" y="3743677"/>
                <a:chExt cx="330948" cy="330948"/>
              </a:xfrm>
              <a:grpFill/>
            </p:grpSpPr>
            <p:sp>
              <p:nvSpPr>
                <p:cNvPr id="367" name="dfine_grid_single_shape_frame">
                  <a:extLst>
                    <a:ext uri="{FF2B5EF4-FFF2-40B4-BE49-F238E27FC236}">
                      <a16:creationId xmlns:a16="http://schemas.microsoft.com/office/drawing/2014/main" id="{EB485D97-0C8F-66C3-6501-19F69BCD7778}"/>
                    </a:ext>
                  </a:extLst>
                </p:cNvPr>
                <p:cNvSpPr>
                  <a:spLocks/>
                </p:cNvSpPr>
                <p:nvPr/>
              </p:nvSpPr>
              <p:spPr bwMode="gray">
                <a:xfrm>
                  <a:off x="571779"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68" name="Triangle_1">
                  <a:extLst>
                    <a:ext uri="{FF2B5EF4-FFF2-40B4-BE49-F238E27FC236}">
                      <a16:creationId xmlns:a16="http://schemas.microsoft.com/office/drawing/2014/main" id="{EB686217-BBD4-C316-8089-BA2634853A09}"/>
                    </a:ext>
                  </a:extLst>
                </p:cNvPr>
                <p:cNvSpPr>
                  <a:spLocks/>
                </p:cNvSpPr>
                <p:nvPr/>
              </p:nvSpPr>
              <p:spPr bwMode="gray">
                <a:xfrm rot="10800000">
                  <a:off x="571779"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69" name="Triangle_2">
                  <a:extLst>
                    <a:ext uri="{FF2B5EF4-FFF2-40B4-BE49-F238E27FC236}">
                      <a16:creationId xmlns:a16="http://schemas.microsoft.com/office/drawing/2014/main" id="{3D6697D8-FFFE-0920-10F3-26D4EA59DC0E}"/>
                    </a:ext>
                  </a:extLst>
                </p:cNvPr>
                <p:cNvSpPr>
                  <a:spLocks/>
                </p:cNvSpPr>
                <p:nvPr/>
              </p:nvSpPr>
              <p:spPr bwMode="gray">
                <a:xfrm>
                  <a:off x="571779"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70" name="Triangle_3">
                  <a:extLst>
                    <a:ext uri="{FF2B5EF4-FFF2-40B4-BE49-F238E27FC236}">
                      <a16:creationId xmlns:a16="http://schemas.microsoft.com/office/drawing/2014/main" id="{87000251-DA12-F96D-6F08-C7A368CCB826}"/>
                    </a:ext>
                  </a:extLst>
                </p:cNvPr>
                <p:cNvSpPr>
                  <a:spLocks/>
                </p:cNvSpPr>
                <p:nvPr/>
              </p:nvSpPr>
              <p:spPr bwMode="gray">
                <a:xfrm rot="5400000">
                  <a:off x="489042"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71" name="Triangle_4">
                  <a:extLst>
                    <a:ext uri="{FF2B5EF4-FFF2-40B4-BE49-F238E27FC236}">
                      <a16:creationId xmlns:a16="http://schemas.microsoft.com/office/drawing/2014/main" id="{C5AD3FA7-E7E7-34D3-B952-00FC1456A82D}"/>
                    </a:ext>
                  </a:extLst>
                </p:cNvPr>
                <p:cNvSpPr>
                  <a:spLocks/>
                </p:cNvSpPr>
                <p:nvPr/>
              </p:nvSpPr>
              <p:spPr bwMode="gray">
                <a:xfrm rot="16200000">
                  <a:off x="654516"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90" name="Group 89">
                <a:extLst>
                  <a:ext uri="{FF2B5EF4-FFF2-40B4-BE49-F238E27FC236}">
                    <a16:creationId xmlns:a16="http://schemas.microsoft.com/office/drawing/2014/main" id="{2A594CD9-E7A1-0295-32A0-A920AA2BC261}"/>
                  </a:ext>
                </a:extLst>
              </p:cNvPr>
              <p:cNvGrpSpPr>
                <a:grpSpLocks/>
              </p:cNvGrpSpPr>
              <p:nvPr/>
            </p:nvGrpSpPr>
            <p:grpSpPr bwMode="gray">
              <a:xfrm>
                <a:off x="483841" y="4229130"/>
                <a:ext cx="217142" cy="217142"/>
                <a:chOff x="571779" y="4074624"/>
                <a:chExt cx="330948" cy="330948"/>
              </a:xfrm>
              <a:grpFill/>
            </p:grpSpPr>
            <p:sp>
              <p:nvSpPr>
                <p:cNvPr id="362" name="dfine_grid_single_shape_frame">
                  <a:extLst>
                    <a:ext uri="{FF2B5EF4-FFF2-40B4-BE49-F238E27FC236}">
                      <a16:creationId xmlns:a16="http://schemas.microsoft.com/office/drawing/2014/main" id="{958280EA-5ABA-B3BF-B8FF-05D10247AE85}"/>
                    </a:ext>
                  </a:extLst>
                </p:cNvPr>
                <p:cNvSpPr>
                  <a:spLocks/>
                </p:cNvSpPr>
                <p:nvPr/>
              </p:nvSpPr>
              <p:spPr bwMode="gray">
                <a:xfrm>
                  <a:off x="571779"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63" name="Triangle_1">
                  <a:extLst>
                    <a:ext uri="{FF2B5EF4-FFF2-40B4-BE49-F238E27FC236}">
                      <a16:creationId xmlns:a16="http://schemas.microsoft.com/office/drawing/2014/main" id="{AC81A04C-8B04-B106-45FB-633E0DCB3D2D}"/>
                    </a:ext>
                  </a:extLst>
                </p:cNvPr>
                <p:cNvSpPr>
                  <a:spLocks/>
                </p:cNvSpPr>
                <p:nvPr/>
              </p:nvSpPr>
              <p:spPr bwMode="gray">
                <a:xfrm rot="10800000">
                  <a:off x="571779"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64" name="Triangle_2">
                  <a:extLst>
                    <a:ext uri="{FF2B5EF4-FFF2-40B4-BE49-F238E27FC236}">
                      <a16:creationId xmlns:a16="http://schemas.microsoft.com/office/drawing/2014/main" id="{FCE7D42A-04CB-0862-31F4-ACEE6B29C2F2}"/>
                    </a:ext>
                  </a:extLst>
                </p:cNvPr>
                <p:cNvSpPr>
                  <a:spLocks/>
                </p:cNvSpPr>
                <p:nvPr/>
              </p:nvSpPr>
              <p:spPr bwMode="gray">
                <a:xfrm>
                  <a:off x="571779"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65" name="Triangle_3">
                  <a:extLst>
                    <a:ext uri="{FF2B5EF4-FFF2-40B4-BE49-F238E27FC236}">
                      <a16:creationId xmlns:a16="http://schemas.microsoft.com/office/drawing/2014/main" id="{9610661E-CB71-42C0-AB9D-81CCCBCE5CD4}"/>
                    </a:ext>
                  </a:extLst>
                </p:cNvPr>
                <p:cNvSpPr>
                  <a:spLocks/>
                </p:cNvSpPr>
                <p:nvPr/>
              </p:nvSpPr>
              <p:spPr bwMode="gray">
                <a:xfrm rot="5400000">
                  <a:off x="489042"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66" name="Triangle_4">
                  <a:extLst>
                    <a:ext uri="{FF2B5EF4-FFF2-40B4-BE49-F238E27FC236}">
                      <a16:creationId xmlns:a16="http://schemas.microsoft.com/office/drawing/2014/main" id="{FCB0C1AF-F144-4EFC-D806-FD4968BF77F4}"/>
                    </a:ext>
                  </a:extLst>
                </p:cNvPr>
                <p:cNvSpPr>
                  <a:spLocks/>
                </p:cNvSpPr>
                <p:nvPr/>
              </p:nvSpPr>
              <p:spPr bwMode="gray">
                <a:xfrm rot="16200000">
                  <a:off x="654516"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91" name="Group 90">
                <a:extLst>
                  <a:ext uri="{FF2B5EF4-FFF2-40B4-BE49-F238E27FC236}">
                    <a16:creationId xmlns:a16="http://schemas.microsoft.com/office/drawing/2014/main" id="{E8E37116-B63C-DF8C-E97A-B8682E18C03E}"/>
                  </a:ext>
                </a:extLst>
              </p:cNvPr>
              <p:cNvGrpSpPr>
                <a:grpSpLocks/>
              </p:cNvGrpSpPr>
              <p:nvPr/>
            </p:nvGrpSpPr>
            <p:grpSpPr bwMode="gray">
              <a:xfrm>
                <a:off x="700982" y="3143425"/>
                <a:ext cx="217142" cy="217142"/>
                <a:chOff x="902726" y="2419889"/>
                <a:chExt cx="330948" cy="330948"/>
              </a:xfrm>
              <a:grpFill/>
            </p:grpSpPr>
            <p:sp>
              <p:nvSpPr>
                <p:cNvPr id="357" name="dfine_grid_single_shape_frame">
                  <a:extLst>
                    <a:ext uri="{FF2B5EF4-FFF2-40B4-BE49-F238E27FC236}">
                      <a16:creationId xmlns:a16="http://schemas.microsoft.com/office/drawing/2014/main" id="{EEDC9975-A60D-F5BC-E64B-14005F780680}"/>
                    </a:ext>
                  </a:extLst>
                </p:cNvPr>
                <p:cNvSpPr>
                  <a:spLocks/>
                </p:cNvSpPr>
                <p:nvPr>
                  <p:custDataLst>
                    <p:tags r:id="rId57"/>
                  </p:custDataLst>
                </p:nvPr>
              </p:nvSpPr>
              <p:spPr bwMode="gray">
                <a:xfrm>
                  <a:off x="902726"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58" name="Triangle_1">
                  <a:extLst>
                    <a:ext uri="{FF2B5EF4-FFF2-40B4-BE49-F238E27FC236}">
                      <a16:creationId xmlns:a16="http://schemas.microsoft.com/office/drawing/2014/main" id="{13D2846E-2FA9-210C-9ACD-A418293B0E67}"/>
                    </a:ext>
                  </a:extLst>
                </p:cNvPr>
                <p:cNvSpPr>
                  <a:spLocks/>
                </p:cNvSpPr>
                <p:nvPr/>
              </p:nvSpPr>
              <p:spPr bwMode="gray">
                <a:xfrm rot="10800000">
                  <a:off x="902726"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59" name="Triangle_2">
                  <a:extLst>
                    <a:ext uri="{FF2B5EF4-FFF2-40B4-BE49-F238E27FC236}">
                      <a16:creationId xmlns:a16="http://schemas.microsoft.com/office/drawing/2014/main" id="{E2DE650E-026F-DEBC-E0E4-A0FDC3A4341B}"/>
                    </a:ext>
                  </a:extLst>
                </p:cNvPr>
                <p:cNvSpPr>
                  <a:spLocks/>
                </p:cNvSpPr>
                <p:nvPr/>
              </p:nvSpPr>
              <p:spPr bwMode="gray">
                <a:xfrm>
                  <a:off x="902726"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60" name="Triangle_3">
                  <a:extLst>
                    <a:ext uri="{FF2B5EF4-FFF2-40B4-BE49-F238E27FC236}">
                      <a16:creationId xmlns:a16="http://schemas.microsoft.com/office/drawing/2014/main" id="{EA3E6EA6-E457-B5D1-5CBC-5E9AAB2E12DD}"/>
                    </a:ext>
                  </a:extLst>
                </p:cNvPr>
                <p:cNvSpPr>
                  <a:spLocks/>
                </p:cNvSpPr>
                <p:nvPr/>
              </p:nvSpPr>
              <p:spPr bwMode="gray">
                <a:xfrm rot="5400000">
                  <a:off x="819989"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61" name="Triangle_4">
                  <a:extLst>
                    <a:ext uri="{FF2B5EF4-FFF2-40B4-BE49-F238E27FC236}">
                      <a16:creationId xmlns:a16="http://schemas.microsoft.com/office/drawing/2014/main" id="{B80F3FE9-D9E1-37BB-0FB2-FBD73781C37B}"/>
                    </a:ext>
                  </a:extLst>
                </p:cNvPr>
                <p:cNvSpPr>
                  <a:spLocks/>
                </p:cNvSpPr>
                <p:nvPr/>
              </p:nvSpPr>
              <p:spPr bwMode="gray">
                <a:xfrm rot="16200000">
                  <a:off x="98546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92" name="Group 91">
                <a:extLst>
                  <a:ext uri="{FF2B5EF4-FFF2-40B4-BE49-F238E27FC236}">
                    <a16:creationId xmlns:a16="http://schemas.microsoft.com/office/drawing/2014/main" id="{0C878C8B-5032-B86E-8B0B-1435CBDA7A31}"/>
                  </a:ext>
                </a:extLst>
              </p:cNvPr>
              <p:cNvGrpSpPr>
                <a:grpSpLocks/>
              </p:cNvGrpSpPr>
              <p:nvPr/>
            </p:nvGrpSpPr>
            <p:grpSpPr bwMode="gray">
              <a:xfrm>
                <a:off x="700982" y="3360566"/>
                <a:ext cx="217142" cy="217142"/>
                <a:chOff x="902726" y="2750836"/>
                <a:chExt cx="330948" cy="330948"/>
              </a:xfrm>
              <a:grpFill/>
            </p:grpSpPr>
            <p:sp>
              <p:nvSpPr>
                <p:cNvPr id="352" name="dfine_grid_single_shape_frame">
                  <a:extLst>
                    <a:ext uri="{FF2B5EF4-FFF2-40B4-BE49-F238E27FC236}">
                      <a16:creationId xmlns:a16="http://schemas.microsoft.com/office/drawing/2014/main" id="{3FB7EC7F-6304-2331-DC7C-74312DB3CDF6}"/>
                    </a:ext>
                  </a:extLst>
                </p:cNvPr>
                <p:cNvSpPr>
                  <a:spLocks/>
                </p:cNvSpPr>
                <p:nvPr/>
              </p:nvSpPr>
              <p:spPr bwMode="gray">
                <a:xfrm>
                  <a:off x="902726"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53" name="Triangle_1">
                  <a:extLst>
                    <a:ext uri="{FF2B5EF4-FFF2-40B4-BE49-F238E27FC236}">
                      <a16:creationId xmlns:a16="http://schemas.microsoft.com/office/drawing/2014/main" id="{EF5BDF44-981E-F5A3-DD08-9A8947720B24}"/>
                    </a:ext>
                  </a:extLst>
                </p:cNvPr>
                <p:cNvSpPr>
                  <a:spLocks/>
                </p:cNvSpPr>
                <p:nvPr/>
              </p:nvSpPr>
              <p:spPr bwMode="gray">
                <a:xfrm rot="10800000">
                  <a:off x="902726"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54" name="Triangle_2">
                  <a:extLst>
                    <a:ext uri="{FF2B5EF4-FFF2-40B4-BE49-F238E27FC236}">
                      <a16:creationId xmlns:a16="http://schemas.microsoft.com/office/drawing/2014/main" id="{242ADF24-6A33-1E21-3274-EF6B096F7D3D}"/>
                    </a:ext>
                  </a:extLst>
                </p:cNvPr>
                <p:cNvSpPr>
                  <a:spLocks/>
                </p:cNvSpPr>
                <p:nvPr/>
              </p:nvSpPr>
              <p:spPr bwMode="gray">
                <a:xfrm>
                  <a:off x="902726"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55" name="Triangle_3">
                  <a:extLst>
                    <a:ext uri="{FF2B5EF4-FFF2-40B4-BE49-F238E27FC236}">
                      <a16:creationId xmlns:a16="http://schemas.microsoft.com/office/drawing/2014/main" id="{BB54129D-13F7-8A57-B3FA-EA52318D074C}"/>
                    </a:ext>
                  </a:extLst>
                </p:cNvPr>
                <p:cNvSpPr>
                  <a:spLocks/>
                </p:cNvSpPr>
                <p:nvPr/>
              </p:nvSpPr>
              <p:spPr bwMode="gray">
                <a:xfrm rot="5400000">
                  <a:off x="819989"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56" name="Triangle_4">
                  <a:extLst>
                    <a:ext uri="{FF2B5EF4-FFF2-40B4-BE49-F238E27FC236}">
                      <a16:creationId xmlns:a16="http://schemas.microsoft.com/office/drawing/2014/main" id="{352971D4-E3A8-98DF-AB5E-A4F56B5B84C4}"/>
                    </a:ext>
                  </a:extLst>
                </p:cNvPr>
                <p:cNvSpPr>
                  <a:spLocks/>
                </p:cNvSpPr>
                <p:nvPr/>
              </p:nvSpPr>
              <p:spPr bwMode="gray">
                <a:xfrm rot="16200000">
                  <a:off x="98546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93" name="Group 92">
                <a:extLst>
                  <a:ext uri="{FF2B5EF4-FFF2-40B4-BE49-F238E27FC236}">
                    <a16:creationId xmlns:a16="http://schemas.microsoft.com/office/drawing/2014/main" id="{A417676D-58E4-84CF-3445-B9B95E37FF77}"/>
                  </a:ext>
                </a:extLst>
              </p:cNvPr>
              <p:cNvGrpSpPr>
                <a:grpSpLocks/>
              </p:cNvGrpSpPr>
              <p:nvPr/>
            </p:nvGrpSpPr>
            <p:grpSpPr bwMode="gray">
              <a:xfrm>
                <a:off x="700982" y="3577707"/>
                <a:ext cx="217142" cy="217142"/>
                <a:chOff x="902726" y="3081783"/>
                <a:chExt cx="330948" cy="330948"/>
              </a:xfrm>
              <a:grpFill/>
            </p:grpSpPr>
            <p:sp>
              <p:nvSpPr>
                <p:cNvPr id="347" name="dfine_grid_single_shape_frame">
                  <a:extLst>
                    <a:ext uri="{FF2B5EF4-FFF2-40B4-BE49-F238E27FC236}">
                      <a16:creationId xmlns:a16="http://schemas.microsoft.com/office/drawing/2014/main" id="{CA34C21F-22B5-C95E-A1CC-3E4912452DB1}"/>
                    </a:ext>
                  </a:extLst>
                </p:cNvPr>
                <p:cNvSpPr>
                  <a:spLocks/>
                </p:cNvSpPr>
                <p:nvPr>
                  <p:custDataLst>
                    <p:tags r:id="rId56"/>
                  </p:custDataLst>
                </p:nvPr>
              </p:nvSpPr>
              <p:spPr bwMode="gray">
                <a:xfrm>
                  <a:off x="902726"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48" name="Triangle_1">
                  <a:extLst>
                    <a:ext uri="{FF2B5EF4-FFF2-40B4-BE49-F238E27FC236}">
                      <a16:creationId xmlns:a16="http://schemas.microsoft.com/office/drawing/2014/main" id="{DAFD714E-9D27-90EC-3EA2-8AA66C7C2DAA}"/>
                    </a:ext>
                  </a:extLst>
                </p:cNvPr>
                <p:cNvSpPr>
                  <a:spLocks/>
                </p:cNvSpPr>
                <p:nvPr/>
              </p:nvSpPr>
              <p:spPr bwMode="gray">
                <a:xfrm rot="10800000">
                  <a:off x="902726"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49" name="Triangle_2">
                  <a:extLst>
                    <a:ext uri="{FF2B5EF4-FFF2-40B4-BE49-F238E27FC236}">
                      <a16:creationId xmlns:a16="http://schemas.microsoft.com/office/drawing/2014/main" id="{1D9C5E32-13AB-B3D4-D7C7-F9BD1B7F7B3C}"/>
                    </a:ext>
                  </a:extLst>
                </p:cNvPr>
                <p:cNvSpPr>
                  <a:spLocks/>
                </p:cNvSpPr>
                <p:nvPr/>
              </p:nvSpPr>
              <p:spPr bwMode="gray">
                <a:xfrm>
                  <a:off x="902726"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50" name="Triangle_3">
                  <a:extLst>
                    <a:ext uri="{FF2B5EF4-FFF2-40B4-BE49-F238E27FC236}">
                      <a16:creationId xmlns:a16="http://schemas.microsoft.com/office/drawing/2014/main" id="{C19FF56D-8156-CF48-2F35-ED0F7E7644D2}"/>
                    </a:ext>
                  </a:extLst>
                </p:cNvPr>
                <p:cNvSpPr>
                  <a:spLocks/>
                </p:cNvSpPr>
                <p:nvPr/>
              </p:nvSpPr>
              <p:spPr bwMode="gray">
                <a:xfrm rot="5400000">
                  <a:off x="819989"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51" name="Triangle_4">
                  <a:extLst>
                    <a:ext uri="{FF2B5EF4-FFF2-40B4-BE49-F238E27FC236}">
                      <a16:creationId xmlns:a16="http://schemas.microsoft.com/office/drawing/2014/main" id="{06F0D270-C58A-8381-46EF-745BAA465FBE}"/>
                    </a:ext>
                  </a:extLst>
                </p:cNvPr>
                <p:cNvSpPr>
                  <a:spLocks/>
                </p:cNvSpPr>
                <p:nvPr/>
              </p:nvSpPr>
              <p:spPr bwMode="gray">
                <a:xfrm rot="16200000">
                  <a:off x="98546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94" name="Group 93">
                <a:extLst>
                  <a:ext uri="{FF2B5EF4-FFF2-40B4-BE49-F238E27FC236}">
                    <a16:creationId xmlns:a16="http://schemas.microsoft.com/office/drawing/2014/main" id="{4B5DC3E7-58B9-90D3-947A-9B1180407B84}"/>
                  </a:ext>
                </a:extLst>
              </p:cNvPr>
              <p:cNvGrpSpPr>
                <a:grpSpLocks/>
              </p:cNvGrpSpPr>
              <p:nvPr/>
            </p:nvGrpSpPr>
            <p:grpSpPr bwMode="gray">
              <a:xfrm>
                <a:off x="700982" y="4011989"/>
                <a:ext cx="217142" cy="217142"/>
                <a:chOff x="902726" y="3743677"/>
                <a:chExt cx="330948" cy="330948"/>
              </a:xfrm>
              <a:grpFill/>
            </p:grpSpPr>
            <p:sp>
              <p:nvSpPr>
                <p:cNvPr id="342" name="dfine_grid_single_shape_frame">
                  <a:extLst>
                    <a:ext uri="{FF2B5EF4-FFF2-40B4-BE49-F238E27FC236}">
                      <a16:creationId xmlns:a16="http://schemas.microsoft.com/office/drawing/2014/main" id="{7EF0C3A1-C7DC-0B16-794E-3620536F280A}"/>
                    </a:ext>
                  </a:extLst>
                </p:cNvPr>
                <p:cNvSpPr>
                  <a:spLocks/>
                </p:cNvSpPr>
                <p:nvPr/>
              </p:nvSpPr>
              <p:spPr bwMode="gray">
                <a:xfrm>
                  <a:off x="902726"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43" name="Triangle_1">
                  <a:extLst>
                    <a:ext uri="{FF2B5EF4-FFF2-40B4-BE49-F238E27FC236}">
                      <a16:creationId xmlns:a16="http://schemas.microsoft.com/office/drawing/2014/main" id="{3985C36A-FBF0-B5E9-00EB-1002822AF8F9}"/>
                    </a:ext>
                  </a:extLst>
                </p:cNvPr>
                <p:cNvSpPr>
                  <a:spLocks/>
                </p:cNvSpPr>
                <p:nvPr/>
              </p:nvSpPr>
              <p:spPr bwMode="gray">
                <a:xfrm rot="10800000">
                  <a:off x="902726"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44" name="Triangle_2">
                  <a:extLst>
                    <a:ext uri="{FF2B5EF4-FFF2-40B4-BE49-F238E27FC236}">
                      <a16:creationId xmlns:a16="http://schemas.microsoft.com/office/drawing/2014/main" id="{29E5C36E-0BDB-7ABD-9D5F-F894B2C23FBF}"/>
                    </a:ext>
                  </a:extLst>
                </p:cNvPr>
                <p:cNvSpPr>
                  <a:spLocks/>
                </p:cNvSpPr>
                <p:nvPr/>
              </p:nvSpPr>
              <p:spPr bwMode="gray">
                <a:xfrm>
                  <a:off x="902726"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45" name="Triangle_3">
                  <a:extLst>
                    <a:ext uri="{FF2B5EF4-FFF2-40B4-BE49-F238E27FC236}">
                      <a16:creationId xmlns:a16="http://schemas.microsoft.com/office/drawing/2014/main" id="{AE15C2A8-D81F-E529-5456-A716DE69FDFB}"/>
                    </a:ext>
                  </a:extLst>
                </p:cNvPr>
                <p:cNvSpPr>
                  <a:spLocks/>
                </p:cNvSpPr>
                <p:nvPr/>
              </p:nvSpPr>
              <p:spPr bwMode="gray">
                <a:xfrm rot="5400000">
                  <a:off x="819989"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46" name="Triangle_4">
                  <a:extLst>
                    <a:ext uri="{FF2B5EF4-FFF2-40B4-BE49-F238E27FC236}">
                      <a16:creationId xmlns:a16="http://schemas.microsoft.com/office/drawing/2014/main" id="{656918AB-C514-BF3E-B268-6B8A0DAC3797}"/>
                    </a:ext>
                  </a:extLst>
                </p:cNvPr>
                <p:cNvSpPr>
                  <a:spLocks/>
                </p:cNvSpPr>
                <p:nvPr/>
              </p:nvSpPr>
              <p:spPr bwMode="gray">
                <a:xfrm rot="16200000">
                  <a:off x="98546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95" name="Group 94">
                <a:extLst>
                  <a:ext uri="{FF2B5EF4-FFF2-40B4-BE49-F238E27FC236}">
                    <a16:creationId xmlns:a16="http://schemas.microsoft.com/office/drawing/2014/main" id="{0BE63C41-0BA4-1CD4-3C2A-414EC71FA38B}"/>
                  </a:ext>
                </a:extLst>
              </p:cNvPr>
              <p:cNvGrpSpPr>
                <a:grpSpLocks/>
              </p:cNvGrpSpPr>
              <p:nvPr/>
            </p:nvGrpSpPr>
            <p:grpSpPr bwMode="gray">
              <a:xfrm>
                <a:off x="700982" y="4229130"/>
                <a:ext cx="217142" cy="217142"/>
                <a:chOff x="902726" y="4074624"/>
                <a:chExt cx="330948" cy="330948"/>
              </a:xfrm>
              <a:grpFill/>
            </p:grpSpPr>
            <p:sp>
              <p:nvSpPr>
                <p:cNvPr id="337" name="dfine_grid_single_shape_frame">
                  <a:extLst>
                    <a:ext uri="{FF2B5EF4-FFF2-40B4-BE49-F238E27FC236}">
                      <a16:creationId xmlns:a16="http://schemas.microsoft.com/office/drawing/2014/main" id="{6518F48E-A8FC-D7C1-3322-FC0354CD6F75}"/>
                    </a:ext>
                  </a:extLst>
                </p:cNvPr>
                <p:cNvSpPr>
                  <a:spLocks/>
                </p:cNvSpPr>
                <p:nvPr/>
              </p:nvSpPr>
              <p:spPr bwMode="gray">
                <a:xfrm>
                  <a:off x="902726"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38" name="Triangle_1">
                  <a:extLst>
                    <a:ext uri="{FF2B5EF4-FFF2-40B4-BE49-F238E27FC236}">
                      <a16:creationId xmlns:a16="http://schemas.microsoft.com/office/drawing/2014/main" id="{21D79E55-50A6-99D0-B7DC-3C81EBD623A3}"/>
                    </a:ext>
                  </a:extLst>
                </p:cNvPr>
                <p:cNvSpPr>
                  <a:spLocks/>
                </p:cNvSpPr>
                <p:nvPr/>
              </p:nvSpPr>
              <p:spPr bwMode="gray">
                <a:xfrm rot="10800000">
                  <a:off x="902726"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39" name="Triangle_2">
                  <a:extLst>
                    <a:ext uri="{FF2B5EF4-FFF2-40B4-BE49-F238E27FC236}">
                      <a16:creationId xmlns:a16="http://schemas.microsoft.com/office/drawing/2014/main" id="{83E665E4-DD08-984A-D0E8-3EAE93A97264}"/>
                    </a:ext>
                  </a:extLst>
                </p:cNvPr>
                <p:cNvSpPr>
                  <a:spLocks/>
                </p:cNvSpPr>
                <p:nvPr/>
              </p:nvSpPr>
              <p:spPr bwMode="gray">
                <a:xfrm>
                  <a:off x="902726"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40" name="Triangle_3">
                  <a:extLst>
                    <a:ext uri="{FF2B5EF4-FFF2-40B4-BE49-F238E27FC236}">
                      <a16:creationId xmlns:a16="http://schemas.microsoft.com/office/drawing/2014/main" id="{69FD066B-F856-FDDC-77E2-400042309669}"/>
                    </a:ext>
                  </a:extLst>
                </p:cNvPr>
                <p:cNvSpPr>
                  <a:spLocks/>
                </p:cNvSpPr>
                <p:nvPr/>
              </p:nvSpPr>
              <p:spPr bwMode="gray">
                <a:xfrm rot="5400000">
                  <a:off x="819989"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41" name="Triangle_4">
                  <a:extLst>
                    <a:ext uri="{FF2B5EF4-FFF2-40B4-BE49-F238E27FC236}">
                      <a16:creationId xmlns:a16="http://schemas.microsoft.com/office/drawing/2014/main" id="{C17FCBD0-AB01-C73F-A2B1-DE129C2AB6B0}"/>
                    </a:ext>
                  </a:extLst>
                </p:cNvPr>
                <p:cNvSpPr>
                  <a:spLocks/>
                </p:cNvSpPr>
                <p:nvPr/>
              </p:nvSpPr>
              <p:spPr bwMode="gray">
                <a:xfrm rot="16200000">
                  <a:off x="98546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sp>
            <p:nvSpPr>
              <p:cNvPr id="96" name="Triangle_2">
                <a:extLst>
                  <a:ext uri="{FF2B5EF4-FFF2-40B4-BE49-F238E27FC236}">
                    <a16:creationId xmlns:a16="http://schemas.microsoft.com/office/drawing/2014/main" id="{7E6AC71D-440E-F079-C800-97797EC03087}"/>
                  </a:ext>
                </a:extLst>
              </p:cNvPr>
              <p:cNvSpPr>
                <a:spLocks/>
              </p:cNvSpPr>
              <p:nvPr/>
            </p:nvSpPr>
            <p:spPr bwMode="gray">
              <a:xfrm>
                <a:off x="920750" y="3686859"/>
                <a:ext cx="217141" cy="108570"/>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7" name="Triangle_2">
                <a:extLst>
                  <a:ext uri="{FF2B5EF4-FFF2-40B4-BE49-F238E27FC236}">
                    <a16:creationId xmlns:a16="http://schemas.microsoft.com/office/drawing/2014/main" id="{5059F0CF-8BD8-CB7B-4071-A13F4764F371}"/>
                  </a:ext>
                </a:extLst>
              </p:cNvPr>
              <p:cNvSpPr>
                <a:spLocks/>
              </p:cNvSpPr>
              <p:nvPr/>
            </p:nvSpPr>
            <p:spPr bwMode="gray">
              <a:xfrm>
                <a:off x="700982" y="3251995"/>
                <a:ext cx="217141" cy="108570"/>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8" name="Triangle_3">
                <a:extLst>
                  <a:ext uri="{FF2B5EF4-FFF2-40B4-BE49-F238E27FC236}">
                    <a16:creationId xmlns:a16="http://schemas.microsoft.com/office/drawing/2014/main" id="{8599BE4A-7F52-6968-AC2D-3C3F2F411B68}"/>
                  </a:ext>
                </a:extLst>
              </p:cNvPr>
              <p:cNvSpPr>
                <a:spLocks/>
              </p:cNvSpPr>
              <p:nvPr/>
            </p:nvSpPr>
            <p:spPr bwMode="gray">
              <a:xfrm rot="10800000">
                <a:off x="266700" y="3143425"/>
                <a:ext cx="217141" cy="108570"/>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99" name="Triangle_1">
                <a:extLst>
                  <a:ext uri="{FF2B5EF4-FFF2-40B4-BE49-F238E27FC236}">
                    <a16:creationId xmlns:a16="http://schemas.microsoft.com/office/drawing/2014/main" id="{86A0C2B9-B803-228A-53A7-9DB4B7F284BB}"/>
                  </a:ext>
                </a:extLst>
              </p:cNvPr>
              <p:cNvSpPr>
                <a:spLocks/>
              </p:cNvSpPr>
              <p:nvPr/>
            </p:nvSpPr>
            <p:spPr bwMode="gray">
              <a:xfrm rot="10800000">
                <a:off x="483841" y="3794848"/>
                <a:ext cx="217141" cy="108570"/>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0" name="Triangle_2">
                <a:extLst>
                  <a:ext uri="{FF2B5EF4-FFF2-40B4-BE49-F238E27FC236}">
                    <a16:creationId xmlns:a16="http://schemas.microsoft.com/office/drawing/2014/main" id="{F12DF52A-347C-A7F3-4588-759DD24F7741}"/>
                  </a:ext>
                </a:extLst>
              </p:cNvPr>
              <p:cNvSpPr>
                <a:spLocks/>
              </p:cNvSpPr>
              <p:nvPr/>
            </p:nvSpPr>
            <p:spPr bwMode="gray">
              <a:xfrm>
                <a:off x="700982" y="3686277"/>
                <a:ext cx="217141" cy="108570"/>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01" name="Triangle_2">
                <a:extLst>
                  <a:ext uri="{FF2B5EF4-FFF2-40B4-BE49-F238E27FC236}">
                    <a16:creationId xmlns:a16="http://schemas.microsoft.com/office/drawing/2014/main" id="{3129DCBF-527B-F8F4-5CDB-5616B483D796}"/>
                  </a:ext>
                </a:extLst>
              </p:cNvPr>
              <p:cNvSpPr>
                <a:spLocks/>
              </p:cNvSpPr>
              <p:nvPr/>
            </p:nvSpPr>
            <p:spPr bwMode="gray">
              <a:xfrm>
                <a:off x="266700" y="3469136"/>
                <a:ext cx="217141" cy="108570"/>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nvGrpSpPr>
              <p:cNvPr id="102" name="Group 101">
                <a:extLst>
                  <a:ext uri="{FF2B5EF4-FFF2-40B4-BE49-F238E27FC236}">
                    <a16:creationId xmlns:a16="http://schemas.microsoft.com/office/drawing/2014/main" id="{79174852-72E3-C8A6-984E-D0E476EC43FC}"/>
                  </a:ext>
                </a:extLst>
              </p:cNvPr>
              <p:cNvGrpSpPr>
                <a:grpSpLocks/>
              </p:cNvGrpSpPr>
              <p:nvPr/>
            </p:nvGrpSpPr>
            <p:grpSpPr bwMode="gray">
              <a:xfrm>
                <a:off x="1352406" y="1623437"/>
                <a:ext cx="217142" cy="217142"/>
                <a:chOff x="1564620" y="2088942"/>
                <a:chExt cx="330948" cy="330948"/>
              </a:xfrm>
              <a:grpFill/>
            </p:grpSpPr>
            <p:sp>
              <p:nvSpPr>
                <p:cNvPr id="332" name="dfine_grid_single_shape_frame">
                  <a:extLst>
                    <a:ext uri="{FF2B5EF4-FFF2-40B4-BE49-F238E27FC236}">
                      <a16:creationId xmlns:a16="http://schemas.microsoft.com/office/drawing/2014/main" id="{B1D11135-2A6B-DE44-D4B0-F327D7FB660C}"/>
                    </a:ext>
                  </a:extLst>
                </p:cNvPr>
                <p:cNvSpPr>
                  <a:spLocks/>
                </p:cNvSpPr>
                <p:nvPr/>
              </p:nvSpPr>
              <p:spPr bwMode="gray">
                <a:xfrm>
                  <a:off x="1564620"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33" name="Triangle_1">
                  <a:extLst>
                    <a:ext uri="{FF2B5EF4-FFF2-40B4-BE49-F238E27FC236}">
                      <a16:creationId xmlns:a16="http://schemas.microsoft.com/office/drawing/2014/main" id="{5DBCE6E4-68EA-A57D-1D51-20A865236766}"/>
                    </a:ext>
                  </a:extLst>
                </p:cNvPr>
                <p:cNvSpPr>
                  <a:spLocks/>
                </p:cNvSpPr>
                <p:nvPr/>
              </p:nvSpPr>
              <p:spPr bwMode="gray">
                <a:xfrm rot="10800000">
                  <a:off x="1564620"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34" name="Triangle_2">
                  <a:extLst>
                    <a:ext uri="{FF2B5EF4-FFF2-40B4-BE49-F238E27FC236}">
                      <a16:creationId xmlns:a16="http://schemas.microsoft.com/office/drawing/2014/main" id="{0F332B25-39F1-2321-29B3-8D1D0BF0D420}"/>
                    </a:ext>
                  </a:extLst>
                </p:cNvPr>
                <p:cNvSpPr>
                  <a:spLocks/>
                </p:cNvSpPr>
                <p:nvPr/>
              </p:nvSpPr>
              <p:spPr bwMode="gray">
                <a:xfrm>
                  <a:off x="1564620"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35" name="Triangle_3">
                  <a:extLst>
                    <a:ext uri="{FF2B5EF4-FFF2-40B4-BE49-F238E27FC236}">
                      <a16:creationId xmlns:a16="http://schemas.microsoft.com/office/drawing/2014/main" id="{57F9F201-90A1-ADDB-221A-8C02B2CE58D8}"/>
                    </a:ext>
                  </a:extLst>
                </p:cNvPr>
                <p:cNvSpPr>
                  <a:spLocks/>
                </p:cNvSpPr>
                <p:nvPr/>
              </p:nvSpPr>
              <p:spPr bwMode="gray">
                <a:xfrm rot="5400000">
                  <a:off x="1481883"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36" name="Triangle_4">
                  <a:extLst>
                    <a:ext uri="{FF2B5EF4-FFF2-40B4-BE49-F238E27FC236}">
                      <a16:creationId xmlns:a16="http://schemas.microsoft.com/office/drawing/2014/main" id="{27CC4AE7-09EC-AE11-06A9-AE07BD018995}"/>
                    </a:ext>
                  </a:extLst>
                </p:cNvPr>
                <p:cNvSpPr>
                  <a:spLocks/>
                </p:cNvSpPr>
                <p:nvPr/>
              </p:nvSpPr>
              <p:spPr bwMode="gray">
                <a:xfrm rot="16200000">
                  <a:off x="1647357"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03" name="Group 102">
                <a:extLst>
                  <a:ext uri="{FF2B5EF4-FFF2-40B4-BE49-F238E27FC236}">
                    <a16:creationId xmlns:a16="http://schemas.microsoft.com/office/drawing/2014/main" id="{EFE0C3FE-D787-AFBD-1A54-022CEB536BAB}"/>
                  </a:ext>
                </a:extLst>
              </p:cNvPr>
              <p:cNvGrpSpPr>
                <a:grpSpLocks/>
              </p:cNvGrpSpPr>
              <p:nvPr/>
            </p:nvGrpSpPr>
            <p:grpSpPr bwMode="gray">
              <a:xfrm>
                <a:off x="1352406" y="1840578"/>
                <a:ext cx="217142" cy="217142"/>
                <a:chOff x="1564620" y="2419889"/>
                <a:chExt cx="330948" cy="330948"/>
              </a:xfrm>
              <a:grpFill/>
            </p:grpSpPr>
            <p:sp>
              <p:nvSpPr>
                <p:cNvPr id="327" name="dfine_grid_single_shape_frame">
                  <a:extLst>
                    <a:ext uri="{FF2B5EF4-FFF2-40B4-BE49-F238E27FC236}">
                      <a16:creationId xmlns:a16="http://schemas.microsoft.com/office/drawing/2014/main" id="{BB82CFCB-8A72-B54C-26C6-9137A9B55EEC}"/>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28" name="Triangle_1">
                  <a:extLst>
                    <a:ext uri="{FF2B5EF4-FFF2-40B4-BE49-F238E27FC236}">
                      <a16:creationId xmlns:a16="http://schemas.microsoft.com/office/drawing/2014/main" id="{9CB62647-1696-9814-429E-2C18A79DE67E}"/>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29" name="Triangle_2">
                  <a:extLst>
                    <a:ext uri="{FF2B5EF4-FFF2-40B4-BE49-F238E27FC236}">
                      <a16:creationId xmlns:a16="http://schemas.microsoft.com/office/drawing/2014/main" id="{FB599303-9D5C-F635-11AC-9F3D14F052C7}"/>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30" name="Triangle_3">
                  <a:extLst>
                    <a:ext uri="{FF2B5EF4-FFF2-40B4-BE49-F238E27FC236}">
                      <a16:creationId xmlns:a16="http://schemas.microsoft.com/office/drawing/2014/main" id="{8D44D009-ABE4-E19F-FFC1-D9AB38FCAEDF}"/>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31" name="Triangle_4">
                  <a:extLst>
                    <a:ext uri="{FF2B5EF4-FFF2-40B4-BE49-F238E27FC236}">
                      <a16:creationId xmlns:a16="http://schemas.microsoft.com/office/drawing/2014/main" id="{0F1B7DA5-8804-968D-7D7F-26B72F616184}"/>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04" name="Group 103">
                <a:extLst>
                  <a:ext uri="{FF2B5EF4-FFF2-40B4-BE49-F238E27FC236}">
                    <a16:creationId xmlns:a16="http://schemas.microsoft.com/office/drawing/2014/main" id="{FC35A3F1-89E6-7032-5977-C3769C3E09B7}"/>
                  </a:ext>
                </a:extLst>
              </p:cNvPr>
              <p:cNvGrpSpPr>
                <a:grpSpLocks/>
              </p:cNvGrpSpPr>
              <p:nvPr/>
            </p:nvGrpSpPr>
            <p:grpSpPr bwMode="gray">
              <a:xfrm>
                <a:off x="1352406" y="2057719"/>
                <a:ext cx="217142" cy="217142"/>
                <a:chOff x="1564620" y="2750836"/>
                <a:chExt cx="330948" cy="330948"/>
              </a:xfrm>
              <a:grpFill/>
            </p:grpSpPr>
            <p:sp>
              <p:nvSpPr>
                <p:cNvPr id="322" name="dfine_grid_single_shape_frame">
                  <a:extLst>
                    <a:ext uri="{FF2B5EF4-FFF2-40B4-BE49-F238E27FC236}">
                      <a16:creationId xmlns:a16="http://schemas.microsoft.com/office/drawing/2014/main" id="{E5ED672E-8B27-0AD3-875F-2E8DB77BC5E3}"/>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23" name="Triangle_1">
                  <a:extLst>
                    <a:ext uri="{FF2B5EF4-FFF2-40B4-BE49-F238E27FC236}">
                      <a16:creationId xmlns:a16="http://schemas.microsoft.com/office/drawing/2014/main" id="{583D1DBC-3379-F03F-8591-CFA85A0904BC}"/>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24" name="Triangle_2">
                  <a:extLst>
                    <a:ext uri="{FF2B5EF4-FFF2-40B4-BE49-F238E27FC236}">
                      <a16:creationId xmlns:a16="http://schemas.microsoft.com/office/drawing/2014/main" id="{51F269E4-2AAD-6444-D8B3-FB07255B111B}"/>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25" name="Triangle_3">
                  <a:extLst>
                    <a:ext uri="{FF2B5EF4-FFF2-40B4-BE49-F238E27FC236}">
                      <a16:creationId xmlns:a16="http://schemas.microsoft.com/office/drawing/2014/main" id="{43505421-C760-CFC0-CEE3-EE450214F1E7}"/>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26" name="Triangle_4">
                  <a:extLst>
                    <a:ext uri="{FF2B5EF4-FFF2-40B4-BE49-F238E27FC236}">
                      <a16:creationId xmlns:a16="http://schemas.microsoft.com/office/drawing/2014/main" id="{8FD1D7A8-51B9-EE98-E55D-217C11ED85AC}"/>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05" name="Group 104">
                <a:extLst>
                  <a:ext uri="{FF2B5EF4-FFF2-40B4-BE49-F238E27FC236}">
                    <a16:creationId xmlns:a16="http://schemas.microsoft.com/office/drawing/2014/main" id="{F1E2B9E0-3464-B78B-6E92-348A52AF7242}"/>
                  </a:ext>
                </a:extLst>
              </p:cNvPr>
              <p:cNvGrpSpPr>
                <a:grpSpLocks/>
              </p:cNvGrpSpPr>
              <p:nvPr/>
            </p:nvGrpSpPr>
            <p:grpSpPr bwMode="gray">
              <a:xfrm>
                <a:off x="1352406" y="2274860"/>
                <a:ext cx="217142" cy="217142"/>
                <a:chOff x="1564620" y="3081783"/>
                <a:chExt cx="330948" cy="330948"/>
              </a:xfrm>
              <a:grpFill/>
            </p:grpSpPr>
            <p:sp>
              <p:nvSpPr>
                <p:cNvPr id="317" name="dfine_grid_single_shape_frame">
                  <a:extLst>
                    <a:ext uri="{FF2B5EF4-FFF2-40B4-BE49-F238E27FC236}">
                      <a16:creationId xmlns:a16="http://schemas.microsoft.com/office/drawing/2014/main" id="{95F7C529-B8C2-5C7C-03A0-88FD8CEA14AB}"/>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18" name="Triangle_1">
                  <a:extLst>
                    <a:ext uri="{FF2B5EF4-FFF2-40B4-BE49-F238E27FC236}">
                      <a16:creationId xmlns:a16="http://schemas.microsoft.com/office/drawing/2014/main" id="{13ACC58D-0B0A-58D9-4BFE-CCEBC6908500}"/>
                    </a:ext>
                  </a:extLst>
                </p:cNvPr>
                <p:cNvSpPr>
                  <a:spLocks/>
                </p:cNvSpPr>
                <p:nvPr/>
              </p:nvSpPr>
              <p:spPr bwMode="gray">
                <a:xfrm rot="10800000">
                  <a:off x="1564620"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19" name="Triangle_2">
                  <a:extLst>
                    <a:ext uri="{FF2B5EF4-FFF2-40B4-BE49-F238E27FC236}">
                      <a16:creationId xmlns:a16="http://schemas.microsoft.com/office/drawing/2014/main" id="{5527B3BE-A98F-7390-3568-32F68AC76146}"/>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20" name="Triangle_3">
                  <a:extLst>
                    <a:ext uri="{FF2B5EF4-FFF2-40B4-BE49-F238E27FC236}">
                      <a16:creationId xmlns:a16="http://schemas.microsoft.com/office/drawing/2014/main" id="{85E6D6FD-38BD-0355-AD02-CE9ECDFB2832}"/>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21" name="Triangle_4">
                  <a:extLst>
                    <a:ext uri="{FF2B5EF4-FFF2-40B4-BE49-F238E27FC236}">
                      <a16:creationId xmlns:a16="http://schemas.microsoft.com/office/drawing/2014/main" id="{43EF3B0D-CF88-54A6-50BF-F902974AE002}"/>
                    </a:ext>
                  </a:extLst>
                </p:cNvPr>
                <p:cNvSpPr>
                  <a:spLocks/>
                </p:cNvSpPr>
                <p:nvPr/>
              </p:nvSpPr>
              <p:spPr bwMode="gray">
                <a:xfrm rot="16200000">
                  <a:off x="1647357"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06" name="Group 105">
                <a:extLst>
                  <a:ext uri="{FF2B5EF4-FFF2-40B4-BE49-F238E27FC236}">
                    <a16:creationId xmlns:a16="http://schemas.microsoft.com/office/drawing/2014/main" id="{82A72697-3928-4D7F-446E-A657D6441A22}"/>
                  </a:ext>
                </a:extLst>
              </p:cNvPr>
              <p:cNvGrpSpPr>
                <a:grpSpLocks/>
              </p:cNvGrpSpPr>
              <p:nvPr/>
            </p:nvGrpSpPr>
            <p:grpSpPr bwMode="gray">
              <a:xfrm>
                <a:off x="1352406" y="2492001"/>
                <a:ext cx="217142" cy="217142"/>
                <a:chOff x="1564620" y="3412730"/>
                <a:chExt cx="330948" cy="330948"/>
              </a:xfrm>
              <a:grpFill/>
            </p:grpSpPr>
            <p:sp>
              <p:nvSpPr>
                <p:cNvPr id="312" name="dfine_grid_single_shape_frame">
                  <a:extLst>
                    <a:ext uri="{FF2B5EF4-FFF2-40B4-BE49-F238E27FC236}">
                      <a16:creationId xmlns:a16="http://schemas.microsoft.com/office/drawing/2014/main" id="{7D0B54A9-7A42-8175-8A02-C36F285D385C}"/>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13" name="Triangle_1">
                  <a:extLst>
                    <a:ext uri="{FF2B5EF4-FFF2-40B4-BE49-F238E27FC236}">
                      <a16:creationId xmlns:a16="http://schemas.microsoft.com/office/drawing/2014/main" id="{39708216-BD56-1F85-9339-7B5DCA98EF28}"/>
                    </a:ext>
                  </a:extLst>
                </p:cNvPr>
                <p:cNvSpPr>
                  <a:spLocks/>
                </p:cNvSpPr>
                <p:nvPr/>
              </p:nvSpPr>
              <p:spPr bwMode="gray">
                <a:xfrm rot="10800000">
                  <a:off x="1564620"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14" name="Triangle_2">
                  <a:extLst>
                    <a:ext uri="{FF2B5EF4-FFF2-40B4-BE49-F238E27FC236}">
                      <a16:creationId xmlns:a16="http://schemas.microsoft.com/office/drawing/2014/main" id="{15C15BA5-88EF-12DA-83CF-C4162C87D3AB}"/>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15" name="Triangle_3">
                  <a:extLst>
                    <a:ext uri="{FF2B5EF4-FFF2-40B4-BE49-F238E27FC236}">
                      <a16:creationId xmlns:a16="http://schemas.microsoft.com/office/drawing/2014/main" id="{E01766A7-28A2-DC36-5F94-95EA94C45D14}"/>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16" name="Triangle_4">
                  <a:extLst>
                    <a:ext uri="{FF2B5EF4-FFF2-40B4-BE49-F238E27FC236}">
                      <a16:creationId xmlns:a16="http://schemas.microsoft.com/office/drawing/2014/main" id="{5F653BDF-7AA7-568C-A443-1A70EA89A08C}"/>
                    </a:ext>
                  </a:extLst>
                </p:cNvPr>
                <p:cNvSpPr>
                  <a:spLocks/>
                </p:cNvSpPr>
                <p:nvPr/>
              </p:nvSpPr>
              <p:spPr bwMode="gray">
                <a:xfrm rot="16200000">
                  <a:off x="1647357"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07" name="Group 106">
                <a:extLst>
                  <a:ext uri="{FF2B5EF4-FFF2-40B4-BE49-F238E27FC236}">
                    <a16:creationId xmlns:a16="http://schemas.microsoft.com/office/drawing/2014/main" id="{5F5C953A-EEC2-0FE1-0436-BA08389348A0}"/>
                  </a:ext>
                </a:extLst>
              </p:cNvPr>
              <p:cNvGrpSpPr>
                <a:grpSpLocks/>
              </p:cNvGrpSpPr>
              <p:nvPr/>
            </p:nvGrpSpPr>
            <p:grpSpPr bwMode="gray">
              <a:xfrm>
                <a:off x="1352406" y="2709142"/>
                <a:ext cx="217142" cy="217142"/>
                <a:chOff x="1564620" y="3743677"/>
                <a:chExt cx="330948" cy="330948"/>
              </a:xfrm>
              <a:grpFill/>
            </p:grpSpPr>
            <p:sp>
              <p:nvSpPr>
                <p:cNvPr id="307" name="dfine_grid_single_shape_frame">
                  <a:extLst>
                    <a:ext uri="{FF2B5EF4-FFF2-40B4-BE49-F238E27FC236}">
                      <a16:creationId xmlns:a16="http://schemas.microsoft.com/office/drawing/2014/main" id="{23CC85E2-A0B1-C2BE-2F7D-81357FE27B9F}"/>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08" name="Triangle_1">
                  <a:extLst>
                    <a:ext uri="{FF2B5EF4-FFF2-40B4-BE49-F238E27FC236}">
                      <a16:creationId xmlns:a16="http://schemas.microsoft.com/office/drawing/2014/main" id="{BE85B99F-E543-F746-2F28-15B5EA655082}"/>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09" name="Triangle_2">
                  <a:extLst>
                    <a:ext uri="{FF2B5EF4-FFF2-40B4-BE49-F238E27FC236}">
                      <a16:creationId xmlns:a16="http://schemas.microsoft.com/office/drawing/2014/main" id="{C4520773-F3E6-172C-2E59-4C0D1D86FE49}"/>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10" name="Triangle_3">
                  <a:extLst>
                    <a:ext uri="{FF2B5EF4-FFF2-40B4-BE49-F238E27FC236}">
                      <a16:creationId xmlns:a16="http://schemas.microsoft.com/office/drawing/2014/main" id="{0693FB86-06C0-FEF7-1B3E-002D66DA7659}"/>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11" name="Triangle_4">
                  <a:extLst>
                    <a:ext uri="{FF2B5EF4-FFF2-40B4-BE49-F238E27FC236}">
                      <a16:creationId xmlns:a16="http://schemas.microsoft.com/office/drawing/2014/main" id="{267E2EEB-7B5E-1B2A-3FD8-6B906BF8F92E}"/>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08" name="Group 107">
                <a:extLst>
                  <a:ext uri="{FF2B5EF4-FFF2-40B4-BE49-F238E27FC236}">
                    <a16:creationId xmlns:a16="http://schemas.microsoft.com/office/drawing/2014/main" id="{9BEEFAF4-0782-B937-B1BB-27EE5D0342A4}"/>
                  </a:ext>
                </a:extLst>
              </p:cNvPr>
              <p:cNvGrpSpPr>
                <a:grpSpLocks/>
              </p:cNvGrpSpPr>
              <p:nvPr/>
            </p:nvGrpSpPr>
            <p:grpSpPr bwMode="gray">
              <a:xfrm>
                <a:off x="1352406" y="2926283"/>
                <a:ext cx="217142" cy="217142"/>
                <a:chOff x="1564620" y="4074624"/>
                <a:chExt cx="330948" cy="330948"/>
              </a:xfrm>
              <a:grpFill/>
            </p:grpSpPr>
            <p:sp>
              <p:nvSpPr>
                <p:cNvPr id="302" name="dfine_grid_single_shape_frame">
                  <a:extLst>
                    <a:ext uri="{FF2B5EF4-FFF2-40B4-BE49-F238E27FC236}">
                      <a16:creationId xmlns:a16="http://schemas.microsoft.com/office/drawing/2014/main" id="{A944810A-412A-E032-0C52-C95CB4A657E1}"/>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03" name="Triangle_1">
                  <a:extLst>
                    <a:ext uri="{FF2B5EF4-FFF2-40B4-BE49-F238E27FC236}">
                      <a16:creationId xmlns:a16="http://schemas.microsoft.com/office/drawing/2014/main" id="{9B9FE7C8-1DE8-10A2-F980-96F1F0783CE8}"/>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04" name="Triangle_2">
                  <a:extLst>
                    <a:ext uri="{FF2B5EF4-FFF2-40B4-BE49-F238E27FC236}">
                      <a16:creationId xmlns:a16="http://schemas.microsoft.com/office/drawing/2014/main" id="{25B8E933-BF8F-ADFE-DFB1-848EBE368C87}"/>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05" name="Triangle_3">
                  <a:extLst>
                    <a:ext uri="{FF2B5EF4-FFF2-40B4-BE49-F238E27FC236}">
                      <a16:creationId xmlns:a16="http://schemas.microsoft.com/office/drawing/2014/main" id="{A8C68C2B-955B-B031-AC84-42E3A69D3896}"/>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06" name="Triangle_4">
                  <a:extLst>
                    <a:ext uri="{FF2B5EF4-FFF2-40B4-BE49-F238E27FC236}">
                      <a16:creationId xmlns:a16="http://schemas.microsoft.com/office/drawing/2014/main" id="{7DF29BB5-BDFF-89C1-62B5-4F4BB286AD4C}"/>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09" name="Group 108">
                <a:extLst>
                  <a:ext uri="{FF2B5EF4-FFF2-40B4-BE49-F238E27FC236}">
                    <a16:creationId xmlns:a16="http://schemas.microsoft.com/office/drawing/2014/main" id="{6CE5D155-7A2C-539A-8315-60133B6EC78B}"/>
                  </a:ext>
                </a:extLst>
              </p:cNvPr>
              <p:cNvGrpSpPr>
                <a:grpSpLocks/>
              </p:cNvGrpSpPr>
              <p:nvPr/>
            </p:nvGrpSpPr>
            <p:grpSpPr bwMode="gray">
              <a:xfrm>
                <a:off x="1352406" y="3143425"/>
                <a:ext cx="217142" cy="217142"/>
                <a:chOff x="1564620" y="2419889"/>
                <a:chExt cx="330948" cy="330948"/>
              </a:xfrm>
              <a:grpFill/>
            </p:grpSpPr>
            <p:sp>
              <p:nvSpPr>
                <p:cNvPr id="297" name="dfine_grid_single_shape_frame">
                  <a:extLst>
                    <a:ext uri="{FF2B5EF4-FFF2-40B4-BE49-F238E27FC236}">
                      <a16:creationId xmlns:a16="http://schemas.microsoft.com/office/drawing/2014/main" id="{B9C72C96-DD91-73AC-E093-92AB3A25A624}"/>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8" name="Triangle_1">
                  <a:extLst>
                    <a:ext uri="{FF2B5EF4-FFF2-40B4-BE49-F238E27FC236}">
                      <a16:creationId xmlns:a16="http://schemas.microsoft.com/office/drawing/2014/main" id="{382420B9-D6BF-F32B-5CA8-27CBBDD341F7}"/>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9" name="Triangle_2">
                  <a:extLst>
                    <a:ext uri="{FF2B5EF4-FFF2-40B4-BE49-F238E27FC236}">
                      <a16:creationId xmlns:a16="http://schemas.microsoft.com/office/drawing/2014/main" id="{EE4BF4FB-C559-C533-C180-DEC010F6F30D}"/>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00" name="Triangle_3">
                  <a:extLst>
                    <a:ext uri="{FF2B5EF4-FFF2-40B4-BE49-F238E27FC236}">
                      <a16:creationId xmlns:a16="http://schemas.microsoft.com/office/drawing/2014/main" id="{BC6A1E8C-2947-CA61-441B-1CB373A617D4}"/>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301" name="Triangle_4">
                  <a:extLst>
                    <a:ext uri="{FF2B5EF4-FFF2-40B4-BE49-F238E27FC236}">
                      <a16:creationId xmlns:a16="http://schemas.microsoft.com/office/drawing/2014/main" id="{24478D61-4861-AF4E-A082-99C5836D5F05}"/>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10" name="Group 109">
                <a:extLst>
                  <a:ext uri="{FF2B5EF4-FFF2-40B4-BE49-F238E27FC236}">
                    <a16:creationId xmlns:a16="http://schemas.microsoft.com/office/drawing/2014/main" id="{29CFC1F8-8712-DD0B-5976-8F8150F1BB5F}"/>
                  </a:ext>
                </a:extLst>
              </p:cNvPr>
              <p:cNvGrpSpPr>
                <a:grpSpLocks/>
              </p:cNvGrpSpPr>
              <p:nvPr/>
            </p:nvGrpSpPr>
            <p:grpSpPr bwMode="gray">
              <a:xfrm>
                <a:off x="1352406" y="3360566"/>
                <a:ext cx="217142" cy="217142"/>
                <a:chOff x="1564620" y="2750836"/>
                <a:chExt cx="330948" cy="330948"/>
              </a:xfrm>
              <a:grpFill/>
            </p:grpSpPr>
            <p:sp>
              <p:nvSpPr>
                <p:cNvPr id="292" name="dfine_grid_single_shape_frame">
                  <a:extLst>
                    <a:ext uri="{FF2B5EF4-FFF2-40B4-BE49-F238E27FC236}">
                      <a16:creationId xmlns:a16="http://schemas.microsoft.com/office/drawing/2014/main" id="{80959EA2-B1E5-3D0C-A500-3D2705A2B76E}"/>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3" name="Triangle_1">
                  <a:extLst>
                    <a:ext uri="{FF2B5EF4-FFF2-40B4-BE49-F238E27FC236}">
                      <a16:creationId xmlns:a16="http://schemas.microsoft.com/office/drawing/2014/main" id="{FFF6B42E-DF67-E3EA-39EA-099FBE0597D9}"/>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4" name="Triangle_2">
                  <a:extLst>
                    <a:ext uri="{FF2B5EF4-FFF2-40B4-BE49-F238E27FC236}">
                      <a16:creationId xmlns:a16="http://schemas.microsoft.com/office/drawing/2014/main" id="{1FD65FF2-81F5-FDB6-9C43-2E9B4E429511}"/>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5" name="Triangle_3">
                  <a:extLst>
                    <a:ext uri="{FF2B5EF4-FFF2-40B4-BE49-F238E27FC236}">
                      <a16:creationId xmlns:a16="http://schemas.microsoft.com/office/drawing/2014/main" id="{B0D57079-7353-AF0A-F3DD-D727535B630D}"/>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6" name="Triangle_4">
                  <a:extLst>
                    <a:ext uri="{FF2B5EF4-FFF2-40B4-BE49-F238E27FC236}">
                      <a16:creationId xmlns:a16="http://schemas.microsoft.com/office/drawing/2014/main" id="{308F1C7E-1CB8-E257-E083-79CC13706E51}"/>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11" name="Group 110">
                <a:extLst>
                  <a:ext uri="{FF2B5EF4-FFF2-40B4-BE49-F238E27FC236}">
                    <a16:creationId xmlns:a16="http://schemas.microsoft.com/office/drawing/2014/main" id="{AC67E50D-657B-54B3-0093-82D9EE1E6E20}"/>
                  </a:ext>
                </a:extLst>
              </p:cNvPr>
              <p:cNvGrpSpPr>
                <a:grpSpLocks/>
              </p:cNvGrpSpPr>
              <p:nvPr/>
            </p:nvGrpSpPr>
            <p:grpSpPr bwMode="gray">
              <a:xfrm>
                <a:off x="1352406" y="3577707"/>
                <a:ext cx="217142" cy="217142"/>
                <a:chOff x="1564620" y="3081783"/>
                <a:chExt cx="330948" cy="330948"/>
              </a:xfrm>
              <a:grpFill/>
            </p:grpSpPr>
            <p:sp>
              <p:nvSpPr>
                <p:cNvPr id="287" name="dfine_grid_single_shape_frame">
                  <a:extLst>
                    <a:ext uri="{FF2B5EF4-FFF2-40B4-BE49-F238E27FC236}">
                      <a16:creationId xmlns:a16="http://schemas.microsoft.com/office/drawing/2014/main" id="{4C410559-4F10-9D40-843A-5066697FC120}"/>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8" name="Triangle_1">
                  <a:extLst>
                    <a:ext uri="{FF2B5EF4-FFF2-40B4-BE49-F238E27FC236}">
                      <a16:creationId xmlns:a16="http://schemas.microsoft.com/office/drawing/2014/main" id="{6112B736-9B6B-95C6-0755-5A3F72B28842}"/>
                    </a:ext>
                  </a:extLst>
                </p:cNvPr>
                <p:cNvSpPr>
                  <a:spLocks/>
                </p:cNvSpPr>
                <p:nvPr/>
              </p:nvSpPr>
              <p:spPr bwMode="gray">
                <a:xfrm rot="10800000">
                  <a:off x="1564620"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9" name="Triangle_2">
                  <a:extLst>
                    <a:ext uri="{FF2B5EF4-FFF2-40B4-BE49-F238E27FC236}">
                      <a16:creationId xmlns:a16="http://schemas.microsoft.com/office/drawing/2014/main" id="{56D8B965-AB54-31BD-2B72-B6D525D12D61}"/>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0" name="Triangle_3">
                  <a:extLst>
                    <a:ext uri="{FF2B5EF4-FFF2-40B4-BE49-F238E27FC236}">
                      <a16:creationId xmlns:a16="http://schemas.microsoft.com/office/drawing/2014/main" id="{E60E18D7-507E-F46B-8256-0C9F49F81ACA}"/>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1" name="Triangle_4">
                  <a:extLst>
                    <a:ext uri="{FF2B5EF4-FFF2-40B4-BE49-F238E27FC236}">
                      <a16:creationId xmlns:a16="http://schemas.microsoft.com/office/drawing/2014/main" id="{CCB9BE2B-608B-D015-7809-7AFC90D5B50E}"/>
                    </a:ext>
                  </a:extLst>
                </p:cNvPr>
                <p:cNvSpPr>
                  <a:spLocks/>
                </p:cNvSpPr>
                <p:nvPr/>
              </p:nvSpPr>
              <p:spPr bwMode="gray">
                <a:xfrm rot="16200000">
                  <a:off x="1647357"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12" name="Group 111">
                <a:extLst>
                  <a:ext uri="{FF2B5EF4-FFF2-40B4-BE49-F238E27FC236}">
                    <a16:creationId xmlns:a16="http://schemas.microsoft.com/office/drawing/2014/main" id="{CE017141-A203-2C52-B9EB-74FDF6C33E34}"/>
                  </a:ext>
                </a:extLst>
              </p:cNvPr>
              <p:cNvGrpSpPr>
                <a:grpSpLocks/>
              </p:cNvGrpSpPr>
              <p:nvPr/>
            </p:nvGrpSpPr>
            <p:grpSpPr bwMode="gray">
              <a:xfrm>
                <a:off x="1352406" y="3794848"/>
                <a:ext cx="217142" cy="217142"/>
                <a:chOff x="1564620" y="3412730"/>
                <a:chExt cx="330948" cy="330948"/>
              </a:xfrm>
              <a:grpFill/>
            </p:grpSpPr>
            <p:sp>
              <p:nvSpPr>
                <p:cNvPr id="282" name="dfine_grid_single_shape_frame">
                  <a:extLst>
                    <a:ext uri="{FF2B5EF4-FFF2-40B4-BE49-F238E27FC236}">
                      <a16:creationId xmlns:a16="http://schemas.microsoft.com/office/drawing/2014/main" id="{7CA0B253-A246-0AEA-7EC2-8FFD7610839D}"/>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3" name="Triangle_1">
                  <a:extLst>
                    <a:ext uri="{FF2B5EF4-FFF2-40B4-BE49-F238E27FC236}">
                      <a16:creationId xmlns:a16="http://schemas.microsoft.com/office/drawing/2014/main" id="{ECACDD7A-C708-0D1A-0CDC-1955095CBF44}"/>
                    </a:ext>
                  </a:extLst>
                </p:cNvPr>
                <p:cNvSpPr>
                  <a:spLocks/>
                </p:cNvSpPr>
                <p:nvPr/>
              </p:nvSpPr>
              <p:spPr bwMode="gray">
                <a:xfrm rot="10800000">
                  <a:off x="1564620"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4" name="Triangle_2">
                  <a:extLst>
                    <a:ext uri="{FF2B5EF4-FFF2-40B4-BE49-F238E27FC236}">
                      <a16:creationId xmlns:a16="http://schemas.microsoft.com/office/drawing/2014/main" id="{701A0843-D93C-6C0D-83AA-70037977C0F6}"/>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5" name="Triangle_3">
                  <a:extLst>
                    <a:ext uri="{FF2B5EF4-FFF2-40B4-BE49-F238E27FC236}">
                      <a16:creationId xmlns:a16="http://schemas.microsoft.com/office/drawing/2014/main" id="{B442117F-AEF4-9DCB-493F-D21EFA381E93}"/>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6" name="Triangle_4">
                  <a:extLst>
                    <a:ext uri="{FF2B5EF4-FFF2-40B4-BE49-F238E27FC236}">
                      <a16:creationId xmlns:a16="http://schemas.microsoft.com/office/drawing/2014/main" id="{FD012EEE-67E2-272C-D97B-9209F058387D}"/>
                    </a:ext>
                  </a:extLst>
                </p:cNvPr>
                <p:cNvSpPr>
                  <a:spLocks/>
                </p:cNvSpPr>
                <p:nvPr/>
              </p:nvSpPr>
              <p:spPr bwMode="gray">
                <a:xfrm rot="16200000">
                  <a:off x="1647357"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13" name="Group 112">
                <a:extLst>
                  <a:ext uri="{FF2B5EF4-FFF2-40B4-BE49-F238E27FC236}">
                    <a16:creationId xmlns:a16="http://schemas.microsoft.com/office/drawing/2014/main" id="{E4645F31-FCAE-780B-4313-1C005C725A26}"/>
                  </a:ext>
                </a:extLst>
              </p:cNvPr>
              <p:cNvGrpSpPr>
                <a:grpSpLocks/>
              </p:cNvGrpSpPr>
              <p:nvPr/>
            </p:nvGrpSpPr>
            <p:grpSpPr bwMode="gray">
              <a:xfrm>
                <a:off x="1352406" y="4011989"/>
                <a:ext cx="217142" cy="217142"/>
                <a:chOff x="1564620" y="3743677"/>
                <a:chExt cx="330948" cy="330948"/>
              </a:xfrm>
              <a:grpFill/>
            </p:grpSpPr>
            <p:sp>
              <p:nvSpPr>
                <p:cNvPr id="277" name="dfine_grid_single_shape_frame">
                  <a:extLst>
                    <a:ext uri="{FF2B5EF4-FFF2-40B4-BE49-F238E27FC236}">
                      <a16:creationId xmlns:a16="http://schemas.microsoft.com/office/drawing/2014/main" id="{2A9F5F23-F31E-076D-E0D0-0C38AD565B6B}"/>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8" name="Triangle_1">
                  <a:extLst>
                    <a:ext uri="{FF2B5EF4-FFF2-40B4-BE49-F238E27FC236}">
                      <a16:creationId xmlns:a16="http://schemas.microsoft.com/office/drawing/2014/main" id="{0AC56871-9292-3A26-2471-EBD7664105A4}"/>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9" name="Triangle_2">
                  <a:extLst>
                    <a:ext uri="{FF2B5EF4-FFF2-40B4-BE49-F238E27FC236}">
                      <a16:creationId xmlns:a16="http://schemas.microsoft.com/office/drawing/2014/main" id="{DFC1AA7D-D854-AFD0-7EE2-C8231349171A}"/>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0" name="Triangle_3">
                  <a:extLst>
                    <a:ext uri="{FF2B5EF4-FFF2-40B4-BE49-F238E27FC236}">
                      <a16:creationId xmlns:a16="http://schemas.microsoft.com/office/drawing/2014/main" id="{06A9DA29-6248-1180-D627-E3C76A1FFE86}"/>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1" name="Triangle_4">
                  <a:extLst>
                    <a:ext uri="{FF2B5EF4-FFF2-40B4-BE49-F238E27FC236}">
                      <a16:creationId xmlns:a16="http://schemas.microsoft.com/office/drawing/2014/main" id="{2F0ADA91-46FC-A01E-A0D0-6A7F04E6EEAA}"/>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14" name="Group 113">
                <a:extLst>
                  <a:ext uri="{FF2B5EF4-FFF2-40B4-BE49-F238E27FC236}">
                    <a16:creationId xmlns:a16="http://schemas.microsoft.com/office/drawing/2014/main" id="{F21B0E0A-EFC0-60B2-1577-53D9A741023B}"/>
                  </a:ext>
                </a:extLst>
              </p:cNvPr>
              <p:cNvGrpSpPr>
                <a:grpSpLocks/>
              </p:cNvGrpSpPr>
              <p:nvPr/>
            </p:nvGrpSpPr>
            <p:grpSpPr bwMode="gray">
              <a:xfrm>
                <a:off x="1352406" y="4229130"/>
                <a:ext cx="217142" cy="217142"/>
                <a:chOff x="1564620" y="4074624"/>
                <a:chExt cx="330948" cy="330948"/>
              </a:xfrm>
              <a:grpFill/>
            </p:grpSpPr>
            <p:sp>
              <p:nvSpPr>
                <p:cNvPr id="272" name="dfine_grid_single_shape_frame">
                  <a:extLst>
                    <a:ext uri="{FF2B5EF4-FFF2-40B4-BE49-F238E27FC236}">
                      <a16:creationId xmlns:a16="http://schemas.microsoft.com/office/drawing/2014/main" id="{71A4FE5F-678E-FCBF-F0E0-E03C9256D273}"/>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3" name="Triangle_1">
                  <a:extLst>
                    <a:ext uri="{FF2B5EF4-FFF2-40B4-BE49-F238E27FC236}">
                      <a16:creationId xmlns:a16="http://schemas.microsoft.com/office/drawing/2014/main" id="{7E97B2CA-A5B7-03B1-3BC7-5843EC0DD698}"/>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4" name="Triangle_2">
                  <a:extLst>
                    <a:ext uri="{FF2B5EF4-FFF2-40B4-BE49-F238E27FC236}">
                      <a16:creationId xmlns:a16="http://schemas.microsoft.com/office/drawing/2014/main" id="{84CA46B8-E189-C128-9916-D19D7EFB4488}"/>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5" name="Triangle_3">
                  <a:extLst>
                    <a:ext uri="{FF2B5EF4-FFF2-40B4-BE49-F238E27FC236}">
                      <a16:creationId xmlns:a16="http://schemas.microsoft.com/office/drawing/2014/main" id="{23FEDB22-BC23-79CD-4C2A-D59903635167}"/>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6" name="Triangle_4">
                  <a:extLst>
                    <a:ext uri="{FF2B5EF4-FFF2-40B4-BE49-F238E27FC236}">
                      <a16:creationId xmlns:a16="http://schemas.microsoft.com/office/drawing/2014/main" id="{D4DF66AE-18FC-3122-4E00-98B362B31805}"/>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15" name="Group 114">
                <a:extLst>
                  <a:ext uri="{FF2B5EF4-FFF2-40B4-BE49-F238E27FC236}">
                    <a16:creationId xmlns:a16="http://schemas.microsoft.com/office/drawing/2014/main" id="{9926A840-7CF1-AD76-CFB9-054E96786DAA}"/>
                  </a:ext>
                </a:extLst>
              </p:cNvPr>
              <p:cNvGrpSpPr>
                <a:grpSpLocks/>
              </p:cNvGrpSpPr>
              <p:nvPr/>
            </p:nvGrpSpPr>
            <p:grpSpPr bwMode="gray">
              <a:xfrm>
                <a:off x="1569548" y="1623437"/>
                <a:ext cx="217142" cy="217142"/>
                <a:chOff x="1564620" y="2088942"/>
                <a:chExt cx="330948" cy="330948"/>
              </a:xfrm>
              <a:grpFill/>
            </p:grpSpPr>
            <p:sp>
              <p:nvSpPr>
                <p:cNvPr id="267" name="dfine_grid_single_shape_frame">
                  <a:extLst>
                    <a:ext uri="{FF2B5EF4-FFF2-40B4-BE49-F238E27FC236}">
                      <a16:creationId xmlns:a16="http://schemas.microsoft.com/office/drawing/2014/main" id="{A2170C3B-0867-E72F-B938-BFFE789BC2B1}"/>
                    </a:ext>
                  </a:extLst>
                </p:cNvPr>
                <p:cNvSpPr>
                  <a:spLocks/>
                </p:cNvSpPr>
                <p:nvPr/>
              </p:nvSpPr>
              <p:spPr bwMode="gray">
                <a:xfrm>
                  <a:off x="1564620"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8" name="Triangle_1">
                  <a:extLst>
                    <a:ext uri="{FF2B5EF4-FFF2-40B4-BE49-F238E27FC236}">
                      <a16:creationId xmlns:a16="http://schemas.microsoft.com/office/drawing/2014/main" id="{996548D3-C44F-67C2-9762-CFD93D575ECB}"/>
                    </a:ext>
                  </a:extLst>
                </p:cNvPr>
                <p:cNvSpPr>
                  <a:spLocks/>
                </p:cNvSpPr>
                <p:nvPr/>
              </p:nvSpPr>
              <p:spPr bwMode="gray">
                <a:xfrm rot="10800000">
                  <a:off x="1564620"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9" name="Triangle_2">
                  <a:extLst>
                    <a:ext uri="{FF2B5EF4-FFF2-40B4-BE49-F238E27FC236}">
                      <a16:creationId xmlns:a16="http://schemas.microsoft.com/office/drawing/2014/main" id="{9D1D17AE-91AD-F008-7E02-019900A0CF85}"/>
                    </a:ext>
                  </a:extLst>
                </p:cNvPr>
                <p:cNvSpPr>
                  <a:spLocks/>
                </p:cNvSpPr>
                <p:nvPr/>
              </p:nvSpPr>
              <p:spPr bwMode="gray">
                <a:xfrm>
                  <a:off x="1564620"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0" name="Triangle_3">
                  <a:extLst>
                    <a:ext uri="{FF2B5EF4-FFF2-40B4-BE49-F238E27FC236}">
                      <a16:creationId xmlns:a16="http://schemas.microsoft.com/office/drawing/2014/main" id="{295B484B-1FA0-9FC3-7AA2-8DDF0AEE5DF5}"/>
                    </a:ext>
                  </a:extLst>
                </p:cNvPr>
                <p:cNvSpPr>
                  <a:spLocks/>
                </p:cNvSpPr>
                <p:nvPr/>
              </p:nvSpPr>
              <p:spPr bwMode="gray">
                <a:xfrm rot="5400000">
                  <a:off x="1481883"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1" name="Triangle_4">
                  <a:extLst>
                    <a:ext uri="{FF2B5EF4-FFF2-40B4-BE49-F238E27FC236}">
                      <a16:creationId xmlns:a16="http://schemas.microsoft.com/office/drawing/2014/main" id="{682B2664-4D50-1CF0-FB1B-6BB882A109B9}"/>
                    </a:ext>
                  </a:extLst>
                </p:cNvPr>
                <p:cNvSpPr>
                  <a:spLocks/>
                </p:cNvSpPr>
                <p:nvPr/>
              </p:nvSpPr>
              <p:spPr bwMode="gray">
                <a:xfrm rot="16200000">
                  <a:off x="1647357"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16" name="Group 115">
                <a:extLst>
                  <a:ext uri="{FF2B5EF4-FFF2-40B4-BE49-F238E27FC236}">
                    <a16:creationId xmlns:a16="http://schemas.microsoft.com/office/drawing/2014/main" id="{B59314D5-23DE-0036-06B3-C92EF05C3B89}"/>
                  </a:ext>
                </a:extLst>
              </p:cNvPr>
              <p:cNvGrpSpPr>
                <a:grpSpLocks/>
              </p:cNvGrpSpPr>
              <p:nvPr/>
            </p:nvGrpSpPr>
            <p:grpSpPr bwMode="gray">
              <a:xfrm>
                <a:off x="1569548" y="1840578"/>
                <a:ext cx="217142" cy="217142"/>
                <a:chOff x="1564620" y="2419889"/>
                <a:chExt cx="330948" cy="330948"/>
              </a:xfrm>
              <a:grpFill/>
            </p:grpSpPr>
            <p:sp>
              <p:nvSpPr>
                <p:cNvPr id="262" name="dfine_grid_single_shape_frame">
                  <a:extLst>
                    <a:ext uri="{FF2B5EF4-FFF2-40B4-BE49-F238E27FC236}">
                      <a16:creationId xmlns:a16="http://schemas.microsoft.com/office/drawing/2014/main" id="{CA52281E-7C46-E856-AE5B-B53D94DD9709}"/>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3" name="Triangle_1">
                  <a:extLst>
                    <a:ext uri="{FF2B5EF4-FFF2-40B4-BE49-F238E27FC236}">
                      <a16:creationId xmlns:a16="http://schemas.microsoft.com/office/drawing/2014/main" id="{5DBFB8B3-37D8-053A-58CB-E7A31FE3C60F}"/>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4" name="Triangle_2">
                  <a:extLst>
                    <a:ext uri="{FF2B5EF4-FFF2-40B4-BE49-F238E27FC236}">
                      <a16:creationId xmlns:a16="http://schemas.microsoft.com/office/drawing/2014/main" id="{DA7D262A-0C15-93B7-7166-3A03A845D97A}"/>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5" name="Triangle_3">
                  <a:extLst>
                    <a:ext uri="{FF2B5EF4-FFF2-40B4-BE49-F238E27FC236}">
                      <a16:creationId xmlns:a16="http://schemas.microsoft.com/office/drawing/2014/main" id="{07CEF94C-797A-9810-0677-A152C87093D6}"/>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6" name="Triangle_4">
                  <a:extLst>
                    <a:ext uri="{FF2B5EF4-FFF2-40B4-BE49-F238E27FC236}">
                      <a16:creationId xmlns:a16="http://schemas.microsoft.com/office/drawing/2014/main" id="{688DF3D1-5BA6-981B-8826-7303B9E9E30D}"/>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17" name="Group 116">
                <a:extLst>
                  <a:ext uri="{FF2B5EF4-FFF2-40B4-BE49-F238E27FC236}">
                    <a16:creationId xmlns:a16="http://schemas.microsoft.com/office/drawing/2014/main" id="{C713E65B-2E25-55E2-B050-34BADF16F336}"/>
                  </a:ext>
                </a:extLst>
              </p:cNvPr>
              <p:cNvGrpSpPr>
                <a:grpSpLocks/>
              </p:cNvGrpSpPr>
              <p:nvPr/>
            </p:nvGrpSpPr>
            <p:grpSpPr bwMode="gray">
              <a:xfrm>
                <a:off x="1569548" y="2057719"/>
                <a:ext cx="217142" cy="217142"/>
                <a:chOff x="1564620" y="2750836"/>
                <a:chExt cx="330948" cy="330948"/>
              </a:xfrm>
              <a:grpFill/>
            </p:grpSpPr>
            <p:sp>
              <p:nvSpPr>
                <p:cNvPr id="257" name="dfine_grid_single_shape_frame">
                  <a:extLst>
                    <a:ext uri="{FF2B5EF4-FFF2-40B4-BE49-F238E27FC236}">
                      <a16:creationId xmlns:a16="http://schemas.microsoft.com/office/drawing/2014/main" id="{4142DEB0-AB87-0550-7B51-325895830649}"/>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8" name="Triangle_1">
                  <a:extLst>
                    <a:ext uri="{FF2B5EF4-FFF2-40B4-BE49-F238E27FC236}">
                      <a16:creationId xmlns:a16="http://schemas.microsoft.com/office/drawing/2014/main" id="{4B7B881C-27DF-D375-EC32-3192D89E1927}"/>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9" name="Triangle_2">
                  <a:extLst>
                    <a:ext uri="{FF2B5EF4-FFF2-40B4-BE49-F238E27FC236}">
                      <a16:creationId xmlns:a16="http://schemas.microsoft.com/office/drawing/2014/main" id="{C53130A2-2B0D-52AC-C213-53BDF48B5639}"/>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0" name="Triangle_3">
                  <a:extLst>
                    <a:ext uri="{FF2B5EF4-FFF2-40B4-BE49-F238E27FC236}">
                      <a16:creationId xmlns:a16="http://schemas.microsoft.com/office/drawing/2014/main" id="{DB77E3D5-3E44-2DC4-854C-6E9029693067}"/>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1" name="Triangle_4">
                  <a:extLst>
                    <a:ext uri="{FF2B5EF4-FFF2-40B4-BE49-F238E27FC236}">
                      <a16:creationId xmlns:a16="http://schemas.microsoft.com/office/drawing/2014/main" id="{463A69B0-5D97-7934-6497-8861C448A6DC}"/>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18" name="Group 117">
                <a:extLst>
                  <a:ext uri="{FF2B5EF4-FFF2-40B4-BE49-F238E27FC236}">
                    <a16:creationId xmlns:a16="http://schemas.microsoft.com/office/drawing/2014/main" id="{578FE030-D3DC-02A3-77CD-586B245E7A67}"/>
                  </a:ext>
                </a:extLst>
              </p:cNvPr>
              <p:cNvGrpSpPr>
                <a:grpSpLocks/>
              </p:cNvGrpSpPr>
              <p:nvPr/>
            </p:nvGrpSpPr>
            <p:grpSpPr bwMode="gray">
              <a:xfrm>
                <a:off x="1569548" y="2274860"/>
                <a:ext cx="217142" cy="217142"/>
                <a:chOff x="1564620" y="3081783"/>
                <a:chExt cx="330948" cy="330948"/>
              </a:xfrm>
              <a:grpFill/>
            </p:grpSpPr>
            <p:sp>
              <p:nvSpPr>
                <p:cNvPr id="252" name="dfine_grid_single_shape_frame">
                  <a:extLst>
                    <a:ext uri="{FF2B5EF4-FFF2-40B4-BE49-F238E27FC236}">
                      <a16:creationId xmlns:a16="http://schemas.microsoft.com/office/drawing/2014/main" id="{D611AB98-C345-D1B8-C1C6-F911F5C294AD}"/>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3" name="Triangle_1">
                  <a:extLst>
                    <a:ext uri="{FF2B5EF4-FFF2-40B4-BE49-F238E27FC236}">
                      <a16:creationId xmlns:a16="http://schemas.microsoft.com/office/drawing/2014/main" id="{CB622AB3-4792-C10F-4CA5-8DE742133EAA}"/>
                    </a:ext>
                  </a:extLst>
                </p:cNvPr>
                <p:cNvSpPr>
                  <a:spLocks/>
                </p:cNvSpPr>
                <p:nvPr/>
              </p:nvSpPr>
              <p:spPr bwMode="gray">
                <a:xfrm rot="10800000">
                  <a:off x="1564620"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4" name="Triangle_2">
                  <a:extLst>
                    <a:ext uri="{FF2B5EF4-FFF2-40B4-BE49-F238E27FC236}">
                      <a16:creationId xmlns:a16="http://schemas.microsoft.com/office/drawing/2014/main" id="{CCC2D904-19A7-D763-E136-A8855FEA905C}"/>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5" name="Triangle_3">
                  <a:extLst>
                    <a:ext uri="{FF2B5EF4-FFF2-40B4-BE49-F238E27FC236}">
                      <a16:creationId xmlns:a16="http://schemas.microsoft.com/office/drawing/2014/main" id="{BEC2C479-568D-6264-9F69-329C14B59103}"/>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6" name="Triangle_4">
                  <a:extLst>
                    <a:ext uri="{FF2B5EF4-FFF2-40B4-BE49-F238E27FC236}">
                      <a16:creationId xmlns:a16="http://schemas.microsoft.com/office/drawing/2014/main" id="{1DCBA33A-9813-47DC-23C4-EC9C9CE3F840}"/>
                    </a:ext>
                  </a:extLst>
                </p:cNvPr>
                <p:cNvSpPr>
                  <a:spLocks/>
                </p:cNvSpPr>
                <p:nvPr/>
              </p:nvSpPr>
              <p:spPr bwMode="gray">
                <a:xfrm rot="16200000">
                  <a:off x="1647357"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19" name="Group 118">
                <a:extLst>
                  <a:ext uri="{FF2B5EF4-FFF2-40B4-BE49-F238E27FC236}">
                    <a16:creationId xmlns:a16="http://schemas.microsoft.com/office/drawing/2014/main" id="{2D2DA58B-F5FF-5EEA-24CA-855258F4F783}"/>
                  </a:ext>
                </a:extLst>
              </p:cNvPr>
              <p:cNvGrpSpPr>
                <a:grpSpLocks/>
              </p:cNvGrpSpPr>
              <p:nvPr/>
            </p:nvGrpSpPr>
            <p:grpSpPr bwMode="gray">
              <a:xfrm>
                <a:off x="1569548" y="2492001"/>
                <a:ext cx="217142" cy="217142"/>
                <a:chOff x="1564620" y="3412730"/>
                <a:chExt cx="330948" cy="330948"/>
              </a:xfrm>
              <a:grpFill/>
            </p:grpSpPr>
            <p:sp>
              <p:nvSpPr>
                <p:cNvPr id="247" name="dfine_grid_single_shape_frame">
                  <a:extLst>
                    <a:ext uri="{FF2B5EF4-FFF2-40B4-BE49-F238E27FC236}">
                      <a16:creationId xmlns:a16="http://schemas.microsoft.com/office/drawing/2014/main" id="{DB7D4005-56D8-AC48-DEBA-42DA11223237}"/>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8" name="Triangle_1">
                  <a:extLst>
                    <a:ext uri="{FF2B5EF4-FFF2-40B4-BE49-F238E27FC236}">
                      <a16:creationId xmlns:a16="http://schemas.microsoft.com/office/drawing/2014/main" id="{7EE32398-6483-8323-5C42-106B7B985F5B}"/>
                    </a:ext>
                  </a:extLst>
                </p:cNvPr>
                <p:cNvSpPr>
                  <a:spLocks/>
                </p:cNvSpPr>
                <p:nvPr/>
              </p:nvSpPr>
              <p:spPr bwMode="gray">
                <a:xfrm rot="10800000">
                  <a:off x="1564620"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9" name="Triangle_2">
                  <a:extLst>
                    <a:ext uri="{FF2B5EF4-FFF2-40B4-BE49-F238E27FC236}">
                      <a16:creationId xmlns:a16="http://schemas.microsoft.com/office/drawing/2014/main" id="{4AD6D2B6-8DC5-0EC7-BFC3-76160550F7DB}"/>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0" name="Triangle_3">
                  <a:extLst>
                    <a:ext uri="{FF2B5EF4-FFF2-40B4-BE49-F238E27FC236}">
                      <a16:creationId xmlns:a16="http://schemas.microsoft.com/office/drawing/2014/main" id="{77CA574E-BBD6-C5B7-4B00-A6248B63C4E1}"/>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1" name="Triangle_4">
                  <a:extLst>
                    <a:ext uri="{FF2B5EF4-FFF2-40B4-BE49-F238E27FC236}">
                      <a16:creationId xmlns:a16="http://schemas.microsoft.com/office/drawing/2014/main" id="{7591640B-0B10-C2F6-31C9-9BCA601957DB}"/>
                    </a:ext>
                  </a:extLst>
                </p:cNvPr>
                <p:cNvSpPr>
                  <a:spLocks/>
                </p:cNvSpPr>
                <p:nvPr/>
              </p:nvSpPr>
              <p:spPr bwMode="gray">
                <a:xfrm rot="16200000">
                  <a:off x="1647357"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20" name="Group 119">
                <a:extLst>
                  <a:ext uri="{FF2B5EF4-FFF2-40B4-BE49-F238E27FC236}">
                    <a16:creationId xmlns:a16="http://schemas.microsoft.com/office/drawing/2014/main" id="{34B5987B-21C2-F1B1-F0F0-66C9A51CE085}"/>
                  </a:ext>
                </a:extLst>
              </p:cNvPr>
              <p:cNvGrpSpPr>
                <a:grpSpLocks/>
              </p:cNvGrpSpPr>
              <p:nvPr/>
            </p:nvGrpSpPr>
            <p:grpSpPr bwMode="gray">
              <a:xfrm>
                <a:off x="1569548" y="2709142"/>
                <a:ext cx="217142" cy="217142"/>
                <a:chOff x="1564620" y="3743677"/>
                <a:chExt cx="330948" cy="330948"/>
              </a:xfrm>
              <a:grpFill/>
            </p:grpSpPr>
            <p:sp>
              <p:nvSpPr>
                <p:cNvPr id="242" name="dfine_grid_single_shape_frame">
                  <a:extLst>
                    <a:ext uri="{FF2B5EF4-FFF2-40B4-BE49-F238E27FC236}">
                      <a16:creationId xmlns:a16="http://schemas.microsoft.com/office/drawing/2014/main" id="{58CB282F-31DF-9913-6402-5FCF5ECDF268}"/>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3" name="Triangle_1">
                  <a:extLst>
                    <a:ext uri="{FF2B5EF4-FFF2-40B4-BE49-F238E27FC236}">
                      <a16:creationId xmlns:a16="http://schemas.microsoft.com/office/drawing/2014/main" id="{40074171-6F13-2473-9A28-C49BFC61A735}"/>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4" name="Triangle_2">
                  <a:extLst>
                    <a:ext uri="{FF2B5EF4-FFF2-40B4-BE49-F238E27FC236}">
                      <a16:creationId xmlns:a16="http://schemas.microsoft.com/office/drawing/2014/main" id="{3A71223F-6C1D-766E-C0F5-7C2BE90BC56C}"/>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5" name="Triangle_3">
                  <a:extLst>
                    <a:ext uri="{FF2B5EF4-FFF2-40B4-BE49-F238E27FC236}">
                      <a16:creationId xmlns:a16="http://schemas.microsoft.com/office/drawing/2014/main" id="{F6BE1C97-D1ED-980E-6580-72DBE41A6D16}"/>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6" name="Triangle_4">
                  <a:extLst>
                    <a:ext uri="{FF2B5EF4-FFF2-40B4-BE49-F238E27FC236}">
                      <a16:creationId xmlns:a16="http://schemas.microsoft.com/office/drawing/2014/main" id="{852D2075-62DA-D610-885D-933678A5F751}"/>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21" name="Group 120">
                <a:extLst>
                  <a:ext uri="{FF2B5EF4-FFF2-40B4-BE49-F238E27FC236}">
                    <a16:creationId xmlns:a16="http://schemas.microsoft.com/office/drawing/2014/main" id="{4432816F-AE80-BDA1-6B88-C155A8BB8C96}"/>
                  </a:ext>
                </a:extLst>
              </p:cNvPr>
              <p:cNvGrpSpPr>
                <a:grpSpLocks/>
              </p:cNvGrpSpPr>
              <p:nvPr/>
            </p:nvGrpSpPr>
            <p:grpSpPr bwMode="gray">
              <a:xfrm>
                <a:off x="1569548" y="2926283"/>
                <a:ext cx="217142" cy="217142"/>
                <a:chOff x="1564620" y="4074624"/>
                <a:chExt cx="330948" cy="330948"/>
              </a:xfrm>
              <a:grpFill/>
            </p:grpSpPr>
            <p:sp>
              <p:nvSpPr>
                <p:cNvPr id="237" name="dfine_grid_single_shape_frame">
                  <a:extLst>
                    <a:ext uri="{FF2B5EF4-FFF2-40B4-BE49-F238E27FC236}">
                      <a16:creationId xmlns:a16="http://schemas.microsoft.com/office/drawing/2014/main" id="{722E90A7-3B49-0A2E-A011-D1FCE77735EF}"/>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8" name="Triangle_1">
                  <a:extLst>
                    <a:ext uri="{FF2B5EF4-FFF2-40B4-BE49-F238E27FC236}">
                      <a16:creationId xmlns:a16="http://schemas.microsoft.com/office/drawing/2014/main" id="{B5FC533E-67E5-DDA5-D5AD-82B5D7103D2B}"/>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9" name="Triangle_2">
                  <a:extLst>
                    <a:ext uri="{FF2B5EF4-FFF2-40B4-BE49-F238E27FC236}">
                      <a16:creationId xmlns:a16="http://schemas.microsoft.com/office/drawing/2014/main" id="{24F042B5-2BA3-4CC9-204F-9EE47E49BDD5}"/>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0" name="Triangle_3">
                  <a:extLst>
                    <a:ext uri="{FF2B5EF4-FFF2-40B4-BE49-F238E27FC236}">
                      <a16:creationId xmlns:a16="http://schemas.microsoft.com/office/drawing/2014/main" id="{EA7A7449-BC7A-3872-9F1C-BA9C965E2FCC}"/>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1" name="Triangle_4">
                  <a:extLst>
                    <a:ext uri="{FF2B5EF4-FFF2-40B4-BE49-F238E27FC236}">
                      <a16:creationId xmlns:a16="http://schemas.microsoft.com/office/drawing/2014/main" id="{F5BB57AD-9F2A-27DF-5753-9B9DEE9A7E11}"/>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22" name="Group 121">
                <a:extLst>
                  <a:ext uri="{FF2B5EF4-FFF2-40B4-BE49-F238E27FC236}">
                    <a16:creationId xmlns:a16="http://schemas.microsoft.com/office/drawing/2014/main" id="{9D68A21B-2C3B-CFDA-26AC-92B70567459A}"/>
                  </a:ext>
                </a:extLst>
              </p:cNvPr>
              <p:cNvGrpSpPr>
                <a:grpSpLocks/>
              </p:cNvGrpSpPr>
              <p:nvPr/>
            </p:nvGrpSpPr>
            <p:grpSpPr bwMode="gray">
              <a:xfrm>
                <a:off x="1569548" y="3143425"/>
                <a:ext cx="217142" cy="217142"/>
                <a:chOff x="1564620" y="2419889"/>
                <a:chExt cx="330948" cy="330948"/>
              </a:xfrm>
              <a:grpFill/>
            </p:grpSpPr>
            <p:sp>
              <p:nvSpPr>
                <p:cNvPr id="232" name="dfine_grid_single_shape_frame">
                  <a:extLst>
                    <a:ext uri="{FF2B5EF4-FFF2-40B4-BE49-F238E27FC236}">
                      <a16:creationId xmlns:a16="http://schemas.microsoft.com/office/drawing/2014/main" id="{78A8126A-213F-E194-041D-E4431F783707}"/>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3" name="Triangle_1">
                  <a:extLst>
                    <a:ext uri="{FF2B5EF4-FFF2-40B4-BE49-F238E27FC236}">
                      <a16:creationId xmlns:a16="http://schemas.microsoft.com/office/drawing/2014/main" id="{4072D595-6A06-A85D-E86D-8312E9534CD6}"/>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4" name="Triangle_2">
                  <a:extLst>
                    <a:ext uri="{FF2B5EF4-FFF2-40B4-BE49-F238E27FC236}">
                      <a16:creationId xmlns:a16="http://schemas.microsoft.com/office/drawing/2014/main" id="{0560D6B2-C6FE-2F1E-1A65-86F085BF24D6}"/>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5" name="Triangle_3">
                  <a:extLst>
                    <a:ext uri="{FF2B5EF4-FFF2-40B4-BE49-F238E27FC236}">
                      <a16:creationId xmlns:a16="http://schemas.microsoft.com/office/drawing/2014/main" id="{692E3C65-DEB1-DB9E-E6E9-8CF6688A308C}"/>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6" name="Triangle_4">
                  <a:extLst>
                    <a:ext uri="{FF2B5EF4-FFF2-40B4-BE49-F238E27FC236}">
                      <a16:creationId xmlns:a16="http://schemas.microsoft.com/office/drawing/2014/main" id="{27480140-75DE-A141-46C4-771E2AA4AEDC}"/>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23" name="Group 122">
                <a:extLst>
                  <a:ext uri="{FF2B5EF4-FFF2-40B4-BE49-F238E27FC236}">
                    <a16:creationId xmlns:a16="http://schemas.microsoft.com/office/drawing/2014/main" id="{157ACFB8-610C-2D4F-A945-90F969D81241}"/>
                  </a:ext>
                </a:extLst>
              </p:cNvPr>
              <p:cNvGrpSpPr>
                <a:grpSpLocks/>
              </p:cNvGrpSpPr>
              <p:nvPr/>
            </p:nvGrpSpPr>
            <p:grpSpPr bwMode="gray">
              <a:xfrm>
                <a:off x="1569548" y="3360566"/>
                <a:ext cx="217142" cy="217142"/>
                <a:chOff x="1564620" y="2750836"/>
                <a:chExt cx="330948" cy="330948"/>
              </a:xfrm>
              <a:grpFill/>
            </p:grpSpPr>
            <p:sp>
              <p:nvSpPr>
                <p:cNvPr id="227" name="dfine_grid_single_shape_frame">
                  <a:extLst>
                    <a:ext uri="{FF2B5EF4-FFF2-40B4-BE49-F238E27FC236}">
                      <a16:creationId xmlns:a16="http://schemas.microsoft.com/office/drawing/2014/main" id="{7869E1B5-6A98-F788-34F9-D2A0B0C11E25}"/>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8" name="Triangle_1">
                  <a:extLst>
                    <a:ext uri="{FF2B5EF4-FFF2-40B4-BE49-F238E27FC236}">
                      <a16:creationId xmlns:a16="http://schemas.microsoft.com/office/drawing/2014/main" id="{638E8DDB-BB23-77DD-6CD8-D798236F7E34}"/>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9" name="Triangle_2">
                  <a:extLst>
                    <a:ext uri="{FF2B5EF4-FFF2-40B4-BE49-F238E27FC236}">
                      <a16:creationId xmlns:a16="http://schemas.microsoft.com/office/drawing/2014/main" id="{9EE09DC6-C27B-ADFB-519A-704C8632979D}"/>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0" name="Triangle_3">
                  <a:extLst>
                    <a:ext uri="{FF2B5EF4-FFF2-40B4-BE49-F238E27FC236}">
                      <a16:creationId xmlns:a16="http://schemas.microsoft.com/office/drawing/2014/main" id="{5BC3C85F-8873-15B6-59BB-68F5C88322A5}"/>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1" name="Triangle_4">
                  <a:extLst>
                    <a:ext uri="{FF2B5EF4-FFF2-40B4-BE49-F238E27FC236}">
                      <a16:creationId xmlns:a16="http://schemas.microsoft.com/office/drawing/2014/main" id="{8A1D86F4-3B07-10BF-E11B-2DE3E57D407B}"/>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24" name="Group 123">
                <a:extLst>
                  <a:ext uri="{FF2B5EF4-FFF2-40B4-BE49-F238E27FC236}">
                    <a16:creationId xmlns:a16="http://schemas.microsoft.com/office/drawing/2014/main" id="{D6355A81-492E-07C1-7C72-D5CA2BBED85E}"/>
                  </a:ext>
                </a:extLst>
              </p:cNvPr>
              <p:cNvGrpSpPr>
                <a:grpSpLocks/>
              </p:cNvGrpSpPr>
              <p:nvPr/>
            </p:nvGrpSpPr>
            <p:grpSpPr bwMode="gray">
              <a:xfrm>
                <a:off x="1569548" y="3577707"/>
                <a:ext cx="217142" cy="217142"/>
                <a:chOff x="1564620" y="3081783"/>
                <a:chExt cx="330948" cy="330948"/>
              </a:xfrm>
              <a:grpFill/>
            </p:grpSpPr>
            <p:sp>
              <p:nvSpPr>
                <p:cNvPr id="222" name="dfine_grid_single_shape_frame">
                  <a:extLst>
                    <a:ext uri="{FF2B5EF4-FFF2-40B4-BE49-F238E27FC236}">
                      <a16:creationId xmlns:a16="http://schemas.microsoft.com/office/drawing/2014/main" id="{9F10A34D-B6C9-6BAF-AC1D-9B14947928FA}"/>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3" name="Triangle_1">
                  <a:extLst>
                    <a:ext uri="{FF2B5EF4-FFF2-40B4-BE49-F238E27FC236}">
                      <a16:creationId xmlns:a16="http://schemas.microsoft.com/office/drawing/2014/main" id="{56A65ABF-1271-0D6C-40F4-330FF764AD9D}"/>
                    </a:ext>
                  </a:extLst>
                </p:cNvPr>
                <p:cNvSpPr>
                  <a:spLocks/>
                </p:cNvSpPr>
                <p:nvPr/>
              </p:nvSpPr>
              <p:spPr bwMode="gray">
                <a:xfrm rot="10800000">
                  <a:off x="1564620"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4" name="Triangle_2">
                  <a:extLst>
                    <a:ext uri="{FF2B5EF4-FFF2-40B4-BE49-F238E27FC236}">
                      <a16:creationId xmlns:a16="http://schemas.microsoft.com/office/drawing/2014/main" id="{C0121641-60AC-7FBB-95DA-34BA23FA26B1}"/>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5" name="Triangle_3">
                  <a:extLst>
                    <a:ext uri="{FF2B5EF4-FFF2-40B4-BE49-F238E27FC236}">
                      <a16:creationId xmlns:a16="http://schemas.microsoft.com/office/drawing/2014/main" id="{B6916E50-13BA-9216-7847-CF2A5693102B}"/>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6" name="Triangle_4">
                  <a:extLst>
                    <a:ext uri="{FF2B5EF4-FFF2-40B4-BE49-F238E27FC236}">
                      <a16:creationId xmlns:a16="http://schemas.microsoft.com/office/drawing/2014/main" id="{19E6ED59-09D2-E9C9-176D-12F9449F0AE1}"/>
                    </a:ext>
                  </a:extLst>
                </p:cNvPr>
                <p:cNvSpPr>
                  <a:spLocks/>
                </p:cNvSpPr>
                <p:nvPr/>
              </p:nvSpPr>
              <p:spPr bwMode="gray">
                <a:xfrm rot="16200000">
                  <a:off x="1647357"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25" name="Group 124">
                <a:extLst>
                  <a:ext uri="{FF2B5EF4-FFF2-40B4-BE49-F238E27FC236}">
                    <a16:creationId xmlns:a16="http://schemas.microsoft.com/office/drawing/2014/main" id="{7E1D04CC-09B7-547C-112B-B1B5C759601A}"/>
                  </a:ext>
                </a:extLst>
              </p:cNvPr>
              <p:cNvGrpSpPr>
                <a:grpSpLocks/>
              </p:cNvGrpSpPr>
              <p:nvPr/>
            </p:nvGrpSpPr>
            <p:grpSpPr bwMode="gray">
              <a:xfrm>
                <a:off x="1569548" y="3794848"/>
                <a:ext cx="217142" cy="217142"/>
                <a:chOff x="1564620" y="3412730"/>
                <a:chExt cx="330948" cy="330948"/>
              </a:xfrm>
              <a:grpFill/>
            </p:grpSpPr>
            <p:sp>
              <p:nvSpPr>
                <p:cNvPr id="217" name="dfine_grid_single_shape_frame">
                  <a:extLst>
                    <a:ext uri="{FF2B5EF4-FFF2-40B4-BE49-F238E27FC236}">
                      <a16:creationId xmlns:a16="http://schemas.microsoft.com/office/drawing/2014/main" id="{DD99A671-A163-625F-C300-D974C6E27ECA}"/>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8" name="Triangle_1">
                  <a:extLst>
                    <a:ext uri="{FF2B5EF4-FFF2-40B4-BE49-F238E27FC236}">
                      <a16:creationId xmlns:a16="http://schemas.microsoft.com/office/drawing/2014/main" id="{46661EB5-4104-0889-36C2-35A49CE2C1DB}"/>
                    </a:ext>
                  </a:extLst>
                </p:cNvPr>
                <p:cNvSpPr>
                  <a:spLocks/>
                </p:cNvSpPr>
                <p:nvPr/>
              </p:nvSpPr>
              <p:spPr bwMode="gray">
                <a:xfrm rot="10800000">
                  <a:off x="1564620"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9" name="Triangle_2">
                  <a:extLst>
                    <a:ext uri="{FF2B5EF4-FFF2-40B4-BE49-F238E27FC236}">
                      <a16:creationId xmlns:a16="http://schemas.microsoft.com/office/drawing/2014/main" id="{5C8B8089-99AB-07EF-82F5-509F27E39204}"/>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0" name="Triangle_3">
                  <a:extLst>
                    <a:ext uri="{FF2B5EF4-FFF2-40B4-BE49-F238E27FC236}">
                      <a16:creationId xmlns:a16="http://schemas.microsoft.com/office/drawing/2014/main" id="{A7EE469E-1311-4138-5E4E-A288763A42E7}"/>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1" name="Triangle_4">
                  <a:extLst>
                    <a:ext uri="{FF2B5EF4-FFF2-40B4-BE49-F238E27FC236}">
                      <a16:creationId xmlns:a16="http://schemas.microsoft.com/office/drawing/2014/main" id="{AB52AEB3-ED99-A726-02E1-514410654D05}"/>
                    </a:ext>
                  </a:extLst>
                </p:cNvPr>
                <p:cNvSpPr>
                  <a:spLocks/>
                </p:cNvSpPr>
                <p:nvPr/>
              </p:nvSpPr>
              <p:spPr bwMode="gray">
                <a:xfrm rot="16200000">
                  <a:off x="1647357"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26" name="Group 125">
                <a:extLst>
                  <a:ext uri="{FF2B5EF4-FFF2-40B4-BE49-F238E27FC236}">
                    <a16:creationId xmlns:a16="http://schemas.microsoft.com/office/drawing/2014/main" id="{26E52224-99FD-C251-961E-14D014EF1DE5}"/>
                  </a:ext>
                </a:extLst>
              </p:cNvPr>
              <p:cNvGrpSpPr>
                <a:grpSpLocks/>
              </p:cNvGrpSpPr>
              <p:nvPr/>
            </p:nvGrpSpPr>
            <p:grpSpPr bwMode="gray">
              <a:xfrm>
                <a:off x="1569548" y="4011989"/>
                <a:ext cx="217142" cy="217142"/>
                <a:chOff x="1564620" y="3743677"/>
                <a:chExt cx="330948" cy="330948"/>
              </a:xfrm>
              <a:grpFill/>
            </p:grpSpPr>
            <p:sp>
              <p:nvSpPr>
                <p:cNvPr id="212" name="dfine_grid_single_shape_frame">
                  <a:extLst>
                    <a:ext uri="{FF2B5EF4-FFF2-40B4-BE49-F238E27FC236}">
                      <a16:creationId xmlns:a16="http://schemas.microsoft.com/office/drawing/2014/main" id="{1402505B-94E4-FD1E-4E06-4D72E98CE2D7}"/>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3" name="Triangle_1">
                  <a:extLst>
                    <a:ext uri="{FF2B5EF4-FFF2-40B4-BE49-F238E27FC236}">
                      <a16:creationId xmlns:a16="http://schemas.microsoft.com/office/drawing/2014/main" id="{61257FB9-9897-617B-9988-76BBC7466555}"/>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4" name="Triangle_2">
                  <a:extLst>
                    <a:ext uri="{FF2B5EF4-FFF2-40B4-BE49-F238E27FC236}">
                      <a16:creationId xmlns:a16="http://schemas.microsoft.com/office/drawing/2014/main" id="{11666C6D-F2C5-7DAB-2074-3E70A664673E}"/>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5" name="Triangle_3">
                  <a:extLst>
                    <a:ext uri="{FF2B5EF4-FFF2-40B4-BE49-F238E27FC236}">
                      <a16:creationId xmlns:a16="http://schemas.microsoft.com/office/drawing/2014/main" id="{1774E293-82C5-B2E0-76F0-8EFCC906F0D8}"/>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6" name="Triangle_4">
                  <a:extLst>
                    <a:ext uri="{FF2B5EF4-FFF2-40B4-BE49-F238E27FC236}">
                      <a16:creationId xmlns:a16="http://schemas.microsoft.com/office/drawing/2014/main" id="{095280C3-5370-BC13-92E7-6E5979E87BFC}"/>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27" name="Group 126">
                <a:extLst>
                  <a:ext uri="{FF2B5EF4-FFF2-40B4-BE49-F238E27FC236}">
                    <a16:creationId xmlns:a16="http://schemas.microsoft.com/office/drawing/2014/main" id="{B5398AE9-B1C4-7199-F36D-5970D686561F}"/>
                  </a:ext>
                </a:extLst>
              </p:cNvPr>
              <p:cNvGrpSpPr>
                <a:grpSpLocks/>
              </p:cNvGrpSpPr>
              <p:nvPr/>
            </p:nvGrpSpPr>
            <p:grpSpPr bwMode="gray">
              <a:xfrm>
                <a:off x="1569548" y="4229130"/>
                <a:ext cx="217142" cy="217142"/>
                <a:chOff x="1564620" y="4074624"/>
                <a:chExt cx="330948" cy="330948"/>
              </a:xfrm>
              <a:grpFill/>
            </p:grpSpPr>
            <p:sp>
              <p:nvSpPr>
                <p:cNvPr id="207" name="dfine_grid_single_shape_frame">
                  <a:extLst>
                    <a:ext uri="{FF2B5EF4-FFF2-40B4-BE49-F238E27FC236}">
                      <a16:creationId xmlns:a16="http://schemas.microsoft.com/office/drawing/2014/main" id="{487F6F51-9525-2A0C-2BC1-19DB508D82EC}"/>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8" name="Triangle_1">
                  <a:extLst>
                    <a:ext uri="{FF2B5EF4-FFF2-40B4-BE49-F238E27FC236}">
                      <a16:creationId xmlns:a16="http://schemas.microsoft.com/office/drawing/2014/main" id="{97C8F3EC-BD7F-A248-8999-1E0A1461A527}"/>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9" name="Triangle_2">
                  <a:extLst>
                    <a:ext uri="{FF2B5EF4-FFF2-40B4-BE49-F238E27FC236}">
                      <a16:creationId xmlns:a16="http://schemas.microsoft.com/office/drawing/2014/main" id="{7BD58AA9-391F-044D-FBAC-F32378E71742}"/>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0" name="Triangle_3">
                  <a:extLst>
                    <a:ext uri="{FF2B5EF4-FFF2-40B4-BE49-F238E27FC236}">
                      <a16:creationId xmlns:a16="http://schemas.microsoft.com/office/drawing/2014/main" id="{FDF30021-1448-233C-7196-A1E8C3C840C7}"/>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1" name="Triangle_4">
                  <a:extLst>
                    <a:ext uri="{FF2B5EF4-FFF2-40B4-BE49-F238E27FC236}">
                      <a16:creationId xmlns:a16="http://schemas.microsoft.com/office/drawing/2014/main" id="{5ECFDC8A-2A5B-AB01-5EEB-28AC35230DF9}"/>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28" name="Group 127">
                <a:extLst>
                  <a:ext uri="{FF2B5EF4-FFF2-40B4-BE49-F238E27FC236}">
                    <a16:creationId xmlns:a16="http://schemas.microsoft.com/office/drawing/2014/main" id="{99673CD0-61F0-D8BF-DE00-7F04B3CDE255}"/>
                  </a:ext>
                </a:extLst>
              </p:cNvPr>
              <p:cNvGrpSpPr>
                <a:grpSpLocks/>
              </p:cNvGrpSpPr>
              <p:nvPr/>
            </p:nvGrpSpPr>
            <p:grpSpPr bwMode="gray">
              <a:xfrm>
                <a:off x="1786689" y="1623437"/>
                <a:ext cx="217142" cy="217142"/>
                <a:chOff x="1564620" y="2088942"/>
                <a:chExt cx="330948" cy="330948"/>
              </a:xfrm>
              <a:grpFill/>
            </p:grpSpPr>
            <p:sp>
              <p:nvSpPr>
                <p:cNvPr id="202" name="dfine_grid_single_shape_frame">
                  <a:extLst>
                    <a:ext uri="{FF2B5EF4-FFF2-40B4-BE49-F238E27FC236}">
                      <a16:creationId xmlns:a16="http://schemas.microsoft.com/office/drawing/2014/main" id="{79F47507-1447-A665-4E75-649E48E166A4}"/>
                    </a:ext>
                  </a:extLst>
                </p:cNvPr>
                <p:cNvSpPr>
                  <a:spLocks/>
                </p:cNvSpPr>
                <p:nvPr/>
              </p:nvSpPr>
              <p:spPr bwMode="gray">
                <a:xfrm>
                  <a:off x="1564620"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3" name="Triangle_1">
                  <a:extLst>
                    <a:ext uri="{FF2B5EF4-FFF2-40B4-BE49-F238E27FC236}">
                      <a16:creationId xmlns:a16="http://schemas.microsoft.com/office/drawing/2014/main" id="{6B5219FF-452F-09AB-3629-4F03F7587248}"/>
                    </a:ext>
                  </a:extLst>
                </p:cNvPr>
                <p:cNvSpPr>
                  <a:spLocks/>
                </p:cNvSpPr>
                <p:nvPr/>
              </p:nvSpPr>
              <p:spPr bwMode="gray">
                <a:xfrm rot="10800000">
                  <a:off x="1564620"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4" name="Triangle_2">
                  <a:extLst>
                    <a:ext uri="{FF2B5EF4-FFF2-40B4-BE49-F238E27FC236}">
                      <a16:creationId xmlns:a16="http://schemas.microsoft.com/office/drawing/2014/main" id="{9BC88015-8926-21B8-FFF1-585A2108D641}"/>
                    </a:ext>
                  </a:extLst>
                </p:cNvPr>
                <p:cNvSpPr>
                  <a:spLocks/>
                </p:cNvSpPr>
                <p:nvPr/>
              </p:nvSpPr>
              <p:spPr bwMode="gray">
                <a:xfrm>
                  <a:off x="1564620"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5" name="Triangle_3">
                  <a:extLst>
                    <a:ext uri="{FF2B5EF4-FFF2-40B4-BE49-F238E27FC236}">
                      <a16:creationId xmlns:a16="http://schemas.microsoft.com/office/drawing/2014/main" id="{EC44EB38-404F-E498-2DF6-E29AFF228D64}"/>
                    </a:ext>
                  </a:extLst>
                </p:cNvPr>
                <p:cNvSpPr>
                  <a:spLocks/>
                </p:cNvSpPr>
                <p:nvPr/>
              </p:nvSpPr>
              <p:spPr bwMode="gray">
                <a:xfrm rot="5400000">
                  <a:off x="1481883"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6" name="Triangle_4">
                  <a:extLst>
                    <a:ext uri="{FF2B5EF4-FFF2-40B4-BE49-F238E27FC236}">
                      <a16:creationId xmlns:a16="http://schemas.microsoft.com/office/drawing/2014/main" id="{9B21595A-7EC6-A7CB-62A4-C29BFBDFF28F}"/>
                    </a:ext>
                  </a:extLst>
                </p:cNvPr>
                <p:cNvSpPr>
                  <a:spLocks/>
                </p:cNvSpPr>
                <p:nvPr/>
              </p:nvSpPr>
              <p:spPr bwMode="gray">
                <a:xfrm rot="16200000">
                  <a:off x="1647357"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29" name="Group 128">
                <a:extLst>
                  <a:ext uri="{FF2B5EF4-FFF2-40B4-BE49-F238E27FC236}">
                    <a16:creationId xmlns:a16="http://schemas.microsoft.com/office/drawing/2014/main" id="{C9428C71-F696-D10C-E31F-F73D287E39A3}"/>
                  </a:ext>
                </a:extLst>
              </p:cNvPr>
              <p:cNvGrpSpPr>
                <a:grpSpLocks/>
              </p:cNvGrpSpPr>
              <p:nvPr/>
            </p:nvGrpSpPr>
            <p:grpSpPr bwMode="gray">
              <a:xfrm>
                <a:off x="1786689" y="1840578"/>
                <a:ext cx="217142" cy="217142"/>
                <a:chOff x="1564620" y="2419889"/>
                <a:chExt cx="330948" cy="330948"/>
              </a:xfrm>
              <a:grpFill/>
            </p:grpSpPr>
            <p:sp>
              <p:nvSpPr>
                <p:cNvPr id="197" name="dfine_grid_single_shape_frame">
                  <a:extLst>
                    <a:ext uri="{FF2B5EF4-FFF2-40B4-BE49-F238E27FC236}">
                      <a16:creationId xmlns:a16="http://schemas.microsoft.com/office/drawing/2014/main" id="{7D837741-5471-7B4E-BF39-E410A4C4D117}"/>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8" name="Triangle_1">
                  <a:extLst>
                    <a:ext uri="{FF2B5EF4-FFF2-40B4-BE49-F238E27FC236}">
                      <a16:creationId xmlns:a16="http://schemas.microsoft.com/office/drawing/2014/main" id="{4F5D62DD-0B83-8AE6-04D5-EDBF40F3D061}"/>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9" name="Triangle_2">
                  <a:extLst>
                    <a:ext uri="{FF2B5EF4-FFF2-40B4-BE49-F238E27FC236}">
                      <a16:creationId xmlns:a16="http://schemas.microsoft.com/office/drawing/2014/main" id="{D438A270-25A8-07BD-37AF-426AEC2CECB5}"/>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0" name="Triangle_3">
                  <a:extLst>
                    <a:ext uri="{FF2B5EF4-FFF2-40B4-BE49-F238E27FC236}">
                      <a16:creationId xmlns:a16="http://schemas.microsoft.com/office/drawing/2014/main" id="{4C3DF783-767D-E577-5C3E-24D0C7B77CD5}"/>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1" name="Triangle_4">
                  <a:extLst>
                    <a:ext uri="{FF2B5EF4-FFF2-40B4-BE49-F238E27FC236}">
                      <a16:creationId xmlns:a16="http://schemas.microsoft.com/office/drawing/2014/main" id="{870E506F-8699-FAAC-B898-A26D397B3259}"/>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30" name="Group 129">
                <a:extLst>
                  <a:ext uri="{FF2B5EF4-FFF2-40B4-BE49-F238E27FC236}">
                    <a16:creationId xmlns:a16="http://schemas.microsoft.com/office/drawing/2014/main" id="{9A0D5A61-2B6F-328F-954C-4A889A5194BC}"/>
                  </a:ext>
                </a:extLst>
              </p:cNvPr>
              <p:cNvGrpSpPr>
                <a:grpSpLocks/>
              </p:cNvGrpSpPr>
              <p:nvPr/>
            </p:nvGrpSpPr>
            <p:grpSpPr bwMode="gray">
              <a:xfrm>
                <a:off x="1786689" y="2057719"/>
                <a:ext cx="217142" cy="217142"/>
                <a:chOff x="1564620" y="2750836"/>
                <a:chExt cx="330948" cy="330948"/>
              </a:xfrm>
              <a:grpFill/>
            </p:grpSpPr>
            <p:sp>
              <p:nvSpPr>
                <p:cNvPr id="192" name="dfine_grid_single_shape_frame">
                  <a:extLst>
                    <a:ext uri="{FF2B5EF4-FFF2-40B4-BE49-F238E27FC236}">
                      <a16:creationId xmlns:a16="http://schemas.microsoft.com/office/drawing/2014/main" id="{28168D6D-ACE1-EC91-AECB-D281375483DA}"/>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3" name="Triangle_1">
                  <a:extLst>
                    <a:ext uri="{FF2B5EF4-FFF2-40B4-BE49-F238E27FC236}">
                      <a16:creationId xmlns:a16="http://schemas.microsoft.com/office/drawing/2014/main" id="{819C75D7-01EF-A1BF-7366-56FBC94930BA}"/>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4" name="Triangle_2">
                  <a:extLst>
                    <a:ext uri="{FF2B5EF4-FFF2-40B4-BE49-F238E27FC236}">
                      <a16:creationId xmlns:a16="http://schemas.microsoft.com/office/drawing/2014/main" id="{6A64A829-FD93-E86A-CE78-B278642FB5A4}"/>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5" name="Triangle_3">
                  <a:extLst>
                    <a:ext uri="{FF2B5EF4-FFF2-40B4-BE49-F238E27FC236}">
                      <a16:creationId xmlns:a16="http://schemas.microsoft.com/office/drawing/2014/main" id="{FD49AB8E-34BD-38A9-113D-BFF31E04E763}"/>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6" name="Triangle_4">
                  <a:extLst>
                    <a:ext uri="{FF2B5EF4-FFF2-40B4-BE49-F238E27FC236}">
                      <a16:creationId xmlns:a16="http://schemas.microsoft.com/office/drawing/2014/main" id="{64BE9B43-1FE1-B4FC-747D-083EABD26846}"/>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31" name="Group 130">
                <a:extLst>
                  <a:ext uri="{FF2B5EF4-FFF2-40B4-BE49-F238E27FC236}">
                    <a16:creationId xmlns:a16="http://schemas.microsoft.com/office/drawing/2014/main" id="{848859A3-4B38-D649-C9EF-434F4BC7D4B3}"/>
                  </a:ext>
                </a:extLst>
              </p:cNvPr>
              <p:cNvGrpSpPr>
                <a:grpSpLocks/>
              </p:cNvGrpSpPr>
              <p:nvPr/>
            </p:nvGrpSpPr>
            <p:grpSpPr bwMode="gray">
              <a:xfrm>
                <a:off x="1786689" y="2274860"/>
                <a:ext cx="217142" cy="217142"/>
                <a:chOff x="1564620" y="3081783"/>
                <a:chExt cx="330948" cy="330948"/>
              </a:xfrm>
              <a:grpFill/>
            </p:grpSpPr>
            <p:sp>
              <p:nvSpPr>
                <p:cNvPr id="187" name="dfine_grid_single_shape_frame">
                  <a:extLst>
                    <a:ext uri="{FF2B5EF4-FFF2-40B4-BE49-F238E27FC236}">
                      <a16:creationId xmlns:a16="http://schemas.microsoft.com/office/drawing/2014/main" id="{5F27BA2D-38E2-080B-3706-4407488D5B5E}"/>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8" name="Triangle_1">
                  <a:extLst>
                    <a:ext uri="{FF2B5EF4-FFF2-40B4-BE49-F238E27FC236}">
                      <a16:creationId xmlns:a16="http://schemas.microsoft.com/office/drawing/2014/main" id="{7537D971-ECBE-925E-5E2D-E222B97485A5}"/>
                    </a:ext>
                  </a:extLst>
                </p:cNvPr>
                <p:cNvSpPr>
                  <a:spLocks/>
                </p:cNvSpPr>
                <p:nvPr/>
              </p:nvSpPr>
              <p:spPr bwMode="gray">
                <a:xfrm rot="10800000">
                  <a:off x="1564620"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9" name="Triangle_2">
                  <a:extLst>
                    <a:ext uri="{FF2B5EF4-FFF2-40B4-BE49-F238E27FC236}">
                      <a16:creationId xmlns:a16="http://schemas.microsoft.com/office/drawing/2014/main" id="{9AB290B0-B11B-EFA1-26FD-ECA9ED38387F}"/>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0" name="Triangle_3">
                  <a:extLst>
                    <a:ext uri="{FF2B5EF4-FFF2-40B4-BE49-F238E27FC236}">
                      <a16:creationId xmlns:a16="http://schemas.microsoft.com/office/drawing/2014/main" id="{B998934C-A0D5-3A79-E19C-401D69DADD64}"/>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1" name="Triangle_4">
                  <a:extLst>
                    <a:ext uri="{FF2B5EF4-FFF2-40B4-BE49-F238E27FC236}">
                      <a16:creationId xmlns:a16="http://schemas.microsoft.com/office/drawing/2014/main" id="{559CE945-DC65-6D6E-52DA-EA4275DBC57B}"/>
                    </a:ext>
                  </a:extLst>
                </p:cNvPr>
                <p:cNvSpPr>
                  <a:spLocks/>
                </p:cNvSpPr>
                <p:nvPr/>
              </p:nvSpPr>
              <p:spPr bwMode="gray">
                <a:xfrm rot="16200000">
                  <a:off x="1647357"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32" name="Group 131">
                <a:extLst>
                  <a:ext uri="{FF2B5EF4-FFF2-40B4-BE49-F238E27FC236}">
                    <a16:creationId xmlns:a16="http://schemas.microsoft.com/office/drawing/2014/main" id="{8EE71D0D-3239-B31D-B139-10CDE8AA0D7F}"/>
                  </a:ext>
                </a:extLst>
              </p:cNvPr>
              <p:cNvGrpSpPr>
                <a:grpSpLocks/>
              </p:cNvGrpSpPr>
              <p:nvPr/>
            </p:nvGrpSpPr>
            <p:grpSpPr bwMode="gray">
              <a:xfrm>
                <a:off x="1786689" y="2492001"/>
                <a:ext cx="217142" cy="217142"/>
                <a:chOff x="1564620" y="3412730"/>
                <a:chExt cx="330948" cy="330948"/>
              </a:xfrm>
              <a:grpFill/>
            </p:grpSpPr>
            <p:sp>
              <p:nvSpPr>
                <p:cNvPr id="182" name="dfine_grid_single_shape_frame">
                  <a:extLst>
                    <a:ext uri="{FF2B5EF4-FFF2-40B4-BE49-F238E27FC236}">
                      <a16:creationId xmlns:a16="http://schemas.microsoft.com/office/drawing/2014/main" id="{9C5DBD7C-284D-4E99-4CFA-8806BEF629A3}"/>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3" name="Triangle_1">
                  <a:extLst>
                    <a:ext uri="{FF2B5EF4-FFF2-40B4-BE49-F238E27FC236}">
                      <a16:creationId xmlns:a16="http://schemas.microsoft.com/office/drawing/2014/main" id="{2961100C-1CF9-4ACD-A446-BA81B41D50D1}"/>
                    </a:ext>
                  </a:extLst>
                </p:cNvPr>
                <p:cNvSpPr>
                  <a:spLocks/>
                </p:cNvSpPr>
                <p:nvPr/>
              </p:nvSpPr>
              <p:spPr bwMode="gray">
                <a:xfrm rot="10800000">
                  <a:off x="1564620"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4" name="Triangle_2">
                  <a:extLst>
                    <a:ext uri="{FF2B5EF4-FFF2-40B4-BE49-F238E27FC236}">
                      <a16:creationId xmlns:a16="http://schemas.microsoft.com/office/drawing/2014/main" id="{083CFADE-AD82-B12E-B3DC-B1756CA2C8F2}"/>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5" name="Triangle_3">
                  <a:extLst>
                    <a:ext uri="{FF2B5EF4-FFF2-40B4-BE49-F238E27FC236}">
                      <a16:creationId xmlns:a16="http://schemas.microsoft.com/office/drawing/2014/main" id="{E0BA79BC-689F-651A-B04A-53E101C873C0}"/>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6" name="Triangle_4">
                  <a:extLst>
                    <a:ext uri="{FF2B5EF4-FFF2-40B4-BE49-F238E27FC236}">
                      <a16:creationId xmlns:a16="http://schemas.microsoft.com/office/drawing/2014/main" id="{83029A5B-043B-63B3-B460-25DAE10EEA7E}"/>
                    </a:ext>
                  </a:extLst>
                </p:cNvPr>
                <p:cNvSpPr>
                  <a:spLocks/>
                </p:cNvSpPr>
                <p:nvPr/>
              </p:nvSpPr>
              <p:spPr bwMode="gray">
                <a:xfrm rot="16200000">
                  <a:off x="1647357"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33" name="Group 132">
                <a:extLst>
                  <a:ext uri="{FF2B5EF4-FFF2-40B4-BE49-F238E27FC236}">
                    <a16:creationId xmlns:a16="http://schemas.microsoft.com/office/drawing/2014/main" id="{6860E475-77CA-42D8-32D1-1181C703F3F9}"/>
                  </a:ext>
                </a:extLst>
              </p:cNvPr>
              <p:cNvGrpSpPr>
                <a:grpSpLocks/>
              </p:cNvGrpSpPr>
              <p:nvPr/>
            </p:nvGrpSpPr>
            <p:grpSpPr bwMode="gray">
              <a:xfrm>
                <a:off x="1786689" y="2709142"/>
                <a:ext cx="217142" cy="217142"/>
                <a:chOff x="1564620" y="3743677"/>
                <a:chExt cx="330948" cy="330948"/>
              </a:xfrm>
              <a:grpFill/>
            </p:grpSpPr>
            <p:sp>
              <p:nvSpPr>
                <p:cNvPr id="177" name="dfine_grid_single_shape_frame">
                  <a:extLst>
                    <a:ext uri="{FF2B5EF4-FFF2-40B4-BE49-F238E27FC236}">
                      <a16:creationId xmlns:a16="http://schemas.microsoft.com/office/drawing/2014/main" id="{7770DC44-C81D-356D-1C7B-6C0E372425E2}"/>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8" name="Triangle_1">
                  <a:extLst>
                    <a:ext uri="{FF2B5EF4-FFF2-40B4-BE49-F238E27FC236}">
                      <a16:creationId xmlns:a16="http://schemas.microsoft.com/office/drawing/2014/main" id="{9B98AFBE-B2B3-18E8-3B5B-1E673083A5DB}"/>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9" name="Triangle_2">
                  <a:extLst>
                    <a:ext uri="{FF2B5EF4-FFF2-40B4-BE49-F238E27FC236}">
                      <a16:creationId xmlns:a16="http://schemas.microsoft.com/office/drawing/2014/main" id="{712D8B32-3C47-D7CC-53C7-5CBA0216DFEA}"/>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0" name="Triangle_3">
                  <a:extLst>
                    <a:ext uri="{FF2B5EF4-FFF2-40B4-BE49-F238E27FC236}">
                      <a16:creationId xmlns:a16="http://schemas.microsoft.com/office/drawing/2014/main" id="{EF38D585-68CC-A644-2A1D-A99B5E9BEB3B}"/>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1" name="Triangle_4">
                  <a:extLst>
                    <a:ext uri="{FF2B5EF4-FFF2-40B4-BE49-F238E27FC236}">
                      <a16:creationId xmlns:a16="http://schemas.microsoft.com/office/drawing/2014/main" id="{D9A497DF-13EB-76FA-DF77-737AAE5A6290}"/>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34" name="Group 133">
                <a:extLst>
                  <a:ext uri="{FF2B5EF4-FFF2-40B4-BE49-F238E27FC236}">
                    <a16:creationId xmlns:a16="http://schemas.microsoft.com/office/drawing/2014/main" id="{FF0E5319-433F-560E-8A5B-DC7F8530DE1E}"/>
                  </a:ext>
                </a:extLst>
              </p:cNvPr>
              <p:cNvGrpSpPr>
                <a:grpSpLocks/>
              </p:cNvGrpSpPr>
              <p:nvPr/>
            </p:nvGrpSpPr>
            <p:grpSpPr bwMode="gray">
              <a:xfrm>
                <a:off x="1786689" y="2926283"/>
                <a:ext cx="217142" cy="217142"/>
                <a:chOff x="1564620" y="4074624"/>
                <a:chExt cx="330948" cy="330948"/>
              </a:xfrm>
              <a:grpFill/>
            </p:grpSpPr>
            <p:sp>
              <p:nvSpPr>
                <p:cNvPr id="172" name="dfine_grid_single_shape_frame">
                  <a:extLst>
                    <a:ext uri="{FF2B5EF4-FFF2-40B4-BE49-F238E27FC236}">
                      <a16:creationId xmlns:a16="http://schemas.microsoft.com/office/drawing/2014/main" id="{37791F57-6652-35F1-47F7-8BB15BE59D88}"/>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3" name="Triangle_1">
                  <a:extLst>
                    <a:ext uri="{FF2B5EF4-FFF2-40B4-BE49-F238E27FC236}">
                      <a16:creationId xmlns:a16="http://schemas.microsoft.com/office/drawing/2014/main" id="{F921F6BB-F962-CB7F-B07C-4D6F4104C7DD}"/>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4" name="Triangle_2">
                  <a:extLst>
                    <a:ext uri="{FF2B5EF4-FFF2-40B4-BE49-F238E27FC236}">
                      <a16:creationId xmlns:a16="http://schemas.microsoft.com/office/drawing/2014/main" id="{67D7D37F-64FA-7FE8-7712-28FEEFBCAD74}"/>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5" name="Triangle_3">
                  <a:extLst>
                    <a:ext uri="{FF2B5EF4-FFF2-40B4-BE49-F238E27FC236}">
                      <a16:creationId xmlns:a16="http://schemas.microsoft.com/office/drawing/2014/main" id="{4B59B94F-6605-6028-25C9-14CAA6EDA702}"/>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6" name="Triangle_4">
                  <a:extLst>
                    <a:ext uri="{FF2B5EF4-FFF2-40B4-BE49-F238E27FC236}">
                      <a16:creationId xmlns:a16="http://schemas.microsoft.com/office/drawing/2014/main" id="{2290FE8A-F11F-4F2D-6E8F-28463E66B259}"/>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35" name="Group 134">
                <a:extLst>
                  <a:ext uri="{FF2B5EF4-FFF2-40B4-BE49-F238E27FC236}">
                    <a16:creationId xmlns:a16="http://schemas.microsoft.com/office/drawing/2014/main" id="{81A21239-6ABD-7A35-53BE-476C385A3C77}"/>
                  </a:ext>
                </a:extLst>
              </p:cNvPr>
              <p:cNvGrpSpPr>
                <a:grpSpLocks/>
              </p:cNvGrpSpPr>
              <p:nvPr/>
            </p:nvGrpSpPr>
            <p:grpSpPr bwMode="gray">
              <a:xfrm>
                <a:off x="1786689" y="3143425"/>
                <a:ext cx="217142" cy="217142"/>
                <a:chOff x="1564620" y="2419889"/>
                <a:chExt cx="330948" cy="330948"/>
              </a:xfrm>
              <a:grpFill/>
            </p:grpSpPr>
            <p:sp>
              <p:nvSpPr>
                <p:cNvPr id="167" name="dfine_grid_single_shape_frame">
                  <a:extLst>
                    <a:ext uri="{FF2B5EF4-FFF2-40B4-BE49-F238E27FC236}">
                      <a16:creationId xmlns:a16="http://schemas.microsoft.com/office/drawing/2014/main" id="{B6CE2438-B686-9DCC-EBBC-DB01E7A4627F}"/>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8" name="Triangle_1">
                  <a:extLst>
                    <a:ext uri="{FF2B5EF4-FFF2-40B4-BE49-F238E27FC236}">
                      <a16:creationId xmlns:a16="http://schemas.microsoft.com/office/drawing/2014/main" id="{5CA9643A-CCCE-50B6-0BB3-39807FB75041}"/>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9" name="Triangle_2">
                  <a:extLst>
                    <a:ext uri="{FF2B5EF4-FFF2-40B4-BE49-F238E27FC236}">
                      <a16:creationId xmlns:a16="http://schemas.microsoft.com/office/drawing/2014/main" id="{0DBA21F1-D493-0C4C-58D2-26C6569D03E7}"/>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0" name="Triangle_3">
                  <a:extLst>
                    <a:ext uri="{FF2B5EF4-FFF2-40B4-BE49-F238E27FC236}">
                      <a16:creationId xmlns:a16="http://schemas.microsoft.com/office/drawing/2014/main" id="{24678BA3-0976-5424-E7D3-9807048B6F90}"/>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1" name="Triangle_4">
                  <a:extLst>
                    <a:ext uri="{FF2B5EF4-FFF2-40B4-BE49-F238E27FC236}">
                      <a16:creationId xmlns:a16="http://schemas.microsoft.com/office/drawing/2014/main" id="{6B74D0C0-3B9D-74AB-1651-257FF9A9CCCD}"/>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36" name="Group 135">
                <a:extLst>
                  <a:ext uri="{FF2B5EF4-FFF2-40B4-BE49-F238E27FC236}">
                    <a16:creationId xmlns:a16="http://schemas.microsoft.com/office/drawing/2014/main" id="{1482327C-F817-C273-278E-F94A1FD6F0E8}"/>
                  </a:ext>
                </a:extLst>
              </p:cNvPr>
              <p:cNvGrpSpPr>
                <a:grpSpLocks/>
              </p:cNvGrpSpPr>
              <p:nvPr/>
            </p:nvGrpSpPr>
            <p:grpSpPr bwMode="gray">
              <a:xfrm>
                <a:off x="1786689" y="3360566"/>
                <a:ext cx="217142" cy="217142"/>
                <a:chOff x="1564620" y="2750836"/>
                <a:chExt cx="330948" cy="330948"/>
              </a:xfrm>
              <a:grpFill/>
            </p:grpSpPr>
            <p:sp>
              <p:nvSpPr>
                <p:cNvPr id="162" name="dfine_grid_single_shape_frame">
                  <a:extLst>
                    <a:ext uri="{FF2B5EF4-FFF2-40B4-BE49-F238E27FC236}">
                      <a16:creationId xmlns:a16="http://schemas.microsoft.com/office/drawing/2014/main" id="{21F0FE8B-80BB-1562-5BF4-643EB6A14C2C}"/>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3" name="Triangle_1">
                  <a:extLst>
                    <a:ext uri="{FF2B5EF4-FFF2-40B4-BE49-F238E27FC236}">
                      <a16:creationId xmlns:a16="http://schemas.microsoft.com/office/drawing/2014/main" id="{DE35B99F-7EB0-9D75-FF26-6CD607C7CDED}"/>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4" name="Triangle_2">
                  <a:extLst>
                    <a:ext uri="{FF2B5EF4-FFF2-40B4-BE49-F238E27FC236}">
                      <a16:creationId xmlns:a16="http://schemas.microsoft.com/office/drawing/2014/main" id="{CADEC250-B528-AB36-CA96-1F47243DF52E}"/>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5" name="Triangle_3">
                  <a:extLst>
                    <a:ext uri="{FF2B5EF4-FFF2-40B4-BE49-F238E27FC236}">
                      <a16:creationId xmlns:a16="http://schemas.microsoft.com/office/drawing/2014/main" id="{8FEE974E-3A51-37BB-352D-CCF0CC5846E3}"/>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6" name="Triangle_4">
                  <a:extLst>
                    <a:ext uri="{FF2B5EF4-FFF2-40B4-BE49-F238E27FC236}">
                      <a16:creationId xmlns:a16="http://schemas.microsoft.com/office/drawing/2014/main" id="{77F755FE-9517-6054-1BBE-4DDD82758E03}"/>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37" name="Group 136">
                <a:extLst>
                  <a:ext uri="{FF2B5EF4-FFF2-40B4-BE49-F238E27FC236}">
                    <a16:creationId xmlns:a16="http://schemas.microsoft.com/office/drawing/2014/main" id="{B13A6EEB-2B9D-5CE8-F7BE-0EC215E03358}"/>
                  </a:ext>
                </a:extLst>
              </p:cNvPr>
              <p:cNvGrpSpPr>
                <a:grpSpLocks/>
              </p:cNvGrpSpPr>
              <p:nvPr/>
            </p:nvGrpSpPr>
            <p:grpSpPr bwMode="gray">
              <a:xfrm>
                <a:off x="1786689" y="3577707"/>
                <a:ext cx="217142" cy="217142"/>
                <a:chOff x="1564620" y="3081783"/>
                <a:chExt cx="330948" cy="330948"/>
              </a:xfrm>
              <a:grpFill/>
            </p:grpSpPr>
            <p:sp>
              <p:nvSpPr>
                <p:cNvPr id="157" name="dfine_grid_single_shape_frame">
                  <a:extLst>
                    <a:ext uri="{FF2B5EF4-FFF2-40B4-BE49-F238E27FC236}">
                      <a16:creationId xmlns:a16="http://schemas.microsoft.com/office/drawing/2014/main" id="{12F0C344-E377-ACBA-8EAB-3F9D2B269DF8}"/>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58" name="Triangle_1">
                  <a:extLst>
                    <a:ext uri="{FF2B5EF4-FFF2-40B4-BE49-F238E27FC236}">
                      <a16:creationId xmlns:a16="http://schemas.microsoft.com/office/drawing/2014/main" id="{3FD1D393-22AB-EA1F-AEE6-DF6D8DBF7D1D}"/>
                    </a:ext>
                  </a:extLst>
                </p:cNvPr>
                <p:cNvSpPr>
                  <a:spLocks/>
                </p:cNvSpPr>
                <p:nvPr/>
              </p:nvSpPr>
              <p:spPr bwMode="gray">
                <a:xfrm rot="10800000">
                  <a:off x="1564620"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59" name="Triangle_2">
                  <a:extLst>
                    <a:ext uri="{FF2B5EF4-FFF2-40B4-BE49-F238E27FC236}">
                      <a16:creationId xmlns:a16="http://schemas.microsoft.com/office/drawing/2014/main" id="{8EF973D3-49EA-4BD4-D437-BEC4744E2E9F}"/>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0" name="Triangle_3">
                  <a:extLst>
                    <a:ext uri="{FF2B5EF4-FFF2-40B4-BE49-F238E27FC236}">
                      <a16:creationId xmlns:a16="http://schemas.microsoft.com/office/drawing/2014/main" id="{47DD0E5E-6A5B-09DF-AB11-69C44BDC0B5C}"/>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1" name="Triangle_4">
                  <a:extLst>
                    <a:ext uri="{FF2B5EF4-FFF2-40B4-BE49-F238E27FC236}">
                      <a16:creationId xmlns:a16="http://schemas.microsoft.com/office/drawing/2014/main" id="{31BAC914-6541-1A0E-F429-0DD5D0F71347}"/>
                    </a:ext>
                  </a:extLst>
                </p:cNvPr>
                <p:cNvSpPr>
                  <a:spLocks/>
                </p:cNvSpPr>
                <p:nvPr/>
              </p:nvSpPr>
              <p:spPr bwMode="gray">
                <a:xfrm rot="16200000">
                  <a:off x="1647357"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38" name="Group 137">
                <a:extLst>
                  <a:ext uri="{FF2B5EF4-FFF2-40B4-BE49-F238E27FC236}">
                    <a16:creationId xmlns:a16="http://schemas.microsoft.com/office/drawing/2014/main" id="{A1841262-9C49-2C5B-89E5-3DFB0610D574}"/>
                  </a:ext>
                </a:extLst>
              </p:cNvPr>
              <p:cNvGrpSpPr>
                <a:grpSpLocks/>
              </p:cNvGrpSpPr>
              <p:nvPr/>
            </p:nvGrpSpPr>
            <p:grpSpPr bwMode="gray">
              <a:xfrm>
                <a:off x="1786689" y="3794848"/>
                <a:ext cx="217142" cy="217142"/>
                <a:chOff x="1564620" y="3412730"/>
                <a:chExt cx="330948" cy="330948"/>
              </a:xfrm>
              <a:grpFill/>
            </p:grpSpPr>
            <p:sp>
              <p:nvSpPr>
                <p:cNvPr id="152" name="dfine_grid_single_shape_frame">
                  <a:extLst>
                    <a:ext uri="{FF2B5EF4-FFF2-40B4-BE49-F238E27FC236}">
                      <a16:creationId xmlns:a16="http://schemas.microsoft.com/office/drawing/2014/main" id="{BE4BA37A-0C90-149D-F275-D53139760692}"/>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53" name="Triangle_1">
                  <a:extLst>
                    <a:ext uri="{FF2B5EF4-FFF2-40B4-BE49-F238E27FC236}">
                      <a16:creationId xmlns:a16="http://schemas.microsoft.com/office/drawing/2014/main" id="{9216885B-3051-F537-A363-AF8FB4F2557B}"/>
                    </a:ext>
                  </a:extLst>
                </p:cNvPr>
                <p:cNvSpPr>
                  <a:spLocks/>
                </p:cNvSpPr>
                <p:nvPr/>
              </p:nvSpPr>
              <p:spPr bwMode="gray">
                <a:xfrm rot="10800000">
                  <a:off x="1564620"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54" name="Triangle_2">
                  <a:extLst>
                    <a:ext uri="{FF2B5EF4-FFF2-40B4-BE49-F238E27FC236}">
                      <a16:creationId xmlns:a16="http://schemas.microsoft.com/office/drawing/2014/main" id="{479E6655-D3EF-6908-25C9-A6B85C73332B}"/>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55" name="Triangle_3">
                  <a:extLst>
                    <a:ext uri="{FF2B5EF4-FFF2-40B4-BE49-F238E27FC236}">
                      <a16:creationId xmlns:a16="http://schemas.microsoft.com/office/drawing/2014/main" id="{BDE5FBBE-7BB6-A73B-B930-B2DEF7BC3C2E}"/>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56" name="Triangle_4">
                  <a:extLst>
                    <a:ext uri="{FF2B5EF4-FFF2-40B4-BE49-F238E27FC236}">
                      <a16:creationId xmlns:a16="http://schemas.microsoft.com/office/drawing/2014/main" id="{93E76F64-7A14-278E-4012-0D5C8D300A6C}"/>
                    </a:ext>
                  </a:extLst>
                </p:cNvPr>
                <p:cNvSpPr>
                  <a:spLocks/>
                </p:cNvSpPr>
                <p:nvPr/>
              </p:nvSpPr>
              <p:spPr bwMode="gray">
                <a:xfrm rot="16200000">
                  <a:off x="1647357"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39" name="Group 138">
                <a:extLst>
                  <a:ext uri="{FF2B5EF4-FFF2-40B4-BE49-F238E27FC236}">
                    <a16:creationId xmlns:a16="http://schemas.microsoft.com/office/drawing/2014/main" id="{FD63F56B-BA29-8673-36FB-08994C13C6B0}"/>
                  </a:ext>
                </a:extLst>
              </p:cNvPr>
              <p:cNvGrpSpPr>
                <a:grpSpLocks/>
              </p:cNvGrpSpPr>
              <p:nvPr/>
            </p:nvGrpSpPr>
            <p:grpSpPr bwMode="gray">
              <a:xfrm>
                <a:off x="1786689" y="4011989"/>
                <a:ext cx="217142" cy="217142"/>
                <a:chOff x="1564620" y="3743677"/>
                <a:chExt cx="330948" cy="330948"/>
              </a:xfrm>
              <a:grpFill/>
            </p:grpSpPr>
            <p:sp>
              <p:nvSpPr>
                <p:cNvPr id="147" name="dfine_grid_single_shape_frame">
                  <a:extLst>
                    <a:ext uri="{FF2B5EF4-FFF2-40B4-BE49-F238E27FC236}">
                      <a16:creationId xmlns:a16="http://schemas.microsoft.com/office/drawing/2014/main" id="{25A8D655-C555-7ADF-7A35-E3274A2306E6}"/>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8" name="Triangle_1">
                  <a:extLst>
                    <a:ext uri="{FF2B5EF4-FFF2-40B4-BE49-F238E27FC236}">
                      <a16:creationId xmlns:a16="http://schemas.microsoft.com/office/drawing/2014/main" id="{CB9F7BDE-4236-1183-66C7-3FCC03333194}"/>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9" name="Triangle_2">
                  <a:extLst>
                    <a:ext uri="{FF2B5EF4-FFF2-40B4-BE49-F238E27FC236}">
                      <a16:creationId xmlns:a16="http://schemas.microsoft.com/office/drawing/2014/main" id="{9FB6687E-4160-57DD-488E-0DECC4A12878}"/>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50" name="Triangle_3">
                  <a:extLst>
                    <a:ext uri="{FF2B5EF4-FFF2-40B4-BE49-F238E27FC236}">
                      <a16:creationId xmlns:a16="http://schemas.microsoft.com/office/drawing/2014/main" id="{4B0F7C32-A5A7-5695-5684-68A6B9160BF3}"/>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51" name="Triangle_4">
                  <a:extLst>
                    <a:ext uri="{FF2B5EF4-FFF2-40B4-BE49-F238E27FC236}">
                      <a16:creationId xmlns:a16="http://schemas.microsoft.com/office/drawing/2014/main" id="{E29C2124-1B7C-E4CF-9E08-92E037581C52}"/>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40" name="Group 139">
                <a:extLst>
                  <a:ext uri="{FF2B5EF4-FFF2-40B4-BE49-F238E27FC236}">
                    <a16:creationId xmlns:a16="http://schemas.microsoft.com/office/drawing/2014/main" id="{26E5FC9F-4096-9610-6878-3EFF549C8EE7}"/>
                  </a:ext>
                </a:extLst>
              </p:cNvPr>
              <p:cNvGrpSpPr>
                <a:grpSpLocks/>
              </p:cNvGrpSpPr>
              <p:nvPr/>
            </p:nvGrpSpPr>
            <p:grpSpPr bwMode="gray">
              <a:xfrm>
                <a:off x="1786689" y="4229130"/>
                <a:ext cx="217142" cy="217142"/>
                <a:chOff x="1564620" y="4074624"/>
                <a:chExt cx="330948" cy="330948"/>
              </a:xfrm>
              <a:grpFill/>
            </p:grpSpPr>
            <p:sp>
              <p:nvSpPr>
                <p:cNvPr id="142" name="dfine_grid_single_shape_frame">
                  <a:extLst>
                    <a:ext uri="{FF2B5EF4-FFF2-40B4-BE49-F238E27FC236}">
                      <a16:creationId xmlns:a16="http://schemas.microsoft.com/office/drawing/2014/main" id="{67930386-DE94-6EFF-1CE3-B5E7261DD99A}"/>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3" name="Triangle_1">
                  <a:extLst>
                    <a:ext uri="{FF2B5EF4-FFF2-40B4-BE49-F238E27FC236}">
                      <a16:creationId xmlns:a16="http://schemas.microsoft.com/office/drawing/2014/main" id="{BA67ED48-7DDC-3784-BEDF-3EEC09640F55}"/>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4" name="Triangle_2">
                  <a:extLst>
                    <a:ext uri="{FF2B5EF4-FFF2-40B4-BE49-F238E27FC236}">
                      <a16:creationId xmlns:a16="http://schemas.microsoft.com/office/drawing/2014/main" id="{8EA6EE79-6369-E6A1-B202-30114419157B}"/>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5" name="Triangle_3">
                  <a:extLst>
                    <a:ext uri="{FF2B5EF4-FFF2-40B4-BE49-F238E27FC236}">
                      <a16:creationId xmlns:a16="http://schemas.microsoft.com/office/drawing/2014/main" id="{796F24C7-2B61-03E1-0894-15B06FE3E172}"/>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46" name="Triangle_4">
                  <a:extLst>
                    <a:ext uri="{FF2B5EF4-FFF2-40B4-BE49-F238E27FC236}">
                      <a16:creationId xmlns:a16="http://schemas.microsoft.com/office/drawing/2014/main" id="{12F83BBC-918C-1EE5-017D-FC8C570E3C26}"/>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sp>
            <p:nvSpPr>
              <p:cNvPr id="141" name="Rectangle 140">
                <a:extLst>
                  <a:ext uri="{FF2B5EF4-FFF2-40B4-BE49-F238E27FC236}">
                    <a16:creationId xmlns:a16="http://schemas.microsoft.com/office/drawing/2014/main" id="{A7AE537B-8BE9-FD4F-3962-2136EDC6AACD}"/>
                  </a:ext>
                </a:extLst>
              </p:cNvPr>
              <p:cNvSpPr>
                <a:spLocks/>
              </p:cNvSpPr>
              <p:nvPr/>
            </p:nvSpPr>
            <p:spPr bwMode="gray">
              <a:xfrm>
                <a:off x="1109744" y="1585436"/>
                <a:ext cx="1291037" cy="290847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sp>
          <p:nvSpPr>
            <p:cNvPr id="9" name="Rectangle 8">
              <a:extLst>
                <a:ext uri="{FF2B5EF4-FFF2-40B4-BE49-F238E27FC236}">
                  <a16:creationId xmlns:a16="http://schemas.microsoft.com/office/drawing/2014/main" id="{367BC85E-CAF8-E49A-E5D9-FDCE96298EB7}"/>
                </a:ext>
              </a:extLst>
            </p:cNvPr>
            <p:cNvSpPr/>
            <p:nvPr>
              <p:custDataLst>
                <p:tags r:id="rId55"/>
              </p:custDataLst>
            </p:nvPr>
          </p:nvSpPr>
          <p:spPr bwMode="gray">
            <a:xfrm flipH="1">
              <a:off x="5854306" y="1666900"/>
              <a:ext cx="1628843" cy="2908473"/>
            </a:xfrm>
            <a:prstGeom prst="rect">
              <a:avLst/>
            </a:prstGeom>
            <a:gradFill flip="none" rotWithShape="1">
              <a:gsLst>
                <a:gs pos="0">
                  <a:schemeClr val="bg1">
                    <a:alpha val="0"/>
                  </a:schemeClr>
                </a:gs>
                <a:gs pos="63300">
                  <a:schemeClr val="bg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sp>
        <p:nvSpPr>
          <p:cNvPr id="1444" name="Title 1">
            <a:extLst>
              <a:ext uri="{FF2B5EF4-FFF2-40B4-BE49-F238E27FC236}">
                <a16:creationId xmlns:a16="http://schemas.microsoft.com/office/drawing/2014/main" id="{AB1419F3-2546-0C4C-79DE-6C60CA74DF72}"/>
              </a:ext>
            </a:extLst>
          </p:cNvPr>
          <p:cNvSpPr>
            <a:spLocks noGrp="1"/>
          </p:cNvSpPr>
          <p:nvPr>
            <p:ph type="title"/>
          </p:nvPr>
        </p:nvSpPr>
        <p:spPr bwMode="gray">
          <a:xfrm>
            <a:off x="209756" y="112716"/>
            <a:ext cx="9374401" cy="676800"/>
          </a:xfrm>
        </p:spPr>
        <p:txBody>
          <a:bodyPr vert="horz"/>
          <a:lstStyle/>
          <a:p>
            <a:r>
              <a:rPr lang="de-DE"/>
              <a:t>d-fine ist ein europäisches Beratungsunternehmen mit Fokus</a:t>
            </a:r>
            <a:br>
              <a:rPr lang="de-DE"/>
            </a:br>
            <a:r>
              <a:rPr lang="de-DE"/>
              <a:t>auf analytische, technologische und quantitative Projektvorhaben</a:t>
            </a:r>
            <a:endParaRPr lang="en-GB"/>
          </a:p>
        </p:txBody>
      </p:sp>
      <p:grpSp>
        <p:nvGrpSpPr>
          <p:cNvPr id="1445" name="team_title">
            <a:extLst>
              <a:ext uri="{FF2B5EF4-FFF2-40B4-BE49-F238E27FC236}">
                <a16:creationId xmlns:a16="http://schemas.microsoft.com/office/drawing/2014/main" id="{A20CA7BA-D97F-C398-619A-C5B0E4506E78}"/>
              </a:ext>
            </a:extLst>
          </p:cNvPr>
          <p:cNvGrpSpPr/>
          <p:nvPr>
            <p:custDataLst>
              <p:tags r:id="rId1"/>
            </p:custDataLst>
          </p:nvPr>
        </p:nvGrpSpPr>
        <p:grpSpPr bwMode="gray">
          <a:xfrm>
            <a:off x="5797662" y="1051516"/>
            <a:ext cx="3784994" cy="396048"/>
            <a:chOff x="0" y="0"/>
            <a:chExt cx="1800225" cy="396048"/>
          </a:xfrm>
        </p:grpSpPr>
        <p:sp>
          <p:nvSpPr>
            <p:cNvPr id="1446" name="content">
              <a:extLst>
                <a:ext uri="{FF2B5EF4-FFF2-40B4-BE49-F238E27FC236}">
                  <a16:creationId xmlns:a16="http://schemas.microsoft.com/office/drawing/2014/main" id="{A51E3DE3-3E88-689D-6FFA-D8DB992C6CA2}"/>
                </a:ext>
              </a:extLst>
            </p:cNvPr>
            <p:cNvSpPr txBox="1"/>
            <p:nvPr/>
          </p:nvSpPr>
          <p:spPr bwMode="gray">
            <a:xfrm>
              <a:off x="0" y="0"/>
              <a:ext cx="1800225" cy="288036"/>
            </a:xfrm>
            <a:prstGeom prst="rect">
              <a:avLst/>
            </a:prstGeom>
            <a:noFill/>
          </p:spPr>
          <p:txBody>
            <a:bodyPr vert="horz" wrap="none" lIns="0" tIns="0" rIns="0" bIns="0" rtlCol="0" anchor="ctr">
              <a:noAutofit/>
            </a:bodyPr>
            <a:lstStyle/>
            <a:p>
              <a:pPr algn="ctr"/>
              <a:r>
                <a:rPr lang="en-GB" sz="1400" b="1">
                  <a:solidFill>
                    <a:srgbClr val="003C50"/>
                  </a:solidFill>
                  <a:latin typeface="Roboto" panose="02000000000000000000" pitchFamily="2" charset="0"/>
                </a:rPr>
                <a:t>Unser Team</a:t>
              </a:r>
            </a:p>
          </p:txBody>
        </p:sp>
        <p:sp>
          <p:nvSpPr>
            <p:cNvPr id="1447" name="line_bottom">
              <a:extLst>
                <a:ext uri="{FF2B5EF4-FFF2-40B4-BE49-F238E27FC236}">
                  <a16:creationId xmlns:a16="http://schemas.microsoft.com/office/drawing/2014/main" id="{4DE21841-004C-0167-600D-E8814A96F721}"/>
                </a:ext>
              </a:extLst>
            </p:cNvPr>
            <p:cNvSpPr/>
            <p:nvPr>
              <p:custDataLst>
                <p:tags r:id="rId54"/>
              </p:custDataLst>
            </p:nvPr>
          </p:nvSpPr>
          <p:spPr bwMode="gray">
            <a:xfrm>
              <a:off x="0" y="288035"/>
              <a:ext cx="1800225" cy="108013"/>
            </a:xfrm>
            <a:custGeom>
              <a:avLst/>
              <a:gdLst>
                <a:gd name="connsiteX0" fmla="*/ 0 w 1800225"/>
                <a:gd name="connsiteY0" fmla="*/ 0 h 114300"/>
                <a:gd name="connsiteX1" fmla="*/ 856962 w 1800225"/>
                <a:gd name="connsiteY1" fmla="*/ 0 h 114300"/>
                <a:gd name="connsiteX2" fmla="*/ 900113 w 1800225"/>
                <a:gd name="connsiteY2" fmla="*/ 114300 h 114300"/>
                <a:gd name="connsiteX3" fmla="*/ 1014413 w 1800225"/>
                <a:gd name="connsiteY3" fmla="*/ 0 h 114300"/>
                <a:gd name="connsiteX4" fmla="*/ 1800225 w 1800225"/>
                <a:gd name="connsiteY4" fmla="*/ 0 h 114300"/>
                <a:gd name="connsiteX0" fmla="*/ 0 w 1800225"/>
                <a:gd name="connsiteY0" fmla="*/ 0 h 108013"/>
                <a:gd name="connsiteX1" fmla="*/ 856962 w 1800225"/>
                <a:gd name="connsiteY1" fmla="*/ 0 h 108013"/>
                <a:gd name="connsiteX2" fmla="*/ 900112 w 1800225"/>
                <a:gd name="connsiteY2" fmla="*/ 108013 h 108013"/>
                <a:gd name="connsiteX3" fmla="*/ 1014413 w 1800225"/>
                <a:gd name="connsiteY3" fmla="*/ 0 h 108013"/>
                <a:gd name="connsiteX4" fmla="*/ 1800225 w 1800225"/>
                <a:gd name="connsiteY4" fmla="*/ 0 h 108013"/>
                <a:gd name="connsiteX0" fmla="*/ 0 w 1800225"/>
                <a:gd name="connsiteY0" fmla="*/ 0 h 108013"/>
                <a:gd name="connsiteX1" fmla="*/ 856962 w 1800225"/>
                <a:gd name="connsiteY1" fmla="*/ 0 h 108013"/>
                <a:gd name="connsiteX2" fmla="*/ 900112 w 1800225"/>
                <a:gd name="connsiteY2" fmla="*/ 108013 h 108013"/>
                <a:gd name="connsiteX3" fmla="*/ 943263 w 1800225"/>
                <a:gd name="connsiteY3" fmla="*/ 1 h 108013"/>
                <a:gd name="connsiteX4" fmla="*/ 1800225 w 1800225"/>
                <a:gd name="connsiteY4" fmla="*/ 0 h 108013"/>
                <a:gd name="connsiteX0" fmla="*/ 0 w 1800225"/>
                <a:gd name="connsiteY0" fmla="*/ 0 h 108013"/>
                <a:gd name="connsiteX1" fmla="*/ 856082 w 1800225"/>
                <a:gd name="connsiteY1" fmla="*/ 0 h 108013"/>
                <a:gd name="connsiteX2" fmla="*/ 900112 w 1800225"/>
                <a:gd name="connsiteY2" fmla="*/ 108013 h 108013"/>
                <a:gd name="connsiteX3" fmla="*/ 943263 w 1800225"/>
                <a:gd name="connsiteY3" fmla="*/ 1 h 108013"/>
                <a:gd name="connsiteX4" fmla="*/ 1800225 w 1800225"/>
                <a:gd name="connsiteY4" fmla="*/ 0 h 108013"/>
                <a:gd name="connsiteX0" fmla="*/ 0 w 1800225"/>
                <a:gd name="connsiteY0" fmla="*/ 0 h 108014"/>
                <a:gd name="connsiteX1" fmla="*/ 856082 w 1800225"/>
                <a:gd name="connsiteY1" fmla="*/ 0 h 108014"/>
                <a:gd name="connsiteX2" fmla="*/ 900112 w 1800225"/>
                <a:gd name="connsiteY2" fmla="*/ 108014 h 108014"/>
                <a:gd name="connsiteX3" fmla="*/ 943263 w 1800225"/>
                <a:gd name="connsiteY3" fmla="*/ 1 h 108014"/>
                <a:gd name="connsiteX4" fmla="*/ 1800225 w 1800225"/>
                <a:gd name="connsiteY4" fmla="*/ 0 h 108014"/>
                <a:gd name="connsiteX0" fmla="*/ 0 w 1800225"/>
                <a:gd name="connsiteY0" fmla="*/ 1 h 108015"/>
                <a:gd name="connsiteX1" fmla="*/ 856082 w 1800225"/>
                <a:gd name="connsiteY1" fmla="*/ 1 h 108015"/>
                <a:gd name="connsiteX2" fmla="*/ 900112 w 1800225"/>
                <a:gd name="connsiteY2" fmla="*/ 108015 h 108015"/>
                <a:gd name="connsiteX3" fmla="*/ 944143 w 1800225"/>
                <a:gd name="connsiteY3" fmla="*/ 0 h 108015"/>
                <a:gd name="connsiteX4" fmla="*/ 1800225 w 1800225"/>
                <a:gd name="connsiteY4" fmla="*/ 1 h 108015"/>
                <a:gd name="connsiteX0" fmla="*/ 0 w 1800225"/>
                <a:gd name="connsiteY0" fmla="*/ 1 h 108015"/>
                <a:gd name="connsiteX1" fmla="*/ 843370 w 1800225"/>
                <a:gd name="connsiteY1" fmla="*/ 1 h 108015"/>
                <a:gd name="connsiteX2" fmla="*/ 900112 w 1800225"/>
                <a:gd name="connsiteY2" fmla="*/ 108015 h 108015"/>
                <a:gd name="connsiteX3" fmla="*/ 944143 w 1800225"/>
                <a:gd name="connsiteY3" fmla="*/ 0 h 108015"/>
                <a:gd name="connsiteX4" fmla="*/ 1800225 w 1800225"/>
                <a:gd name="connsiteY4" fmla="*/ 1 h 108015"/>
                <a:gd name="connsiteX0" fmla="*/ 0 w 1800225"/>
                <a:gd name="connsiteY0" fmla="*/ 1 h 108015"/>
                <a:gd name="connsiteX1" fmla="*/ 843370 w 1800225"/>
                <a:gd name="connsiteY1" fmla="*/ 1 h 108015"/>
                <a:gd name="connsiteX2" fmla="*/ 900112 w 1800225"/>
                <a:gd name="connsiteY2" fmla="*/ 108015 h 108015"/>
                <a:gd name="connsiteX3" fmla="*/ 944143 w 1800225"/>
                <a:gd name="connsiteY3" fmla="*/ 0 h 108015"/>
                <a:gd name="connsiteX4" fmla="*/ 1800225 w 1800225"/>
                <a:gd name="connsiteY4" fmla="*/ 1 h 108015"/>
                <a:gd name="connsiteX0" fmla="*/ 0 w 1800225"/>
                <a:gd name="connsiteY0" fmla="*/ 0 h 108014"/>
                <a:gd name="connsiteX1" fmla="*/ 843370 w 1800225"/>
                <a:gd name="connsiteY1" fmla="*/ 0 h 108014"/>
                <a:gd name="connsiteX2" fmla="*/ 900112 w 1800225"/>
                <a:gd name="connsiteY2" fmla="*/ 108014 h 108014"/>
                <a:gd name="connsiteX3" fmla="*/ 956855 w 1800225"/>
                <a:gd name="connsiteY3" fmla="*/ 0 h 108014"/>
                <a:gd name="connsiteX4" fmla="*/ 1800225 w 1800225"/>
                <a:gd name="connsiteY4" fmla="*/ 0 h 108014"/>
                <a:gd name="connsiteX0" fmla="*/ 0 w 1800225"/>
                <a:gd name="connsiteY0" fmla="*/ 0 h 108014"/>
                <a:gd name="connsiteX1" fmla="*/ 848739 w 1800225"/>
                <a:gd name="connsiteY1" fmla="*/ 0 h 108014"/>
                <a:gd name="connsiteX2" fmla="*/ 900112 w 1800225"/>
                <a:gd name="connsiteY2" fmla="*/ 108014 h 108014"/>
                <a:gd name="connsiteX3" fmla="*/ 956855 w 1800225"/>
                <a:gd name="connsiteY3" fmla="*/ 0 h 108014"/>
                <a:gd name="connsiteX4" fmla="*/ 1800225 w 1800225"/>
                <a:gd name="connsiteY4" fmla="*/ 0 h 108014"/>
                <a:gd name="connsiteX0" fmla="*/ 0 w 1800225"/>
                <a:gd name="connsiteY0" fmla="*/ 0 h 108013"/>
                <a:gd name="connsiteX1" fmla="*/ 848739 w 1800225"/>
                <a:gd name="connsiteY1" fmla="*/ 0 h 108013"/>
                <a:gd name="connsiteX2" fmla="*/ 900112 w 1800225"/>
                <a:gd name="connsiteY2" fmla="*/ 108013 h 108013"/>
                <a:gd name="connsiteX3" fmla="*/ 956855 w 1800225"/>
                <a:gd name="connsiteY3" fmla="*/ 0 h 108013"/>
                <a:gd name="connsiteX4" fmla="*/ 1800225 w 1800225"/>
                <a:gd name="connsiteY4" fmla="*/ 0 h 108013"/>
                <a:gd name="connsiteX0" fmla="*/ 0 w 1800225"/>
                <a:gd name="connsiteY0" fmla="*/ 0 h 108013"/>
                <a:gd name="connsiteX1" fmla="*/ 848739 w 1800225"/>
                <a:gd name="connsiteY1" fmla="*/ 0 h 108013"/>
                <a:gd name="connsiteX2" fmla="*/ 900112 w 1800225"/>
                <a:gd name="connsiteY2" fmla="*/ 108013 h 108013"/>
                <a:gd name="connsiteX3" fmla="*/ 951486 w 1800225"/>
                <a:gd name="connsiteY3" fmla="*/ 1 h 108013"/>
                <a:gd name="connsiteX4" fmla="*/ 1800225 w 1800225"/>
                <a:gd name="connsiteY4" fmla="*/ 0 h 108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225" h="108013">
                  <a:moveTo>
                    <a:pt x="0" y="0"/>
                  </a:moveTo>
                  <a:lnTo>
                    <a:pt x="848739" y="0"/>
                  </a:lnTo>
                  <a:lnTo>
                    <a:pt x="900112" y="108013"/>
                  </a:lnTo>
                  <a:lnTo>
                    <a:pt x="951486" y="1"/>
                  </a:lnTo>
                  <a:lnTo>
                    <a:pt x="1800225" y="0"/>
                  </a:lnTo>
                </a:path>
              </a:pathLst>
            </a:custGeom>
            <a:ln w="1905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b="1"/>
            </a:p>
          </p:txBody>
        </p:sp>
        <p:cxnSp>
          <p:nvCxnSpPr>
            <p:cNvPr id="1448" name="line_top">
              <a:extLst>
                <a:ext uri="{FF2B5EF4-FFF2-40B4-BE49-F238E27FC236}">
                  <a16:creationId xmlns:a16="http://schemas.microsoft.com/office/drawing/2014/main" id="{406CA562-AF0A-9982-E40F-B422F45B10DB}"/>
                </a:ext>
              </a:extLst>
            </p:cNvPr>
            <p:cNvCxnSpPr/>
            <p:nvPr/>
          </p:nvCxnSpPr>
          <p:spPr bwMode="gray">
            <a:xfrm>
              <a:off x="0" y="0"/>
              <a:ext cx="1800225"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449" name="expertise_title">
            <a:extLst>
              <a:ext uri="{FF2B5EF4-FFF2-40B4-BE49-F238E27FC236}">
                <a16:creationId xmlns:a16="http://schemas.microsoft.com/office/drawing/2014/main" id="{5042CA03-21E2-2439-F26E-3732265ED8DC}"/>
              </a:ext>
            </a:extLst>
          </p:cNvPr>
          <p:cNvGrpSpPr/>
          <p:nvPr>
            <p:custDataLst>
              <p:tags r:id="rId2"/>
            </p:custDataLst>
          </p:nvPr>
        </p:nvGrpSpPr>
        <p:grpSpPr bwMode="gray">
          <a:xfrm>
            <a:off x="210055" y="4434652"/>
            <a:ext cx="9372598" cy="396049"/>
            <a:chOff x="0" y="0"/>
            <a:chExt cx="1800225" cy="396049"/>
          </a:xfrm>
        </p:grpSpPr>
        <p:sp>
          <p:nvSpPr>
            <p:cNvPr id="1450" name="content">
              <a:extLst>
                <a:ext uri="{FF2B5EF4-FFF2-40B4-BE49-F238E27FC236}">
                  <a16:creationId xmlns:a16="http://schemas.microsoft.com/office/drawing/2014/main" id="{67F9AAE6-B8CE-5457-4AA5-9D4A7DB3D199}"/>
                </a:ext>
              </a:extLst>
            </p:cNvPr>
            <p:cNvSpPr txBox="1"/>
            <p:nvPr/>
          </p:nvSpPr>
          <p:spPr bwMode="gray">
            <a:xfrm>
              <a:off x="0" y="0"/>
              <a:ext cx="1800225" cy="288036"/>
            </a:xfrm>
            <a:prstGeom prst="rect">
              <a:avLst/>
            </a:prstGeom>
            <a:noFill/>
          </p:spPr>
          <p:txBody>
            <a:bodyPr vert="horz" wrap="none" lIns="0" tIns="0" rIns="0" bIns="0" rtlCol="0" anchor="ctr">
              <a:noAutofit/>
            </a:bodyPr>
            <a:lstStyle/>
            <a:p>
              <a:pPr algn="ctr"/>
              <a:r>
                <a:rPr lang="de-DE" sz="1400" b="1">
                  <a:solidFill>
                    <a:srgbClr val="003C50"/>
                  </a:solidFill>
                  <a:latin typeface="Roboto" panose="02000000000000000000" pitchFamily="2" charset="0"/>
                </a:rPr>
                <a:t>Unsere Branchenkompetenz</a:t>
              </a:r>
            </a:p>
          </p:txBody>
        </p:sp>
        <p:sp>
          <p:nvSpPr>
            <p:cNvPr id="1451" name="line_bottom">
              <a:extLst>
                <a:ext uri="{FF2B5EF4-FFF2-40B4-BE49-F238E27FC236}">
                  <a16:creationId xmlns:a16="http://schemas.microsoft.com/office/drawing/2014/main" id="{AF33B7D6-D38F-CA62-7AB0-42157F419FB0}"/>
                </a:ext>
              </a:extLst>
            </p:cNvPr>
            <p:cNvSpPr/>
            <p:nvPr>
              <p:custDataLst>
                <p:tags r:id="rId53"/>
              </p:custDataLst>
            </p:nvPr>
          </p:nvSpPr>
          <p:spPr bwMode="gray">
            <a:xfrm>
              <a:off x="0" y="288034"/>
              <a:ext cx="1800225" cy="108015"/>
            </a:xfrm>
            <a:custGeom>
              <a:avLst/>
              <a:gdLst>
                <a:gd name="connsiteX0" fmla="*/ 0 w 1800225"/>
                <a:gd name="connsiteY0" fmla="*/ 0 h 114300"/>
                <a:gd name="connsiteX1" fmla="*/ 856962 w 1800225"/>
                <a:gd name="connsiteY1" fmla="*/ 0 h 114300"/>
                <a:gd name="connsiteX2" fmla="*/ 900113 w 1800225"/>
                <a:gd name="connsiteY2" fmla="*/ 114300 h 114300"/>
                <a:gd name="connsiteX3" fmla="*/ 1014413 w 1800225"/>
                <a:gd name="connsiteY3" fmla="*/ 0 h 114300"/>
                <a:gd name="connsiteX4" fmla="*/ 1800225 w 1800225"/>
                <a:gd name="connsiteY4" fmla="*/ 0 h 114300"/>
                <a:gd name="connsiteX0" fmla="*/ 0 w 1800225"/>
                <a:gd name="connsiteY0" fmla="*/ 0 h 108013"/>
                <a:gd name="connsiteX1" fmla="*/ 856962 w 1800225"/>
                <a:gd name="connsiteY1" fmla="*/ 0 h 108013"/>
                <a:gd name="connsiteX2" fmla="*/ 900112 w 1800225"/>
                <a:gd name="connsiteY2" fmla="*/ 108013 h 108013"/>
                <a:gd name="connsiteX3" fmla="*/ 1014413 w 1800225"/>
                <a:gd name="connsiteY3" fmla="*/ 0 h 108013"/>
                <a:gd name="connsiteX4" fmla="*/ 1800225 w 1800225"/>
                <a:gd name="connsiteY4" fmla="*/ 0 h 108013"/>
                <a:gd name="connsiteX0" fmla="*/ 0 w 1800225"/>
                <a:gd name="connsiteY0" fmla="*/ 0 h 108013"/>
                <a:gd name="connsiteX1" fmla="*/ 856962 w 1800225"/>
                <a:gd name="connsiteY1" fmla="*/ 0 h 108013"/>
                <a:gd name="connsiteX2" fmla="*/ 900112 w 1800225"/>
                <a:gd name="connsiteY2" fmla="*/ 108013 h 108013"/>
                <a:gd name="connsiteX3" fmla="*/ 943263 w 1800225"/>
                <a:gd name="connsiteY3" fmla="*/ 1 h 108013"/>
                <a:gd name="connsiteX4" fmla="*/ 1800225 w 1800225"/>
                <a:gd name="connsiteY4" fmla="*/ 0 h 108013"/>
                <a:gd name="connsiteX0" fmla="*/ 0 w 1800225"/>
                <a:gd name="connsiteY0" fmla="*/ 0 h 108013"/>
                <a:gd name="connsiteX1" fmla="*/ 879366 w 1800225"/>
                <a:gd name="connsiteY1" fmla="*/ 0 h 108013"/>
                <a:gd name="connsiteX2" fmla="*/ 900112 w 1800225"/>
                <a:gd name="connsiteY2" fmla="*/ 108013 h 108013"/>
                <a:gd name="connsiteX3" fmla="*/ 943263 w 1800225"/>
                <a:gd name="connsiteY3" fmla="*/ 1 h 108013"/>
                <a:gd name="connsiteX4" fmla="*/ 1800225 w 1800225"/>
                <a:gd name="connsiteY4" fmla="*/ 0 h 108013"/>
                <a:gd name="connsiteX0" fmla="*/ 0 w 1800225"/>
                <a:gd name="connsiteY0" fmla="*/ 0 h 108014"/>
                <a:gd name="connsiteX1" fmla="*/ 879366 w 1800225"/>
                <a:gd name="connsiteY1" fmla="*/ 0 h 108014"/>
                <a:gd name="connsiteX2" fmla="*/ 900113 w 1800225"/>
                <a:gd name="connsiteY2" fmla="*/ 108014 h 108014"/>
                <a:gd name="connsiteX3" fmla="*/ 943263 w 1800225"/>
                <a:gd name="connsiteY3" fmla="*/ 1 h 108014"/>
                <a:gd name="connsiteX4" fmla="*/ 1800225 w 1800225"/>
                <a:gd name="connsiteY4" fmla="*/ 0 h 108014"/>
                <a:gd name="connsiteX0" fmla="*/ 0 w 1800225"/>
                <a:gd name="connsiteY0" fmla="*/ 1 h 108015"/>
                <a:gd name="connsiteX1" fmla="*/ 879366 w 1800225"/>
                <a:gd name="connsiteY1" fmla="*/ 1 h 108015"/>
                <a:gd name="connsiteX2" fmla="*/ 900113 w 1800225"/>
                <a:gd name="connsiteY2" fmla="*/ 108015 h 108015"/>
                <a:gd name="connsiteX3" fmla="*/ 920859 w 1800225"/>
                <a:gd name="connsiteY3" fmla="*/ 0 h 108015"/>
                <a:gd name="connsiteX4" fmla="*/ 1800225 w 1800225"/>
                <a:gd name="connsiteY4" fmla="*/ 1 h 108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225" h="108015">
                  <a:moveTo>
                    <a:pt x="0" y="1"/>
                  </a:moveTo>
                  <a:lnTo>
                    <a:pt x="879366" y="1"/>
                  </a:lnTo>
                  <a:lnTo>
                    <a:pt x="900113" y="108015"/>
                  </a:lnTo>
                  <a:lnTo>
                    <a:pt x="920859" y="0"/>
                  </a:lnTo>
                  <a:lnTo>
                    <a:pt x="1800225" y="1"/>
                  </a:lnTo>
                </a:path>
              </a:pathLst>
            </a:custGeom>
            <a:ln w="1905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b="1"/>
            </a:p>
          </p:txBody>
        </p:sp>
        <p:cxnSp>
          <p:nvCxnSpPr>
            <p:cNvPr id="1452" name="line_top">
              <a:extLst>
                <a:ext uri="{FF2B5EF4-FFF2-40B4-BE49-F238E27FC236}">
                  <a16:creationId xmlns:a16="http://schemas.microsoft.com/office/drawing/2014/main" id="{A0D3F190-3784-4C48-9005-F2094511AAB4}"/>
                </a:ext>
              </a:extLst>
            </p:cNvPr>
            <p:cNvCxnSpPr/>
            <p:nvPr/>
          </p:nvCxnSpPr>
          <p:spPr bwMode="gray">
            <a:xfrm>
              <a:off x="0" y="0"/>
              <a:ext cx="1800225"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453" name="THM_bar">
            <a:extLst>
              <a:ext uri="{FF2B5EF4-FFF2-40B4-BE49-F238E27FC236}">
                <a16:creationId xmlns:a16="http://schemas.microsoft.com/office/drawing/2014/main" id="{656628D0-3D6C-BAEC-FA7F-801E236EB7B8}"/>
              </a:ext>
            </a:extLst>
          </p:cNvPr>
          <p:cNvGrpSpPr/>
          <p:nvPr>
            <p:custDataLst>
              <p:tags r:id="rId3"/>
            </p:custDataLst>
          </p:nvPr>
        </p:nvGrpSpPr>
        <p:grpSpPr bwMode="gray">
          <a:xfrm>
            <a:off x="210056" y="5612657"/>
            <a:ext cx="9372600" cy="468059"/>
            <a:chOff x="266700" y="5831141"/>
            <a:chExt cx="9372600" cy="468059"/>
          </a:xfrm>
        </p:grpSpPr>
        <p:sp>
          <p:nvSpPr>
            <p:cNvPr id="1454" name="THM_bar_background">
              <a:extLst>
                <a:ext uri="{FF2B5EF4-FFF2-40B4-BE49-F238E27FC236}">
                  <a16:creationId xmlns:a16="http://schemas.microsoft.com/office/drawing/2014/main" id="{700155C6-B882-5C64-8D9F-653E69E03C66}"/>
                </a:ext>
              </a:extLst>
            </p:cNvPr>
            <p:cNvSpPr/>
            <p:nvPr>
              <p:custDataLst>
                <p:tags r:id="rId52"/>
              </p:custDataLst>
            </p:nvPr>
          </p:nvSpPr>
          <p:spPr bwMode="gray">
            <a:xfrm>
              <a:off x="266700" y="5831141"/>
              <a:ext cx="9372600" cy="468059"/>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45" tIns="0" rIns="144018" bIns="0" rtlCol="0" anchor="ctr">
              <a:noAutofit/>
            </a:bodyPr>
            <a:lstStyle/>
            <a:p>
              <a:r>
                <a:rPr lang="de-DE" sz="1400">
                  <a:solidFill>
                    <a:srgbClr val="003C50"/>
                  </a:solidFill>
                  <a:latin typeface="Roboto" panose="02000000000000000000" pitchFamily="2" charset="0"/>
                </a:rPr>
                <a:t>Wir unterstützen unsere Kunden von der Strategieentwicklung über die fachliche Konzeption bis zur IT-seitigen Umsetzung. Dabei legen wir höchsten Wert auf eine enge, vertrauensvolle und faire Zusammenarbeit.</a:t>
              </a:r>
            </a:p>
          </p:txBody>
        </p:sp>
        <p:grpSp>
          <p:nvGrpSpPr>
            <p:cNvPr id="1455" name="thm_triangle_i22751">
              <a:extLst>
                <a:ext uri="{FF2B5EF4-FFF2-40B4-BE49-F238E27FC236}">
                  <a16:creationId xmlns:a16="http://schemas.microsoft.com/office/drawing/2014/main" id="{DCB4F983-74BA-B507-66F5-2BF760C5012B}"/>
                </a:ext>
              </a:extLst>
            </p:cNvPr>
            <p:cNvGrpSpPr/>
            <p:nvPr/>
          </p:nvGrpSpPr>
          <p:grpSpPr bwMode="gray">
            <a:xfrm>
              <a:off x="266700" y="5831141"/>
              <a:ext cx="234029" cy="468058"/>
              <a:chOff x="117014" y="-117014"/>
              <a:chExt cx="234029" cy="468058"/>
            </a:xfrm>
          </p:grpSpPr>
          <p:sp>
            <p:nvSpPr>
              <p:cNvPr id="1456" name="box">
                <a:extLst>
                  <a:ext uri="{FF2B5EF4-FFF2-40B4-BE49-F238E27FC236}">
                    <a16:creationId xmlns:a16="http://schemas.microsoft.com/office/drawing/2014/main" id="{3FC39364-6B9C-142E-EF95-3222BB99D993}"/>
                  </a:ext>
                </a:extLst>
              </p:cNvPr>
              <p:cNvSpPr/>
              <p:nvPr/>
            </p:nvSpPr>
            <p:spPr bwMode="gray">
              <a:xfrm rot="16200000">
                <a:off x="-117015" y="117015"/>
                <a:ext cx="468058" cy="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1457" name="triangle_1">
                <a:extLst>
                  <a:ext uri="{FF2B5EF4-FFF2-40B4-BE49-F238E27FC236}">
                    <a16:creationId xmlns:a16="http://schemas.microsoft.com/office/drawing/2014/main" id="{5A096E61-B77F-0396-F34A-7238AD2E92AB}"/>
                  </a:ext>
                </a:extLst>
              </p:cNvPr>
              <p:cNvSpPr/>
              <p:nvPr/>
            </p:nvSpPr>
            <p:spPr bwMode="gray">
              <a:xfrm rot="5400000">
                <a:off x="0" y="0"/>
                <a:ext cx="468058" cy="234029"/>
              </a:xfrm>
              <a:prstGeom prst="triangle">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1458" name="triangle_2">
                <a:extLst>
                  <a:ext uri="{FF2B5EF4-FFF2-40B4-BE49-F238E27FC236}">
                    <a16:creationId xmlns:a16="http://schemas.microsoft.com/office/drawing/2014/main" id="{A380D964-BFA1-16CC-037C-27E300AD6F0D}"/>
                  </a:ext>
                </a:extLst>
              </p:cNvPr>
              <p:cNvSpPr/>
              <p:nvPr/>
            </p:nvSpPr>
            <p:spPr bwMode="gray">
              <a:xfrm rot="5400000">
                <a:off x="0" y="0"/>
                <a:ext cx="468058" cy="234029"/>
              </a:xfrm>
              <a:prstGeom prst="triangle">
                <a:avLst/>
              </a:prstGeom>
              <a:solidFill>
                <a:srgbClr val="F07D00"/>
              </a:solidFill>
              <a:ln w="9525">
                <a:solidFill>
                  <a:srgbClr val="F07D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grpSp>
      </p:grpSp>
      <p:grpSp>
        <p:nvGrpSpPr>
          <p:cNvPr id="1459" name="expertise">
            <a:extLst>
              <a:ext uri="{FF2B5EF4-FFF2-40B4-BE49-F238E27FC236}">
                <a16:creationId xmlns:a16="http://schemas.microsoft.com/office/drawing/2014/main" id="{F438A409-0766-3B67-3501-DADCC3EDE4C1}"/>
              </a:ext>
            </a:extLst>
          </p:cNvPr>
          <p:cNvGrpSpPr/>
          <p:nvPr/>
        </p:nvGrpSpPr>
        <p:grpSpPr>
          <a:xfrm>
            <a:off x="210056" y="4977195"/>
            <a:ext cx="9372600" cy="338555"/>
            <a:chOff x="266700" y="5195679"/>
            <a:chExt cx="9372600" cy="338555"/>
          </a:xfrm>
        </p:grpSpPr>
        <p:grpSp>
          <p:nvGrpSpPr>
            <p:cNvPr id="1460" name="Group 1459">
              <a:extLst>
                <a:ext uri="{FF2B5EF4-FFF2-40B4-BE49-F238E27FC236}">
                  <a16:creationId xmlns:a16="http://schemas.microsoft.com/office/drawing/2014/main" id="{2C6E95C8-0138-C69E-F3B3-931DA5D3674A}"/>
                </a:ext>
              </a:extLst>
            </p:cNvPr>
            <p:cNvGrpSpPr/>
            <p:nvPr/>
          </p:nvGrpSpPr>
          <p:grpSpPr bwMode="gray">
            <a:xfrm>
              <a:off x="266700" y="5195679"/>
              <a:ext cx="1412468" cy="338554"/>
              <a:chOff x="266700" y="5195679"/>
              <a:chExt cx="1412468" cy="338554"/>
            </a:xfrm>
          </p:grpSpPr>
          <p:sp>
            <p:nvSpPr>
              <p:cNvPr id="1492" name="Rectangle 1491">
                <a:extLst>
                  <a:ext uri="{FF2B5EF4-FFF2-40B4-BE49-F238E27FC236}">
                    <a16:creationId xmlns:a16="http://schemas.microsoft.com/office/drawing/2014/main" id="{7B156E4C-0902-1869-C2A9-35B2C216941E}"/>
                  </a:ext>
                </a:extLst>
              </p:cNvPr>
              <p:cNvSpPr/>
              <p:nvPr/>
            </p:nvSpPr>
            <p:spPr bwMode="gray">
              <a:xfrm>
                <a:off x="661803" y="5195679"/>
                <a:ext cx="1017365" cy="338554"/>
              </a:xfrm>
              <a:prstGeom prst="rect">
                <a:avLst/>
              </a:prstGeom>
            </p:spPr>
            <p:txBody>
              <a:bodyPr wrap="square" lIns="0" tIns="0" rIns="0" bIns="0" anchor="ctr">
                <a:spAutoFit/>
              </a:bodyPr>
              <a:lstStyle/>
              <a:p>
                <a:r>
                  <a:rPr lang="en-GB" sz="1100">
                    <a:latin typeface="+mj-lt"/>
                  </a:rPr>
                  <a:t>Banking &amp; </a:t>
                </a:r>
                <a:br>
                  <a:rPr lang="en-GB" sz="1100">
                    <a:latin typeface="+mj-lt"/>
                  </a:rPr>
                </a:br>
                <a:r>
                  <a:rPr lang="en-GB" sz="1100">
                    <a:latin typeface="+mj-lt"/>
                  </a:rPr>
                  <a:t>Capital Markets</a:t>
                </a:r>
              </a:p>
            </p:txBody>
          </p:sp>
          <p:grpSp>
            <p:nvGrpSpPr>
              <p:cNvPr id="1493" name="Group 1492">
                <a:extLst>
                  <a:ext uri="{FF2B5EF4-FFF2-40B4-BE49-F238E27FC236}">
                    <a16:creationId xmlns:a16="http://schemas.microsoft.com/office/drawing/2014/main" id="{F255FD3F-8DF5-8703-72BB-945385BDA2F7}"/>
                  </a:ext>
                </a:extLst>
              </p:cNvPr>
              <p:cNvGrpSpPr/>
              <p:nvPr>
                <p:custDataLst>
                  <p:tags r:id="rId51"/>
                </p:custDataLst>
              </p:nvPr>
            </p:nvGrpSpPr>
            <p:grpSpPr bwMode="gray">
              <a:xfrm>
                <a:off x="266700" y="5197206"/>
                <a:ext cx="335500" cy="335500"/>
                <a:chOff x="201984" y="5086397"/>
                <a:chExt cx="335500" cy="335500"/>
              </a:xfrm>
            </p:grpSpPr>
            <p:sp>
              <p:nvSpPr>
                <p:cNvPr id="1494" name="AutoShape 3">
                  <a:extLst>
                    <a:ext uri="{FF2B5EF4-FFF2-40B4-BE49-F238E27FC236}">
                      <a16:creationId xmlns:a16="http://schemas.microsoft.com/office/drawing/2014/main" id="{C75DD402-B77F-85FD-5A4B-A70C7464F0DB}"/>
                    </a:ext>
                  </a:extLst>
                </p:cNvPr>
                <p:cNvSpPr>
                  <a:spLocks noChangeAspect="1" noChangeArrowheads="1" noTextEdit="1"/>
                </p:cNvSpPr>
                <p:nvPr/>
              </p:nvSpPr>
              <p:spPr bwMode="gray">
                <a:xfrm>
                  <a:off x="201984" y="5086397"/>
                  <a:ext cx="335500" cy="335500"/>
                </a:xfrm>
                <a:prstGeom prst="rect">
                  <a:avLst/>
                </a:prstGeom>
                <a:noFill/>
                <a:ln>
                  <a:noFill/>
                </a:ln>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9525" cap="flat" cmpd="sng" algn="ctr">
                      <a:solidFill>
                        <a:schemeClr val="hlink"/>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495" name="Freeform 5">
                  <a:extLst>
                    <a:ext uri="{FF2B5EF4-FFF2-40B4-BE49-F238E27FC236}">
                      <a16:creationId xmlns:a16="http://schemas.microsoft.com/office/drawing/2014/main" id="{FBB54DC0-0176-24FC-0670-DE809AF4D32A}"/>
                    </a:ext>
                  </a:extLst>
                </p:cNvPr>
                <p:cNvSpPr>
                  <a:spLocks noEditPoints="1"/>
                </p:cNvSpPr>
                <p:nvPr/>
              </p:nvSpPr>
              <p:spPr bwMode="gray">
                <a:xfrm>
                  <a:off x="216962" y="5103172"/>
                  <a:ext cx="304346" cy="288770"/>
                </a:xfrm>
                <a:custGeom>
                  <a:avLst/>
                  <a:gdLst>
                    <a:gd name="T0" fmla="*/ 5561 w 6590"/>
                    <a:gd name="T1" fmla="*/ 2870 h 6261"/>
                    <a:gd name="T2" fmla="*/ 6295 w 6590"/>
                    <a:gd name="T3" fmla="*/ 5511 h 6261"/>
                    <a:gd name="T4" fmla="*/ 45 w 6590"/>
                    <a:gd name="T5" fmla="*/ 6261 h 6261"/>
                    <a:gd name="T6" fmla="*/ 295 w 6590"/>
                    <a:gd name="T7" fmla="*/ 5261 h 6261"/>
                    <a:gd name="T8" fmla="*/ 1030 w 6590"/>
                    <a:gd name="T9" fmla="*/ 2867 h 6261"/>
                    <a:gd name="T10" fmla="*/ 545 w 6590"/>
                    <a:gd name="T11" fmla="*/ 2261 h 6261"/>
                    <a:gd name="T12" fmla="*/ 0 w 6590"/>
                    <a:gd name="T13" fmla="*/ 1450 h 6261"/>
                    <a:gd name="T14" fmla="*/ 6371 w 6590"/>
                    <a:gd name="T15" fmla="*/ 1886 h 6261"/>
                    <a:gd name="T16" fmla="*/ 5795 w 6590"/>
                    <a:gd name="T17" fmla="*/ 2261 h 6261"/>
                    <a:gd name="T18" fmla="*/ 295 w 6590"/>
                    <a:gd name="T19" fmla="*/ 5761 h 6261"/>
                    <a:gd name="T20" fmla="*/ 6295 w 6590"/>
                    <a:gd name="T21" fmla="*/ 5761 h 6261"/>
                    <a:gd name="T22" fmla="*/ 545 w 6590"/>
                    <a:gd name="T23" fmla="*/ 5511 h 6261"/>
                    <a:gd name="T24" fmla="*/ 4530 w 6590"/>
                    <a:gd name="T25" fmla="*/ 2867 h 6261"/>
                    <a:gd name="T26" fmla="*/ 2295 w 6590"/>
                    <a:gd name="T27" fmla="*/ 2261 h 6261"/>
                    <a:gd name="T28" fmla="*/ 2170 w 6590"/>
                    <a:gd name="T29" fmla="*/ 5261 h 6261"/>
                    <a:gd name="T30" fmla="*/ 5795 w 6590"/>
                    <a:gd name="T31" fmla="*/ 1636 h 6261"/>
                    <a:gd name="T32" fmla="*/ 3295 w 6590"/>
                    <a:gd name="T33" fmla="*/ 272 h 6261"/>
                    <a:gd name="T34" fmla="*/ 795 w 6590"/>
                    <a:gd name="T35" fmla="*/ 1636 h 6261"/>
                    <a:gd name="T36" fmla="*/ 3295 w 6590"/>
                    <a:gd name="T37" fmla="*/ 832 h 6261"/>
                    <a:gd name="T38" fmla="*/ 3295 w 6590"/>
                    <a:gd name="T39" fmla="*/ 832 h 6261"/>
                    <a:gd name="T40" fmla="*/ 5545 w 6590"/>
                    <a:gd name="T41" fmla="*/ 1761 h 6261"/>
                    <a:gd name="T42" fmla="*/ 3295 w 6590"/>
                    <a:gd name="T43" fmla="*/ 560 h 6261"/>
                    <a:gd name="T44" fmla="*/ 3420 w 6590"/>
                    <a:gd name="T45" fmla="*/ 2886 h 6261"/>
                    <a:gd name="T46" fmla="*/ 4170 w 6590"/>
                    <a:gd name="T47" fmla="*/ 4261 h 6261"/>
                    <a:gd name="T48" fmla="*/ 3420 w 6590"/>
                    <a:gd name="T49" fmla="*/ 5136 h 6261"/>
                    <a:gd name="T50" fmla="*/ 3045 w 6590"/>
                    <a:gd name="T51" fmla="*/ 4886 h 6261"/>
                    <a:gd name="T52" fmla="*/ 3045 w 6590"/>
                    <a:gd name="T53" fmla="*/ 4636 h 6261"/>
                    <a:gd name="T54" fmla="*/ 3045 w 6590"/>
                    <a:gd name="T55" fmla="*/ 3886 h 6261"/>
                    <a:gd name="T56" fmla="*/ 3170 w 6590"/>
                    <a:gd name="T57" fmla="*/ 2636 h 6261"/>
                    <a:gd name="T58" fmla="*/ 3420 w 6590"/>
                    <a:gd name="T59" fmla="*/ 2636 h 6261"/>
                    <a:gd name="T60" fmla="*/ 3920 w 6590"/>
                    <a:gd name="T61" fmla="*/ 3261 h 6261"/>
                    <a:gd name="T62" fmla="*/ 2670 w 6590"/>
                    <a:gd name="T63" fmla="*/ 3261 h 6261"/>
                    <a:gd name="T64" fmla="*/ 3170 w 6590"/>
                    <a:gd name="T65" fmla="*/ 2886 h 6261"/>
                    <a:gd name="T66" fmla="*/ 3920 w 6590"/>
                    <a:gd name="T67" fmla="*/ 4261 h 6261"/>
                    <a:gd name="T68" fmla="*/ 3420 w 6590"/>
                    <a:gd name="T69" fmla="*/ 4636 h 6261"/>
                    <a:gd name="T70" fmla="*/ 1045 w 6590"/>
                    <a:gd name="T71" fmla="*/ 2261 h 6261"/>
                    <a:gd name="T72" fmla="*/ 1314 w 6590"/>
                    <a:gd name="T73" fmla="*/ 2636 h 6261"/>
                    <a:gd name="T74" fmla="*/ 1170 w 6590"/>
                    <a:gd name="T75" fmla="*/ 5261 h 6261"/>
                    <a:gd name="T76" fmla="*/ 1776 w 6590"/>
                    <a:gd name="T77" fmla="*/ 2636 h 6261"/>
                    <a:gd name="T78" fmla="*/ 5545 w 6590"/>
                    <a:gd name="T79" fmla="*/ 2511 h 6261"/>
                    <a:gd name="T80" fmla="*/ 4545 w 6590"/>
                    <a:gd name="T81" fmla="*/ 2511 h 6261"/>
                    <a:gd name="T82" fmla="*/ 4794 w 6590"/>
                    <a:gd name="T83" fmla="*/ 2779 h 6261"/>
                    <a:gd name="T84" fmla="*/ 5420 w 6590"/>
                    <a:gd name="T85" fmla="*/ 5261 h 6261"/>
                    <a:gd name="T86" fmla="*/ 5420 w 6590"/>
                    <a:gd name="T87" fmla="*/ 2636 h 6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90" h="6261">
                      <a:moveTo>
                        <a:pt x="5795" y="2261"/>
                      </a:moveTo>
                      <a:lnTo>
                        <a:pt x="5795" y="2511"/>
                      </a:lnTo>
                      <a:cubicBezTo>
                        <a:pt x="5795" y="2599"/>
                        <a:pt x="5795" y="2811"/>
                        <a:pt x="5561" y="2870"/>
                      </a:cubicBezTo>
                      <a:cubicBezTo>
                        <a:pt x="5664" y="3675"/>
                        <a:pt x="5670" y="4561"/>
                        <a:pt x="5670" y="5261"/>
                      </a:cubicBezTo>
                      <a:lnTo>
                        <a:pt x="6295" y="5261"/>
                      </a:lnTo>
                      <a:lnTo>
                        <a:pt x="6295" y="5511"/>
                      </a:lnTo>
                      <a:lnTo>
                        <a:pt x="6545" y="5511"/>
                      </a:lnTo>
                      <a:lnTo>
                        <a:pt x="6545" y="6261"/>
                      </a:lnTo>
                      <a:lnTo>
                        <a:pt x="45" y="6261"/>
                      </a:lnTo>
                      <a:lnTo>
                        <a:pt x="45" y="5511"/>
                      </a:lnTo>
                      <a:lnTo>
                        <a:pt x="295" y="5511"/>
                      </a:lnTo>
                      <a:lnTo>
                        <a:pt x="295" y="5261"/>
                      </a:lnTo>
                      <a:lnTo>
                        <a:pt x="920" y="5261"/>
                      </a:lnTo>
                      <a:cubicBezTo>
                        <a:pt x="920" y="4920"/>
                        <a:pt x="921" y="4532"/>
                        <a:pt x="936" y="4116"/>
                      </a:cubicBezTo>
                      <a:cubicBezTo>
                        <a:pt x="950" y="3701"/>
                        <a:pt x="978" y="3272"/>
                        <a:pt x="1030" y="2867"/>
                      </a:cubicBezTo>
                      <a:cubicBezTo>
                        <a:pt x="859" y="2819"/>
                        <a:pt x="795" y="2679"/>
                        <a:pt x="795" y="2511"/>
                      </a:cubicBezTo>
                      <a:lnTo>
                        <a:pt x="795" y="2261"/>
                      </a:lnTo>
                      <a:lnTo>
                        <a:pt x="545" y="2261"/>
                      </a:lnTo>
                      <a:lnTo>
                        <a:pt x="545" y="1886"/>
                      </a:lnTo>
                      <a:lnTo>
                        <a:pt x="219" y="1886"/>
                      </a:lnTo>
                      <a:lnTo>
                        <a:pt x="0" y="1450"/>
                      </a:lnTo>
                      <a:lnTo>
                        <a:pt x="3295" y="0"/>
                      </a:lnTo>
                      <a:lnTo>
                        <a:pt x="6590" y="1450"/>
                      </a:lnTo>
                      <a:lnTo>
                        <a:pt x="6371" y="1886"/>
                      </a:lnTo>
                      <a:lnTo>
                        <a:pt x="6045" y="1886"/>
                      </a:lnTo>
                      <a:lnTo>
                        <a:pt x="6045" y="2261"/>
                      </a:lnTo>
                      <a:lnTo>
                        <a:pt x="5795" y="2261"/>
                      </a:lnTo>
                      <a:close/>
                      <a:moveTo>
                        <a:pt x="545" y="5511"/>
                      </a:moveTo>
                      <a:lnTo>
                        <a:pt x="545" y="5761"/>
                      </a:lnTo>
                      <a:lnTo>
                        <a:pt x="295" y="5761"/>
                      </a:lnTo>
                      <a:lnTo>
                        <a:pt x="295" y="6011"/>
                      </a:lnTo>
                      <a:lnTo>
                        <a:pt x="6295" y="6011"/>
                      </a:lnTo>
                      <a:lnTo>
                        <a:pt x="6295" y="5761"/>
                      </a:lnTo>
                      <a:lnTo>
                        <a:pt x="6045" y="5761"/>
                      </a:lnTo>
                      <a:lnTo>
                        <a:pt x="6045" y="5511"/>
                      </a:lnTo>
                      <a:lnTo>
                        <a:pt x="545" y="5511"/>
                      </a:lnTo>
                      <a:close/>
                      <a:moveTo>
                        <a:pt x="4420" y="5261"/>
                      </a:moveTo>
                      <a:cubicBezTo>
                        <a:pt x="4420" y="4920"/>
                        <a:pt x="4421" y="4532"/>
                        <a:pt x="4436" y="4116"/>
                      </a:cubicBezTo>
                      <a:cubicBezTo>
                        <a:pt x="4450" y="3701"/>
                        <a:pt x="4478" y="3272"/>
                        <a:pt x="4530" y="2867"/>
                      </a:cubicBezTo>
                      <a:cubicBezTo>
                        <a:pt x="4359" y="2819"/>
                        <a:pt x="4295" y="2679"/>
                        <a:pt x="4295" y="2511"/>
                      </a:cubicBezTo>
                      <a:lnTo>
                        <a:pt x="4295" y="2261"/>
                      </a:lnTo>
                      <a:lnTo>
                        <a:pt x="2295" y="2261"/>
                      </a:lnTo>
                      <a:lnTo>
                        <a:pt x="2295" y="2511"/>
                      </a:lnTo>
                      <a:cubicBezTo>
                        <a:pt x="2295" y="2599"/>
                        <a:pt x="2295" y="2811"/>
                        <a:pt x="2061" y="2870"/>
                      </a:cubicBezTo>
                      <a:cubicBezTo>
                        <a:pt x="2164" y="3675"/>
                        <a:pt x="2170" y="4561"/>
                        <a:pt x="2170" y="5261"/>
                      </a:cubicBezTo>
                      <a:lnTo>
                        <a:pt x="4420" y="5261"/>
                      </a:lnTo>
                      <a:close/>
                      <a:moveTo>
                        <a:pt x="5795" y="2011"/>
                      </a:moveTo>
                      <a:lnTo>
                        <a:pt x="5795" y="1636"/>
                      </a:lnTo>
                      <a:lnTo>
                        <a:pt x="6219" y="1636"/>
                      </a:lnTo>
                      <a:lnTo>
                        <a:pt x="6250" y="1572"/>
                      </a:lnTo>
                      <a:lnTo>
                        <a:pt x="3295" y="272"/>
                      </a:lnTo>
                      <a:lnTo>
                        <a:pt x="340" y="1572"/>
                      </a:lnTo>
                      <a:lnTo>
                        <a:pt x="371" y="1636"/>
                      </a:lnTo>
                      <a:lnTo>
                        <a:pt x="795" y="1636"/>
                      </a:lnTo>
                      <a:lnTo>
                        <a:pt x="795" y="2011"/>
                      </a:lnTo>
                      <a:lnTo>
                        <a:pt x="5795" y="2011"/>
                      </a:lnTo>
                      <a:close/>
                      <a:moveTo>
                        <a:pt x="3295" y="832"/>
                      </a:moveTo>
                      <a:lnTo>
                        <a:pt x="1753" y="1511"/>
                      </a:lnTo>
                      <a:lnTo>
                        <a:pt x="4838" y="1511"/>
                      </a:lnTo>
                      <a:lnTo>
                        <a:pt x="3295" y="832"/>
                      </a:lnTo>
                      <a:close/>
                      <a:moveTo>
                        <a:pt x="3295" y="560"/>
                      </a:moveTo>
                      <a:lnTo>
                        <a:pt x="5545" y="1550"/>
                      </a:lnTo>
                      <a:lnTo>
                        <a:pt x="5545" y="1761"/>
                      </a:lnTo>
                      <a:lnTo>
                        <a:pt x="1045" y="1761"/>
                      </a:lnTo>
                      <a:lnTo>
                        <a:pt x="1045" y="1550"/>
                      </a:lnTo>
                      <a:lnTo>
                        <a:pt x="3295" y="560"/>
                      </a:lnTo>
                      <a:close/>
                      <a:moveTo>
                        <a:pt x="3920" y="3261"/>
                      </a:moveTo>
                      <a:cubicBezTo>
                        <a:pt x="3920" y="3054"/>
                        <a:pt x="3753" y="2886"/>
                        <a:pt x="3545" y="2886"/>
                      </a:cubicBezTo>
                      <a:lnTo>
                        <a:pt x="3420" y="2886"/>
                      </a:lnTo>
                      <a:lnTo>
                        <a:pt x="3420" y="3636"/>
                      </a:lnTo>
                      <a:lnTo>
                        <a:pt x="3545" y="3636"/>
                      </a:lnTo>
                      <a:cubicBezTo>
                        <a:pt x="3890" y="3636"/>
                        <a:pt x="4170" y="3916"/>
                        <a:pt x="4170" y="4261"/>
                      </a:cubicBezTo>
                      <a:cubicBezTo>
                        <a:pt x="4170" y="4606"/>
                        <a:pt x="3890" y="4886"/>
                        <a:pt x="3545" y="4886"/>
                      </a:cubicBezTo>
                      <a:lnTo>
                        <a:pt x="3420" y="4886"/>
                      </a:lnTo>
                      <a:lnTo>
                        <a:pt x="3420" y="5136"/>
                      </a:lnTo>
                      <a:lnTo>
                        <a:pt x="3170" y="5136"/>
                      </a:lnTo>
                      <a:lnTo>
                        <a:pt x="3170" y="4886"/>
                      </a:lnTo>
                      <a:lnTo>
                        <a:pt x="3045" y="4886"/>
                      </a:lnTo>
                      <a:cubicBezTo>
                        <a:pt x="2700" y="4886"/>
                        <a:pt x="2420" y="4606"/>
                        <a:pt x="2420" y="4261"/>
                      </a:cubicBezTo>
                      <a:lnTo>
                        <a:pt x="2670" y="4261"/>
                      </a:lnTo>
                      <a:cubicBezTo>
                        <a:pt x="2670" y="4469"/>
                        <a:pt x="2838" y="4636"/>
                        <a:pt x="3045" y="4636"/>
                      </a:cubicBezTo>
                      <a:lnTo>
                        <a:pt x="3170" y="4636"/>
                      </a:lnTo>
                      <a:lnTo>
                        <a:pt x="3170" y="3886"/>
                      </a:lnTo>
                      <a:lnTo>
                        <a:pt x="3045" y="3886"/>
                      </a:lnTo>
                      <a:cubicBezTo>
                        <a:pt x="2700" y="3886"/>
                        <a:pt x="2420" y="3606"/>
                        <a:pt x="2420" y="3261"/>
                      </a:cubicBezTo>
                      <a:cubicBezTo>
                        <a:pt x="2420" y="2916"/>
                        <a:pt x="2700" y="2636"/>
                        <a:pt x="3045" y="2636"/>
                      </a:cubicBezTo>
                      <a:lnTo>
                        <a:pt x="3170" y="2636"/>
                      </a:lnTo>
                      <a:lnTo>
                        <a:pt x="3170" y="2386"/>
                      </a:lnTo>
                      <a:lnTo>
                        <a:pt x="3420" y="2386"/>
                      </a:lnTo>
                      <a:lnTo>
                        <a:pt x="3420" y="2636"/>
                      </a:lnTo>
                      <a:lnTo>
                        <a:pt x="3545" y="2636"/>
                      </a:lnTo>
                      <a:cubicBezTo>
                        <a:pt x="3890" y="2636"/>
                        <a:pt x="4170" y="2916"/>
                        <a:pt x="4170" y="3261"/>
                      </a:cubicBezTo>
                      <a:lnTo>
                        <a:pt x="3920" y="3261"/>
                      </a:lnTo>
                      <a:close/>
                      <a:moveTo>
                        <a:pt x="3170" y="2886"/>
                      </a:moveTo>
                      <a:lnTo>
                        <a:pt x="3045" y="2886"/>
                      </a:lnTo>
                      <a:cubicBezTo>
                        <a:pt x="2838" y="2886"/>
                        <a:pt x="2670" y="3054"/>
                        <a:pt x="2670" y="3261"/>
                      </a:cubicBezTo>
                      <a:cubicBezTo>
                        <a:pt x="2670" y="3469"/>
                        <a:pt x="2838" y="3636"/>
                        <a:pt x="3045" y="3636"/>
                      </a:cubicBezTo>
                      <a:lnTo>
                        <a:pt x="3170" y="3636"/>
                      </a:lnTo>
                      <a:lnTo>
                        <a:pt x="3170" y="2886"/>
                      </a:lnTo>
                      <a:close/>
                      <a:moveTo>
                        <a:pt x="3420" y="4636"/>
                      </a:moveTo>
                      <a:lnTo>
                        <a:pt x="3545" y="4636"/>
                      </a:lnTo>
                      <a:cubicBezTo>
                        <a:pt x="3753" y="4636"/>
                        <a:pt x="3920" y="4469"/>
                        <a:pt x="3920" y="4261"/>
                      </a:cubicBezTo>
                      <a:cubicBezTo>
                        <a:pt x="3920" y="4054"/>
                        <a:pt x="3753" y="3886"/>
                        <a:pt x="3545" y="3886"/>
                      </a:cubicBezTo>
                      <a:lnTo>
                        <a:pt x="3420" y="3886"/>
                      </a:lnTo>
                      <a:lnTo>
                        <a:pt x="3420" y="4636"/>
                      </a:lnTo>
                      <a:close/>
                      <a:moveTo>
                        <a:pt x="2045" y="2511"/>
                      </a:moveTo>
                      <a:lnTo>
                        <a:pt x="2045" y="2261"/>
                      </a:lnTo>
                      <a:lnTo>
                        <a:pt x="1045" y="2261"/>
                      </a:lnTo>
                      <a:lnTo>
                        <a:pt x="1045" y="2511"/>
                      </a:lnTo>
                      <a:cubicBezTo>
                        <a:pt x="1045" y="2609"/>
                        <a:pt x="1066" y="2636"/>
                        <a:pt x="1170" y="2636"/>
                      </a:cubicBezTo>
                      <a:lnTo>
                        <a:pt x="1314" y="2636"/>
                      </a:lnTo>
                      <a:lnTo>
                        <a:pt x="1294" y="2779"/>
                      </a:lnTo>
                      <a:cubicBezTo>
                        <a:pt x="1231" y="3212"/>
                        <a:pt x="1200" y="3676"/>
                        <a:pt x="1185" y="4125"/>
                      </a:cubicBezTo>
                      <a:cubicBezTo>
                        <a:pt x="1171" y="4516"/>
                        <a:pt x="1170" y="4911"/>
                        <a:pt x="1170" y="5261"/>
                      </a:cubicBezTo>
                      <a:lnTo>
                        <a:pt x="1920" y="5261"/>
                      </a:lnTo>
                      <a:cubicBezTo>
                        <a:pt x="1920" y="4530"/>
                        <a:pt x="1914" y="3596"/>
                        <a:pt x="1796" y="2779"/>
                      </a:cubicBezTo>
                      <a:lnTo>
                        <a:pt x="1776" y="2636"/>
                      </a:lnTo>
                      <a:lnTo>
                        <a:pt x="1920" y="2636"/>
                      </a:lnTo>
                      <a:cubicBezTo>
                        <a:pt x="2045" y="2636"/>
                        <a:pt x="2045" y="2545"/>
                        <a:pt x="2045" y="2511"/>
                      </a:cubicBezTo>
                      <a:close/>
                      <a:moveTo>
                        <a:pt x="5545" y="2511"/>
                      </a:moveTo>
                      <a:lnTo>
                        <a:pt x="5545" y="2261"/>
                      </a:lnTo>
                      <a:lnTo>
                        <a:pt x="4545" y="2261"/>
                      </a:lnTo>
                      <a:lnTo>
                        <a:pt x="4545" y="2511"/>
                      </a:lnTo>
                      <a:cubicBezTo>
                        <a:pt x="4545" y="2609"/>
                        <a:pt x="4566" y="2636"/>
                        <a:pt x="4670" y="2636"/>
                      </a:cubicBezTo>
                      <a:lnTo>
                        <a:pt x="4814" y="2636"/>
                      </a:lnTo>
                      <a:lnTo>
                        <a:pt x="4794" y="2779"/>
                      </a:lnTo>
                      <a:cubicBezTo>
                        <a:pt x="4731" y="3212"/>
                        <a:pt x="4700" y="3676"/>
                        <a:pt x="4685" y="4125"/>
                      </a:cubicBezTo>
                      <a:cubicBezTo>
                        <a:pt x="4671" y="4516"/>
                        <a:pt x="4670" y="4911"/>
                        <a:pt x="4670" y="5261"/>
                      </a:cubicBezTo>
                      <a:lnTo>
                        <a:pt x="5420" y="5261"/>
                      </a:lnTo>
                      <a:cubicBezTo>
                        <a:pt x="5420" y="4530"/>
                        <a:pt x="5414" y="3596"/>
                        <a:pt x="5296" y="2779"/>
                      </a:cubicBezTo>
                      <a:lnTo>
                        <a:pt x="5276" y="2636"/>
                      </a:lnTo>
                      <a:lnTo>
                        <a:pt x="5420" y="2636"/>
                      </a:lnTo>
                      <a:cubicBezTo>
                        <a:pt x="5545" y="2636"/>
                        <a:pt x="5545" y="2545"/>
                        <a:pt x="5545" y="2511"/>
                      </a:cubicBezTo>
                      <a:close/>
                    </a:path>
                  </a:pathLst>
                </a:custGeom>
                <a:solidFill>
                  <a:srgbClr val="F07D00"/>
                </a:solidFill>
                <a:ln w="0"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GB" sz="1100">
                    <a:solidFill>
                      <a:srgbClr val="003C50"/>
                    </a:solidFill>
                  </a:endParaRPr>
                </a:p>
              </p:txBody>
            </p:sp>
          </p:grpSp>
        </p:grpSp>
        <p:grpSp>
          <p:nvGrpSpPr>
            <p:cNvPr id="1461" name="Group 1460">
              <a:extLst>
                <a:ext uri="{FF2B5EF4-FFF2-40B4-BE49-F238E27FC236}">
                  <a16:creationId xmlns:a16="http://schemas.microsoft.com/office/drawing/2014/main" id="{11ED2F6D-D43E-B99C-9B5F-79E9F065CA69}"/>
                </a:ext>
              </a:extLst>
            </p:cNvPr>
            <p:cNvGrpSpPr/>
            <p:nvPr/>
          </p:nvGrpSpPr>
          <p:grpSpPr bwMode="gray">
            <a:xfrm>
              <a:off x="3575216" y="5195679"/>
              <a:ext cx="1110627" cy="338554"/>
              <a:chOff x="3864884" y="5195679"/>
              <a:chExt cx="1110627" cy="338554"/>
            </a:xfrm>
          </p:grpSpPr>
          <p:sp>
            <p:nvSpPr>
              <p:cNvPr id="1488" name="Rectangle 1487">
                <a:extLst>
                  <a:ext uri="{FF2B5EF4-FFF2-40B4-BE49-F238E27FC236}">
                    <a16:creationId xmlns:a16="http://schemas.microsoft.com/office/drawing/2014/main" id="{6B213768-46BD-E552-E20D-16EE0859C6F5}"/>
                  </a:ext>
                </a:extLst>
              </p:cNvPr>
              <p:cNvSpPr/>
              <p:nvPr/>
            </p:nvSpPr>
            <p:spPr bwMode="gray">
              <a:xfrm>
                <a:off x="4259988" y="5195679"/>
                <a:ext cx="715523" cy="338554"/>
              </a:xfrm>
              <a:prstGeom prst="rect">
                <a:avLst/>
              </a:prstGeom>
            </p:spPr>
            <p:txBody>
              <a:bodyPr wrap="square" lIns="0" tIns="0" rIns="0" bIns="0" anchor="ctr">
                <a:spAutoFit/>
              </a:bodyPr>
              <a:lstStyle/>
              <a:p>
                <a:r>
                  <a:rPr lang="en-GB" sz="1100"/>
                  <a:t>Energy &amp; Industrials</a:t>
                </a:r>
                <a:endParaRPr lang="en-GB" sz="1100">
                  <a:latin typeface="+mj-lt"/>
                </a:endParaRPr>
              </a:p>
            </p:txBody>
          </p:sp>
          <p:grpSp>
            <p:nvGrpSpPr>
              <p:cNvPr id="1489" name="Group 1488">
                <a:extLst>
                  <a:ext uri="{FF2B5EF4-FFF2-40B4-BE49-F238E27FC236}">
                    <a16:creationId xmlns:a16="http://schemas.microsoft.com/office/drawing/2014/main" id="{7AEB48BE-9562-9A48-34DA-59AD874296FC}"/>
                  </a:ext>
                </a:extLst>
              </p:cNvPr>
              <p:cNvGrpSpPr/>
              <p:nvPr>
                <p:custDataLst>
                  <p:tags r:id="rId50"/>
                </p:custDataLst>
              </p:nvPr>
            </p:nvGrpSpPr>
            <p:grpSpPr bwMode="gray">
              <a:xfrm>
                <a:off x="3864884" y="5197206"/>
                <a:ext cx="335500" cy="335500"/>
                <a:chOff x="3169882" y="4885834"/>
                <a:chExt cx="335500" cy="335500"/>
              </a:xfrm>
            </p:grpSpPr>
            <p:sp>
              <p:nvSpPr>
                <p:cNvPr id="1490" name="AutoShape 7">
                  <a:extLst>
                    <a:ext uri="{FF2B5EF4-FFF2-40B4-BE49-F238E27FC236}">
                      <a16:creationId xmlns:a16="http://schemas.microsoft.com/office/drawing/2014/main" id="{AE3C3E06-712D-6D98-3279-F8322379A307}"/>
                    </a:ext>
                  </a:extLst>
                </p:cNvPr>
                <p:cNvSpPr>
                  <a:spLocks noChangeAspect="1" noChangeArrowheads="1" noTextEdit="1"/>
                </p:cNvSpPr>
                <p:nvPr/>
              </p:nvSpPr>
              <p:spPr bwMode="gray">
                <a:xfrm>
                  <a:off x="3169882" y="4885834"/>
                  <a:ext cx="335500" cy="335500"/>
                </a:xfrm>
                <a:prstGeom prst="rect">
                  <a:avLst/>
                </a:prstGeom>
                <a:noFill/>
                <a:ln>
                  <a:noFill/>
                </a:ln>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9525" cap="flat" cmpd="sng" algn="ctr">
                      <a:solidFill>
                        <a:schemeClr val="hlink"/>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491" name="Freeform 9">
                  <a:extLst>
                    <a:ext uri="{FF2B5EF4-FFF2-40B4-BE49-F238E27FC236}">
                      <a16:creationId xmlns:a16="http://schemas.microsoft.com/office/drawing/2014/main" id="{2F6F0FF1-DD26-D2BE-CA96-2CA71E35F44E}"/>
                    </a:ext>
                  </a:extLst>
                </p:cNvPr>
                <p:cNvSpPr>
                  <a:spLocks noEditPoints="1"/>
                </p:cNvSpPr>
                <p:nvPr/>
              </p:nvSpPr>
              <p:spPr bwMode="gray">
                <a:xfrm>
                  <a:off x="3208225" y="4892424"/>
                  <a:ext cx="225863" cy="310338"/>
                </a:xfrm>
                <a:custGeom>
                  <a:avLst/>
                  <a:gdLst>
                    <a:gd name="T0" fmla="*/ 2671 w 4895"/>
                    <a:gd name="T1" fmla="*/ 6246 h 6734"/>
                    <a:gd name="T2" fmla="*/ 2671 w 4895"/>
                    <a:gd name="T3" fmla="*/ 3485 h 6734"/>
                    <a:gd name="T4" fmla="*/ 2921 w 4895"/>
                    <a:gd name="T5" fmla="*/ 3485 h 6734"/>
                    <a:gd name="T6" fmla="*/ 2921 w 4895"/>
                    <a:gd name="T7" fmla="*/ 6246 h 6734"/>
                    <a:gd name="T8" fmla="*/ 2671 w 4895"/>
                    <a:gd name="T9" fmla="*/ 6246 h 6734"/>
                    <a:gd name="T10" fmla="*/ 2801 w 4895"/>
                    <a:gd name="T11" fmla="*/ 2235 h 6734"/>
                    <a:gd name="T12" fmla="*/ 2879 w 4895"/>
                    <a:gd name="T13" fmla="*/ 2241 h 6734"/>
                    <a:gd name="T14" fmla="*/ 3371 w 4895"/>
                    <a:gd name="T15" fmla="*/ 405 h 6734"/>
                    <a:gd name="T16" fmla="*/ 2651 w 4895"/>
                    <a:gd name="T17" fmla="*/ 1689 h 6734"/>
                    <a:gd name="T18" fmla="*/ 2601 w 4895"/>
                    <a:gd name="T19" fmla="*/ 1811 h 6734"/>
                    <a:gd name="T20" fmla="*/ 2772 w 4895"/>
                    <a:gd name="T21" fmla="*/ 2179 h 6734"/>
                    <a:gd name="T22" fmla="*/ 2801 w 4895"/>
                    <a:gd name="T23" fmla="*/ 2235 h 6734"/>
                    <a:gd name="T24" fmla="*/ 3110 w 4895"/>
                    <a:gd name="T25" fmla="*/ 2345 h 6734"/>
                    <a:gd name="T26" fmla="*/ 3296 w 4895"/>
                    <a:gd name="T27" fmla="*/ 2735 h 6734"/>
                    <a:gd name="T28" fmla="*/ 3290 w 4895"/>
                    <a:gd name="T29" fmla="*/ 2816 h 6734"/>
                    <a:gd name="T30" fmla="*/ 3702 w 4895"/>
                    <a:gd name="T31" fmla="*/ 2860 h 6734"/>
                    <a:gd name="T32" fmla="*/ 3954 w 4895"/>
                    <a:gd name="T33" fmla="*/ 3048 h 6734"/>
                    <a:gd name="T34" fmla="*/ 3979 w 4895"/>
                    <a:gd name="T35" fmla="*/ 3084 h 6734"/>
                    <a:gd name="T36" fmla="*/ 4850 w 4895"/>
                    <a:gd name="T37" fmla="*/ 4550 h 6734"/>
                    <a:gd name="T38" fmla="*/ 4787 w 4895"/>
                    <a:gd name="T39" fmla="*/ 4786 h 6734"/>
                    <a:gd name="T40" fmla="*/ 4551 w 4895"/>
                    <a:gd name="T41" fmla="*/ 4856 h 6734"/>
                    <a:gd name="T42" fmla="*/ 4517 w 4895"/>
                    <a:gd name="T43" fmla="*/ 4831 h 6734"/>
                    <a:gd name="T44" fmla="*/ 2904 w 4895"/>
                    <a:gd name="T45" fmla="*/ 3224 h 6734"/>
                    <a:gd name="T46" fmla="*/ 2796 w 4895"/>
                    <a:gd name="T47" fmla="*/ 3235 h 6734"/>
                    <a:gd name="T48" fmla="*/ 2522 w 4895"/>
                    <a:gd name="T49" fmla="*/ 3153 h 6734"/>
                    <a:gd name="T50" fmla="*/ 2221 w 4895"/>
                    <a:gd name="T51" fmla="*/ 3540 h 6734"/>
                    <a:gd name="T52" fmla="*/ 1904 w 4895"/>
                    <a:gd name="T53" fmla="*/ 3664 h 6734"/>
                    <a:gd name="T54" fmla="*/ 187 w 4895"/>
                    <a:gd name="T55" fmla="*/ 3685 h 6734"/>
                    <a:gd name="T56" fmla="*/ 14 w 4895"/>
                    <a:gd name="T57" fmla="*/ 3514 h 6734"/>
                    <a:gd name="T58" fmla="*/ 1 w 4895"/>
                    <a:gd name="T59" fmla="*/ 3416 h 6734"/>
                    <a:gd name="T60" fmla="*/ 109 w 4895"/>
                    <a:gd name="T61" fmla="*/ 3256 h 6734"/>
                    <a:gd name="T62" fmla="*/ 2301 w 4895"/>
                    <a:gd name="T63" fmla="*/ 2663 h 6734"/>
                    <a:gd name="T64" fmla="*/ 2554 w 4895"/>
                    <a:gd name="T65" fmla="*/ 2298 h 6734"/>
                    <a:gd name="T66" fmla="*/ 2360 w 4895"/>
                    <a:gd name="T67" fmla="*/ 1748 h 6734"/>
                    <a:gd name="T68" fmla="*/ 2425 w 4895"/>
                    <a:gd name="T69" fmla="*/ 1584 h 6734"/>
                    <a:gd name="T70" fmla="*/ 3267 w 4895"/>
                    <a:gd name="T71" fmla="*/ 80 h 6734"/>
                    <a:gd name="T72" fmla="*/ 3404 w 4895"/>
                    <a:gd name="T73" fmla="*/ 5 h 6734"/>
                    <a:gd name="T74" fmla="*/ 3594 w 4895"/>
                    <a:gd name="T75" fmla="*/ 54 h 6734"/>
                    <a:gd name="T76" fmla="*/ 3677 w 4895"/>
                    <a:gd name="T77" fmla="*/ 226 h 6734"/>
                    <a:gd name="T78" fmla="*/ 3110 w 4895"/>
                    <a:gd name="T79" fmla="*/ 2345 h 6734"/>
                    <a:gd name="T80" fmla="*/ 3180 w 4895"/>
                    <a:gd name="T81" fmla="*/ 3055 h 6734"/>
                    <a:gd name="T82" fmla="*/ 3135 w 4895"/>
                    <a:gd name="T83" fmla="*/ 3103 h 6734"/>
                    <a:gd name="T84" fmla="*/ 4517 w 4895"/>
                    <a:gd name="T85" fmla="*/ 4480 h 6734"/>
                    <a:gd name="T86" fmla="*/ 3765 w 4895"/>
                    <a:gd name="T87" fmla="*/ 3213 h 6734"/>
                    <a:gd name="T88" fmla="*/ 3676 w 4895"/>
                    <a:gd name="T89" fmla="*/ 3108 h 6734"/>
                    <a:gd name="T90" fmla="*/ 3180 w 4895"/>
                    <a:gd name="T91" fmla="*/ 3055 h 6734"/>
                    <a:gd name="T92" fmla="*/ 2352 w 4895"/>
                    <a:gd name="T93" fmla="*/ 2965 h 6734"/>
                    <a:gd name="T94" fmla="*/ 2329 w 4895"/>
                    <a:gd name="T95" fmla="*/ 2914 h 6734"/>
                    <a:gd name="T96" fmla="*/ 412 w 4895"/>
                    <a:gd name="T97" fmla="*/ 3434 h 6734"/>
                    <a:gd name="T98" fmla="*/ 1884 w 4895"/>
                    <a:gd name="T99" fmla="*/ 3415 h 6734"/>
                    <a:gd name="T100" fmla="*/ 2022 w 4895"/>
                    <a:gd name="T101" fmla="*/ 3390 h 6734"/>
                    <a:gd name="T102" fmla="*/ 2352 w 4895"/>
                    <a:gd name="T103" fmla="*/ 2965 h 6734"/>
                    <a:gd name="T104" fmla="*/ 2796 w 4895"/>
                    <a:gd name="T105" fmla="*/ 2485 h 6734"/>
                    <a:gd name="T106" fmla="*/ 2546 w 4895"/>
                    <a:gd name="T107" fmla="*/ 2735 h 6734"/>
                    <a:gd name="T108" fmla="*/ 2796 w 4895"/>
                    <a:gd name="T109" fmla="*/ 2985 h 6734"/>
                    <a:gd name="T110" fmla="*/ 3046 w 4895"/>
                    <a:gd name="T111" fmla="*/ 2735 h 6734"/>
                    <a:gd name="T112" fmla="*/ 2796 w 4895"/>
                    <a:gd name="T113" fmla="*/ 2485 h 6734"/>
                    <a:gd name="T114" fmla="*/ 1052 w 4895"/>
                    <a:gd name="T115" fmla="*/ 6484 h 6734"/>
                    <a:gd name="T116" fmla="*/ 4552 w 4895"/>
                    <a:gd name="T117" fmla="*/ 6484 h 6734"/>
                    <a:gd name="T118" fmla="*/ 4552 w 4895"/>
                    <a:gd name="T119" fmla="*/ 6734 h 6734"/>
                    <a:gd name="T120" fmla="*/ 1052 w 4895"/>
                    <a:gd name="T121" fmla="*/ 6734 h 6734"/>
                    <a:gd name="T122" fmla="*/ 1052 w 4895"/>
                    <a:gd name="T123" fmla="*/ 6484 h 6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95" h="6734">
                      <a:moveTo>
                        <a:pt x="2671" y="6246"/>
                      </a:moveTo>
                      <a:lnTo>
                        <a:pt x="2671" y="3485"/>
                      </a:lnTo>
                      <a:lnTo>
                        <a:pt x="2921" y="3485"/>
                      </a:lnTo>
                      <a:lnTo>
                        <a:pt x="2921" y="6246"/>
                      </a:lnTo>
                      <a:lnTo>
                        <a:pt x="2671" y="6246"/>
                      </a:lnTo>
                      <a:close/>
                      <a:moveTo>
                        <a:pt x="2801" y="2235"/>
                      </a:moveTo>
                      <a:cubicBezTo>
                        <a:pt x="2827" y="2235"/>
                        <a:pt x="2854" y="2238"/>
                        <a:pt x="2879" y="2241"/>
                      </a:cubicBezTo>
                      <a:lnTo>
                        <a:pt x="3371" y="405"/>
                      </a:lnTo>
                      <a:lnTo>
                        <a:pt x="2651" y="1689"/>
                      </a:lnTo>
                      <a:cubicBezTo>
                        <a:pt x="2632" y="1728"/>
                        <a:pt x="2611" y="1774"/>
                        <a:pt x="2601" y="1811"/>
                      </a:cubicBezTo>
                      <a:cubicBezTo>
                        <a:pt x="2597" y="1825"/>
                        <a:pt x="2707" y="2045"/>
                        <a:pt x="2772" y="2179"/>
                      </a:cubicBezTo>
                      <a:cubicBezTo>
                        <a:pt x="2784" y="2199"/>
                        <a:pt x="2792" y="2219"/>
                        <a:pt x="2801" y="2235"/>
                      </a:cubicBezTo>
                      <a:close/>
                      <a:moveTo>
                        <a:pt x="3110" y="2345"/>
                      </a:moveTo>
                      <a:cubicBezTo>
                        <a:pt x="3227" y="2440"/>
                        <a:pt x="3296" y="2583"/>
                        <a:pt x="3296" y="2735"/>
                      </a:cubicBezTo>
                      <a:cubicBezTo>
                        <a:pt x="3296" y="2763"/>
                        <a:pt x="3294" y="2790"/>
                        <a:pt x="3290" y="2816"/>
                      </a:cubicBezTo>
                      <a:lnTo>
                        <a:pt x="3702" y="2860"/>
                      </a:lnTo>
                      <a:cubicBezTo>
                        <a:pt x="3836" y="2874"/>
                        <a:pt x="3897" y="2964"/>
                        <a:pt x="3954" y="3048"/>
                      </a:cubicBezTo>
                      <a:cubicBezTo>
                        <a:pt x="3954" y="3049"/>
                        <a:pt x="3974" y="3078"/>
                        <a:pt x="3979" y="3084"/>
                      </a:cubicBezTo>
                      <a:lnTo>
                        <a:pt x="4850" y="4550"/>
                      </a:lnTo>
                      <a:cubicBezTo>
                        <a:pt x="4895" y="4635"/>
                        <a:pt x="4849" y="4725"/>
                        <a:pt x="4787" y="4786"/>
                      </a:cubicBezTo>
                      <a:cubicBezTo>
                        <a:pt x="4726" y="4849"/>
                        <a:pt x="4637" y="4898"/>
                        <a:pt x="4551" y="4856"/>
                      </a:cubicBezTo>
                      <a:lnTo>
                        <a:pt x="4517" y="4831"/>
                      </a:lnTo>
                      <a:lnTo>
                        <a:pt x="2904" y="3224"/>
                      </a:lnTo>
                      <a:cubicBezTo>
                        <a:pt x="2869" y="3231"/>
                        <a:pt x="2832" y="3235"/>
                        <a:pt x="2796" y="3235"/>
                      </a:cubicBezTo>
                      <a:cubicBezTo>
                        <a:pt x="2695" y="3235"/>
                        <a:pt x="2601" y="3205"/>
                        <a:pt x="2522" y="3153"/>
                      </a:cubicBezTo>
                      <a:lnTo>
                        <a:pt x="2221" y="3540"/>
                      </a:lnTo>
                      <a:cubicBezTo>
                        <a:pt x="2139" y="3651"/>
                        <a:pt x="2029" y="3654"/>
                        <a:pt x="1904" y="3664"/>
                      </a:cubicBezTo>
                      <a:lnTo>
                        <a:pt x="187" y="3685"/>
                      </a:lnTo>
                      <a:cubicBezTo>
                        <a:pt x="90" y="3681"/>
                        <a:pt x="36" y="3596"/>
                        <a:pt x="14" y="3514"/>
                      </a:cubicBezTo>
                      <a:cubicBezTo>
                        <a:pt x="5" y="3481"/>
                        <a:pt x="0" y="3446"/>
                        <a:pt x="1" y="3416"/>
                      </a:cubicBezTo>
                      <a:cubicBezTo>
                        <a:pt x="4" y="3331"/>
                        <a:pt x="36" y="3290"/>
                        <a:pt x="109" y="3256"/>
                      </a:cubicBezTo>
                      <a:lnTo>
                        <a:pt x="2301" y="2663"/>
                      </a:lnTo>
                      <a:cubicBezTo>
                        <a:pt x="2324" y="2508"/>
                        <a:pt x="2417" y="2374"/>
                        <a:pt x="2554" y="2298"/>
                      </a:cubicBezTo>
                      <a:cubicBezTo>
                        <a:pt x="2499" y="2188"/>
                        <a:pt x="2330" y="1861"/>
                        <a:pt x="2360" y="1748"/>
                      </a:cubicBezTo>
                      <a:cubicBezTo>
                        <a:pt x="2375" y="1693"/>
                        <a:pt x="2402" y="1633"/>
                        <a:pt x="2425" y="1584"/>
                      </a:cubicBezTo>
                      <a:lnTo>
                        <a:pt x="3267" y="80"/>
                      </a:lnTo>
                      <a:cubicBezTo>
                        <a:pt x="3297" y="31"/>
                        <a:pt x="3346" y="9"/>
                        <a:pt x="3404" y="5"/>
                      </a:cubicBezTo>
                      <a:cubicBezTo>
                        <a:pt x="3464" y="0"/>
                        <a:pt x="3542" y="21"/>
                        <a:pt x="3594" y="54"/>
                      </a:cubicBezTo>
                      <a:cubicBezTo>
                        <a:pt x="3662" y="96"/>
                        <a:pt x="3696" y="145"/>
                        <a:pt x="3677" y="226"/>
                      </a:cubicBezTo>
                      <a:lnTo>
                        <a:pt x="3110" y="2345"/>
                      </a:lnTo>
                      <a:close/>
                      <a:moveTo>
                        <a:pt x="3180" y="3055"/>
                      </a:moveTo>
                      <a:cubicBezTo>
                        <a:pt x="3166" y="3073"/>
                        <a:pt x="3151" y="3088"/>
                        <a:pt x="3135" y="3103"/>
                      </a:cubicBezTo>
                      <a:lnTo>
                        <a:pt x="4517" y="4480"/>
                      </a:lnTo>
                      <a:lnTo>
                        <a:pt x="3765" y="3213"/>
                      </a:lnTo>
                      <a:cubicBezTo>
                        <a:pt x="3745" y="3184"/>
                        <a:pt x="3699" y="3110"/>
                        <a:pt x="3676" y="3108"/>
                      </a:cubicBezTo>
                      <a:lnTo>
                        <a:pt x="3180" y="3055"/>
                      </a:lnTo>
                      <a:close/>
                      <a:moveTo>
                        <a:pt x="2352" y="2965"/>
                      </a:moveTo>
                      <a:cubicBezTo>
                        <a:pt x="2344" y="2949"/>
                        <a:pt x="2336" y="2931"/>
                        <a:pt x="2329" y="2914"/>
                      </a:cubicBezTo>
                      <a:lnTo>
                        <a:pt x="412" y="3434"/>
                      </a:lnTo>
                      <a:lnTo>
                        <a:pt x="1884" y="3415"/>
                      </a:lnTo>
                      <a:cubicBezTo>
                        <a:pt x="1916" y="3413"/>
                        <a:pt x="2009" y="3409"/>
                        <a:pt x="2022" y="3390"/>
                      </a:cubicBezTo>
                      <a:lnTo>
                        <a:pt x="2352" y="2965"/>
                      </a:lnTo>
                      <a:close/>
                      <a:moveTo>
                        <a:pt x="2796" y="2485"/>
                      </a:moveTo>
                      <a:cubicBezTo>
                        <a:pt x="2659" y="2485"/>
                        <a:pt x="2546" y="2598"/>
                        <a:pt x="2546" y="2735"/>
                      </a:cubicBezTo>
                      <a:cubicBezTo>
                        <a:pt x="2546" y="2873"/>
                        <a:pt x="2659" y="2985"/>
                        <a:pt x="2796" y="2985"/>
                      </a:cubicBezTo>
                      <a:cubicBezTo>
                        <a:pt x="2934" y="2985"/>
                        <a:pt x="3046" y="2873"/>
                        <a:pt x="3046" y="2735"/>
                      </a:cubicBezTo>
                      <a:cubicBezTo>
                        <a:pt x="3046" y="2598"/>
                        <a:pt x="2934" y="2485"/>
                        <a:pt x="2796" y="2485"/>
                      </a:cubicBezTo>
                      <a:close/>
                      <a:moveTo>
                        <a:pt x="1052" y="6484"/>
                      </a:moveTo>
                      <a:lnTo>
                        <a:pt x="4552" y="6484"/>
                      </a:lnTo>
                      <a:lnTo>
                        <a:pt x="4552" y="6734"/>
                      </a:lnTo>
                      <a:lnTo>
                        <a:pt x="1052" y="6734"/>
                      </a:lnTo>
                      <a:lnTo>
                        <a:pt x="1052" y="6484"/>
                      </a:lnTo>
                      <a:close/>
                    </a:path>
                  </a:pathLst>
                </a:custGeom>
                <a:solidFill>
                  <a:srgbClr val="F07D00"/>
                </a:solidFill>
                <a:ln w="0"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GB" sz="1100">
                    <a:solidFill>
                      <a:srgbClr val="003C50"/>
                    </a:solidFill>
                  </a:endParaRPr>
                </a:p>
              </p:txBody>
            </p:sp>
          </p:grpSp>
        </p:grpSp>
        <p:grpSp>
          <p:nvGrpSpPr>
            <p:cNvPr id="1462" name="Group 1461">
              <a:extLst>
                <a:ext uri="{FF2B5EF4-FFF2-40B4-BE49-F238E27FC236}">
                  <a16:creationId xmlns:a16="http://schemas.microsoft.com/office/drawing/2014/main" id="{F008848C-6CA8-AC64-5F5B-84606E5D40FF}"/>
                </a:ext>
              </a:extLst>
            </p:cNvPr>
            <p:cNvGrpSpPr/>
            <p:nvPr/>
          </p:nvGrpSpPr>
          <p:grpSpPr bwMode="gray">
            <a:xfrm>
              <a:off x="6121640" y="5195680"/>
              <a:ext cx="1110627" cy="338554"/>
              <a:chOff x="7172495" y="5195680"/>
              <a:chExt cx="1110627" cy="338554"/>
            </a:xfrm>
          </p:grpSpPr>
          <p:sp>
            <p:nvSpPr>
              <p:cNvPr id="1484" name="Rectangle 1483">
                <a:extLst>
                  <a:ext uri="{FF2B5EF4-FFF2-40B4-BE49-F238E27FC236}">
                    <a16:creationId xmlns:a16="http://schemas.microsoft.com/office/drawing/2014/main" id="{2A16CF56-7C06-26A3-4F06-A156DA58FFEB}"/>
                  </a:ext>
                </a:extLst>
              </p:cNvPr>
              <p:cNvSpPr/>
              <p:nvPr/>
            </p:nvSpPr>
            <p:spPr bwMode="gray">
              <a:xfrm>
                <a:off x="7567599" y="5195680"/>
                <a:ext cx="715523" cy="338554"/>
              </a:xfrm>
              <a:prstGeom prst="rect">
                <a:avLst/>
              </a:prstGeom>
            </p:spPr>
            <p:txBody>
              <a:bodyPr wrap="square" lIns="0" tIns="0" rIns="0" bIns="0" anchor="ctr">
                <a:spAutoFit/>
              </a:bodyPr>
              <a:lstStyle/>
              <a:p>
                <a:r>
                  <a:rPr lang="en-GB" sz="1100"/>
                  <a:t>Consumer &amp; Services</a:t>
                </a:r>
                <a:endParaRPr lang="en-GB" sz="1100">
                  <a:latin typeface="+mj-lt"/>
                </a:endParaRPr>
              </a:p>
            </p:txBody>
          </p:sp>
          <p:grpSp>
            <p:nvGrpSpPr>
              <p:cNvPr id="1485" name="Group 1484">
                <a:extLst>
                  <a:ext uri="{FF2B5EF4-FFF2-40B4-BE49-F238E27FC236}">
                    <a16:creationId xmlns:a16="http://schemas.microsoft.com/office/drawing/2014/main" id="{DD0A98C3-078E-E63A-4BB9-9C4E4994A7F3}"/>
                  </a:ext>
                </a:extLst>
              </p:cNvPr>
              <p:cNvGrpSpPr/>
              <p:nvPr>
                <p:custDataLst>
                  <p:tags r:id="rId49"/>
                </p:custDataLst>
              </p:nvPr>
            </p:nvGrpSpPr>
            <p:grpSpPr bwMode="gray">
              <a:xfrm>
                <a:off x="7172495" y="5197206"/>
                <a:ext cx="335500" cy="335500"/>
                <a:chOff x="6403070" y="4894804"/>
                <a:chExt cx="335500" cy="335500"/>
              </a:xfrm>
            </p:grpSpPr>
            <p:sp>
              <p:nvSpPr>
                <p:cNvPr id="1486" name="AutoShape 11">
                  <a:extLst>
                    <a:ext uri="{FF2B5EF4-FFF2-40B4-BE49-F238E27FC236}">
                      <a16:creationId xmlns:a16="http://schemas.microsoft.com/office/drawing/2014/main" id="{83B2515F-688D-5F96-9CBF-DB9398592838}"/>
                    </a:ext>
                  </a:extLst>
                </p:cNvPr>
                <p:cNvSpPr>
                  <a:spLocks noChangeAspect="1" noChangeArrowheads="1" noTextEdit="1"/>
                </p:cNvSpPr>
                <p:nvPr/>
              </p:nvSpPr>
              <p:spPr bwMode="gray">
                <a:xfrm>
                  <a:off x="6403070" y="4894804"/>
                  <a:ext cx="335500" cy="335500"/>
                </a:xfrm>
                <a:prstGeom prst="rect">
                  <a:avLst/>
                </a:prstGeom>
                <a:noFill/>
                <a:ln>
                  <a:noFill/>
                </a:ln>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9525" cap="flat" cmpd="sng" algn="ctr">
                      <a:solidFill>
                        <a:schemeClr val="hlink"/>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487" name="Freeform 13">
                  <a:extLst>
                    <a:ext uri="{FF2B5EF4-FFF2-40B4-BE49-F238E27FC236}">
                      <a16:creationId xmlns:a16="http://schemas.microsoft.com/office/drawing/2014/main" id="{EB3E1C54-290F-A38B-B23B-4347F58F0CF6}"/>
                    </a:ext>
                  </a:extLst>
                </p:cNvPr>
                <p:cNvSpPr>
                  <a:spLocks noEditPoints="1"/>
                </p:cNvSpPr>
                <p:nvPr/>
              </p:nvSpPr>
              <p:spPr bwMode="gray">
                <a:xfrm>
                  <a:off x="6419246" y="4986467"/>
                  <a:ext cx="290567" cy="174939"/>
                </a:xfrm>
                <a:custGeom>
                  <a:avLst/>
                  <a:gdLst>
                    <a:gd name="T0" fmla="*/ 1655 w 6303"/>
                    <a:gd name="T1" fmla="*/ 1751 h 3792"/>
                    <a:gd name="T2" fmla="*/ 5253 w 6303"/>
                    <a:gd name="T3" fmla="*/ 352 h 3792"/>
                    <a:gd name="T4" fmla="*/ 1184 w 6303"/>
                    <a:gd name="T5" fmla="*/ 758 h 3792"/>
                    <a:gd name="T6" fmla="*/ 428 w 6303"/>
                    <a:gd name="T7" fmla="*/ 1137 h 3792"/>
                    <a:gd name="T8" fmla="*/ 1655 w 6303"/>
                    <a:gd name="T9" fmla="*/ 1751 h 3792"/>
                    <a:gd name="T10" fmla="*/ 2458 w 6303"/>
                    <a:gd name="T11" fmla="*/ 3202 h 3792"/>
                    <a:gd name="T12" fmla="*/ 2817 w 6303"/>
                    <a:gd name="T13" fmla="*/ 2888 h 3792"/>
                    <a:gd name="T14" fmla="*/ 3057 w 6303"/>
                    <a:gd name="T15" fmla="*/ 3008 h 3792"/>
                    <a:gd name="T16" fmla="*/ 2235 w 6303"/>
                    <a:gd name="T17" fmla="*/ 3727 h 3792"/>
                    <a:gd name="T18" fmla="*/ 2029 w 6303"/>
                    <a:gd name="T19" fmla="*/ 3671 h 3792"/>
                    <a:gd name="T20" fmla="*/ 1544 w 6303"/>
                    <a:gd name="T21" fmla="*/ 1973 h 3792"/>
                    <a:gd name="T22" fmla="*/ 93 w 6303"/>
                    <a:gd name="T23" fmla="*/ 1248 h 3792"/>
                    <a:gd name="T24" fmla="*/ 93 w 6303"/>
                    <a:gd name="T25" fmla="*/ 1026 h 3792"/>
                    <a:gd name="T26" fmla="*/ 1093 w 6303"/>
                    <a:gd name="T27" fmla="*/ 526 h 3792"/>
                    <a:gd name="T28" fmla="*/ 1137 w 6303"/>
                    <a:gd name="T29" fmla="*/ 513 h 3792"/>
                    <a:gd name="T30" fmla="*/ 6130 w 6303"/>
                    <a:gd name="T31" fmla="*/ 13 h 3792"/>
                    <a:gd name="T32" fmla="*/ 6263 w 6303"/>
                    <a:gd name="T33" fmla="*/ 187 h 3792"/>
                    <a:gd name="T34" fmla="*/ 5265 w 6303"/>
                    <a:gd name="T35" fmla="*/ 2683 h 3792"/>
                    <a:gd name="T36" fmla="*/ 5198 w 6303"/>
                    <a:gd name="T37" fmla="*/ 2752 h 3792"/>
                    <a:gd name="T38" fmla="*/ 4205 w 6303"/>
                    <a:gd name="T39" fmla="*/ 3248 h 3792"/>
                    <a:gd name="T40" fmla="*/ 4093 w 6303"/>
                    <a:gd name="T41" fmla="*/ 3248 h 3792"/>
                    <a:gd name="T42" fmla="*/ 2714 w 6303"/>
                    <a:gd name="T43" fmla="*/ 2560 h 3792"/>
                    <a:gd name="T44" fmla="*/ 2458 w 6303"/>
                    <a:gd name="T45" fmla="*/ 3202 h 3792"/>
                    <a:gd name="T46" fmla="*/ 5889 w 6303"/>
                    <a:gd name="T47" fmla="*/ 453 h 3792"/>
                    <a:gd name="T48" fmla="*/ 2900 w 6303"/>
                    <a:gd name="T49" fmla="*/ 2373 h 3792"/>
                    <a:gd name="T50" fmla="*/ 4149 w 6303"/>
                    <a:gd name="T51" fmla="*/ 2998 h 3792"/>
                    <a:gd name="T52" fmla="*/ 5050 w 6303"/>
                    <a:gd name="T53" fmla="*/ 2547 h 3792"/>
                    <a:gd name="T54" fmla="*/ 5889 w 6303"/>
                    <a:gd name="T55" fmla="*/ 453 h 3792"/>
                    <a:gd name="T56" fmla="*/ 2532 w 6303"/>
                    <a:gd name="T57" fmla="*/ 2345 h 3792"/>
                    <a:gd name="T58" fmla="*/ 2582 w 6303"/>
                    <a:gd name="T59" fmla="*/ 2282 h 3792"/>
                    <a:gd name="T60" fmla="*/ 5039 w 6303"/>
                    <a:gd name="T61" fmla="*/ 702 h 3792"/>
                    <a:gd name="T62" fmla="*/ 1800 w 6303"/>
                    <a:gd name="T63" fmla="*/ 1962 h 3792"/>
                    <a:gd name="T64" fmla="*/ 2169 w 6303"/>
                    <a:gd name="T65" fmla="*/ 3252 h 3792"/>
                    <a:gd name="T66" fmla="*/ 2532 w 6303"/>
                    <a:gd name="T67" fmla="*/ 2345 h 3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03" h="3792">
                      <a:moveTo>
                        <a:pt x="1655" y="1751"/>
                      </a:moveTo>
                      <a:lnTo>
                        <a:pt x="5253" y="352"/>
                      </a:lnTo>
                      <a:lnTo>
                        <a:pt x="1184" y="758"/>
                      </a:lnTo>
                      <a:lnTo>
                        <a:pt x="428" y="1137"/>
                      </a:lnTo>
                      <a:lnTo>
                        <a:pt x="1655" y="1751"/>
                      </a:lnTo>
                      <a:close/>
                      <a:moveTo>
                        <a:pt x="2458" y="3202"/>
                      </a:moveTo>
                      <a:lnTo>
                        <a:pt x="2817" y="2888"/>
                      </a:lnTo>
                      <a:lnTo>
                        <a:pt x="3057" y="3008"/>
                      </a:lnTo>
                      <a:lnTo>
                        <a:pt x="2235" y="3727"/>
                      </a:lnTo>
                      <a:cubicBezTo>
                        <a:pt x="2168" y="3792"/>
                        <a:pt x="2055" y="3761"/>
                        <a:pt x="2029" y="3671"/>
                      </a:cubicBezTo>
                      <a:lnTo>
                        <a:pt x="1544" y="1973"/>
                      </a:lnTo>
                      <a:lnTo>
                        <a:pt x="93" y="1248"/>
                      </a:lnTo>
                      <a:cubicBezTo>
                        <a:pt x="0" y="1202"/>
                        <a:pt x="3" y="1071"/>
                        <a:pt x="93" y="1026"/>
                      </a:cubicBezTo>
                      <a:lnTo>
                        <a:pt x="1093" y="526"/>
                      </a:lnTo>
                      <a:cubicBezTo>
                        <a:pt x="1108" y="518"/>
                        <a:pt x="1122" y="515"/>
                        <a:pt x="1137" y="513"/>
                      </a:cubicBezTo>
                      <a:lnTo>
                        <a:pt x="6130" y="13"/>
                      </a:lnTo>
                      <a:cubicBezTo>
                        <a:pt x="6228" y="0"/>
                        <a:pt x="6303" y="98"/>
                        <a:pt x="6263" y="187"/>
                      </a:cubicBezTo>
                      <a:lnTo>
                        <a:pt x="5265" y="2683"/>
                      </a:lnTo>
                      <a:cubicBezTo>
                        <a:pt x="5252" y="2716"/>
                        <a:pt x="5228" y="2740"/>
                        <a:pt x="5198" y="2752"/>
                      </a:cubicBezTo>
                      <a:lnTo>
                        <a:pt x="4205" y="3248"/>
                      </a:lnTo>
                      <a:cubicBezTo>
                        <a:pt x="4168" y="3267"/>
                        <a:pt x="4128" y="3266"/>
                        <a:pt x="4093" y="3248"/>
                      </a:cubicBezTo>
                      <a:lnTo>
                        <a:pt x="2714" y="2560"/>
                      </a:lnTo>
                      <a:lnTo>
                        <a:pt x="2458" y="3202"/>
                      </a:lnTo>
                      <a:close/>
                      <a:moveTo>
                        <a:pt x="5889" y="453"/>
                      </a:moveTo>
                      <a:lnTo>
                        <a:pt x="2900" y="2373"/>
                      </a:lnTo>
                      <a:lnTo>
                        <a:pt x="4149" y="2998"/>
                      </a:lnTo>
                      <a:lnTo>
                        <a:pt x="5050" y="2547"/>
                      </a:lnTo>
                      <a:lnTo>
                        <a:pt x="5889" y="453"/>
                      </a:lnTo>
                      <a:close/>
                      <a:moveTo>
                        <a:pt x="2532" y="2345"/>
                      </a:moveTo>
                      <a:cubicBezTo>
                        <a:pt x="2540" y="2320"/>
                        <a:pt x="2558" y="2297"/>
                        <a:pt x="2582" y="2282"/>
                      </a:cubicBezTo>
                      <a:lnTo>
                        <a:pt x="5039" y="702"/>
                      </a:lnTo>
                      <a:lnTo>
                        <a:pt x="1800" y="1962"/>
                      </a:lnTo>
                      <a:lnTo>
                        <a:pt x="2169" y="3252"/>
                      </a:lnTo>
                      <a:lnTo>
                        <a:pt x="2532" y="2345"/>
                      </a:lnTo>
                      <a:close/>
                    </a:path>
                  </a:pathLst>
                </a:custGeom>
                <a:solidFill>
                  <a:srgbClr val="F07D00"/>
                </a:solidFill>
                <a:ln w="0"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GB" sz="1100">
                    <a:solidFill>
                      <a:srgbClr val="003C50"/>
                    </a:solidFill>
                  </a:endParaRPr>
                </a:p>
              </p:txBody>
            </p:sp>
          </p:grpSp>
        </p:grpSp>
        <p:grpSp>
          <p:nvGrpSpPr>
            <p:cNvPr id="1463" name="Group 1462">
              <a:extLst>
                <a:ext uri="{FF2B5EF4-FFF2-40B4-BE49-F238E27FC236}">
                  <a16:creationId xmlns:a16="http://schemas.microsoft.com/office/drawing/2014/main" id="{B0F54161-CA22-9BCA-861D-3642CFBE8922}"/>
                </a:ext>
              </a:extLst>
            </p:cNvPr>
            <p:cNvGrpSpPr/>
            <p:nvPr/>
          </p:nvGrpSpPr>
          <p:grpSpPr bwMode="gray">
            <a:xfrm>
              <a:off x="4833791" y="5197206"/>
              <a:ext cx="1094219" cy="335500"/>
              <a:chOff x="5739812" y="5197206"/>
              <a:chExt cx="1094219" cy="335500"/>
            </a:xfrm>
          </p:grpSpPr>
          <p:sp>
            <p:nvSpPr>
              <p:cNvPr id="1480" name="Rectangle 1479">
                <a:extLst>
                  <a:ext uri="{FF2B5EF4-FFF2-40B4-BE49-F238E27FC236}">
                    <a16:creationId xmlns:a16="http://schemas.microsoft.com/office/drawing/2014/main" id="{138C1F39-755C-CF71-49F2-29E7C6298C97}"/>
                  </a:ext>
                </a:extLst>
              </p:cNvPr>
              <p:cNvSpPr/>
              <p:nvPr/>
            </p:nvSpPr>
            <p:spPr bwMode="gray">
              <a:xfrm>
                <a:off x="6134916" y="5280317"/>
                <a:ext cx="699115" cy="169277"/>
              </a:xfrm>
              <a:prstGeom prst="rect">
                <a:avLst/>
              </a:prstGeom>
            </p:spPr>
            <p:txBody>
              <a:bodyPr wrap="square" lIns="0" tIns="0" rIns="0" bIns="0" anchor="ctr">
                <a:spAutoFit/>
              </a:bodyPr>
              <a:lstStyle/>
              <a:p>
                <a:r>
                  <a:rPr lang="en-GB" sz="1100"/>
                  <a:t>Healthcare</a:t>
                </a:r>
                <a:endParaRPr lang="en-GB" sz="1100">
                  <a:latin typeface="+mj-lt"/>
                </a:endParaRPr>
              </a:p>
            </p:txBody>
          </p:sp>
          <p:grpSp>
            <p:nvGrpSpPr>
              <p:cNvPr id="1481" name="Group 1480">
                <a:extLst>
                  <a:ext uri="{FF2B5EF4-FFF2-40B4-BE49-F238E27FC236}">
                    <a16:creationId xmlns:a16="http://schemas.microsoft.com/office/drawing/2014/main" id="{16A5D8E8-810B-16F7-C78D-0024DDE18751}"/>
                  </a:ext>
                </a:extLst>
              </p:cNvPr>
              <p:cNvGrpSpPr/>
              <p:nvPr>
                <p:custDataLst>
                  <p:tags r:id="rId48"/>
                </p:custDataLst>
              </p:nvPr>
            </p:nvGrpSpPr>
            <p:grpSpPr bwMode="gray">
              <a:xfrm>
                <a:off x="5739812" y="5197206"/>
                <a:ext cx="335500" cy="335500"/>
                <a:chOff x="4935005" y="4982129"/>
                <a:chExt cx="335500" cy="335500"/>
              </a:xfrm>
            </p:grpSpPr>
            <p:sp>
              <p:nvSpPr>
                <p:cNvPr id="1482" name="AutoShape 15">
                  <a:extLst>
                    <a:ext uri="{FF2B5EF4-FFF2-40B4-BE49-F238E27FC236}">
                      <a16:creationId xmlns:a16="http://schemas.microsoft.com/office/drawing/2014/main" id="{BAFC19AE-0D52-7DA9-0F1A-509C97036E8F}"/>
                    </a:ext>
                  </a:extLst>
                </p:cNvPr>
                <p:cNvSpPr>
                  <a:spLocks noChangeAspect="1" noChangeArrowheads="1" noTextEdit="1"/>
                </p:cNvSpPr>
                <p:nvPr/>
              </p:nvSpPr>
              <p:spPr bwMode="gray">
                <a:xfrm>
                  <a:off x="4935005" y="4982129"/>
                  <a:ext cx="335500" cy="335500"/>
                </a:xfrm>
                <a:prstGeom prst="rect">
                  <a:avLst/>
                </a:prstGeom>
                <a:noFill/>
                <a:ln>
                  <a:noFill/>
                </a:ln>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9525" cap="flat" cmpd="sng" algn="ctr">
                      <a:solidFill>
                        <a:schemeClr val="hlink"/>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483" name="Freeform 17">
                  <a:extLst>
                    <a:ext uri="{FF2B5EF4-FFF2-40B4-BE49-F238E27FC236}">
                      <a16:creationId xmlns:a16="http://schemas.microsoft.com/office/drawing/2014/main" id="{5B131D2B-D827-47D2-AB60-B837D598C5D8}"/>
                    </a:ext>
                  </a:extLst>
                </p:cNvPr>
                <p:cNvSpPr>
                  <a:spLocks noEditPoints="1"/>
                </p:cNvSpPr>
                <p:nvPr/>
              </p:nvSpPr>
              <p:spPr bwMode="gray">
                <a:xfrm rot="2700000">
                  <a:off x="4952379" y="5080383"/>
                  <a:ext cx="299554" cy="138394"/>
                </a:xfrm>
                <a:custGeom>
                  <a:avLst/>
                  <a:gdLst>
                    <a:gd name="T0" fmla="*/ 3500 w 6500"/>
                    <a:gd name="T1" fmla="*/ 2750 h 3000"/>
                    <a:gd name="T2" fmla="*/ 5000 w 6500"/>
                    <a:gd name="T3" fmla="*/ 2750 h 3000"/>
                    <a:gd name="T4" fmla="*/ 6250 w 6500"/>
                    <a:gd name="T5" fmla="*/ 1500 h 3000"/>
                    <a:gd name="T6" fmla="*/ 5000 w 6500"/>
                    <a:gd name="T7" fmla="*/ 250 h 3000"/>
                    <a:gd name="T8" fmla="*/ 3500 w 6500"/>
                    <a:gd name="T9" fmla="*/ 250 h 3000"/>
                    <a:gd name="T10" fmla="*/ 3500 w 6500"/>
                    <a:gd name="T11" fmla="*/ 0 h 3000"/>
                    <a:gd name="T12" fmla="*/ 5000 w 6500"/>
                    <a:gd name="T13" fmla="*/ 0 h 3000"/>
                    <a:gd name="T14" fmla="*/ 6500 w 6500"/>
                    <a:gd name="T15" fmla="*/ 1500 h 3000"/>
                    <a:gd name="T16" fmla="*/ 5000 w 6500"/>
                    <a:gd name="T17" fmla="*/ 3000 h 3000"/>
                    <a:gd name="T18" fmla="*/ 3500 w 6500"/>
                    <a:gd name="T19" fmla="*/ 3000 h 3000"/>
                    <a:gd name="T20" fmla="*/ 3500 w 6500"/>
                    <a:gd name="T21" fmla="*/ 2750 h 3000"/>
                    <a:gd name="T22" fmla="*/ 3000 w 6500"/>
                    <a:gd name="T23" fmla="*/ 2750 h 3000"/>
                    <a:gd name="T24" fmla="*/ 3000 w 6500"/>
                    <a:gd name="T25" fmla="*/ 250 h 3000"/>
                    <a:gd name="T26" fmla="*/ 1500 w 6500"/>
                    <a:gd name="T27" fmla="*/ 250 h 3000"/>
                    <a:gd name="T28" fmla="*/ 250 w 6500"/>
                    <a:gd name="T29" fmla="*/ 1500 h 3000"/>
                    <a:gd name="T30" fmla="*/ 1500 w 6500"/>
                    <a:gd name="T31" fmla="*/ 2750 h 3000"/>
                    <a:gd name="T32" fmla="*/ 3000 w 6500"/>
                    <a:gd name="T33" fmla="*/ 2750 h 3000"/>
                    <a:gd name="T34" fmla="*/ 3250 w 6500"/>
                    <a:gd name="T35" fmla="*/ 0 h 3000"/>
                    <a:gd name="T36" fmla="*/ 3250 w 6500"/>
                    <a:gd name="T37" fmla="*/ 3000 h 3000"/>
                    <a:gd name="T38" fmla="*/ 1500 w 6500"/>
                    <a:gd name="T39" fmla="*/ 3000 h 3000"/>
                    <a:gd name="T40" fmla="*/ 0 w 6500"/>
                    <a:gd name="T41" fmla="*/ 1500 h 3000"/>
                    <a:gd name="T42" fmla="*/ 1500 w 6500"/>
                    <a:gd name="T43" fmla="*/ 0 h 3000"/>
                    <a:gd name="T44" fmla="*/ 3250 w 6500"/>
                    <a:gd name="T45" fmla="*/ 0 h 3000"/>
                    <a:gd name="T46" fmla="*/ 6000 w 6500"/>
                    <a:gd name="T47" fmla="*/ 1500 h 3000"/>
                    <a:gd name="T48" fmla="*/ 5000 w 6500"/>
                    <a:gd name="T49" fmla="*/ 2500 h 3000"/>
                    <a:gd name="T50" fmla="*/ 3750 w 6500"/>
                    <a:gd name="T51" fmla="*/ 2500 h 3000"/>
                    <a:gd name="T52" fmla="*/ 3750 w 6500"/>
                    <a:gd name="T53" fmla="*/ 2250 h 3000"/>
                    <a:gd name="T54" fmla="*/ 5000 w 6500"/>
                    <a:gd name="T55" fmla="*/ 2250 h 3000"/>
                    <a:gd name="T56" fmla="*/ 5750 w 6500"/>
                    <a:gd name="T57" fmla="*/ 1500 h 3000"/>
                    <a:gd name="T58" fmla="*/ 6000 w 6500"/>
                    <a:gd name="T59" fmla="*/ 1500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500" h="3000">
                      <a:moveTo>
                        <a:pt x="3500" y="2750"/>
                      </a:moveTo>
                      <a:lnTo>
                        <a:pt x="5000" y="2750"/>
                      </a:lnTo>
                      <a:cubicBezTo>
                        <a:pt x="5690" y="2750"/>
                        <a:pt x="6250" y="2190"/>
                        <a:pt x="6250" y="1500"/>
                      </a:cubicBezTo>
                      <a:cubicBezTo>
                        <a:pt x="6250" y="810"/>
                        <a:pt x="5690" y="250"/>
                        <a:pt x="5000" y="250"/>
                      </a:cubicBezTo>
                      <a:lnTo>
                        <a:pt x="3500" y="250"/>
                      </a:lnTo>
                      <a:lnTo>
                        <a:pt x="3500" y="0"/>
                      </a:lnTo>
                      <a:lnTo>
                        <a:pt x="5000" y="0"/>
                      </a:lnTo>
                      <a:cubicBezTo>
                        <a:pt x="5829" y="0"/>
                        <a:pt x="6500" y="671"/>
                        <a:pt x="6500" y="1500"/>
                      </a:cubicBezTo>
                      <a:cubicBezTo>
                        <a:pt x="6500" y="2329"/>
                        <a:pt x="5829" y="3000"/>
                        <a:pt x="5000" y="3000"/>
                      </a:cubicBezTo>
                      <a:lnTo>
                        <a:pt x="3500" y="3000"/>
                      </a:lnTo>
                      <a:lnTo>
                        <a:pt x="3500" y="2750"/>
                      </a:lnTo>
                      <a:close/>
                      <a:moveTo>
                        <a:pt x="3000" y="2750"/>
                      </a:moveTo>
                      <a:lnTo>
                        <a:pt x="3000" y="250"/>
                      </a:lnTo>
                      <a:lnTo>
                        <a:pt x="1500" y="250"/>
                      </a:lnTo>
                      <a:cubicBezTo>
                        <a:pt x="810" y="250"/>
                        <a:pt x="250" y="810"/>
                        <a:pt x="250" y="1500"/>
                      </a:cubicBezTo>
                      <a:cubicBezTo>
                        <a:pt x="250" y="2190"/>
                        <a:pt x="810" y="2750"/>
                        <a:pt x="1500" y="2750"/>
                      </a:cubicBezTo>
                      <a:lnTo>
                        <a:pt x="3000" y="2750"/>
                      </a:lnTo>
                      <a:close/>
                      <a:moveTo>
                        <a:pt x="3250" y="0"/>
                      </a:moveTo>
                      <a:lnTo>
                        <a:pt x="3250" y="3000"/>
                      </a:lnTo>
                      <a:lnTo>
                        <a:pt x="1500" y="3000"/>
                      </a:lnTo>
                      <a:cubicBezTo>
                        <a:pt x="671" y="3000"/>
                        <a:pt x="0" y="2329"/>
                        <a:pt x="0" y="1500"/>
                      </a:cubicBezTo>
                      <a:cubicBezTo>
                        <a:pt x="0" y="671"/>
                        <a:pt x="671" y="0"/>
                        <a:pt x="1500" y="0"/>
                      </a:cubicBezTo>
                      <a:lnTo>
                        <a:pt x="3250" y="0"/>
                      </a:lnTo>
                      <a:close/>
                      <a:moveTo>
                        <a:pt x="6000" y="1500"/>
                      </a:moveTo>
                      <a:cubicBezTo>
                        <a:pt x="6000" y="2053"/>
                        <a:pt x="5553" y="2500"/>
                        <a:pt x="5000" y="2500"/>
                      </a:cubicBezTo>
                      <a:lnTo>
                        <a:pt x="3750" y="2500"/>
                      </a:lnTo>
                      <a:lnTo>
                        <a:pt x="3750" y="2250"/>
                      </a:lnTo>
                      <a:lnTo>
                        <a:pt x="5000" y="2250"/>
                      </a:lnTo>
                      <a:cubicBezTo>
                        <a:pt x="5414" y="2250"/>
                        <a:pt x="5750" y="1914"/>
                        <a:pt x="5750" y="1500"/>
                      </a:cubicBezTo>
                      <a:lnTo>
                        <a:pt x="6000" y="1500"/>
                      </a:lnTo>
                      <a:close/>
                    </a:path>
                  </a:pathLst>
                </a:custGeom>
                <a:solidFill>
                  <a:srgbClr val="F07D00"/>
                </a:solidFill>
                <a:ln w="0"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GB" sz="1100">
                    <a:solidFill>
                      <a:srgbClr val="003C50"/>
                    </a:solidFill>
                  </a:endParaRPr>
                </a:p>
              </p:txBody>
            </p:sp>
          </p:grpSp>
        </p:grpSp>
        <p:grpSp>
          <p:nvGrpSpPr>
            <p:cNvPr id="1464" name="Group 1463">
              <a:extLst>
                <a:ext uri="{FF2B5EF4-FFF2-40B4-BE49-F238E27FC236}">
                  <a16:creationId xmlns:a16="http://schemas.microsoft.com/office/drawing/2014/main" id="{216746B0-5899-A4C6-93DC-639F8772C06F}"/>
                </a:ext>
              </a:extLst>
            </p:cNvPr>
            <p:cNvGrpSpPr/>
            <p:nvPr/>
          </p:nvGrpSpPr>
          <p:grpSpPr bwMode="gray">
            <a:xfrm>
              <a:off x="1845122" y="5195679"/>
              <a:ext cx="1563662" cy="338554"/>
              <a:chOff x="1989956" y="5195679"/>
              <a:chExt cx="1563662" cy="338554"/>
            </a:xfrm>
          </p:grpSpPr>
          <p:sp>
            <p:nvSpPr>
              <p:cNvPr id="1475" name="Rectangle 1474">
                <a:extLst>
                  <a:ext uri="{FF2B5EF4-FFF2-40B4-BE49-F238E27FC236}">
                    <a16:creationId xmlns:a16="http://schemas.microsoft.com/office/drawing/2014/main" id="{F94F47C8-73F4-D602-806E-961E33028D50}"/>
                  </a:ext>
                </a:extLst>
              </p:cNvPr>
              <p:cNvSpPr/>
              <p:nvPr/>
            </p:nvSpPr>
            <p:spPr bwMode="gray">
              <a:xfrm>
                <a:off x="2385060" y="5195679"/>
                <a:ext cx="1168558" cy="338554"/>
              </a:xfrm>
              <a:prstGeom prst="rect">
                <a:avLst/>
              </a:prstGeom>
            </p:spPr>
            <p:txBody>
              <a:bodyPr wrap="square" lIns="0" tIns="0" rIns="0" bIns="0" anchor="ctr">
                <a:spAutoFit/>
              </a:bodyPr>
              <a:lstStyle/>
              <a:p>
                <a:r>
                  <a:rPr lang="en-GB" sz="1100"/>
                  <a:t>Insurance &amp; Asset Management</a:t>
                </a:r>
                <a:endParaRPr lang="en-GB" sz="1100">
                  <a:latin typeface="+mj-lt"/>
                </a:endParaRPr>
              </a:p>
            </p:txBody>
          </p:sp>
          <p:grpSp>
            <p:nvGrpSpPr>
              <p:cNvPr id="1476" name="Group 1475">
                <a:extLst>
                  <a:ext uri="{FF2B5EF4-FFF2-40B4-BE49-F238E27FC236}">
                    <a16:creationId xmlns:a16="http://schemas.microsoft.com/office/drawing/2014/main" id="{10213E80-0E8A-C300-7CA8-12E1F920A2CF}"/>
                  </a:ext>
                </a:extLst>
              </p:cNvPr>
              <p:cNvGrpSpPr/>
              <p:nvPr>
                <p:custDataLst>
                  <p:tags r:id="rId47"/>
                </p:custDataLst>
              </p:nvPr>
            </p:nvGrpSpPr>
            <p:grpSpPr bwMode="gray">
              <a:xfrm>
                <a:off x="1989956" y="5197206"/>
                <a:ext cx="335500" cy="335500"/>
                <a:chOff x="1585942" y="4623818"/>
                <a:chExt cx="335500" cy="335500"/>
              </a:xfrm>
            </p:grpSpPr>
            <p:sp>
              <p:nvSpPr>
                <p:cNvPr id="1477" name="AutoShape 19">
                  <a:extLst>
                    <a:ext uri="{FF2B5EF4-FFF2-40B4-BE49-F238E27FC236}">
                      <a16:creationId xmlns:a16="http://schemas.microsoft.com/office/drawing/2014/main" id="{98E86284-B2B5-51C4-CD78-4A6232D81F2E}"/>
                    </a:ext>
                  </a:extLst>
                </p:cNvPr>
                <p:cNvSpPr>
                  <a:spLocks noChangeAspect="1" noChangeArrowheads="1" noTextEdit="1"/>
                </p:cNvSpPr>
                <p:nvPr/>
              </p:nvSpPr>
              <p:spPr bwMode="gray">
                <a:xfrm>
                  <a:off x="1585942" y="4623818"/>
                  <a:ext cx="335500" cy="335500"/>
                </a:xfrm>
                <a:prstGeom prst="rect">
                  <a:avLst/>
                </a:prstGeom>
                <a:noFill/>
                <a:ln>
                  <a:noFill/>
                </a:ln>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9525" cap="flat" cmpd="sng" algn="ctr">
                      <a:solidFill>
                        <a:schemeClr val="hlink"/>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478" name="Freeform 21">
                  <a:extLst>
                    <a:ext uri="{FF2B5EF4-FFF2-40B4-BE49-F238E27FC236}">
                      <a16:creationId xmlns:a16="http://schemas.microsoft.com/office/drawing/2014/main" id="{C357FE4B-89AC-D9C1-9D44-03722D146C76}"/>
                    </a:ext>
                  </a:extLst>
                </p:cNvPr>
                <p:cNvSpPr>
                  <a:spLocks noEditPoints="1"/>
                </p:cNvSpPr>
                <p:nvPr/>
              </p:nvSpPr>
              <p:spPr bwMode="gray">
                <a:xfrm>
                  <a:off x="1603316" y="4641791"/>
                  <a:ext cx="194710" cy="252823"/>
                </a:xfrm>
                <a:custGeom>
                  <a:avLst/>
                  <a:gdLst>
                    <a:gd name="T0" fmla="*/ 2611 w 4230"/>
                    <a:gd name="T1" fmla="*/ 1303 h 5484"/>
                    <a:gd name="T2" fmla="*/ 2770 w 4230"/>
                    <a:gd name="T3" fmla="*/ 2139 h 5484"/>
                    <a:gd name="T4" fmla="*/ 3173 w 4230"/>
                    <a:gd name="T5" fmla="*/ 2164 h 5484"/>
                    <a:gd name="T6" fmla="*/ 3289 w 4230"/>
                    <a:gd name="T7" fmla="*/ 1073 h 5484"/>
                    <a:gd name="T8" fmla="*/ 4036 w 4230"/>
                    <a:gd name="T9" fmla="*/ 2213 h 5484"/>
                    <a:gd name="T10" fmla="*/ 3978 w 4230"/>
                    <a:gd name="T11" fmla="*/ 2984 h 5484"/>
                    <a:gd name="T12" fmla="*/ 3588 w 4230"/>
                    <a:gd name="T13" fmla="*/ 1823 h 5484"/>
                    <a:gd name="T14" fmla="*/ 2968 w 4230"/>
                    <a:gd name="T15" fmla="*/ 2475 h 5484"/>
                    <a:gd name="T16" fmla="*/ 2336 w 4230"/>
                    <a:gd name="T17" fmla="*/ 1408 h 5484"/>
                    <a:gd name="T18" fmla="*/ 2286 w 4230"/>
                    <a:gd name="T19" fmla="*/ 505 h 5484"/>
                    <a:gd name="T20" fmla="*/ 1501 w 4230"/>
                    <a:gd name="T21" fmla="*/ 1443 h 5484"/>
                    <a:gd name="T22" fmla="*/ 1214 w 4230"/>
                    <a:gd name="T23" fmla="*/ 2987 h 5484"/>
                    <a:gd name="T24" fmla="*/ 685 w 4230"/>
                    <a:gd name="T25" fmla="*/ 3042 h 5484"/>
                    <a:gd name="T26" fmla="*/ 393 w 4230"/>
                    <a:gd name="T27" fmla="*/ 2548 h 5484"/>
                    <a:gd name="T28" fmla="*/ 250 w 4230"/>
                    <a:gd name="T29" fmla="*/ 3272 h 5484"/>
                    <a:gd name="T30" fmla="*/ 2125 w 4230"/>
                    <a:gd name="T31" fmla="*/ 5234 h 5484"/>
                    <a:gd name="T32" fmla="*/ 2250 w 4230"/>
                    <a:gd name="T33" fmla="*/ 5480 h 5484"/>
                    <a:gd name="T34" fmla="*/ 633 w 4230"/>
                    <a:gd name="T35" fmla="*/ 4865 h 5484"/>
                    <a:gd name="T36" fmla="*/ 99 w 4230"/>
                    <a:gd name="T37" fmla="*/ 2613 h 5484"/>
                    <a:gd name="T38" fmla="*/ 674 w 4230"/>
                    <a:gd name="T39" fmla="*/ 1710 h 5484"/>
                    <a:gd name="T40" fmla="*/ 706 w 4230"/>
                    <a:gd name="T41" fmla="*/ 2685 h 5484"/>
                    <a:gd name="T42" fmla="*/ 936 w 4230"/>
                    <a:gd name="T43" fmla="*/ 2872 h 5484"/>
                    <a:gd name="T44" fmla="*/ 1119 w 4230"/>
                    <a:gd name="T45" fmla="*/ 2310 h 5484"/>
                    <a:gd name="T46" fmla="*/ 1729 w 4230"/>
                    <a:gd name="T47" fmla="*/ 910 h 5484"/>
                    <a:gd name="T48" fmla="*/ 1941 w 4230"/>
                    <a:gd name="T49" fmla="*/ 0 h 5484"/>
                    <a:gd name="T50" fmla="*/ 2145 w 4230"/>
                    <a:gd name="T51" fmla="*/ 1698 h 5484"/>
                    <a:gd name="T52" fmla="*/ 2861 w 4230"/>
                    <a:gd name="T53" fmla="*/ 2984 h 5484"/>
                    <a:gd name="T54" fmla="*/ 1924 w 4230"/>
                    <a:gd name="T55" fmla="*/ 2007 h 5484"/>
                    <a:gd name="T56" fmla="*/ 2121 w 4230"/>
                    <a:gd name="T57" fmla="*/ 4003 h 5484"/>
                    <a:gd name="T58" fmla="*/ 1549 w 4230"/>
                    <a:gd name="T59" fmla="*/ 4174 h 5484"/>
                    <a:gd name="T60" fmla="*/ 1056 w 4230"/>
                    <a:gd name="T61" fmla="*/ 3835 h 5484"/>
                    <a:gd name="T62" fmla="*/ 1191 w 4230"/>
                    <a:gd name="T63" fmla="*/ 4419 h 5484"/>
                    <a:gd name="T64" fmla="*/ 2125 w 4230"/>
                    <a:gd name="T65" fmla="*/ 4867 h 5484"/>
                    <a:gd name="T66" fmla="*/ 2250 w 4230"/>
                    <a:gd name="T67" fmla="*/ 5113 h 5484"/>
                    <a:gd name="T68" fmla="*/ 1479 w 4230"/>
                    <a:gd name="T69" fmla="*/ 4975 h 5484"/>
                    <a:gd name="T70" fmla="*/ 798 w 4230"/>
                    <a:gd name="T71" fmla="*/ 3958 h 5484"/>
                    <a:gd name="T72" fmla="*/ 1050 w 4230"/>
                    <a:gd name="T73" fmla="*/ 3170 h 5484"/>
                    <a:gd name="T74" fmla="*/ 1378 w 4230"/>
                    <a:gd name="T75" fmla="*/ 3817 h 5484"/>
                    <a:gd name="T76" fmla="*/ 1809 w 4230"/>
                    <a:gd name="T77" fmla="*/ 3925 h 5484"/>
                    <a:gd name="T78" fmla="*/ 1816 w 4230"/>
                    <a:gd name="T79" fmla="*/ 3143 h 5484"/>
                    <a:gd name="T80" fmla="*/ 2145 w 4230"/>
                    <a:gd name="T81" fmla="*/ 1420 h 5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30" h="5484">
                      <a:moveTo>
                        <a:pt x="2181" y="123"/>
                      </a:moveTo>
                      <a:cubicBezTo>
                        <a:pt x="2795" y="438"/>
                        <a:pt x="2700" y="883"/>
                        <a:pt x="2611" y="1303"/>
                      </a:cubicBezTo>
                      <a:cubicBezTo>
                        <a:pt x="2600" y="1359"/>
                        <a:pt x="2588" y="1413"/>
                        <a:pt x="2581" y="1452"/>
                      </a:cubicBezTo>
                      <a:cubicBezTo>
                        <a:pt x="2521" y="1779"/>
                        <a:pt x="2621" y="2017"/>
                        <a:pt x="2770" y="2139"/>
                      </a:cubicBezTo>
                      <a:cubicBezTo>
                        <a:pt x="2835" y="2192"/>
                        <a:pt x="2909" y="2222"/>
                        <a:pt x="2981" y="2227"/>
                      </a:cubicBezTo>
                      <a:cubicBezTo>
                        <a:pt x="3049" y="2230"/>
                        <a:pt x="3116" y="2210"/>
                        <a:pt x="3173" y="2164"/>
                      </a:cubicBezTo>
                      <a:cubicBezTo>
                        <a:pt x="3300" y="2062"/>
                        <a:pt x="3381" y="1832"/>
                        <a:pt x="3334" y="1444"/>
                      </a:cubicBezTo>
                      <a:lnTo>
                        <a:pt x="3289" y="1073"/>
                      </a:lnTo>
                      <a:lnTo>
                        <a:pt x="3549" y="1344"/>
                      </a:lnTo>
                      <a:cubicBezTo>
                        <a:pt x="3739" y="1542"/>
                        <a:pt x="3911" y="1865"/>
                        <a:pt x="4036" y="2213"/>
                      </a:cubicBezTo>
                      <a:cubicBezTo>
                        <a:pt x="4129" y="2469"/>
                        <a:pt x="4198" y="2739"/>
                        <a:pt x="4230" y="2984"/>
                      </a:cubicBezTo>
                      <a:lnTo>
                        <a:pt x="3978" y="2984"/>
                      </a:lnTo>
                      <a:cubicBezTo>
                        <a:pt x="3946" y="2767"/>
                        <a:pt x="3885" y="2527"/>
                        <a:pt x="3803" y="2298"/>
                      </a:cubicBezTo>
                      <a:cubicBezTo>
                        <a:pt x="3740" y="2127"/>
                        <a:pt x="3668" y="1964"/>
                        <a:pt x="3588" y="1823"/>
                      </a:cubicBezTo>
                      <a:cubicBezTo>
                        <a:pt x="3556" y="2078"/>
                        <a:pt x="3458" y="2254"/>
                        <a:pt x="3329" y="2359"/>
                      </a:cubicBezTo>
                      <a:cubicBezTo>
                        <a:pt x="3221" y="2445"/>
                        <a:pt x="3095" y="2483"/>
                        <a:pt x="2968" y="2475"/>
                      </a:cubicBezTo>
                      <a:cubicBezTo>
                        <a:pt x="2843" y="2468"/>
                        <a:pt x="2719" y="2419"/>
                        <a:pt x="2613" y="2332"/>
                      </a:cubicBezTo>
                      <a:cubicBezTo>
                        <a:pt x="2401" y="2160"/>
                        <a:pt x="2258" y="1837"/>
                        <a:pt x="2336" y="1408"/>
                      </a:cubicBezTo>
                      <a:cubicBezTo>
                        <a:pt x="2348" y="1347"/>
                        <a:pt x="2358" y="1299"/>
                        <a:pt x="2368" y="1252"/>
                      </a:cubicBezTo>
                      <a:cubicBezTo>
                        <a:pt x="2423" y="992"/>
                        <a:pt x="2480" y="720"/>
                        <a:pt x="2286" y="505"/>
                      </a:cubicBezTo>
                      <a:cubicBezTo>
                        <a:pt x="2286" y="843"/>
                        <a:pt x="2091" y="970"/>
                        <a:pt x="1865" y="1119"/>
                      </a:cubicBezTo>
                      <a:cubicBezTo>
                        <a:pt x="1740" y="1202"/>
                        <a:pt x="1601" y="1292"/>
                        <a:pt x="1501" y="1443"/>
                      </a:cubicBezTo>
                      <a:cubicBezTo>
                        <a:pt x="1279" y="1774"/>
                        <a:pt x="1325" y="2039"/>
                        <a:pt x="1364" y="2268"/>
                      </a:cubicBezTo>
                      <a:cubicBezTo>
                        <a:pt x="1409" y="2525"/>
                        <a:pt x="1448" y="2748"/>
                        <a:pt x="1214" y="2987"/>
                      </a:cubicBezTo>
                      <a:cubicBezTo>
                        <a:pt x="1140" y="3063"/>
                        <a:pt x="1059" y="3105"/>
                        <a:pt x="976" y="3118"/>
                      </a:cubicBezTo>
                      <a:cubicBezTo>
                        <a:pt x="873" y="3135"/>
                        <a:pt x="773" y="3105"/>
                        <a:pt x="685" y="3042"/>
                      </a:cubicBezTo>
                      <a:cubicBezTo>
                        <a:pt x="608" y="2987"/>
                        <a:pt x="540" y="2903"/>
                        <a:pt x="486" y="2802"/>
                      </a:cubicBezTo>
                      <a:cubicBezTo>
                        <a:pt x="446" y="2727"/>
                        <a:pt x="414" y="2640"/>
                        <a:pt x="393" y="2548"/>
                      </a:cubicBezTo>
                      <a:cubicBezTo>
                        <a:pt x="371" y="2594"/>
                        <a:pt x="351" y="2643"/>
                        <a:pt x="335" y="2692"/>
                      </a:cubicBezTo>
                      <a:cubicBezTo>
                        <a:pt x="279" y="2862"/>
                        <a:pt x="250" y="3050"/>
                        <a:pt x="250" y="3272"/>
                      </a:cubicBezTo>
                      <a:cubicBezTo>
                        <a:pt x="250" y="3758"/>
                        <a:pt x="438" y="4302"/>
                        <a:pt x="813" y="4693"/>
                      </a:cubicBezTo>
                      <a:cubicBezTo>
                        <a:pt x="1121" y="5014"/>
                        <a:pt x="1559" y="5234"/>
                        <a:pt x="2125" y="5234"/>
                      </a:cubicBezTo>
                      <a:cubicBezTo>
                        <a:pt x="2168" y="5234"/>
                        <a:pt x="2209" y="5233"/>
                        <a:pt x="2250" y="5230"/>
                      </a:cubicBezTo>
                      <a:lnTo>
                        <a:pt x="2250" y="5480"/>
                      </a:lnTo>
                      <a:cubicBezTo>
                        <a:pt x="2209" y="5483"/>
                        <a:pt x="2168" y="5484"/>
                        <a:pt x="2125" y="5484"/>
                      </a:cubicBezTo>
                      <a:cubicBezTo>
                        <a:pt x="1483" y="5484"/>
                        <a:pt x="985" y="5233"/>
                        <a:pt x="633" y="4865"/>
                      </a:cubicBezTo>
                      <a:cubicBezTo>
                        <a:pt x="211" y="4425"/>
                        <a:pt x="0" y="3817"/>
                        <a:pt x="0" y="3272"/>
                      </a:cubicBezTo>
                      <a:cubicBezTo>
                        <a:pt x="0" y="3024"/>
                        <a:pt x="33" y="2809"/>
                        <a:pt x="99" y="2613"/>
                      </a:cubicBezTo>
                      <a:cubicBezTo>
                        <a:pt x="165" y="2415"/>
                        <a:pt x="264" y="2239"/>
                        <a:pt x="395" y="2070"/>
                      </a:cubicBezTo>
                      <a:lnTo>
                        <a:pt x="674" y="1710"/>
                      </a:lnTo>
                      <a:lnTo>
                        <a:pt x="618" y="2162"/>
                      </a:lnTo>
                      <a:cubicBezTo>
                        <a:pt x="594" y="2355"/>
                        <a:pt x="633" y="2545"/>
                        <a:pt x="706" y="2685"/>
                      </a:cubicBezTo>
                      <a:cubicBezTo>
                        <a:pt x="743" y="2753"/>
                        <a:pt x="785" y="2807"/>
                        <a:pt x="831" y="2840"/>
                      </a:cubicBezTo>
                      <a:cubicBezTo>
                        <a:pt x="866" y="2865"/>
                        <a:pt x="903" y="2878"/>
                        <a:pt x="936" y="2872"/>
                      </a:cubicBezTo>
                      <a:cubicBezTo>
                        <a:pt x="968" y="2868"/>
                        <a:pt x="1000" y="2848"/>
                        <a:pt x="1036" y="2812"/>
                      </a:cubicBezTo>
                      <a:cubicBezTo>
                        <a:pt x="1180" y="2664"/>
                        <a:pt x="1151" y="2500"/>
                        <a:pt x="1119" y="2310"/>
                      </a:cubicBezTo>
                      <a:cubicBezTo>
                        <a:pt x="1071" y="2035"/>
                        <a:pt x="1016" y="1719"/>
                        <a:pt x="1294" y="1304"/>
                      </a:cubicBezTo>
                      <a:cubicBezTo>
                        <a:pt x="1424" y="1110"/>
                        <a:pt x="1584" y="1005"/>
                        <a:pt x="1729" y="910"/>
                      </a:cubicBezTo>
                      <a:cubicBezTo>
                        <a:pt x="1933" y="777"/>
                        <a:pt x="2100" y="667"/>
                        <a:pt x="2004" y="263"/>
                      </a:cubicBezTo>
                      <a:lnTo>
                        <a:pt x="1941" y="0"/>
                      </a:lnTo>
                      <a:lnTo>
                        <a:pt x="2181" y="123"/>
                      </a:lnTo>
                      <a:close/>
                      <a:moveTo>
                        <a:pt x="2145" y="1698"/>
                      </a:moveTo>
                      <a:cubicBezTo>
                        <a:pt x="2145" y="2233"/>
                        <a:pt x="2451" y="2554"/>
                        <a:pt x="2759" y="2877"/>
                      </a:cubicBezTo>
                      <a:cubicBezTo>
                        <a:pt x="2794" y="2912"/>
                        <a:pt x="2828" y="2948"/>
                        <a:pt x="2861" y="2984"/>
                      </a:cubicBezTo>
                      <a:lnTo>
                        <a:pt x="2518" y="2984"/>
                      </a:lnTo>
                      <a:cubicBezTo>
                        <a:pt x="2256" y="2709"/>
                        <a:pt x="2008" y="2424"/>
                        <a:pt x="1924" y="2007"/>
                      </a:cubicBezTo>
                      <a:cubicBezTo>
                        <a:pt x="1729" y="2347"/>
                        <a:pt x="1895" y="2712"/>
                        <a:pt x="2044" y="3040"/>
                      </a:cubicBezTo>
                      <a:cubicBezTo>
                        <a:pt x="2206" y="3398"/>
                        <a:pt x="2353" y="3722"/>
                        <a:pt x="2121" y="4003"/>
                      </a:cubicBezTo>
                      <a:cubicBezTo>
                        <a:pt x="2059" y="4079"/>
                        <a:pt x="1978" y="4133"/>
                        <a:pt x="1886" y="4163"/>
                      </a:cubicBezTo>
                      <a:cubicBezTo>
                        <a:pt x="1783" y="4197"/>
                        <a:pt x="1666" y="4200"/>
                        <a:pt x="1549" y="4174"/>
                      </a:cubicBezTo>
                      <a:cubicBezTo>
                        <a:pt x="1436" y="4148"/>
                        <a:pt x="1321" y="4093"/>
                        <a:pt x="1219" y="4009"/>
                      </a:cubicBezTo>
                      <a:cubicBezTo>
                        <a:pt x="1160" y="3960"/>
                        <a:pt x="1105" y="3903"/>
                        <a:pt x="1056" y="3835"/>
                      </a:cubicBezTo>
                      <a:cubicBezTo>
                        <a:pt x="1050" y="3877"/>
                        <a:pt x="1048" y="3918"/>
                        <a:pt x="1048" y="3958"/>
                      </a:cubicBezTo>
                      <a:cubicBezTo>
                        <a:pt x="1048" y="4127"/>
                        <a:pt x="1099" y="4284"/>
                        <a:pt x="1191" y="4419"/>
                      </a:cubicBezTo>
                      <a:cubicBezTo>
                        <a:pt x="1285" y="4557"/>
                        <a:pt x="1420" y="4672"/>
                        <a:pt x="1586" y="4750"/>
                      </a:cubicBezTo>
                      <a:cubicBezTo>
                        <a:pt x="1743" y="4824"/>
                        <a:pt x="1925" y="4867"/>
                        <a:pt x="2125" y="4867"/>
                      </a:cubicBezTo>
                      <a:cubicBezTo>
                        <a:pt x="2168" y="4867"/>
                        <a:pt x="2210" y="4865"/>
                        <a:pt x="2250" y="4862"/>
                      </a:cubicBezTo>
                      <a:lnTo>
                        <a:pt x="2250" y="5113"/>
                      </a:lnTo>
                      <a:cubicBezTo>
                        <a:pt x="2209" y="5115"/>
                        <a:pt x="2168" y="5117"/>
                        <a:pt x="2125" y="5117"/>
                      </a:cubicBezTo>
                      <a:cubicBezTo>
                        <a:pt x="1888" y="5117"/>
                        <a:pt x="1668" y="5065"/>
                        <a:pt x="1479" y="4975"/>
                      </a:cubicBezTo>
                      <a:cubicBezTo>
                        <a:pt x="1274" y="4878"/>
                        <a:pt x="1104" y="4734"/>
                        <a:pt x="985" y="4560"/>
                      </a:cubicBezTo>
                      <a:cubicBezTo>
                        <a:pt x="865" y="4384"/>
                        <a:pt x="798" y="4178"/>
                        <a:pt x="798" y="3958"/>
                      </a:cubicBezTo>
                      <a:cubicBezTo>
                        <a:pt x="798" y="3794"/>
                        <a:pt x="835" y="3623"/>
                        <a:pt x="916" y="3452"/>
                      </a:cubicBezTo>
                      <a:lnTo>
                        <a:pt x="1050" y="3170"/>
                      </a:lnTo>
                      <a:lnTo>
                        <a:pt x="1148" y="3467"/>
                      </a:lnTo>
                      <a:cubicBezTo>
                        <a:pt x="1199" y="3622"/>
                        <a:pt x="1281" y="3738"/>
                        <a:pt x="1378" y="3817"/>
                      </a:cubicBezTo>
                      <a:cubicBezTo>
                        <a:pt x="1449" y="3875"/>
                        <a:pt x="1528" y="3913"/>
                        <a:pt x="1604" y="3930"/>
                      </a:cubicBezTo>
                      <a:cubicBezTo>
                        <a:pt x="1676" y="3947"/>
                        <a:pt x="1748" y="3945"/>
                        <a:pt x="1809" y="3925"/>
                      </a:cubicBezTo>
                      <a:cubicBezTo>
                        <a:pt x="1856" y="3909"/>
                        <a:pt x="1898" y="3883"/>
                        <a:pt x="1929" y="3845"/>
                      </a:cubicBezTo>
                      <a:cubicBezTo>
                        <a:pt x="2061" y="3684"/>
                        <a:pt x="1945" y="3428"/>
                        <a:pt x="1816" y="3143"/>
                      </a:cubicBezTo>
                      <a:cubicBezTo>
                        <a:pt x="1600" y="2665"/>
                        <a:pt x="1354" y="2124"/>
                        <a:pt x="1936" y="1605"/>
                      </a:cubicBezTo>
                      <a:lnTo>
                        <a:pt x="2145" y="1420"/>
                      </a:lnTo>
                      <a:lnTo>
                        <a:pt x="2145" y="1698"/>
                      </a:lnTo>
                      <a:close/>
                    </a:path>
                  </a:pathLst>
                </a:custGeom>
                <a:solidFill>
                  <a:srgbClr val="F07D00"/>
                </a:solidFill>
                <a:ln w="0"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GB" sz="1100">
                    <a:solidFill>
                      <a:srgbClr val="003C50"/>
                    </a:solidFill>
                  </a:endParaRPr>
                </a:p>
              </p:txBody>
            </p:sp>
            <p:sp>
              <p:nvSpPr>
                <p:cNvPr id="1479" name="Freeform 22">
                  <a:extLst>
                    <a:ext uri="{FF2B5EF4-FFF2-40B4-BE49-F238E27FC236}">
                      <a16:creationId xmlns:a16="http://schemas.microsoft.com/office/drawing/2014/main" id="{0FFDE377-2D40-8CFC-E2B9-9D0B7366DB96}"/>
                    </a:ext>
                  </a:extLst>
                </p:cNvPr>
                <p:cNvSpPr>
                  <a:spLocks noEditPoints="1"/>
                </p:cNvSpPr>
                <p:nvPr/>
              </p:nvSpPr>
              <p:spPr bwMode="gray">
                <a:xfrm>
                  <a:off x="1718345" y="4790969"/>
                  <a:ext cx="184525" cy="149777"/>
                </a:xfrm>
                <a:custGeom>
                  <a:avLst/>
                  <a:gdLst>
                    <a:gd name="T0" fmla="*/ 4000 w 4000"/>
                    <a:gd name="T1" fmla="*/ 0 h 3250"/>
                    <a:gd name="T2" fmla="*/ 4000 w 4000"/>
                    <a:gd name="T3" fmla="*/ 3250 h 3250"/>
                    <a:gd name="T4" fmla="*/ 0 w 4000"/>
                    <a:gd name="T5" fmla="*/ 3250 h 3250"/>
                    <a:gd name="T6" fmla="*/ 0 w 4000"/>
                    <a:gd name="T7" fmla="*/ 0 h 3250"/>
                    <a:gd name="T8" fmla="*/ 4000 w 4000"/>
                    <a:gd name="T9" fmla="*/ 0 h 3250"/>
                    <a:gd name="T10" fmla="*/ 250 w 4000"/>
                    <a:gd name="T11" fmla="*/ 1000 h 3250"/>
                    <a:gd name="T12" fmla="*/ 1000 w 4000"/>
                    <a:gd name="T13" fmla="*/ 1000 h 3250"/>
                    <a:gd name="T14" fmla="*/ 1000 w 4000"/>
                    <a:gd name="T15" fmla="*/ 250 h 3250"/>
                    <a:gd name="T16" fmla="*/ 250 w 4000"/>
                    <a:gd name="T17" fmla="*/ 250 h 3250"/>
                    <a:gd name="T18" fmla="*/ 250 w 4000"/>
                    <a:gd name="T19" fmla="*/ 1000 h 3250"/>
                    <a:gd name="T20" fmla="*/ 1250 w 4000"/>
                    <a:gd name="T21" fmla="*/ 1000 h 3250"/>
                    <a:gd name="T22" fmla="*/ 3000 w 4000"/>
                    <a:gd name="T23" fmla="*/ 1000 h 3250"/>
                    <a:gd name="T24" fmla="*/ 3000 w 4000"/>
                    <a:gd name="T25" fmla="*/ 250 h 3250"/>
                    <a:gd name="T26" fmla="*/ 1250 w 4000"/>
                    <a:gd name="T27" fmla="*/ 250 h 3250"/>
                    <a:gd name="T28" fmla="*/ 1250 w 4000"/>
                    <a:gd name="T29" fmla="*/ 1000 h 3250"/>
                    <a:gd name="T30" fmla="*/ 3250 w 4000"/>
                    <a:gd name="T31" fmla="*/ 1000 h 3250"/>
                    <a:gd name="T32" fmla="*/ 3750 w 4000"/>
                    <a:gd name="T33" fmla="*/ 1000 h 3250"/>
                    <a:gd name="T34" fmla="*/ 3750 w 4000"/>
                    <a:gd name="T35" fmla="*/ 250 h 3250"/>
                    <a:gd name="T36" fmla="*/ 3250 w 4000"/>
                    <a:gd name="T37" fmla="*/ 250 h 3250"/>
                    <a:gd name="T38" fmla="*/ 3250 w 4000"/>
                    <a:gd name="T39" fmla="*/ 1000 h 3250"/>
                    <a:gd name="T40" fmla="*/ 3750 w 4000"/>
                    <a:gd name="T41" fmla="*/ 1250 h 3250"/>
                    <a:gd name="T42" fmla="*/ 2250 w 4000"/>
                    <a:gd name="T43" fmla="*/ 1250 h 3250"/>
                    <a:gd name="T44" fmla="*/ 2250 w 4000"/>
                    <a:gd name="T45" fmla="*/ 2000 h 3250"/>
                    <a:gd name="T46" fmla="*/ 3750 w 4000"/>
                    <a:gd name="T47" fmla="*/ 2000 h 3250"/>
                    <a:gd name="T48" fmla="*/ 3750 w 4000"/>
                    <a:gd name="T49" fmla="*/ 1250 h 3250"/>
                    <a:gd name="T50" fmla="*/ 2000 w 4000"/>
                    <a:gd name="T51" fmla="*/ 1250 h 3250"/>
                    <a:gd name="T52" fmla="*/ 250 w 4000"/>
                    <a:gd name="T53" fmla="*/ 1250 h 3250"/>
                    <a:gd name="T54" fmla="*/ 250 w 4000"/>
                    <a:gd name="T55" fmla="*/ 2000 h 3250"/>
                    <a:gd name="T56" fmla="*/ 2000 w 4000"/>
                    <a:gd name="T57" fmla="*/ 2000 h 3250"/>
                    <a:gd name="T58" fmla="*/ 2000 w 4000"/>
                    <a:gd name="T59" fmla="*/ 1250 h 3250"/>
                    <a:gd name="T60" fmla="*/ 3750 w 4000"/>
                    <a:gd name="T61" fmla="*/ 2250 h 3250"/>
                    <a:gd name="T62" fmla="*/ 3000 w 4000"/>
                    <a:gd name="T63" fmla="*/ 2250 h 3250"/>
                    <a:gd name="T64" fmla="*/ 3000 w 4000"/>
                    <a:gd name="T65" fmla="*/ 3000 h 3250"/>
                    <a:gd name="T66" fmla="*/ 3750 w 4000"/>
                    <a:gd name="T67" fmla="*/ 3000 h 3250"/>
                    <a:gd name="T68" fmla="*/ 3750 w 4000"/>
                    <a:gd name="T69" fmla="*/ 2250 h 3250"/>
                    <a:gd name="T70" fmla="*/ 2750 w 4000"/>
                    <a:gd name="T71" fmla="*/ 2250 h 3250"/>
                    <a:gd name="T72" fmla="*/ 1000 w 4000"/>
                    <a:gd name="T73" fmla="*/ 2250 h 3250"/>
                    <a:gd name="T74" fmla="*/ 1000 w 4000"/>
                    <a:gd name="T75" fmla="*/ 3000 h 3250"/>
                    <a:gd name="T76" fmla="*/ 2750 w 4000"/>
                    <a:gd name="T77" fmla="*/ 3000 h 3250"/>
                    <a:gd name="T78" fmla="*/ 2750 w 4000"/>
                    <a:gd name="T79" fmla="*/ 2250 h 3250"/>
                    <a:gd name="T80" fmla="*/ 750 w 4000"/>
                    <a:gd name="T81" fmla="*/ 2250 h 3250"/>
                    <a:gd name="T82" fmla="*/ 250 w 4000"/>
                    <a:gd name="T83" fmla="*/ 2250 h 3250"/>
                    <a:gd name="T84" fmla="*/ 250 w 4000"/>
                    <a:gd name="T85" fmla="*/ 3000 h 3250"/>
                    <a:gd name="T86" fmla="*/ 750 w 4000"/>
                    <a:gd name="T87" fmla="*/ 3000 h 3250"/>
                    <a:gd name="T88" fmla="*/ 750 w 4000"/>
                    <a:gd name="T89" fmla="*/ 225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00" h="3250">
                      <a:moveTo>
                        <a:pt x="4000" y="0"/>
                      </a:moveTo>
                      <a:lnTo>
                        <a:pt x="4000" y="3250"/>
                      </a:lnTo>
                      <a:lnTo>
                        <a:pt x="0" y="3250"/>
                      </a:lnTo>
                      <a:lnTo>
                        <a:pt x="0" y="0"/>
                      </a:lnTo>
                      <a:lnTo>
                        <a:pt x="4000" y="0"/>
                      </a:lnTo>
                      <a:close/>
                      <a:moveTo>
                        <a:pt x="250" y="1000"/>
                      </a:moveTo>
                      <a:lnTo>
                        <a:pt x="1000" y="1000"/>
                      </a:lnTo>
                      <a:lnTo>
                        <a:pt x="1000" y="250"/>
                      </a:lnTo>
                      <a:lnTo>
                        <a:pt x="250" y="250"/>
                      </a:lnTo>
                      <a:lnTo>
                        <a:pt x="250" y="1000"/>
                      </a:lnTo>
                      <a:close/>
                      <a:moveTo>
                        <a:pt x="1250" y="1000"/>
                      </a:moveTo>
                      <a:lnTo>
                        <a:pt x="3000" y="1000"/>
                      </a:lnTo>
                      <a:lnTo>
                        <a:pt x="3000" y="250"/>
                      </a:lnTo>
                      <a:lnTo>
                        <a:pt x="1250" y="250"/>
                      </a:lnTo>
                      <a:lnTo>
                        <a:pt x="1250" y="1000"/>
                      </a:lnTo>
                      <a:close/>
                      <a:moveTo>
                        <a:pt x="3250" y="1000"/>
                      </a:moveTo>
                      <a:lnTo>
                        <a:pt x="3750" y="1000"/>
                      </a:lnTo>
                      <a:lnTo>
                        <a:pt x="3750" y="250"/>
                      </a:lnTo>
                      <a:lnTo>
                        <a:pt x="3250" y="250"/>
                      </a:lnTo>
                      <a:lnTo>
                        <a:pt x="3250" y="1000"/>
                      </a:lnTo>
                      <a:close/>
                      <a:moveTo>
                        <a:pt x="3750" y="1250"/>
                      </a:moveTo>
                      <a:lnTo>
                        <a:pt x="2250" y="1250"/>
                      </a:lnTo>
                      <a:lnTo>
                        <a:pt x="2250" y="2000"/>
                      </a:lnTo>
                      <a:lnTo>
                        <a:pt x="3750" y="2000"/>
                      </a:lnTo>
                      <a:lnTo>
                        <a:pt x="3750" y="1250"/>
                      </a:lnTo>
                      <a:close/>
                      <a:moveTo>
                        <a:pt x="2000" y="1250"/>
                      </a:moveTo>
                      <a:lnTo>
                        <a:pt x="250" y="1250"/>
                      </a:lnTo>
                      <a:lnTo>
                        <a:pt x="250" y="2000"/>
                      </a:lnTo>
                      <a:lnTo>
                        <a:pt x="2000" y="2000"/>
                      </a:lnTo>
                      <a:lnTo>
                        <a:pt x="2000" y="1250"/>
                      </a:lnTo>
                      <a:close/>
                      <a:moveTo>
                        <a:pt x="3750" y="2250"/>
                      </a:moveTo>
                      <a:lnTo>
                        <a:pt x="3000" y="2250"/>
                      </a:lnTo>
                      <a:lnTo>
                        <a:pt x="3000" y="3000"/>
                      </a:lnTo>
                      <a:lnTo>
                        <a:pt x="3750" y="3000"/>
                      </a:lnTo>
                      <a:lnTo>
                        <a:pt x="3750" y="2250"/>
                      </a:lnTo>
                      <a:close/>
                      <a:moveTo>
                        <a:pt x="2750" y="2250"/>
                      </a:moveTo>
                      <a:lnTo>
                        <a:pt x="1000" y="2250"/>
                      </a:lnTo>
                      <a:lnTo>
                        <a:pt x="1000" y="3000"/>
                      </a:lnTo>
                      <a:lnTo>
                        <a:pt x="2750" y="3000"/>
                      </a:lnTo>
                      <a:lnTo>
                        <a:pt x="2750" y="2250"/>
                      </a:lnTo>
                      <a:close/>
                      <a:moveTo>
                        <a:pt x="750" y="2250"/>
                      </a:moveTo>
                      <a:lnTo>
                        <a:pt x="250" y="2250"/>
                      </a:lnTo>
                      <a:lnTo>
                        <a:pt x="250" y="3000"/>
                      </a:lnTo>
                      <a:lnTo>
                        <a:pt x="750" y="3000"/>
                      </a:lnTo>
                      <a:lnTo>
                        <a:pt x="750" y="2250"/>
                      </a:lnTo>
                      <a:close/>
                    </a:path>
                  </a:pathLst>
                </a:custGeom>
                <a:solidFill>
                  <a:srgbClr val="F07D00"/>
                </a:solidFill>
                <a:ln w="0"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GB" sz="1100">
                    <a:solidFill>
                      <a:srgbClr val="003C50"/>
                    </a:solidFill>
                  </a:endParaRPr>
                </a:p>
              </p:txBody>
            </p:sp>
          </p:grpSp>
        </p:grpSp>
        <p:grpSp>
          <p:nvGrpSpPr>
            <p:cNvPr id="1465" name="Group 1464">
              <a:extLst>
                <a:ext uri="{FF2B5EF4-FFF2-40B4-BE49-F238E27FC236}">
                  <a16:creationId xmlns:a16="http://schemas.microsoft.com/office/drawing/2014/main" id="{4F5B9E23-CBF0-8F4E-5ECB-81C0E783D28B}"/>
                </a:ext>
              </a:extLst>
            </p:cNvPr>
            <p:cNvGrpSpPr/>
            <p:nvPr/>
          </p:nvGrpSpPr>
          <p:grpSpPr bwMode="gray">
            <a:xfrm>
              <a:off x="8830395" y="5195680"/>
              <a:ext cx="808905" cy="338554"/>
              <a:chOff x="8830395" y="5195680"/>
              <a:chExt cx="808905" cy="338554"/>
            </a:xfrm>
          </p:grpSpPr>
          <p:sp>
            <p:nvSpPr>
              <p:cNvPr id="1471" name="Rectangle 1470">
                <a:extLst>
                  <a:ext uri="{FF2B5EF4-FFF2-40B4-BE49-F238E27FC236}">
                    <a16:creationId xmlns:a16="http://schemas.microsoft.com/office/drawing/2014/main" id="{D2F3A9A1-7790-3A09-2810-DF2F9B2FC8AF}"/>
                  </a:ext>
                </a:extLst>
              </p:cNvPr>
              <p:cNvSpPr/>
              <p:nvPr>
                <p:custDataLst>
                  <p:tags r:id="rId45"/>
                </p:custDataLst>
              </p:nvPr>
            </p:nvSpPr>
            <p:spPr bwMode="gray">
              <a:xfrm>
                <a:off x="9225493" y="5195680"/>
                <a:ext cx="413807" cy="338554"/>
              </a:xfrm>
              <a:prstGeom prst="rect">
                <a:avLst/>
              </a:prstGeom>
            </p:spPr>
            <p:txBody>
              <a:bodyPr wrap="square" lIns="0" tIns="0" rIns="0" bIns="0" anchor="ctr">
                <a:spAutoFit/>
              </a:bodyPr>
              <a:lstStyle/>
              <a:p>
                <a:r>
                  <a:rPr lang="de-DE" sz="1100"/>
                  <a:t>Public</a:t>
                </a:r>
                <a:br>
                  <a:rPr lang="de-DE" sz="1100"/>
                </a:br>
                <a:r>
                  <a:rPr lang="de-DE" sz="1100" err="1"/>
                  <a:t>Sector</a:t>
                </a:r>
                <a:endParaRPr lang="de-DE" sz="1100">
                  <a:latin typeface="+mj-lt"/>
                </a:endParaRPr>
              </a:p>
            </p:txBody>
          </p:sp>
          <p:grpSp>
            <p:nvGrpSpPr>
              <p:cNvPr id="1472" name="Group 18">
                <a:extLst>
                  <a:ext uri="{FF2B5EF4-FFF2-40B4-BE49-F238E27FC236}">
                    <a16:creationId xmlns:a16="http://schemas.microsoft.com/office/drawing/2014/main" id="{DACAB84C-6D96-CC11-597C-FDF3F3866C08}"/>
                  </a:ext>
                </a:extLst>
              </p:cNvPr>
              <p:cNvGrpSpPr>
                <a:grpSpLocks noChangeAspect="1"/>
              </p:cNvGrpSpPr>
              <p:nvPr>
                <p:custDataLst>
                  <p:tags r:id="rId46"/>
                </p:custDataLst>
              </p:nvPr>
            </p:nvGrpSpPr>
            <p:grpSpPr bwMode="gray">
              <a:xfrm>
                <a:off x="8830395" y="5197206"/>
                <a:ext cx="335500" cy="335500"/>
                <a:chOff x="800" y="800"/>
                <a:chExt cx="560" cy="560"/>
              </a:xfrm>
            </p:grpSpPr>
            <p:sp>
              <p:nvSpPr>
                <p:cNvPr id="1473" name="AutoShape 17">
                  <a:extLst>
                    <a:ext uri="{FF2B5EF4-FFF2-40B4-BE49-F238E27FC236}">
                      <a16:creationId xmlns:a16="http://schemas.microsoft.com/office/drawing/2014/main" id="{85048319-73E6-902E-2831-0CCFCDA78105}"/>
                    </a:ext>
                  </a:extLst>
                </p:cNvPr>
                <p:cNvSpPr>
                  <a:spLocks noChangeAspect="1" noChangeArrowheads="1" noTextEdit="1"/>
                </p:cNvSpPr>
                <p:nvPr/>
              </p:nvSpPr>
              <p:spPr bwMode="gray">
                <a:xfrm>
                  <a:off x="800" y="800"/>
                  <a:ext cx="560" cy="560"/>
                </a:xfrm>
                <a:prstGeom prst="rect">
                  <a:avLst/>
                </a:prstGeom>
                <a:noFill/>
                <a:ln>
                  <a:noFill/>
                </a:ln>
                <a:extLst>
                  <a:ext uri="{909E8E84-426E-40DD-AFC4-6F175D3DCCD1}">
                    <a14:hiddenFill xmlns:a14="http://schemas.microsoft.com/office/drawing/2010/main">
                      <a:solidFill>
                        <a:schemeClr val="lt2"/>
                      </a:solidFill>
                    </a14:hiddenFill>
                  </a:ext>
                  <a:ext uri="{91240B29-F687-4F45-9708-019B960494DF}">
                    <a14:hiddenLine xmlns:a14="http://schemas.microsoft.com/office/drawing/2010/main" w="9525" cap="flat" cmpd="sng" algn="ctr">
                      <a:solidFill>
                        <a:schemeClr val="lt2"/>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de-DE"/>
                </a:p>
              </p:txBody>
            </p:sp>
            <p:sp>
              <p:nvSpPr>
                <p:cNvPr id="1474" name="Freeform 19">
                  <a:extLst>
                    <a:ext uri="{FF2B5EF4-FFF2-40B4-BE49-F238E27FC236}">
                      <a16:creationId xmlns:a16="http://schemas.microsoft.com/office/drawing/2014/main" id="{0CF9F250-9CA5-AA3D-63F5-EE0ED184B5A3}"/>
                    </a:ext>
                  </a:extLst>
                </p:cNvPr>
                <p:cNvSpPr>
                  <a:spLocks noEditPoints="1"/>
                </p:cNvSpPr>
                <p:nvPr/>
              </p:nvSpPr>
              <p:spPr bwMode="gray">
                <a:xfrm>
                  <a:off x="829" y="848"/>
                  <a:ext cx="500" cy="481"/>
                </a:xfrm>
                <a:custGeom>
                  <a:avLst/>
                  <a:gdLst>
                    <a:gd name="T0" fmla="*/ 4165 w 6500"/>
                    <a:gd name="T1" fmla="*/ 5313 h 6254"/>
                    <a:gd name="T2" fmla="*/ 3725 w 6500"/>
                    <a:gd name="T3" fmla="*/ 4603 h 6254"/>
                    <a:gd name="T4" fmla="*/ 4000 w 6500"/>
                    <a:gd name="T5" fmla="*/ 3552 h 6254"/>
                    <a:gd name="T6" fmla="*/ 2771 w 6500"/>
                    <a:gd name="T7" fmla="*/ 3953 h 6254"/>
                    <a:gd name="T8" fmla="*/ 3063 w 6500"/>
                    <a:gd name="T9" fmla="*/ 4692 h 6254"/>
                    <a:gd name="T10" fmla="*/ 2579 w 6500"/>
                    <a:gd name="T11" fmla="*/ 5315 h 6254"/>
                    <a:gd name="T12" fmla="*/ 1250 w 6500"/>
                    <a:gd name="T13" fmla="*/ 2487 h 6254"/>
                    <a:gd name="T14" fmla="*/ 2198 w 6500"/>
                    <a:gd name="T15" fmla="*/ 4154 h 6254"/>
                    <a:gd name="T16" fmla="*/ 2456 w 6500"/>
                    <a:gd name="T17" fmla="*/ 4829 h 6254"/>
                    <a:gd name="T18" fmla="*/ 1945 w 6500"/>
                    <a:gd name="T19" fmla="*/ 4652 h 6254"/>
                    <a:gd name="T20" fmla="*/ 1449 w 6500"/>
                    <a:gd name="T21" fmla="*/ 4129 h 6254"/>
                    <a:gd name="T22" fmla="*/ 1306 w 6500"/>
                    <a:gd name="T23" fmla="*/ 2734 h 6254"/>
                    <a:gd name="T24" fmla="*/ 561 w 6500"/>
                    <a:gd name="T25" fmla="*/ 4067 h 6254"/>
                    <a:gd name="T26" fmla="*/ 648 w 6500"/>
                    <a:gd name="T27" fmla="*/ 4622 h 6254"/>
                    <a:gd name="T28" fmla="*/ 1250 w 6500"/>
                    <a:gd name="T29" fmla="*/ 5254 h 6254"/>
                    <a:gd name="T30" fmla="*/ 216 w 6500"/>
                    <a:gd name="T31" fmla="*/ 4552 h 6254"/>
                    <a:gd name="T32" fmla="*/ 306 w 6500"/>
                    <a:gd name="T33" fmla="*/ 4010 h 6254"/>
                    <a:gd name="T34" fmla="*/ 5161 w 6500"/>
                    <a:gd name="T35" fmla="*/ 1508 h 6254"/>
                    <a:gd name="T36" fmla="*/ 5488 w 6500"/>
                    <a:gd name="T37" fmla="*/ 1903 h 6254"/>
                    <a:gd name="T38" fmla="*/ 4513 w 6500"/>
                    <a:gd name="T39" fmla="*/ 1903 h 6254"/>
                    <a:gd name="T40" fmla="*/ 4305 w 6500"/>
                    <a:gd name="T41" fmla="*/ 1764 h 6254"/>
                    <a:gd name="T42" fmla="*/ 4911 w 6500"/>
                    <a:gd name="T43" fmla="*/ 3937 h 6254"/>
                    <a:gd name="T44" fmla="*/ 4648 w 6500"/>
                    <a:gd name="T45" fmla="*/ 4697 h 6254"/>
                    <a:gd name="T46" fmla="*/ 4324 w 6500"/>
                    <a:gd name="T47" fmla="*/ 4839 h 6254"/>
                    <a:gd name="T48" fmla="*/ 4738 w 6500"/>
                    <a:gd name="T49" fmla="*/ 4388 h 6254"/>
                    <a:gd name="T50" fmla="*/ 4465 w 6500"/>
                    <a:gd name="T51" fmla="*/ 3357 h 6254"/>
                    <a:gd name="T52" fmla="*/ 5369 w 6500"/>
                    <a:gd name="T53" fmla="*/ 2550 h 6254"/>
                    <a:gd name="T54" fmla="*/ 6013 w 6500"/>
                    <a:gd name="T55" fmla="*/ 3684 h 6254"/>
                    <a:gd name="T56" fmla="*/ 6031 w 6500"/>
                    <a:gd name="T57" fmla="*/ 4492 h 6254"/>
                    <a:gd name="T58" fmla="*/ 4974 w 6500"/>
                    <a:gd name="T59" fmla="*/ 5569 h 6254"/>
                    <a:gd name="T60" fmla="*/ 5958 w 6500"/>
                    <a:gd name="T61" fmla="*/ 4730 h 6254"/>
                    <a:gd name="T62" fmla="*/ 5463 w 6500"/>
                    <a:gd name="T63" fmla="*/ 4162 h 6254"/>
                    <a:gd name="T64" fmla="*/ 5779 w 6500"/>
                    <a:gd name="T65" fmla="*/ 3458 h 6254"/>
                    <a:gd name="T66" fmla="*/ 5338 w 6500"/>
                    <a:gd name="T67" fmla="*/ 2818 h 6254"/>
                    <a:gd name="T68" fmla="*/ 4721 w 6500"/>
                    <a:gd name="T69" fmla="*/ 3458 h 6254"/>
                    <a:gd name="T70" fmla="*/ 2651 w 6500"/>
                    <a:gd name="T71" fmla="*/ 1852 h 6254"/>
                    <a:gd name="T72" fmla="*/ 3660 w 6500"/>
                    <a:gd name="T73" fmla="*/ 2357 h 6254"/>
                    <a:gd name="T74" fmla="*/ 2505 w 6500"/>
                    <a:gd name="T75" fmla="*/ 2585 h 6254"/>
                    <a:gd name="T76" fmla="*/ 3250 w 6500"/>
                    <a:gd name="T77" fmla="*/ 42 h 6254"/>
                    <a:gd name="T78" fmla="*/ 3418 w 6500"/>
                    <a:gd name="T79" fmla="*/ 255 h 6254"/>
                    <a:gd name="T80" fmla="*/ 2638 w 6500"/>
                    <a:gd name="T81" fmla="*/ 518 h 6254"/>
                    <a:gd name="T82" fmla="*/ 670 w 6500"/>
                    <a:gd name="T83" fmla="*/ 1602 h 6254"/>
                    <a:gd name="T84" fmla="*/ 1866 w 6500"/>
                    <a:gd name="T85" fmla="*/ 2295 h 6254"/>
                    <a:gd name="T86" fmla="*/ 1315 w 6500"/>
                    <a:gd name="T87" fmla="*/ 1504 h 6254"/>
                    <a:gd name="T88" fmla="*/ 4610 w 6500"/>
                    <a:gd name="T89" fmla="*/ 1272 h 6254"/>
                    <a:gd name="T90" fmla="*/ 3656 w 6500"/>
                    <a:gd name="T91" fmla="*/ 1113 h 6254"/>
                    <a:gd name="T92" fmla="*/ 3748 w 6500"/>
                    <a:gd name="T93" fmla="*/ 743 h 6254"/>
                    <a:gd name="T94" fmla="*/ 1608 w 6500"/>
                    <a:gd name="T95" fmla="*/ 1044 h 6254"/>
                    <a:gd name="T96" fmla="*/ 3026 w 6500"/>
                    <a:gd name="T97" fmla="*/ 1068 h 6254"/>
                    <a:gd name="T98" fmla="*/ 2710 w 6500"/>
                    <a:gd name="T99" fmla="*/ 1065 h 6254"/>
                    <a:gd name="T100" fmla="*/ 1929 w 6500"/>
                    <a:gd name="T101" fmla="*/ 1042 h 6254"/>
                    <a:gd name="T102" fmla="*/ 5656 w 6500"/>
                    <a:gd name="T103" fmla="*/ 1018 h 6254"/>
                    <a:gd name="T104" fmla="*/ 5403 w 6500"/>
                    <a:gd name="T105" fmla="*/ 1157 h 6254"/>
                    <a:gd name="T106" fmla="*/ 4730 w 6500"/>
                    <a:gd name="T107" fmla="*/ 549 h 6254"/>
                    <a:gd name="T108" fmla="*/ 1703 w 6500"/>
                    <a:gd name="T109" fmla="*/ 113 h 6254"/>
                    <a:gd name="T110" fmla="*/ 1991 w 6500"/>
                    <a:gd name="T111" fmla="*/ 473 h 6254"/>
                    <a:gd name="T112" fmla="*/ 1174 w 6500"/>
                    <a:gd name="T113" fmla="*/ 1013 h 6254"/>
                    <a:gd name="T114" fmla="*/ 2236 w 6500"/>
                    <a:gd name="T115" fmla="*/ 5219 h 6254"/>
                    <a:gd name="T116" fmla="*/ 2814 w 6500"/>
                    <a:gd name="T117" fmla="*/ 4740 h 6254"/>
                    <a:gd name="T118" fmla="*/ 3469 w 6500"/>
                    <a:gd name="T119" fmla="*/ 2883 h 6254"/>
                    <a:gd name="T120" fmla="*/ 3933 w 6500"/>
                    <a:gd name="T121" fmla="*/ 4799 h 6254"/>
                    <a:gd name="T122" fmla="*/ 4688 w 6500"/>
                    <a:gd name="T123" fmla="*/ 5484 h 6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00" h="6254">
                      <a:moveTo>
                        <a:pt x="3375" y="6004"/>
                      </a:moveTo>
                      <a:cubicBezTo>
                        <a:pt x="3604" y="6004"/>
                        <a:pt x="3991" y="5982"/>
                        <a:pt x="4263" y="5912"/>
                      </a:cubicBezTo>
                      <a:cubicBezTo>
                        <a:pt x="4400" y="5875"/>
                        <a:pt x="4500" y="5838"/>
                        <a:pt x="4500" y="5804"/>
                      </a:cubicBezTo>
                      <a:cubicBezTo>
                        <a:pt x="4500" y="5728"/>
                        <a:pt x="4485" y="5649"/>
                        <a:pt x="4456" y="5575"/>
                      </a:cubicBezTo>
                      <a:cubicBezTo>
                        <a:pt x="4430" y="5509"/>
                        <a:pt x="4390" y="5447"/>
                        <a:pt x="4340" y="5398"/>
                      </a:cubicBezTo>
                      <a:cubicBezTo>
                        <a:pt x="4305" y="5364"/>
                        <a:pt x="4228" y="5335"/>
                        <a:pt x="4166" y="5313"/>
                      </a:cubicBezTo>
                      <a:lnTo>
                        <a:pt x="4165" y="5313"/>
                      </a:lnTo>
                      <a:lnTo>
                        <a:pt x="4165" y="5313"/>
                      </a:lnTo>
                      <a:lnTo>
                        <a:pt x="4151" y="5308"/>
                      </a:lnTo>
                      <a:cubicBezTo>
                        <a:pt x="4114" y="5294"/>
                        <a:pt x="4080" y="5284"/>
                        <a:pt x="4049" y="5274"/>
                      </a:cubicBezTo>
                      <a:cubicBezTo>
                        <a:pt x="3970" y="5250"/>
                        <a:pt x="3903" y="5230"/>
                        <a:pt x="3809" y="5173"/>
                      </a:cubicBezTo>
                      <a:lnTo>
                        <a:pt x="3806" y="5170"/>
                      </a:lnTo>
                      <a:cubicBezTo>
                        <a:pt x="3659" y="5082"/>
                        <a:pt x="3671" y="4922"/>
                        <a:pt x="3684" y="4779"/>
                      </a:cubicBezTo>
                      <a:cubicBezTo>
                        <a:pt x="3686" y="4745"/>
                        <a:pt x="3689" y="4714"/>
                        <a:pt x="3688" y="4694"/>
                      </a:cubicBezTo>
                      <a:cubicBezTo>
                        <a:pt x="3688" y="4659"/>
                        <a:pt x="3701" y="4627"/>
                        <a:pt x="3725" y="4603"/>
                      </a:cubicBezTo>
                      <a:lnTo>
                        <a:pt x="3725" y="4603"/>
                      </a:lnTo>
                      <a:cubicBezTo>
                        <a:pt x="3789" y="4540"/>
                        <a:pt x="3816" y="4430"/>
                        <a:pt x="3844" y="4327"/>
                      </a:cubicBezTo>
                      <a:cubicBezTo>
                        <a:pt x="3851" y="4298"/>
                        <a:pt x="3855" y="4283"/>
                        <a:pt x="3856" y="4277"/>
                      </a:cubicBezTo>
                      <a:cubicBezTo>
                        <a:pt x="3866" y="4239"/>
                        <a:pt x="3893" y="4210"/>
                        <a:pt x="3925" y="4195"/>
                      </a:cubicBezTo>
                      <a:cubicBezTo>
                        <a:pt x="3949" y="4183"/>
                        <a:pt x="3966" y="4159"/>
                        <a:pt x="3976" y="4133"/>
                      </a:cubicBezTo>
                      <a:cubicBezTo>
                        <a:pt x="3990" y="4097"/>
                        <a:pt x="3991" y="4054"/>
                        <a:pt x="3981" y="4018"/>
                      </a:cubicBezTo>
                      <a:cubicBezTo>
                        <a:pt x="3975" y="3995"/>
                        <a:pt x="3975" y="3974"/>
                        <a:pt x="3980" y="3953"/>
                      </a:cubicBezTo>
                      <a:lnTo>
                        <a:pt x="3980" y="3953"/>
                      </a:lnTo>
                      <a:cubicBezTo>
                        <a:pt x="4019" y="3795"/>
                        <a:pt x="4024" y="3663"/>
                        <a:pt x="4000" y="3552"/>
                      </a:cubicBezTo>
                      <a:cubicBezTo>
                        <a:pt x="3978" y="3445"/>
                        <a:pt x="3926" y="3357"/>
                        <a:pt x="3849" y="3280"/>
                      </a:cubicBezTo>
                      <a:cubicBezTo>
                        <a:pt x="3761" y="3193"/>
                        <a:pt x="3606" y="3143"/>
                        <a:pt x="3453" y="3132"/>
                      </a:cubicBezTo>
                      <a:cubicBezTo>
                        <a:pt x="3300" y="3122"/>
                        <a:pt x="3156" y="3149"/>
                        <a:pt x="3089" y="3218"/>
                      </a:cubicBezTo>
                      <a:cubicBezTo>
                        <a:pt x="3066" y="3239"/>
                        <a:pt x="3040" y="3252"/>
                        <a:pt x="3011" y="3254"/>
                      </a:cubicBezTo>
                      <a:cubicBezTo>
                        <a:pt x="2996" y="3255"/>
                        <a:pt x="2983" y="3259"/>
                        <a:pt x="2970" y="3262"/>
                      </a:cubicBezTo>
                      <a:cubicBezTo>
                        <a:pt x="2858" y="3289"/>
                        <a:pt x="2793" y="3357"/>
                        <a:pt x="2760" y="3442"/>
                      </a:cubicBezTo>
                      <a:cubicBezTo>
                        <a:pt x="2723" y="3543"/>
                        <a:pt x="2723" y="3672"/>
                        <a:pt x="2741" y="3800"/>
                      </a:cubicBezTo>
                      <a:cubicBezTo>
                        <a:pt x="2749" y="3853"/>
                        <a:pt x="2759" y="3904"/>
                        <a:pt x="2771" y="3953"/>
                      </a:cubicBezTo>
                      <a:cubicBezTo>
                        <a:pt x="2776" y="3977"/>
                        <a:pt x="2775" y="4000"/>
                        <a:pt x="2768" y="4022"/>
                      </a:cubicBezTo>
                      <a:cubicBezTo>
                        <a:pt x="2759" y="4058"/>
                        <a:pt x="2760" y="4098"/>
                        <a:pt x="2774" y="4133"/>
                      </a:cubicBezTo>
                      <a:cubicBezTo>
                        <a:pt x="2785" y="4160"/>
                        <a:pt x="2803" y="4184"/>
                        <a:pt x="2829" y="4198"/>
                      </a:cubicBezTo>
                      <a:cubicBezTo>
                        <a:pt x="2861" y="4214"/>
                        <a:pt x="2885" y="4243"/>
                        <a:pt x="2894" y="4277"/>
                      </a:cubicBezTo>
                      <a:lnTo>
                        <a:pt x="2894" y="4277"/>
                      </a:lnTo>
                      <a:cubicBezTo>
                        <a:pt x="2899" y="4298"/>
                        <a:pt x="2898" y="4292"/>
                        <a:pt x="2905" y="4323"/>
                      </a:cubicBezTo>
                      <a:cubicBezTo>
                        <a:pt x="2934" y="4429"/>
                        <a:pt x="2963" y="4542"/>
                        <a:pt x="3025" y="4603"/>
                      </a:cubicBezTo>
                      <a:cubicBezTo>
                        <a:pt x="3050" y="4627"/>
                        <a:pt x="3063" y="4659"/>
                        <a:pt x="3063" y="4692"/>
                      </a:cubicBezTo>
                      <a:lnTo>
                        <a:pt x="3063" y="4692"/>
                      </a:lnTo>
                      <a:cubicBezTo>
                        <a:pt x="3063" y="4714"/>
                        <a:pt x="3065" y="4740"/>
                        <a:pt x="3066" y="4767"/>
                      </a:cubicBezTo>
                      <a:cubicBezTo>
                        <a:pt x="3078" y="4913"/>
                        <a:pt x="3091" y="5087"/>
                        <a:pt x="2938" y="5175"/>
                      </a:cubicBezTo>
                      <a:lnTo>
                        <a:pt x="2936" y="5175"/>
                      </a:lnTo>
                      <a:cubicBezTo>
                        <a:pt x="2845" y="5232"/>
                        <a:pt x="2779" y="5252"/>
                        <a:pt x="2701" y="5274"/>
                      </a:cubicBezTo>
                      <a:cubicBezTo>
                        <a:pt x="2670" y="5284"/>
                        <a:pt x="2636" y="5294"/>
                        <a:pt x="2599" y="5308"/>
                      </a:cubicBezTo>
                      <a:lnTo>
                        <a:pt x="2585" y="5313"/>
                      </a:lnTo>
                      <a:cubicBezTo>
                        <a:pt x="2583" y="5314"/>
                        <a:pt x="2581" y="5314"/>
                        <a:pt x="2579" y="5315"/>
                      </a:cubicBezTo>
                      <a:cubicBezTo>
                        <a:pt x="2518" y="5338"/>
                        <a:pt x="2444" y="5365"/>
                        <a:pt x="2410" y="5398"/>
                      </a:cubicBezTo>
                      <a:cubicBezTo>
                        <a:pt x="2360" y="5447"/>
                        <a:pt x="2321" y="5509"/>
                        <a:pt x="2294" y="5575"/>
                      </a:cubicBezTo>
                      <a:cubicBezTo>
                        <a:pt x="2265" y="5649"/>
                        <a:pt x="2250" y="5728"/>
                        <a:pt x="2250" y="5804"/>
                      </a:cubicBezTo>
                      <a:cubicBezTo>
                        <a:pt x="2250" y="5838"/>
                        <a:pt x="2350" y="5875"/>
                        <a:pt x="2488" y="5912"/>
                      </a:cubicBezTo>
                      <a:cubicBezTo>
                        <a:pt x="2759" y="5982"/>
                        <a:pt x="3146" y="6004"/>
                        <a:pt x="3375" y="6004"/>
                      </a:cubicBezTo>
                      <a:close/>
                      <a:moveTo>
                        <a:pt x="868" y="2465"/>
                      </a:moveTo>
                      <a:cubicBezTo>
                        <a:pt x="940" y="2445"/>
                        <a:pt x="1015" y="2439"/>
                        <a:pt x="1089" y="2447"/>
                      </a:cubicBezTo>
                      <a:cubicBezTo>
                        <a:pt x="1144" y="2453"/>
                        <a:pt x="1198" y="2465"/>
                        <a:pt x="1250" y="2487"/>
                      </a:cubicBezTo>
                      <a:cubicBezTo>
                        <a:pt x="1303" y="2465"/>
                        <a:pt x="1356" y="2453"/>
                        <a:pt x="1411" y="2447"/>
                      </a:cubicBezTo>
                      <a:cubicBezTo>
                        <a:pt x="1485" y="2439"/>
                        <a:pt x="1560" y="2445"/>
                        <a:pt x="1633" y="2465"/>
                      </a:cubicBezTo>
                      <a:cubicBezTo>
                        <a:pt x="1760" y="2502"/>
                        <a:pt x="1870" y="2592"/>
                        <a:pt x="1945" y="2703"/>
                      </a:cubicBezTo>
                      <a:cubicBezTo>
                        <a:pt x="2020" y="2815"/>
                        <a:pt x="2061" y="2953"/>
                        <a:pt x="2049" y="3084"/>
                      </a:cubicBezTo>
                      <a:cubicBezTo>
                        <a:pt x="2040" y="3185"/>
                        <a:pt x="2043" y="3435"/>
                        <a:pt x="2081" y="3668"/>
                      </a:cubicBezTo>
                      <a:cubicBezTo>
                        <a:pt x="2105" y="3810"/>
                        <a:pt x="2140" y="3940"/>
                        <a:pt x="2194" y="4010"/>
                      </a:cubicBezTo>
                      <a:lnTo>
                        <a:pt x="2246" y="4082"/>
                      </a:lnTo>
                      <a:lnTo>
                        <a:pt x="2198" y="4154"/>
                      </a:lnTo>
                      <a:cubicBezTo>
                        <a:pt x="2111" y="4284"/>
                        <a:pt x="1988" y="4339"/>
                        <a:pt x="1860" y="4362"/>
                      </a:cubicBezTo>
                      <a:cubicBezTo>
                        <a:pt x="1880" y="4370"/>
                        <a:pt x="1901" y="4377"/>
                        <a:pt x="1924" y="4383"/>
                      </a:cubicBezTo>
                      <a:cubicBezTo>
                        <a:pt x="1955" y="4393"/>
                        <a:pt x="1990" y="4403"/>
                        <a:pt x="2031" y="4418"/>
                      </a:cubicBezTo>
                      <a:lnTo>
                        <a:pt x="2031" y="4418"/>
                      </a:lnTo>
                      <a:lnTo>
                        <a:pt x="2043" y="4422"/>
                      </a:lnTo>
                      <a:cubicBezTo>
                        <a:pt x="2120" y="4450"/>
                        <a:pt x="2215" y="4485"/>
                        <a:pt x="2284" y="4552"/>
                      </a:cubicBezTo>
                      <a:cubicBezTo>
                        <a:pt x="2354" y="4619"/>
                        <a:pt x="2406" y="4703"/>
                        <a:pt x="2443" y="4794"/>
                      </a:cubicBezTo>
                      <a:cubicBezTo>
                        <a:pt x="2448" y="4805"/>
                        <a:pt x="2451" y="4817"/>
                        <a:pt x="2456" y="4829"/>
                      </a:cubicBezTo>
                      <a:cubicBezTo>
                        <a:pt x="2446" y="4832"/>
                        <a:pt x="2436" y="4835"/>
                        <a:pt x="2426" y="4839"/>
                      </a:cubicBezTo>
                      <a:lnTo>
                        <a:pt x="2413" y="4844"/>
                      </a:lnTo>
                      <a:cubicBezTo>
                        <a:pt x="2406" y="4847"/>
                        <a:pt x="2401" y="4849"/>
                        <a:pt x="2395" y="4852"/>
                      </a:cubicBezTo>
                      <a:cubicBezTo>
                        <a:pt x="2341" y="4872"/>
                        <a:pt x="2284" y="4893"/>
                        <a:pt x="2225" y="4924"/>
                      </a:cubicBezTo>
                      <a:cubicBezTo>
                        <a:pt x="2221" y="4912"/>
                        <a:pt x="2216" y="4898"/>
                        <a:pt x="2211" y="4885"/>
                      </a:cubicBezTo>
                      <a:cubicBezTo>
                        <a:pt x="2188" y="4827"/>
                        <a:pt x="2154" y="4773"/>
                        <a:pt x="2110" y="4730"/>
                      </a:cubicBezTo>
                      <a:cubicBezTo>
                        <a:pt x="2080" y="4702"/>
                        <a:pt x="2013" y="4677"/>
                        <a:pt x="1958" y="4657"/>
                      </a:cubicBezTo>
                      <a:lnTo>
                        <a:pt x="1945" y="4652"/>
                      </a:lnTo>
                      <a:lnTo>
                        <a:pt x="1945" y="4652"/>
                      </a:lnTo>
                      <a:cubicBezTo>
                        <a:pt x="1911" y="4639"/>
                        <a:pt x="1881" y="4630"/>
                        <a:pt x="1853" y="4622"/>
                      </a:cubicBezTo>
                      <a:cubicBezTo>
                        <a:pt x="1780" y="4600"/>
                        <a:pt x="1720" y="4582"/>
                        <a:pt x="1634" y="4529"/>
                      </a:cubicBezTo>
                      <a:lnTo>
                        <a:pt x="1634" y="4529"/>
                      </a:lnTo>
                      <a:cubicBezTo>
                        <a:pt x="1585" y="4500"/>
                        <a:pt x="1548" y="4470"/>
                        <a:pt x="1519" y="4428"/>
                      </a:cubicBezTo>
                      <a:lnTo>
                        <a:pt x="1519" y="4428"/>
                      </a:lnTo>
                      <a:cubicBezTo>
                        <a:pt x="1488" y="4384"/>
                        <a:pt x="1471" y="4334"/>
                        <a:pt x="1464" y="4268"/>
                      </a:cubicBezTo>
                      <a:lnTo>
                        <a:pt x="1449" y="4129"/>
                      </a:lnTo>
                      <a:lnTo>
                        <a:pt x="1588" y="4129"/>
                      </a:lnTo>
                      <a:cubicBezTo>
                        <a:pt x="1703" y="4129"/>
                        <a:pt x="1848" y="4129"/>
                        <a:pt x="1939" y="4067"/>
                      </a:cubicBezTo>
                      <a:cubicBezTo>
                        <a:pt x="1890" y="3967"/>
                        <a:pt x="1856" y="3840"/>
                        <a:pt x="1835" y="3709"/>
                      </a:cubicBezTo>
                      <a:cubicBezTo>
                        <a:pt x="1793" y="3455"/>
                        <a:pt x="1790" y="3175"/>
                        <a:pt x="1801" y="3062"/>
                      </a:cubicBezTo>
                      <a:cubicBezTo>
                        <a:pt x="1808" y="2989"/>
                        <a:pt x="1783" y="2909"/>
                        <a:pt x="1738" y="2842"/>
                      </a:cubicBezTo>
                      <a:cubicBezTo>
                        <a:pt x="1694" y="2777"/>
                        <a:pt x="1633" y="2725"/>
                        <a:pt x="1565" y="2705"/>
                      </a:cubicBezTo>
                      <a:cubicBezTo>
                        <a:pt x="1521" y="2694"/>
                        <a:pt x="1479" y="2690"/>
                        <a:pt x="1438" y="2694"/>
                      </a:cubicBezTo>
                      <a:cubicBezTo>
                        <a:pt x="1393" y="2699"/>
                        <a:pt x="1349" y="2713"/>
                        <a:pt x="1306" y="2734"/>
                      </a:cubicBezTo>
                      <a:lnTo>
                        <a:pt x="1250" y="2762"/>
                      </a:lnTo>
                      <a:lnTo>
                        <a:pt x="1194" y="2734"/>
                      </a:lnTo>
                      <a:cubicBezTo>
                        <a:pt x="1151" y="2713"/>
                        <a:pt x="1108" y="2699"/>
                        <a:pt x="1063" y="2694"/>
                      </a:cubicBezTo>
                      <a:cubicBezTo>
                        <a:pt x="1021" y="2690"/>
                        <a:pt x="979" y="2694"/>
                        <a:pt x="935" y="2705"/>
                      </a:cubicBezTo>
                      <a:cubicBezTo>
                        <a:pt x="868" y="2725"/>
                        <a:pt x="806" y="2777"/>
                        <a:pt x="763" y="2842"/>
                      </a:cubicBezTo>
                      <a:cubicBezTo>
                        <a:pt x="718" y="2909"/>
                        <a:pt x="693" y="2989"/>
                        <a:pt x="699" y="3062"/>
                      </a:cubicBezTo>
                      <a:cubicBezTo>
                        <a:pt x="710" y="3175"/>
                        <a:pt x="708" y="3455"/>
                        <a:pt x="665" y="3709"/>
                      </a:cubicBezTo>
                      <a:cubicBezTo>
                        <a:pt x="644" y="3840"/>
                        <a:pt x="610" y="3967"/>
                        <a:pt x="561" y="4067"/>
                      </a:cubicBezTo>
                      <a:cubicBezTo>
                        <a:pt x="653" y="4129"/>
                        <a:pt x="798" y="4129"/>
                        <a:pt x="913" y="4129"/>
                      </a:cubicBezTo>
                      <a:lnTo>
                        <a:pt x="1053" y="4129"/>
                      </a:lnTo>
                      <a:lnTo>
                        <a:pt x="1036" y="4269"/>
                      </a:lnTo>
                      <a:cubicBezTo>
                        <a:pt x="1029" y="4335"/>
                        <a:pt x="1010" y="4385"/>
                        <a:pt x="980" y="4429"/>
                      </a:cubicBezTo>
                      <a:lnTo>
                        <a:pt x="980" y="4429"/>
                      </a:lnTo>
                      <a:cubicBezTo>
                        <a:pt x="949" y="4473"/>
                        <a:pt x="911" y="4503"/>
                        <a:pt x="863" y="4532"/>
                      </a:cubicBezTo>
                      <a:lnTo>
                        <a:pt x="863" y="4532"/>
                      </a:lnTo>
                      <a:cubicBezTo>
                        <a:pt x="779" y="4583"/>
                        <a:pt x="719" y="4600"/>
                        <a:pt x="648" y="4622"/>
                      </a:cubicBezTo>
                      <a:cubicBezTo>
                        <a:pt x="619" y="4630"/>
                        <a:pt x="589" y="4639"/>
                        <a:pt x="555" y="4652"/>
                      </a:cubicBezTo>
                      <a:lnTo>
                        <a:pt x="555" y="4652"/>
                      </a:lnTo>
                      <a:lnTo>
                        <a:pt x="543" y="4657"/>
                      </a:lnTo>
                      <a:cubicBezTo>
                        <a:pt x="488" y="4677"/>
                        <a:pt x="420" y="4702"/>
                        <a:pt x="390" y="4730"/>
                      </a:cubicBezTo>
                      <a:cubicBezTo>
                        <a:pt x="346" y="4773"/>
                        <a:pt x="313" y="4827"/>
                        <a:pt x="289" y="4885"/>
                      </a:cubicBezTo>
                      <a:cubicBezTo>
                        <a:pt x="263" y="4949"/>
                        <a:pt x="250" y="5019"/>
                        <a:pt x="250" y="5087"/>
                      </a:cubicBezTo>
                      <a:cubicBezTo>
                        <a:pt x="250" y="5110"/>
                        <a:pt x="336" y="5140"/>
                        <a:pt x="455" y="5172"/>
                      </a:cubicBezTo>
                      <a:cubicBezTo>
                        <a:pt x="698" y="5234"/>
                        <a:pt x="1044" y="5254"/>
                        <a:pt x="1250" y="5254"/>
                      </a:cubicBezTo>
                      <a:cubicBezTo>
                        <a:pt x="1426" y="5254"/>
                        <a:pt x="1705" y="5239"/>
                        <a:pt x="1934" y="5197"/>
                      </a:cubicBezTo>
                      <a:cubicBezTo>
                        <a:pt x="1893" y="5258"/>
                        <a:pt x="1859" y="5324"/>
                        <a:pt x="1831" y="5392"/>
                      </a:cubicBezTo>
                      <a:cubicBezTo>
                        <a:pt x="1821" y="5418"/>
                        <a:pt x="1811" y="5443"/>
                        <a:pt x="1804" y="5469"/>
                      </a:cubicBezTo>
                      <a:cubicBezTo>
                        <a:pt x="1601" y="5494"/>
                        <a:pt x="1393" y="5504"/>
                        <a:pt x="1250" y="5504"/>
                      </a:cubicBezTo>
                      <a:cubicBezTo>
                        <a:pt x="1033" y="5504"/>
                        <a:pt x="660" y="5482"/>
                        <a:pt x="393" y="5413"/>
                      </a:cubicBezTo>
                      <a:cubicBezTo>
                        <a:pt x="165" y="5353"/>
                        <a:pt x="0" y="5252"/>
                        <a:pt x="0" y="5087"/>
                      </a:cubicBezTo>
                      <a:cubicBezTo>
                        <a:pt x="0" y="4990"/>
                        <a:pt x="19" y="4889"/>
                        <a:pt x="58" y="4794"/>
                      </a:cubicBezTo>
                      <a:cubicBezTo>
                        <a:pt x="94" y="4703"/>
                        <a:pt x="146" y="4619"/>
                        <a:pt x="216" y="4552"/>
                      </a:cubicBezTo>
                      <a:cubicBezTo>
                        <a:pt x="285" y="4485"/>
                        <a:pt x="380" y="4450"/>
                        <a:pt x="458" y="4422"/>
                      </a:cubicBezTo>
                      <a:lnTo>
                        <a:pt x="469" y="4418"/>
                      </a:lnTo>
                      <a:lnTo>
                        <a:pt x="469" y="4418"/>
                      </a:lnTo>
                      <a:cubicBezTo>
                        <a:pt x="510" y="4403"/>
                        <a:pt x="545" y="4393"/>
                        <a:pt x="576" y="4383"/>
                      </a:cubicBezTo>
                      <a:cubicBezTo>
                        <a:pt x="599" y="4377"/>
                        <a:pt x="620" y="4370"/>
                        <a:pt x="640" y="4362"/>
                      </a:cubicBezTo>
                      <a:cubicBezTo>
                        <a:pt x="513" y="4339"/>
                        <a:pt x="389" y="4284"/>
                        <a:pt x="303" y="4154"/>
                      </a:cubicBezTo>
                      <a:lnTo>
                        <a:pt x="254" y="4082"/>
                      </a:lnTo>
                      <a:lnTo>
                        <a:pt x="306" y="4010"/>
                      </a:lnTo>
                      <a:cubicBezTo>
                        <a:pt x="360" y="3940"/>
                        <a:pt x="395" y="3810"/>
                        <a:pt x="419" y="3668"/>
                      </a:cubicBezTo>
                      <a:cubicBezTo>
                        <a:pt x="458" y="3435"/>
                        <a:pt x="460" y="3185"/>
                        <a:pt x="451" y="3084"/>
                      </a:cubicBezTo>
                      <a:cubicBezTo>
                        <a:pt x="439" y="2953"/>
                        <a:pt x="480" y="2815"/>
                        <a:pt x="555" y="2703"/>
                      </a:cubicBezTo>
                      <a:cubicBezTo>
                        <a:pt x="630" y="2592"/>
                        <a:pt x="740" y="2502"/>
                        <a:pt x="868" y="2465"/>
                      </a:cubicBezTo>
                      <a:close/>
                      <a:moveTo>
                        <a:pt x="4618" y="1527"/>
                      </a:moveTo>
                      <a:cubicBezTo>
                        <a:pt x="4690" y="1505"/>
                        <a:pt x="4765" y="1500"/>
                        <a:pt x="4839" y="1508"/>
                      </a:cubicBezTo>
                      <a:cubicBezTo>
                        <a:pt x="4894" y="1513"/>
                        <a:pt x="4948" y="1527"/>
                        <a:pt x="5000" y="1548"/>
                      </a:cubicBezTo>
                      <a:cubicBezTo>
                        <a:pt x="5053" y="1527"/>
                        <a:pt x="5106" y="1513"/>
                        <a:pt x="5161" y="1508"/>
                      </a:cubicBezTo>
                      <a:cubicBezTo>
                        <a:pt x="5235" y="1500"/>
                        <a:pt x="5310" y="1505"/>
                        <a:pt x="5383" y="1527"/>
                      </a:cubicBezTo>
                      <a:cubicBezTo>
                        <a:pt x="5510" y="1563"/>
                        <a:pt x="5620" y="1653"/>
                        <a:pt x="5695" y="1764"/>
                      </a:cubicBezTo>
                      <a:cubicBezTo>
                        <a:pt x="5770" y="1877"/>
                        <a:pt x="5811" y="2014"/>
                        <a:pt x="5799" y="2145"/>
                      </a:cubicBezTo>
                      <a:cubicBezTo>
                        <a:pt x="5795" y="2192"/>
                        <a:pt x="5793" y="2270"/>
                        <a:pt x="5796" y="2364"/>
                      </a:cubicBezTo>
                      <a:cubicBezTo>
                        <a:pt x="5731" y="2338"/>
                        <a:pt x="5663" y="2320"/>
                        <a:pt x="5591" y="2314"/>
                      </a:cubicBezTo>
                      <a:cubicBezTo>
                        <a:pt x="5576" y="2312"/>
                        <a:pt x="5561" y="2312"/>
                        <a:pt x="5546" y="2310"/>
                      </a:cubicBezTo>
                      <a:cubicBezTo>
                        <a:pt x="5545" y="2232"/>
                        <a:pt x="5548" y="2165"/>
                        <a:pt x="5551" y="2123"/>
                      </a:cubicBezTo>
                      <a:cubicBezTo>
                        <a:pt x="5558" y="2050"/>
                        <a:pt x="5533" y="1970"/>
                        <a:pt x="5488" y="1903"/>
                      </a:cubicBezTo>
                      <a:cubicBezTo>
                        <a:pt x="5444" y="1838"/>
                        <a:pt x="5383" y="1787"/>
                        <a:pt x="5315" y="1767"/>
                      </a:cubicBezTo>
                      <a:cubicBezTo>
                        <a:pt x="5271" y="1755"/>
                        <a:pt x="5229" y="1752"/>
                        <a:pt x="5188" y="1755"/>
                      </a:cubicBezTo>
                      <a:cubicBezTo>
                        <a:pt x="5143" y="1760"/>
                        <a:pt x="5099" y="1774"/>
                        <a:pt x="5056" y="1795"/>
                      </a:cubicBezTo>
                      <a:lnTo>
                        <a:pt x="5000" y="1823"/>
                      </a:lnTo>
                      <a:lnTo>
                        <a:pt x="4944" y="1795"/>
                      </a:lnTo>
                      <a:cubicBezTo>
                        <a:pt x="4901" y="1774"/>
                        <a:pt x="4858" y="1760"/>
                        <a:pt x="4813" y="1755"/>
                      </a:cubicBezTo>
                      <a:cubicBezTo>
                        <a:pt x="4771" y="1752"/>
                        <a:pt x="4729" y="1755"/>
                        <a:pt x="4685" y="1767"/>
                      </a:cubicBezTo>
                      <a:cubicBezTo>
                        <a:pt x="4618" y="1787"/>
                        <a:pt x="4556" y="1838"/>
                        <a:pt x="4513" y="1903"/>
                      </a:cubicBezTo>
                      <a:cubicBezTo>
                        <a:pt x="4468" y="1970"/>
                        <a:pt x="4443" y="2049"/>
                        <a:pt x="4449" y="2123"/>
                      </a:cubicBezTo>
                      <a:cubicBezTo>
                        <a:pt x="4456" y="2200"/>
                        <a:pt x="4458" y="2353"/>
                        <a:pt x="4445" y="2522"/>
                      </a:cubicBezTo>
                      <a:cubicBezTo>
                        <a:pt x="4333" y="2632"/>
                        <a:pt x="4251" y="2773"/>
                        <a:pt x="4218" y="2942"/>
                      </a:cubicBezTo>
                      <a:lnTo>
                        <a:pt x="4203" y="2927"/>
                      </a:lnTo>
                      <a:cubicBezTo>
                        <a:pt x="4183" y="2907"/>
                        <a:pt x="4163" y="2888"/>
                        <a:pt x="4140" y="2870"/>
                      </a:cubicBezTo>
                      <a:cubicBezTo>
                        <a:pt x="4151" y="2827"/>
                        <a:pt x="4161" y="2778"/>
                        <a:pt x="4169" y="2729"/>
                      </a:cubicBezTo>
                      <a:cubicBezTo>
                        <a:pt x="4208" y="2497"/>
                        <a:pt x="4210" y="2245"/>
                        <a:pt x="4201" y="2145"/>
                      </a:cubicBezTo>
                      <a:cubicBezTo>
                        <a:pt x="4189" y="2014"/>
                        <a:pt x="4230" y="1877"/>
                        <a:pt x="4305" y="1764"/>
                      </a:cubicBezTo>
                      <a:cubicBezTo>
                        <a:pt x="4380" y="1653"/>
                        <a:pt x="4490" y="1563"/>
                        <a:pt x="4618" y="1527"/>
                      </a:cubicBezTo>
                      <a:close/>
                      <a:moveTo>
                        <a:pt x="4721" y="3458"/>
                      </a:moveTo>
                      <a:cubicBezTo>
                        <a:pt x="4723" y="3474"/>
                        <a:pt x="4720" y="3490"/>
                        <a:pt x="4715" y="3505"/>
                      </a:cubicBezTo>
                      <a:cubicBezTo>
                        <a:pt x="4708" y="3534"/>
                        <a:pt x="4710" y="3567"/>
                        <a:pt x="4721" y="3595"/>
                      </a:cubicBezTo>
                      <a:cubicBezTo>
                        <a:pt x="4729" y="3618"/>
                        <a:pt x="4744" y="3637"/>
                        <a:pt x="4764" y="3647"/>
                      </a:cubicBezTo>
                      <a:cubicBezTo>
                        <a:pt x="4798" y="3664"/>
                        <a:pt x="4820" y="3693"/>
                        <a:pt x="4829" y="3727"/>
                      </a:cubicBezTo>
                      <a:lnTo>
                        <a:pt x="4829" y="3727"/>
                      </a:lnTo>
                      <a:cubicBezTo>
                        <a:pt x="4845" y="3785"/>
                        <a:pt x="4875" y="3864"/>
                        <a:pt x="4911" y="3937"/>
                      </a:cubicBezTo>
                      <a:cubicBezTo>
                        <a:pt x="4940" y="3993"/>
                        <a:pt x="4971" y="4042"/>
                        <a:pt x="5000" y="4070"/>
                      </a:cubicBezTo>
                      <a:cubicBezTo>
                        <a:pt x="5025" y="4095"/>
                        <a:pt x="5038" y="4127"/>
                        <a:pt x="5038" y="4159"/>
                      </a:cubicBezTo>
                      <a:lnTo>
                        <a:pt x="5038" y="4159"/>
                      </a:lnTo>
                      <a:cubicBezTo>
                        <a:pt x="5038" y="4218"/>
                        <a:pt x="5034" y="4298"/>
                        <a:pt x="5014" y="4375"/>
                      </a:cubicBezTo>
                      <a:cubicBezTo>
                        <a:pt x="5014" y="4378"/>
                        <a:pt x="5014" y="4379"/>
                        <a:pt x="5013" y="4382"/>
                      </a:cubicBezTo>
                      <a:cubicBezTo>
                        <a:pt x="4989" y="4473"/>
                        <a:pt x="4944" y="4558"/>
                        <a:pt x="4863" y="4605"/>
                      </a:cubicBezTo>
                      <a:lnTo>
                        <a:pt x="4861" y="4605"/>
                      </a:lnTo>
                      <a:cubicBezTo>
                        <a:pt x="4779" y="4657"/>
                        <a:pt x="4719" y="4675"/>
                        <a:pt x="4648" y="4697"/>
                      </a:cubicBezTo>
                      <a:cubicBezTo>
                        <a:pt x="4619" y="4704"/>
                        <a:pt x="4589" y="4714"/>
                        <a:pt x="4555" y="4725"/>
                      </a:cubicBezTo>
                      <a:lnTo>
                        <a:pt x="4543" y="4730"/>
                      </a:lnTo>
                      <a:cubicBezTo>
                        <a:pt x="4541" y="4732"/>
                        <a:pt x="4539" y="4732"/>
                        <a:pt x="4538" y="4733"/>
                      </a:cubicBezTo>
                      <a:cubicBezTo>
                        <a:pt x="4484" y="4752"/>
                        <a:pt x="4419" y="4777"/>
                        <a:pt x="4390" y="4804"/>
                      </a:cubicBezTo>
                      <a:cubicBezTo>
                        <a:pt x="4375" y="4818"/>
                        <a:pt x="4363" y="4833"/>
                        <a:pt x="4350" y="4849"/>
                      </a:cubicBezTo>
                      <a:lnTo>
                        <a:pt x="4338" y="4845"/>
                      </a:lnTo>
                      <a:lnTo>
                        <a:pt x="4338" y="4844"/>
                      </a:lnTo>
                      <a:lnTo>
                        <a:pt x="4324" y="4839"/>
                      </a:lnTo>
                      <a:cubicBezTo>
                        <a:pt x="4275" y="4822"/>
                        <a:pt x="4235" y="4809"/>
                        <a:pt x="4199" y="4799"/>
                      </a:cubicBezTo>
                      <a:cubicBezTo>
                        <a:pt x="4244" y="4723"/>
                        <a:pt x="4273" y="4644"/>
                        <a:pt x="4295" y="4568"/>
                      </a:cubicBezTo>
                      <a:cubicBezTo>
                        <a:pt x="4346" y="4538"/>
                        <a:pt x="4403" y="4517"/>
                        <a:pt x="4451" y="4498"/>
                      </a:cubicBezTo>
                      <a:cubicBezTo>
                        <a:pt x="4454" y="4498"/>
                        <a:pt x="4455" y="4497"/>
                        <a:pt x="4458" y="4497"/>
                      </a:cubicBezTo>
                      <a:lnTo>
                        <a:pt x="4469" y="4492"/>
                      </a:lnTo>
                      <a:cubicBezTo>
                        <a:pt x="4510" y="4477"/>
                        <a:pt x="4545" y="4467"/>
                        <a:pt x="4576" y="4457"/>
                      </a:cubicBezTo>
                      <a:cubicBezTo>
                        <a:pt x="4630" y="4440"/>
                        <a:pt x="4675" y="4427"/>
                        <a:pt x="4730" y="4393"/>
                      </a:cubicBezTo>
                      <a:cubicBezTo>
                        <a:pt x="4733" y="4392"/>
                        <a:pt x="4735" y="4390"/>
                        <a:pt x="4738" y="4388"/>
                      </a:cubicBezTo>
                      <a:cubicBezTo>
                        <a:pt x="4753" y="4380"/>
                        <a:pt x="4763" y="4353"/>
                        <a:pt x="4771" y="4320"/>
                      </a:cubicBezTo>
                      <a:lnTo>
                        <a:pt x="4773" y="4317"/>
                      </a:lnTo>
                      <a:cubicBezTo>
                        <a:pt x="4781" y="4280"/>
                        <a:pt x="4785" y="4242"/>
                        <a:pt x="4786" y="4205"/>
                      </a:cubicBezTo>
                      <a:cubicBezTo>
                        <a:pt x="4751" y="4160"/>
                        <a:pt x="4718" y="4107"/>
                        <a:pt x="4689" y="4050"/>
                      </a:cubicBezTo>
                      <a:cubicBezTo>
                        <a:pt x="4654" y="3980"/>
                        <a:pt x="4623" y="3904"/>
                        <a:pt x="4603" y="3839"/>
                      </a:cubicBezTo>
                      <a:cubicBezTo>
                        <a:pt x="4565" y="3812"/>
                        <a:pt x="4535" y="3777"/>
                        <a:pt x="4513" y="3738"/>
                      </a:cubicBezTo>
                      <a:cubicBezTo>
                        <a:pt x="4516" y="3634"/>
                        <a:pt x="4508" y="3538"/>
                        <a:pt x="4489" y="3445"/>
                      </a:cubicBezTo>
                      <a:cubicBezTo>
                        <a:pt x="4481" y="3415"/>
                        <a:pt x="4474" y="3385"/>
                        <a:pt x="4465" y="3357"/>
                      </a:cubicBezTo>
                      <a:lnTo>
                        <a:pt x="4450" y="3128"/>
                      </a:lnTo>
                      <a:lnTo>
                        <a:pt x="4450" y="3128"/>
                      </a:lnTo>
                      <a:lnTo>
                        <a:pt x="4450" y="3122"/>
                      </a:lnTo>
                      <a:cubicBezTo>
                        <a:pt x="4450" y="3084"/>
                        <a:pt x="4453" y="3048"/>
                        <a:pt x="4458" y="3013"/>
                      </a:cubicBezTo>
                      <a:cubicBezTo>
                        <a:pt x="4484" y="2853"/>
                        <a:pt x="4573" y="2725"/>
                        <a:pt x="4693" y="2638"/>
                      </a:cubicBezTo>
                      <a:cubicBezTo>
                        <a:pt x="4809" y="2554"/>
                        <a:pt x="4956" y="2508"/>
                        <a:pt x="5106" y="2505"/>
                      </a:cubicBezTo>
                      <a:cubicBezTo>
                        <a:pt x="5151" y="2504"/>
                        <a:pt x="5196" y="2507"/>
                        <a:pt x="5241" y="2514"/>
                      </a:cubicBezTo>
                      <a:cubicBezTo>
                        <a:pt x="5294" y="2523"/>
                        <a:pt x="5333" y="2534"/>
                        <a:pt x="5369" y="2550"/>
                      </a:cubicBezTo>
                      <a:cubicBezTo>
                        <a:pt x="5386" y="2558"/>
                        <a:pt x="5401" y="2567"/>
                        <a:pt x="5418" y="2575"/>
                      </a:cubicBezTo>
                      <a:cubicBezTo>
                        <a:pt x="5469" y="2560"/>
                        <a:pt x="5519" y="2557"/>
                        <a:pt x="5569" y="2562"/>
                      </a:cubicBezTo>
                      <a:cubicBezTo>
                        <a:pt x="5663" y="2570"/>
                        <a:pt x="5751" y="2609"/>
                        <a:pt x="5826" y="2667"/>
                      </a:cubicBezTo>
                      <a:cubicBezTo>
                        <a:pt x="5899" y="2722"/>
                        <a:pt x="5960" y="2795"/>
                        <a:pt x="6000" y="2877"/>
                      </a:cubicBezTo>
                      <a:cubicBezTo>
                        <a:pt x="6038" y="2953"/>
                        <a:pt x="6056" y="3037"/>
                        <a:pt x="6050" y="3119"/>
                      </a:cubicBezTo>
                      <a:lnTo>
                        <a:pt x="6050" y="3124"/>
                      </a:lnTo>
                      <a:lnTo>
                        <a:pt x="6029" y="3454"/>
                      </a:lnTo>
                      <a:cubicBezTo>
                        <a:pt x="6045" y="3529"/>
                        <a:pt x="6040" y="3612"/>
                        <a:pt x="6013" y="3684"/>
                      </a:cubicBezTo>
                      <a:cubicBezTo>
                        <a:pt x="5990" y="3744"/>
                        <a:pt x="5951" y="3799"/>
                        <a:pt x="5898" y="3839"/>
                      </a:cubicBezTo>
                      <a:cubicBezTo>
                        <a:pt x="5878" y="3904"/>
                        <a:pt x="5846" y="3980"/>
                        <a:pt x="5811" y="4050"/>
                      </a:cubicBezTo>
                      <a:cubicBezTo>
                        <a:pt x="5783" y="4107"/>
                        <a:pt x="5750" y="4160"/>
                        <a:pt x="5714" y="4205"/>
                      </a:cubicBezTo>
                      <a:cubicBezTo>
                        <a:pt x="5716" y="4242"/>
                        <a:pt x="5720" y="4282"/>
                        <a:pt x="5728" y="4318"/>
                      </a:cubicBezTo>
                      <a:cubicBezTo>
                        <a:pt x="5735" y="4350"/>
                        <a:pt x="5745" y="4378"/>
                        <a:pt x="5760" y="4387"/>
                      </a:cubicBezTo>
                      <a:cubicBezTo>
                        <a:pt x="5761" y="4388"/>
                        <a:pt x="5764" y="4389"/>
                        <a:pt x="5766" y="4390"/>
                      </a:cubicBezTo>
                      <a:cubicBezTo>
                        <a:pt x="5824" y="4427"/>
                        <a:pt x="5869" y="4440"/>
                        <a:pt x="5924" y="4457"/>
                      </a:cubicBezTo>
                      <a:cubicBezTo>
                        <a:pt x="5955" y="4467"/>
                        <a:pt x="5990" y="4477"/>
                        <a:pt x="6031" y="4492"/>
                      </a:cubicBezTo>
                      <a:lnTo>
                        <a:pt x="6031" y="4492"/>
                      </a:lnTo>
                      <a:lnTo>
                        <a:pt x="6043" y="4497"/>
                      </a:lnTo>
                      <a:cubicBezTo>
                        <a:pt x="6120" y="4524"/>
                        <a:pt x="6216" y="4559"/>
                        <a:pt x="6284" y="4625"/>
                      </a:cubicBezTo>
                      <a:cubicBezTo>
                        <a:pt x="6354" y="4693"/>
                        <a:pt x="6406" y="4778"/>
                        <a:pt x="6443" y="4868"/>
                      </a:cubicBezTo>
                      <a:cubicBezTo>
                        <a:pt x="6481" y="4963"/>
                        <a:pt x="6500" y="5064"/>
                        <a:pt x="6500" y="5160"/>
                      </a:cubicBezTo>
                      <a:cubicBezTo>
                        <a:pt x="6500" y="5327"/>
                        <a:pt x="6335" y="5428"/>
                        <a:pt x="6108" y="5487"/>
                      </a:cubicBezTo>
                      <a:cubicBezTo>
                        <a:pt x="5840" y="5557"/>
                        <a:pt x="5468" y="5578"/>
                        <a:pt x="5250" y="5578"/>
                      </a:cubicBezTo>
                      <a:cubicBezTo>
                        <a:pt x="5174" y="5578"/>
                        <a:pt x="5078" y="5575"/>
                        <a:pt x="4974" y="5569"/>
                      </a:cubicBezTo>
                      <a:cubicBezTo>
                        <a:pt x="4960" y="5509"/>
                        <a:pt x="4943" y="5450"/>
                        <a:pt x="4919" y="5392"/>
                      </a:cubicBezTo>
                      <a:cubicBezTo>
                        <a:pt x="4908" y="5365"/>
                        <a:pt x="4896" y="5338"/>
                        <a:pt x="4883" y="5312"/>
                      </a:cubicBezTo>
                      <a:cubicBezTo>
                        <a:pt x="5020" y="5324"/>
                        <a:pt x="5151" y="5328"/>
                        <a:pt x="5250" y="5328"/>
                      </a:cubicBezTo>
                      <a:cubicBezTo>
                        <a:pt x="5456" y="5328"/>
                        <a:pt x="5803" y="5308"/>
                        <a:pt x="6045" y="5245"/>
                      </a:cubicBezTo>
                      <a:cubicBezTo>
                        <a:pt x="6164" y="5214"/>
                        <a:pt x="6250" y="5184"/>
                        <a:pt x="6250" y="5160"/>
                      </a:cubicBezTo>
                      <a:cubicBezTo>
                        <a:pt x="6250" y="5093"/>
                        <a:pt x="6238" y="5024"/>
                        <a:pt x="6211" y="4959"/>
                      </a:cubicBezTo>
                      <a:cubicBezTo>
                        <a:pt x="6188" y="4902"/>
                        <a:pt x="6154" y="4847"/>
                        <a:pt x="6110" y="4804"/>
                      </a:cubicBezTo>
                      <a:cubicBezTo>
                        <a:pt x="6080" y="4775"/>
                        <a:pt x="6013" y="4750"/>
                        <a:pt x="5958" y="4730"/>
                      </a:cubicBezTo>
                      <a:lnTo>
                        <a:pt x="5945" y="4725"/>
                      </a:lnTo>
                      <a:lnTo>
                        <a:pt x="5945" y="4725"/>
                      </a:lnTo>
                      <a:lnTo>
                        <a:pt x="5945" y="4725"/>
                      </a:lnTo>
                      <a:cubicBezTo>
                        <a:pt x="5911" y="4714"/>
                        <a:pt x="5881" y="4704"/>
                        <a:pt x="5853" y="4697"/>
                      </a:cubicBezTo>
                      <a:cubicBezTo>
                        <a:pt x="5781" y="4674"/>
                        <a:pt x="5720" y="4657"/>
                        <a:pt x="5634" y="4603"/>
                      </a:cubicBezTo>
                      <a:lnTo>
                        <a:pt x="5631" y="4600"/>
                      </a:lnTo>
                      <a:cubicBezTo>
                        <a:pt x="5549" y="4550"/>
                        <a:pt x="5506" y="4465"/>
                        <a:pt x="5485" y="4374"/>
                      </a:cubicBezTo>
                      <a:cubicBezTo>
                        <a:pt x="5468" y="4300"/>
                        <a:pt x="5465" y="4222"/>
                        <a:pt x="5463" y="4162"/>
                      </a:cubicBezTo>
                      <a:cubicBezTo>
                        <a:pt x="5463" y="4127"/>
                        <a:pt x="5476" y="4094"/>
                        <a:pt x="5500" y="4070"/>
                      </a:cubicBezTo>
                      <a:lnTo>
                        <a:pt x="5500" y="4070"/>
                      </a:lnTo>
                      <a:cubicBezTo>
                        <a:pt x="5530" y="4042"/>
                        <a:pt x="5560" y="3992"/>
                        <a:pt x="5589" y="3937"/>
                      </a:cubicBezTo>
                      <a:cubicBezTo>
                        <a:pt x="5626" y="3864"/>
                        <a:pt x="5655" y="3785"/>
                        <a:pt x="5671" y="3727"/>
                      </a:cubicBezTo>
                      <a:cubicBezTo>
                        <a:pt x="5681" y="3689"/>
                        <a:pt x="5708" y="3660"/>
                        <a:pt x="5740" y="3645"/>
                      </a:cubicBezTo>
                      <a:cubicBezTo>
                        <a:pt x="5759" y="3635"/>
                        <a:pt x="5771" y="3617"/>
                        <a:pt x="5780" y="3595"/>
                      </a:cubicBezTo>
                      <a:cubicBezTo>
                        <a:pt x="5791" y="3565"/>
                        <a:pt x="5793" y="3530"/>
                        <a:pt x="5784" y="3500"/>
                      </a:cubicBezTo>
                      <a:cubicBezTo>
                        <a:pt x="5779" y="3485"/>
                        <a:pt x="5778" y="3472"/>
                        <a:pt x="5779" y="3458"/>
                      </a:cubicBezTo>
                      <a:lnTo>
                        <a:pt x="5779" y="3458"/>
                      </a:lnTo>
                      <a:lnTo>
                        <a:pt x="5801" y="3109"/>
                      </a:lnTo>
                      <a:cubicBezTo>
                        <a:pt x="5801" y="3105"/>
                        <a:pt x="5801" y="3103"/>
                        <a:pt x="5803" y="3099"/>
                      </a:cubicBezTo>
                      <a:cubicBezTo>
                        <a:pt x="5804" y="3063"/>
                        <a:pt x="5794" y="3024"/>
                        <a:pt x="5776" y="2987"/>
                      </a:cubicBezTo>
                      <a:cubicBezTo>
                        <a:pt x="5754" y="2940"/>
                        <a:pt x="5718" y="2897"/>
                        <a:pt x="5675" y="2864"/>
                      </a:cubicBezTo>
                      <a:cubicBezTo>
                        <a:pt x="5635" y="2834"/>
                        <a:pt x="5590" y="2814"/>
                        <a:pt x="5546" y="2809"/>
                      </a:cubicBezTo>
                      <a:cubicBezTo>
                        <a:pt x="5518" y="2807"/>
                        <a:pt x="5488" y="2812"/>
                        <a:pt x="5459" y="2825"/>
                      </a:cubicBezTo>
                      <a:cubicBezTo>
                        <a:pt x="5419" y="2845"/>
                        <a:pt x="5373" y="2840"/>
                        <a:pt x="5338" y="2818"/>
                      </a:cubicBezTo>
                      <a:lnTo>
                        <a:pt x="5338" y="2818"/>
                      </a:lnTo>
                      <a:cubicBezTo>
                        <a:pt x="5310" y="2800"/>
                        <a:pt x="5289" y="2788"/>
                        <a:pt x="5269" y="2779"/>
                      </a:cubicBezTo>
                      <a:cubicBezTo>
                        <a:pt x="5250" y="2770"/>
                        <a:pt x="5230" y="2765"/>
                        <a:pt x="5201" y="2760"/>
                      </a:cubicBezTo>
                      <a:cubicBezTo>
                        <a:pt x="5170" y="2755"/>
                        <a:pt x="5140" y="2753"/>
                        <a:pt x="5110" y="2754"/>
                      </a:cubicBezTo>
                      <a:cubicBezTo>
                        <a:pt x="5011" y="2755"/>
                        <a:pt x="4915" y="2785"/>
                        <a:pt x="4839" y="2840"/>
                      </a:cubicBezTo>
                      <a:cubicBezTo>
                        <a:pt x="4769" y="2892"/>
                        <a:pt x="4719" y="2963"/>
                        <a:pt x="4704" y="3053"/>
                      </a:cubicBezTo>
                      <a:cubicBezTo>
                        <a:pt x="4700" y="3073"/>
                        <a:pt x="4699" y="3092"/>
                        <a:pt x="4699" y="3112"/>
                      </a:cubicBezTo>
                      <a:lnTo>
                        <a:pt x="4721" y="3458"/>
                      </a:lnTo>
                      <a:close/>
                      <a:moveTo>
                        <a:pt x="2376" y="3102"/>
                      </a:moveTo>
                      <a:cubicBezTo>
                        <a:pt x="2344" y="3067"/>
                        <a:pt x="2319" y="3025"/>
                        <a:pt x="2301" y="2980"/>
                      </a:cubicBezTo>
                      <a:cubicBezTo>
                        <a:pt x="2300" y="2977"/>
                        <a:pt x="2299" y="2972"/>
                        <a:pt x="2296" y="2967"/>
                      </a:cubicBezTo>
                      <a:cubicBezTo>
                        <a:pt x="2293" y="2925"/>
                        <a:pt x="2286" y="2884"/>
                        <a:pt x="2276" y="2844"/>
                      </a:cubicBezTo>
                      <a:cubicBezTo>
                        <a:pt x="2275" y="2814"/>
                        <a:pt x="2278" y="2785"/>
                        <a:pt x="2284" y="2757"/>
                      </a:cubicBezTo>
                      <a:cubicBezTo>
                        <a:pt x="2273" y="2712"/>
                        <a:pt x="2264" y="2667"/>
                        <a:pt x="2258" y="2620"/>
                      </a:cubicBezTo>
                      <a:cubicBezTo>
                        <a:pt x="2235" y="2465"/>
                        <a:pt x="2238" y="2304"/>
                        <a:pt x="2289" y="2168"/>
                      </a:cubicBezTo>
                      <a:cubicBezTo>
                        <a:pt x="2346" y="2017"/>
                        <a:pt x="2458" y="1899"/>
                        <a:pt x="2651" y="1852"/>
                      </a:cubicBezTo>
                      <a:cubicBezTo>
                        <a:pt x="2661" y="1849"/>
                        <a:pt x="2671" y="1847"/>
                        <a:pt x="2681" y="1845"/>
                      </a:cubicBezTo>
                      <a:cubicBezTo>
                        <a:pt x="2799" y="1752"/>
                        <a:pt x="2984" y="1712"/>
                        <a:pt x="3170" y="1724"/>
                      </a:cubicBezTo>
                      <a:cubicBezTo>
                        <a:pt x="3368" y="1737"/>
                        <a:pt x="3574" y="1807"/>
                        <a:pt x="3699" y="1932"/>
                      </a:cubicBezTo>
                      <a:lnTo>
                        <a:pt x="3699" y="1932"/>
                      </a:lnTo>
                      <a:cubicBezTo>
                        <a:pt x="3803" y="2035"/>
                        <a:pt x="3873" y="2158"/>
                        <a:pt x="3904" y="2304"/>
                      </a:cubicBezTo>
                      <a:cubicBezTo>
                        <a:pt x="3931" y="2428"/>
                        <a:pt x="3929" y="2569"/>
                        <a:pt x="3896" y="2728"/>
                      </a:cubicBezTo>
                      <a:cubicBezTo>
                        <a:pt x="3819" y="2697"/>
                        <a:pt x="3739" y="2673"/>
                        <a:pt x="3656" y="2657"/>
                      </a:cubicBezTo>
                      <a:cubicBezTo>
                        <a:pt x="3678" y="2542"/>
                        <a:pt x="3679" y="2443"/>
                        <a:pt x="3660" y="2357"/>
                      </a:cubicBezTo>
                      <a:cubicBezTo>
                        <a:pt x="3639" y="2260"/>
                        <a:pt x="3593" y="2179"/>
                        <a:pt x="3521" y="2108"/>
                      </a:cubicBezTo>
                      <a:lnTo>
                        <a:pt x="3521" y="2108"/>
                      </a:lnTo>
                      <a:cubicBezTo>
                        <a:pt x="3441" y="2028"/>
                        <a:pt x="3298" y="1982"/>
                        <a:pt x="3155" y="1973"/>
                      </a:cubicBezTo>
                      <a:cubicBezTo>
                        <a:pt x="3016" y="1964"/>
                        <a:pt x="2886" y="1989"/>
                        <a:pt x="2826" y="2050"/>
                      </a:cubicBezTo>
                      <a:cubicBezTo>
                        <a:pt x="2804" y="2072"/>
                        <a:pt x="2778" y="2084"/>
                        <a:pt x="2749" y="2087"/>
                      </a:cubicBezTo>
                      <a:cubicBezTo>
                        <a:pt x="2735" y="2088"/>
                        <a:pt x="2723" y="2090"/>
                        <a:pt x="2711" y="2094"/>
                      </a:cubicBezTo>
                      <a:cubicBezTo>
                        <a:pt x="2610" y="2119"/>
                        <a:pt x="2551" y="2179"/>
                        <a:pt x="2523" y="2255"/>
                      </a:cubicBezTo>
                      <a:cubicBezTo>
                        <a:pt x="2488" y="2348"/>
                        <a:pt x="2488" y="2467"/>
                        <a:pt x="2505" y="2585"/>
                      </a:cubicBezTo>
                      <a:cubicBezTo>
                        <a:pt x="2511" y="2634"/>
                        <a:pt x="2521" y="2682"/>
                        <a:pt x="2533" y="2727"/>
                      </a:cubicBezTo>
                      <a:cubicBezTo>
                        <a:pt x="2539" y="2750"/>
                        <a:pt x="2536" y="2774"/>
                        <a:pt x="2530" y="2795"/>
                      </a:cubicBezTo>
                      <a:cubicBezTo>
                        <a:pt x="2521" y="2827"/>
                        <a:pt x="2524" y="2862"/>
                        <a:pt x="2535" y="2893"/>
                      </a:cubicBezTo>
                      <a:cubicBezTo>
                        <a:pt x="2539" y="2902"/>
                        <a:pt x="2543" y="2909"/>
                        <a:pt x="2548" y="2917"/>
                      </a:cubicBezTo>
                      <a:cubicBezTo>
                        <a:pt x="2478" y="2969"/>
                        <a:pt x="2421" y="3032"/>
                        <a:pt x="2376" y="3102"/>
                      </a:cubicBezTo>
                      <a:close/>
                      <a:moveTo>
                        <a:pt x="2906" y="25"/>
                      </a:moveTo>
                      <a:cubicBezTo>
                        <a:pt x="2973" y="5"/>
                        <a:pt x="3041" y="0"/>
                        <a:pt x="3109" y="8"/>
                      </a:cubicBezTo>
                      <a:cubicBezTo>
                        <a:pt x="3156" y="13"/>
                        <a:pt x="3204" y="24"/>
                        <a:pt x="3250" y="42"/>
                      </a:cubicBezTo>
                      <a:cubicBezTo>
                        <a:pt x="3296" y="24"/>
                        <a:pt x="3344" y="13"/>
                        <a:pt x="3391" y="8"/>
                      </a:cubicBezTo>
                      <a:cubicBezTo>
                        <a:pt x="3459" y="0"/>
                        <a:pt x="3528" y="5"/>
                        <a:pt x="3594" y="25"/>
                      </a:cubicBezTo>
                      <a:cubicBezTo>
                        <a:pt x="3710" y="58"/>
                        <a:pt x="3810" y="139"/>
                        <a:pt x="3879" y="242"/>
                      </a:cubicBezTo>
                      <a:cubicBezTo>
                        <a:pt x="3911" y="289"/>
                        <a:pt x="3936" y="343"/>
                        <a:pt x="3954" y="398"/>
                      </a:cubicBezTo>
                      <a:cubicBezTo>
                        <a:pt x="3869" y="414"/>
                        <a:pt x="3789" y="440"/>
                        <a:pt x="3716" y="477"/>
                      </a:cubicBezTo>
                      <a:cubicBezTo>
                        <a:pt x="3708" y="443"/>
                        <a:pt x="3693" y="410"/>
                        <a:pt x="3673" y="380"/>
                      </a:cubicBezTo>
                      <a:cubicBezTo>
                        <a:pt x="3635" y="325"/>
                        <a:pt x="3583" y="282"/>
                        <a:pt x="3526" y="265"/>
                      </a:cubicBezTo>
                      <a:cubicBezTo>
                        <a:pt x="3490" y="255"/>
                        <a:pt x="3454" y="252"/>
                        <a:pt x="3418" y="255"/>
                      </a:cubicBezTo>
                      <a:cubicBezTo>
                        <a:pt x="3380" y="259"/>
                        <a:pt x="3343" y="270"/>
                        <a:pt x="3306" y="289"/>
                      </a:cubicBezTo>
                      <a:lnTo>
                        <a:pt x="3250" y="317"/>
                      </a:lnTo>
                      <a:lnTo>
                        <a:pt x="3194" y="289"/>
                      </a:lnTo>
                      <a:cubicBezTo>
                        <a:pt x="3158" y="270"/>
                        <a:pt x="3120" y="259"/>
                        <a:pt x="3083" y="255"/>
                      </a:cubicBezTo>
                      <a:cubicBezTo>
                        <a:pt x="3046" y="252"/>
                        <a:pt x="3011" y="255"/>
                        <a:pt x="2974" y="265"/>
                      </a:cubicBezTo>
                      <a:cubicBezTo>
                        <a:pt x="2918" y="282"/>
                        <a:pt x="2865" y="325"/>
                        <a:pt x="2828" y="380"/>
                      </a:cubicBezTo>
                      <a:cubicBezTo>
                        <a:pt x="2794" y="430"/>
                        <a:pt x="2774" y="489"/>
                        <a:pt x="2774" y="545"/>
                      </a:cubicBezTo>
                      <a:cubicBezTo>
                        <a:pt x="2729" y="532"/>
                        <a:pt x="2684" y="523"/>
                        <a:pt x="2638" y="518"/>
                      </a:cubicBezTo>
                      <a:cubicBezTo>
                        <a:pt x="2600" y="515"/>
                        <a:pt x="2563" y="514"/>
                        <a:pt x="2525" y="518"/>
                      </a:cubicBezTo>
                      <a:cubicBezTo>
                        <a:pt x="2531" y="420"/>
                        <a:pt x="2566" y="324"/>
                        <a:pt x="2621" y="242"/>
                      </a:cubicBezTo>
                      <a:cubicBezTo>
                        <a:pt x="2690" y="139"/>
                        <a:pt x="2790" y="58"/>
                        <a:pt x="2906" y="25"/>
                      </a:cubicBezTo>
                      <a:close/>
                      <a:moveTo>
                        <a:pt x="510" y="2383"/>
                      </a:moveTo>
                      <a:cubicBezTo>
                        <a:pt x="504" y="2320"/>
                        <a:pt x="511" y="2254"/>
                        <a:pt x="534" y="2194"/>
                      </a:cubicBezTo>
                      <a:cubicBezTo>
                        <a:pt x="529" y="2162"/>
                        <a:pt x="526" y="2128"/>
                        <a:pt x="526" y="2092"/>
                      </a:cubicBezTo>
                      <a:lnTo>
                        <a:pt x="528" y="2092"/>
                      </a:lnTo>
                      <a:cubicBezTo>
                        <a:pt x="528" y="1937"/>
                        <a:pt x="571" y="1754"/>
                        <a:pt x="670" y="1602"/>
                      </a:cubicBezTo>
                      <a:cubicBezTo>
                        <a:pt x="771" y="1443"/>
                        <a:pt x="928" y="1314"/>
                        <a:pt x="1149" y="1270"/>
                      </a:cubicBezTo>
                      <a:cubicBezTo>
                        <a:pt x="1201" y="1259"/>
                        <a:pt x="1256" y="1254"/>
                        <a:pt x="1315" y="1254"/>
                      </a:cubicBezTo>
                      <a:cubicBezTo>
                        <a:pt x="1373" y="1254"/>
                        <a:pt x="1428" y="1259"/>
                        <a:pt x="1480" y="1270"/>
                      </a:cubicBezTo>
                      <a:cubicBezTo>
                        <a:pt x="1701" y="1314"/>
                        <a:pt x="1858" y="1443"/>
                        <a:pt x="1959" y="1602"/>
                      </a:cubicBezTo>
                      <a:cubicBezTo>
                        <a:pt x="2036" y="1723"/>
                        <a:pt x="2081" y="1860"/>
                        <a:pt x="2096" y="1989"/>
                      </a:cubicBezTo>
                      <a:cubicBezTo>
                        <a:pt x="2081" y="2018"/>
                        <a:pt x="2068" y="2049"/>
                        <a:pt x="2056" y="2080"/>
                      </a:cubicBezTo>
                      <a:cubicBezTo>
                        <a:pt x="2019" y="2178"/>
                        <a:pt x="2001" y="2283"/>
                        <a:pt x="1996" y="2388"/>
                      </a:cubicBezTo>
                      <a:cubicBezTo>
                        <a:pt x="1956" y="2353"/>
                        <a:pt x="1913" y="2322"/>
                        <a:pt x="1866" y="2295"/>
                      </a:cubicBezTo>
                      <a:cubicBezTo>
                        <a:pt x="1864" y="2285"/>
                        <a:pt x="1860" y="2275"/>
                        <a:pt x="1855" y="2265"/>
                      </a:cubicBezTo>
                      <a:lnTo>
                        <a:pt x="1855" y="2264"/>
                      </a:lnTo>
                      <a:cubicBezTo>
                        <a:pt x="1843" y="2239"/>
                        <a:pt x="1839" y="2210"/>
                        <a:pt x="1844" y="2184"/>
                      </a:cubicBezTo>
                      <a:lnTo>
                        <a:pt x="1844" y="2184"/>
                      </a:lnTo>
                      <a:cubicBezTo>
                        <a:pt x="1850" y="2157"/>
                        <a:pt x="1853" y="2125"/>
                        <a:pt x="1853" y="2092"/>
                      </a:cubicBezTo>
                      <a:cubicBezTo>
                        <a:pt x="1853" y="1979"/>
                        <a:pt x="1820" y="1847"/>
                        <a:pt x="1749" y="1737"/>
                      </a:cubicBezTo>
                      <a:cubicBezTo>
                        <a:pt x="1681" y="1630"/>
                        <a:pt x="1578" y="1544"/>
                        <a:pt x="1431" y="1515"/>
                      </a:cubicBezTo>
                      <a:cubicBezTo>
                        <a:pt x="1395" y="1508"/>
                        <a:pt x="1356" y="1504"/>
                        <a:pt x="1315" y="1504"/>
                      </a:cubicBezTo>
                      <a:cubicBezTo>
                        <a:pt x="1273" y="1504"/>
                        <a:pt x="1234" y="1508"/>
                        <a:pt x="1198" y="1515"/>
                      </a:cubicBezTo>
                      <a:cubicBezTo>
                        <a:pt x="1051" y="1544"/>
                        <a:pt x="948" y="1630"/>
                        <a:pt x="880" y="1737"/>
                      </a:cubicBezTo>
                      <a:cubicBezTo>
                        <a:pt x="809" y="1848"/>
                        <a:pt x="776" y="1979"/>
                        <a:pt x="776" y="2092"/>
                      </a:cubicBezTo>
                      <a:lnTo>
                        <a:pt x="776" y="2092"/>
                      </a:lnTo>
                      <a:cubicBezTo>
                        <a:pt x="776" y="2125"/>
                        <a:pt x="779" y="2157"/>
                        <a:pt x="785" y="2184"/>
                      </a:cubicBezTo>
                      <a:cubicBezTo>
                        <a:pt x="788" y="2200"/>
                        <a:pt x="788" y="2215"/>
                        <a:pt x="786" y="2229"/>
                      </a:cubicBezTo>
                      <a:cubicBezTo>
                        <a:pt x="684" y="2260"/>
                        <a:pt x="590" y="2314"/>
                        <a:pt x="510" y="2383"/>
                      </a:cubicBezTo>
                      <a:close/>
                      <a:moveTo>
                        <a:pt x="4610" y="1272"/>
                      </a:moveTo>
                      <a:cubicBezTo>
                        <a:pt x="4609" y="1245"/>
                        <a:pt x="4605" y="1220"/>
                        <a:pt x="4600" y="1197"/>
                      </a:cubicBezTo>
                      <a:cubicBezTo>
                        <a:pt x="4584" y="1118"/>
                        <a:pt x="4545" y="1050"/>
                        <a:pt x="4486" y="993"/>
                      </a:cubicBezTo>
                      <a:lnTo>
                        <a:pt x="4486" y="993"/>
                      </a:lnTo>
                      <a:cubicBezTo>
                        <a:pt x="4420" y="927"/>
                        <a:pt x="4301" y="888"/>
                        <a:pt x="4183" y="882"/>
                      </a:cubicBezTo>
                      <a:cubicBezTo>
                        <a:pt x="4069" y="874"/>
                        <a:pt x="3963" y="894"/>
                        <a:pt x="3914" y="943"/>
                      </a:cubicBezTo>
                      <a:cubicBezTo>
                        <a:pt x="3893" y="964"/>
                        <a:pt x="3865" y="975"/>
                        <a:pt x="3836" y="979"/>
                      </a:cubicBezTo>
                      <a:cubicBezTo>
                        <a:pt x="3826" y="980"/>
                        <a:pt x="3816" y="982"/>
                        <a:pt x="3806" y="984"/>
                      </a:cubicBezTo>
                      <a:cubicBezTo>
                        <a:pt x="3726" y="1004"/>
                        <a:pt x="3680" y="1052"/>
                        <a:pt x="3656" y="1113"/>
                      </a:cubicBezTo>
                      <a:cubicBezTo>
                        <a:pt x="3628" y="1189"/>
                        <a:pt x="3628" y="1288"/>
                        <a:pt x="3643" y="1388"/>
                      </a:cubicBezTo>
                      <a:cubicBezTo>
                        <a:pt x="3648" y="1428"/>
                        <a:pt x="3656" y="1469"/>
                        <a:pt x="3666" y="1508"/>
                      </a:cubicBezTo>
                      <a:cubicBezTo>
                        <a:pt x="3671" y="1530"/>
                        <a:pt x="3670" y="1554"/>
                        <a:pt x="3664" y="1575"/>
                      </a:cubicBezTo>
                      <a:cubicBezTo>
                        <a:pt x="3661" y="1584"/>
                        <a:pt x="3660" y="1593"/>
                        <a:pt x="3660" y="1602"/>
                      </a:cubicBezTo>
                      <a:cubicBezTo>
                        <a:pt x="3583" y="1562"/>
                        <a:pt x="3498" y="1530"/>
                        <a:pt x="3410" y="1509"/>
                      </a:cubicBezTo>
                      <a:lnTo>
                        <a:pt x="3395" y="1423"/>
                      </a:lnTo>
                      <a:cubicBezTo>
                        <a:pt x="3376" y="1287"/>
                        <a:pt x="3378" y="1145"/>
                        <a:pt x="3424" y="1025"/>
                      </a:cubicBezTo>
                      <a:cubicBezTo>
                        <a:pt x="3474" y="890"/>
                        <a:pt x="3574" y="785"/>
                        <a:pt x="3748" y="743"/>
                      </a:cubicBezTo>
                      <a:cubicBezTo>
                        <a:pt x="3755" y="740"/>
                        <a:pt x="3761" y="739"/>
                        <a:pt x="3769" y="738"/>
                      </a:cubicBezTo>
                      <a:cubicBezTo>
                        <a:pt x="3874" y="657"/>
                        <a:pt x="4036" y="622"/>
                        <a:pt x="4198" y="632"/>
                      </a:cubicBezTo>
                      <a:cubicBezTo>
                        <a:pt x="4371" y="643"/>
                        <a:pt x="4553" y="705"/>
                        <a:pt x="4664" y="815"/>
                      </a:cubicBezTo>
                      <a:lnTo>
                        <a:pt x="4664" y="815"/>
                      </a:lnTo>
                      <a:cubicBezTo>
                        <a:pt x="4755" y="908"/>
                        <a:pt x="4816" y="1015"/>
                        <a:pt x="4845" y="1144"/>
                      </a:cubicBezTo>
                      <a:cubicBezTo>
                        <a:pt x="4853" y="1182"/>
                        <a:pt x="4858" y="1219"/>
                        <a:pt x="4860" y="1259"/>
                      </a:cubicBezTo>
                      <a:cubicBezTo>
                        <a:pt x="4776" y="1250"/>
                        <a:pt x="4693" y="1254"/>
                        <a:pt x="4610" y="1272"/>
                      </a:cubicBezTo>
                      <a:close/>
                      <a:moveTo>
                        <a:pt x="1608" y="1044"/>
                      </a:moveTo>
                      <a:cubicBezTo>
                        <a:pt x="1648" y="962"/>
                        <a:pt x="1709" y="893"/>
                        <a:pt x="1783" y="840"/>
                      </a:cubicBezTo>
                      <a:cubicBezTo>
                        <a:pt x="1893" y="760"/>
                        <a:pt x="2033" y="715"/>
                        <a:pt x="2176" y="713"/>
                      </a:cubicBezTo>
                      <a:cubicBezTo>
                        <a:pt x="2220" y="712"/>
                        <a:pt x="2263" y="715"/>
                        <a:pt x="2305" y="722"/>
                      </a:cubicBezTo>
                      <a:cubicBezTo>
                        <a:pt x="2355" y="730"/>
                        <a:pt x="2393" y="740"/>
                        <a:pt x="2428" y="757"/>
                      </a:cubicBezTo>
                      <a:cubicBezTo>
                        <a:pt x="2443" y="763"/>
                        <a:pt x="2458" y="770"/>
                        <a:pt x="2473" y="779"/>
                      </a:cubicBezTo>
                      <a:cubicBezTo>
                        <a:pt x="2520" y="765"/>
                        <a:pt x="2568" y="762"/>
                        <a:pt x="2615" y="767"/>
                      </a:cubicBezTo>
                      <a:cubicBezTo>
                        <a:pt x="2704" y="774"/>
                        <a:pt x="2790" y="812"/>
                        <a:pt x="2861" y="867"/>
                      </a:cubicBezTo>
                      <a:cubicBezTo>
                        <a:pt x="2930" y="919"/>
                        <a:pt x="2989" y="990"/>
                        <a:pt x="3026" y="1068"/>
                      </a:cubicBezTo>
                      <a:cubicBezTo>
                        <a:pt x="3063" y="1142"/>
                        <a:pt x="3081" y="1222"/>
                        <a:pt x="3075" y="1300"/>
                      </a:cubicBezTo>
                      <a:lnTo>
                        <a:pt x="3075" y="1305"/>
                      </a:lnTo>
                      <a:lnTo>
                        <a:pt x="3064" y="1473"/>
                      </a:lnTo>
                      <a:cubicBezTo>
                        <a:pt x="2978" y="1477"/>
                        <a:pt x="2893" y="1489"/>
                        <a:pt x="2811" y="1510"/>
                      </a:cubicBezTo>
                      <a:lnTo>
                        <a:pt x="2826" y="1290"/>
                      </a:lnTo>
                      <a:cubicBezTo>
                        <a:pt x="2826" y="1287"/>
                        <a:pt x="2826" y="1284"/>
                        <a:pt x="2828" y="1280"/>
                      </a:cubicBezTo>
                      <a:cubicBezTo>
                        <a:pt x="2829" y="1248"/>
                        <a:pt x="2820" y="1212"/>
                        <a:pt x="2803" y="1178"/>
                      </a:cubicBezTo>
                      <a:cubicBezTo>
                        <a:pt x="2783" y="1134"/>
                        <a:pt x="2749" y="1095"/>
                        <a:pt x="2710" y="1065"/>
                      </a:cubicBezTo>
                      <a:cubicBezTo>
                        <a:pt x="2673" y="1037"/>
                        <a:pt x="2633" y="1018"/>
                        <a:pt x="2593" y="1014"/>
                      </a:cubicBezTo>
                      <a:cubicBezTo>
                        <a:pt x="2565" y="1012"/>
                        <a:pt x="2539" y="1015"/>
                        <a:pt x="2513" y="1028"/>
                      </a:cubicBezTo>
                      <a:cubicBezTo>
                        <a:pt x="2473" y="1048"/>
                        <a:pt x="2426" y="1044"/>
                        <a:pt x="2391" y="1022"/>
                      </a:cubicBezTo>
                      <a:lnTo>
                        <a:pt x="2391" y="1022"/>
                      </a:lnTo>
                      <a:cubicBezTo>
                        <a:pt x="2365" y="1005"/>
                        <a:pt x="2346" y="993"/>
                        <a:pt x="2328" y="985"/>
                      </a:cubicBezTo>
                      <a:cubicBezTo>
                        <a:pt x="2310" y="978"/>
                        <a:pt x="2291" y="972"/>
                        <a:pt x="2265" y="968"/>
                      </a:cubicBezTo>
                      <a:cubicBezTo>
                        <a:pt x="2236" y="963"/>
                        <a:pt x="2208" y="962"/>
                        <a:pt x="2180" y="962"/>
                      </a:cubicBezTo>
                      <a:cubicBezTo>
                        <a:pt x="2088" y="963"/>
                        <a:pt x="1999" y="992"/>
                        <a:pt x="1929" y="1042"/>
                      </a:cubicBezTo>
                      <a:cubicBezTo>
                        <a:pt x="1891" y="1069"/>
                        <a:pt x="1860" y="1103"/>
                        <a:pt x="1838" y="1142"/>
                      </a:cubicBezTo>
                      <a:cubicBezTo>
                        <a:pt x="1769" y="1100"/>
                        <a:pt x="1691" y="1068"/>
                        <a:pt x="1608" y="1044"/>
                      </a:cubicBezTo>
                      <a:close/>
                      <a:moveTo>
                        <a:pt x="4469" y="429"/>
                      </a:moveTo>
                      <a:cubicBezTo>
                        <a:pt x="4551" y="353"/>
                        <a:pt x="4658" y="294"/>
                        <a:pt x="4786" y="269"/>
                      </a:cubicBezTo>
                      <a:cubicBezTo>
                        <a:pt x="4834" y="259"/>
                        <a:pt x="4884" y="254"/>
                        <a:pt x="4938" y="254"/>
                      </a:cubicBezTo>
                      <a:cubicBezTo>
                        <a:pt x="4991" y="254"/>
                        <a:pt x="5041" y="259"/>
                        <a:pt x="5089" y="269"/>
                      </a:cubicBezTo>
                      <a:cubicBezTo>
                        <a:pt x="5290" y="309"/>
                        <a:pt x="5434" y="427"/>
                        <a:pt x="5526" y="572"/>
                      </a:cubicBezTo>
                      <a:cubicBezTo>
                        <a:pt x="5616" y="712"/>
                        <a:pt x="5656" y="877"/>
                        <a:pt x="5656" y="1018"/>
                      </a:cubicBezTo>
                      <a:cubicBezTo>
                        <a:pt x="5656" y="1049"/>
                        <a:pt x="5655" y="1079"/>
                        <a:pt x="5651" y="1108"/>
                      </a:cubicBezTo>
                      <a:cubicBezTo>
                        <a:pt x="5675" y="1178"/>
                        <a:pt x="5680" y="1255"/>
                        <a:pt x="5665" y="1325"/>
                      </a:cubicBezTo>
                      <a:cubicBezTo>
                        <a:pt x="5661" y="1343"/>
                        <a:pt x="5656" y="1360"/>
                        <a:pt x="5650" y="1378"/>
                      </a:cubicBezTo>
                      <a:cubicBezTo>
                        <a:pt x="5589" y="1338"/>
                        <a:pt x="5523" y="1307"/>
                        <a:pt x="5451" y="1287"/>
                      </a:cubicBezTo>
                      <a:cubicBezTo>
                        <a:pt x="5441" y="1284"/>
                        <a:pt x="5430" y="1280"/>
                        <a:pt x="5420" y="1278"/>
                      </a:cubicBezTo>
                      <a:lnTo>
                        <a:pt x="5421" y="1275"/>
                      </a:lnTo>
                      <a:cubicBezTo>
                        <a:pt x="5428" y="1243"/>
                        <a:pt x="5425" y="1207"/>
                        <a:pt x="5410" y="1179"/>
                      </a:cubicBezTo>
                      <a:cubicBezTo>
                        <a:pt x="5406" y="1172"/>
                        <a:pt x="5404" y="1164"/>
                        <a:pt x="5403" y="1157"/>
                      </a:cubicBezTo>
                      <a:cubicBezTo>
                        <a:pt x="5396" y="1137"/>
                        <a:pt x="5396" y="1118"/>
                        <a:pt x="5400" y="1099"/>
                      </a:cubicBezTo>
                      <a:lnTo>
                        <a:pt x="5399" y="1098"/>
                      </a:lnTo>
                      <a:cubicBezTo>
                        <a:pt x="5404" y="1074"/>
                        <a:pt x="5406" y="1047"/>
                        <a:pt x="5406" y="1018"/>
                      </a:cubicBezTo>
                      <a:cubicBezTo>
                        <a:pt x="5406" y="919"/>
                        <a:pt x="5379" y="803"/>
                        <a:pt x="5316" y="707"/>
                      </a:cubicBezTo>
                      <a:cubicBezTo>
                        <a:pt x="5258" y="614"/>
                        <a:pt x="5166" y="539"/>
                        <a:pt x="5040" y="514"/>
                      </a:cubicBezTo>
                      <a:cubicBezTo>
                        <a:pt x="5009" y="508"/>
                        <a:pt x="4974" y="504"/>
                        <a:pt x="4938" y="504"/>
                      </a:cubicBezTo>
                      <a:cubicBezTo>
                        <a:pt x="4901" y="504"/>
                        <a:pt x="4866" y="508"/>
                        <a:pt x="4835" y="514"/>
                      </a:cubicBezTo>
                      <a:cubicBezTo>
                        <a:pt x="4798" y="522"/>
                        <a:pt x="4763" y="534"/>
                        <a:pt x="4730" y="549"/>
                      </a:cubicBezTo>
                      <a:cubicBezTo>
                        <a:pt x="4653" y="497"/>
                        <a:pt x="4563" y="457"/>
                        <a:pt x="4469" y="429"/>
                      </a:cubicBezTo>
                      <a:close/>
                      <a:moveTo>
                        <a:pt x="915" y="1080"/>
                      </a:moveTo>
                      <a:cubicBezTo>
                        <a:pt x="916" y="1059"/>
                        <a:pt x="918" y="1039"/>
                        <a:pt x="921" y="1019"/>
                      </a:cubicBezTo>
                      <a:cubicBezTo>
                        <a:pt x="913" y="980"/>
                        <a:pt x="906" y="943"/>
                        <a:pt x="900" y="904"/>
                      </a:cubicBezTo>
                      <a:cubicBezTo>
                        <a:pt x="881" y="768"/>
                        <a:pt x="883" y="627"/>
                        <a:pt x="929" y="507"/>
                      </a:cubicBezTo>
                      <a:cubicBezTo>
                        <a:pt x="979" y="370"/>
                        <a:pt x="1079" y="265"/>
                        <a:pt x="1253" y="223"/>
                      </a:cubicBezTo>
                      <a:cubicBezTo>
                        <a:pt x="1259" y="222"/>
                        <a:pt x="1266" y="220"/>
                        <a:pt x="1274" y="218"/>
                      </a:cubicBezTo>
                      <a:cubicBezTo>
                        <a:pt x="1379" y="138"/>
                        <a:pt x="1541" y="103"/>
                        <a:pt x="1703" y="113"/>
                      </a:cubicBezTo>
                      <a:cubicBezTo>
                        <a:pt x="1876" y="124"/>
                        <a:pt x="2058" y="187"/>
                        <a:pt x="2169" y="297"/>
                      </a:cubicBezTo>
                      <a:lnTo>
                        <a:pt x="2169" y="297"/>
                      </a:lnTo>
                      <a:cubicBezTo>
                        <a:pt x="2214" y="343"/>
                        <a:pt x="2253" y="392"/>
                        <a:pt x="2283" y="445"/>
                      </a:cubicBezTo>
                      <a:cubicBezTo>
                        <a:pt x="2281" y="453"/>
                        <a:pt x="2280" y="460"/>
                        <a:pt x="2280" y="468"/>
                      </a:cubicBezTo>
                      <a:cubicBezTo>
                        <a:pt x="2244" y="464"/>
                        <a:pt x="2209" y="463"/>
                        <a:pt x="2173" y="464"/>
                      </a:cubicBezTo>
                      <a:cubicBezTo>
                        <a:pt x="2114" y="464"/>
                        <a:pt x="2056" y="470"/>
                        <a:pt x="2000" y="482"/>
                      </a:cubicBezTo>
                      <a:lnTo>
                        <a:pt x="1991" y="473"/>
                      </a:lnTo>
                      <a:lnTo>
                        <a:pt x="1991" y="473"/>
                      </a:lnTo>
                      <a:cubicBezTo>
                        <a:pt x="1925" y="408"/>
                        <a:pt x="1806" y="369"/>
                        <a:pt x="1688" y="362"/>
                      </a:cubicBezTo>
                      <a:cubicBezTo>
                        <a:pt x="1574" y="355"/>
                        <a:pt x="1468" y="374"/>
                        <a:pt x="1419" y="423"/>
                      </a:cubicBezTo>
                      <a:cubicBezTo>
                        <a:pt x="1398" y="445"/>
                        <a:pt x="1370" y="457"/>
                        <a:pt x="1341" y="459"/>
                      </a:cubicBezTo>
                      <a:cubicBezTo>
                        <a:pt x="1331" y="462"/>
                        <a:pt x="1321" y="463"/>
                        <a:pt x="1311" y="465"/>
                      </a:cubicBezTo>
                      <a:cubicBezTo>
                        <a:pt x="1231" y="485"/>
                        <a:pt x="1185" y="533"/>
                        <a:pt x="1161" y="594"/>
                      </a:cubicBezTo>
                      <a:cubicBezTo>
                        <a:pt x="1133" y="670"/>
                        <a:pt x="1133" y="769"/>
                        <a:pt x="1148" y="869"/>
                      </a:cubicBezTo>
                      <a:cubicBezTo>
                        <a:pt x="1153" y="909"/>
                        <a:pt x="1161" y="949"/>
                        <a:pt x="1171" y="988"/>
                      </a:cubicBezTo>
                      <a:cubicBezTo>
                        <a:pt x="1173" y="997"/>
                        <a:pt x="1174" y="1004"/>
                        <a:pt x="1174" y="1013"/>
                      </a:cubicBezTo>
                      <a:cubicBezTo>
                        <a:pt x="1149" y="1017"/>
                        <a:pt x="1124" y="1020"/>
                        <a:pt x="1100" y="1025"/>
                      </a:cubicBezTo>
                      <a:cubicBezTo>
                        <a:pt x="1034" y="1038"/>
                        <a:pt x="973" y="1057"/>
                        <a:pt x="915" y="1080"/>
                      </a:cubicBezTo>
                      <a:close/>
                      <a:moveTo>
                        <a:pt x="4325" y="6153"/>
                      </a:moveTo>
                      <a:cubicBezTo>
                        <a:pt x="4028" y="6230"/>
                        <a:pt x="3616" y="6254"/>
                        <a:pt x="3375" y="6254"/>
                      </a:cubicBezTo>
                      <a:cubicBezTo>
                        <a:pt x="3134" y="6254"/>
                        <a:pt x="2723" y="6230"/>
                        <a:pt x="2425" y="6153"/>
                      </a:cubicBezTo>
                      <a:cubicBezTo>
                        <a:pt x="2179" y="6089"/>
                        <a:pt x="2000" y="5980"/>
                        <a:pt x="2000" y="5804"/>
                      </a:cubicBezTo>
                      <a:cubicBezTo>
                        <a:pt x="2000" y="5699"/>
                        <a:pt x="2021" y="5588"/>
                        <a:pt x="2063" y="5484"/>
                      </a:cubicBezTo>
                      <a:cubicBezTo>
                        <a:pt x="2103" y="5385"/>
                        <a:pt x="2160" y="5293"/>
                        <a:pt x="2236" y="5219"/>
                      </a:cubicBezTo>
                      <a:cubicBezTo>
                        <a:pt x="2308" y="5150"/>
                        <a:pt x="2410" y="5112"/>
                        <a:pt x="2493" y="5082"/>
                      </a:cubicBezTo>
                      <a:cubicBezTo>
                        <a:pt x="2495" y="5080"/>
                        <a:pt x="2496" y="5079"/>
                        <a:pt x="2499" y="5079"/>
                      </a:cubicBezTo>
                      <a:lnTo>
                        <a:pt x="2513" y="5074"/>
                      </a:lnTo>
                      <a:cubicBezTo>
                        <a:pt x="2558" y="5058"/>
                        <a:pt x="2595" y="5045"/>
                        <a:pt x="2630" y="5035"/>
                      </a:cubicBezTo>
                      <a:cubicBezTo>
                        <a:pt x="2690" y="5018"/>
                        <a:pt x="2741" y="5002"/>
                        <a:pt x="2805" y="4963"/>
                      </a:cubicBezTo>
                      <a:cubicBezTo>
                        <a:pt x="2808" y="4962"/>
                        <a:pt x="2810" y="4960"/>
                        <a:pt x="2813" y="4958"/>
                      </a:cubicBezTo>
                      <a:cubicBezTo>
                        <a:pt x="2830" y="4948"/>
                        <a:pt x="2824" y="4860"/>
                        <a:pt x="2818" y="4785"/>
                      </a:cubicBezTo>
                      <a:lnTo>
                        <a:pt x="2814" y="4740"/>
                      </a:lnTo>
                      <a:cubicBezTo>
                        <a:pt x="2731" y="4638"/>
                        <a:pt x="2698" y="4510"/>
                        <a:pt x="2665" y="4389"/>
                      </a:cubicBezTo>
                      <a:cubicBezTo>
                        <a:pt x="2608" y="4345"/>
                        <a:pt x="2565" y="4287"/>
                        <a:pt x="2540" y="4220"/>
                      </a:cubicBezTo>
                      <a:cubicBezTo>
                        <a:pt x="2513" y="4145"/>
                        <a:pt x="2506" y="4060"/>
                        <a:pt x="2521" y="3983"/>
                      </a:cubicBezTo>
                      <a:cubicBezTo>
                        <a:pt x="2510" y="3934"/>
                        <a:pt x="2501" y="3885"/>
                        <a:pt x="2494" y="3835"/>
                      </a:cubicBezTo>
                      <a:cubicBezTo>
                        <a:pt x="2470" y="3670"/>
                        <a:pt x="2473" y="3499"/>
                        <a:pt x="2528" y="3354"/>
                      </a:cubicBezTo>
                      <a:cubicBezTo>
                        <a:pt x="2588" y="3194"/>
                        <a:pt x="2705" y="3070"/>
                        <a:pt x="2910" y="3019"/>
                      </a:cubicBezTo>
                      <a:lnTo>
                        <a:pt x="2944" y="3012"/>
                      </a:lnTo>
                      <a:cubicBezTo>
                        <a:pt x="3069" y="2912"/>
                        <a:pt x="3269" y="2869"/>
                        <a:pt x="3469" y="2883"/>
                      </a:cubicBezTo>
                      <a:cubicBezTo>
                        <a:pt x="3678" y="2897"/>
                        <a:pt x="3894" y="2972"/>
                        <a:pt x="4026" y="3103"/>
                      </a:cubicBezTo>
                      <a:cubicBezTo>
                        <a:pt x="4136" y="3214"/>
                        <a:pt x="4210" y="3344"/>
                        <a:pt x="4244" y="3499"/>
                      </a:cubicBezTo>
                      <a:cubicBezTo>
                        <a:pt x="4275" y="3639"/>
                        <a:pt x="4270" y="3799"/>
                        <a:pt x="4229" y="3983"/>
                      </a:cubicBezTo>
                      <a:cubicBezTo>
                        <a:pt x="4244" y="4062"/>
                        <a:pt x="4239" y="4145"/>
                        <a:pt x="4210" y="4220"/>
                      </a:cubicBezTo>
                      <a:cubicBezTo>
                        <a:pt x="4185" y="4287"/>
                        <a:pt x="4144" y="4345"/>
                        <a:pt x="4085" y="4389"/>
                      </a:cubicBezTo>
                      <a:lnTo>
                        <a:pt x="4085" y="4389"/>
                      </a:lnTo>
                      <a:cubicBezTo>
                        <a:pt x="4054" y="4509"/>
                        <a:pt x="4021" y="4635"/>
                        <a:pt x="3936" y="4740"/>
                      </a:cubicBezTo>
                      <a:cubicBezTo>
                        <a:pt x="3935" y="4760"/>
                        <a:pt x="3934" y="4779"/>
                        <a:pt x="3933" y="4799"/>
                      </a:cubicBezTo>
                      <a:cubicBezTo>
                        <a:pt x="3926" y="4868"/>
                        <a:pt x="3920" y="4945"/>
                        <a:pt x="3935" y="4958"/>
                      </a:cubicBezTo>
                      <a:cubicBezTo>
                        <a:pt x="3938" y="4958"/>
                        <a:pt x="3939" y="4959"/>
                        <a:pt x="3941" y="4960"/>
                      </a:cubicBezTo>
                      <a:cubicBezTo>
                        <a:pt x="4006" y="5002"/>
                        <a:pt x="4059" y="5017"/>
                        <a:pt x="4120" y="5035"/>
                      </a:cubicBezTo>
                      <a:cubicBezTo>
                        <a:pt x="4155" y="5045"/>
                        <a:pt x="4193" y="5058"/>
                        <a:pt x="4238" y="5074"/>
                      </a:cubicBezTo>
                      <a:lnTo>
                        <a:pt x="4251" y="5079"/>
                      </a:lnTo>
                      <a:lnTo>
                        <a:pt x="4251" y="5079"/>
                      </a:lnTo>
                      <a:cubicBezTo>
                        <a:pt x="4335" y="5110"/>
                        <a:pt x="4440" y="5148"/>
                        <a:pt x="4514" y="5219"/>
                      </a:cubicBezTo>
                      <a:cubicBezTo>
                        <a:pt x="4590" y="5293"/>
                        <a:pt x="4648" y="5385"/>
                        <a:pt x="4688" y="5484"/>
                      </a:cubicBezTo>
                      <a:cubicBezTo>
                        <a:pt x="4729" y="5588"/>
                        <a:pt x="4750" y="5699"/>
                        <a:pt x="4750" y="5804"/>
                      </a:cubicBezTo>
                      <a:cubicBezTo>
                        <a:pt x="4750" y="5980"/>
                        <a:pt x="4571" y="6089"/>
                        <a:pt x="4325" y="6153"/>
                      </a:cubicBezTo>
                      <a:close/>
                    </a:path>
                  </a:pathLst>
                </a:custGeom>
                <a:solidFill>
                  <a:schemeClr val="lt2"/>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lt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de-DE" sz="1100"/>
                </a:p>
              </p:txBody>
            </p:sp>
          </p:grpSp>
        </p:grpSp>
        <p:grpSp>
          <p:nvGrpSpPr>
            <p:cNvPr id="1466" name="Group 1465">
              <a:extLst>
                <a:ext uri="{FF2B5EF4-FFF2-40B4-BE49-F238E27FC236}">
                  <a16:creationId xmlns:a16="http://schemas.microsoft.com/office/drawing/2014/main" id="{43196A71-0523-7373-3882-1EF6351A7485}"/>
                </a:ext>
              </a:extLst>
            </p:cNvPr>
            <p:cNvGrpSpPr/>
            <p:nvPr/>
          </p:nvGrpSpPr>
          <p:grpSpPr>
            <a:xfrm>
              <a:off x="7499601" y="5197206"/>
              <a:ext cx="1177868" cy="335500"/>
              <a:chOff x="7496649" y="5197206"/>
              <a:chExt cx="1177868" cy="335500"/>
            </a:xfrm>
          </p:grpSpPr>
          <p:sp>
            <p:nvSpPr>
              <p:cNvPr id="1467" name="Rectangle 1466">
                <a:extLst>
                  <a:ext uri="{FF2B5EF4-FFF2-40B4-BE49-F238E27FC236}">
                    <a16:creationId xmlns:a16="http://schemas.microsoft.com/office/drawing/2014/main" id="{825186C1-10D7-F0D8-7868-829804A66692}"/>
                  </a:ext>
                </a:extLst>
              </p:cNvPr>
              <p:cNvSpPr/>
              <p:nvPr>
                <p:custDataLst>
                  <p:tags r:id="rId42"/>
                </p:custDataLst>
              </p:nvPr>
            </p:nvSpPr>
            <p:spPr bwMode="gray">
              <a:xfrm>
                <a:off x="7860996" y="5280317"/>
                <a:ext cx="813521" cy="169277"/>
              </a:xfrm>
              <a:prstGeom prst="rect">
                <a:avLst/>
              </a:prstGeom>
            </p:spPr>
            <p:txBody>
              <a:bodyPr wrap="square" lIns="0" tIns="0" rIns="0" bIns="0" anchor="ctr">
                <a:spAutoFit/>
              </a:bodyPr>
              <a:lstStyle/>
              <a:p>
                <a:r>
                  <a:rPr lang="de-DE" sz="1100"/>
                  <a:t>Technology</a:t>
                </a:r>
                <a:endParaRPr lang="de-DE" sz="1100">
                  <a:latin typeface="+mj-lt"/>
                </a:endParaRPr>
              </a:p>
            </p:txBody>
          </p:sp>
          <p:grpSp>
            <p:nvGrpSpPr>
              <p:cNvPr id="1468" name="Group 18">
                <a:extLst>
                  <a:ext uri="{FF2B5EF4-FFF2-40B4-BE49-F238E27FC236}">
                    <a16:creationId xmlns:a16="http://schemas.microsoft.com/office/drawing/2014/main" id="{895313D2-3868-D06F-1D79-9DF28E9D6664}"/>
                  </a:ext>
                </a:extLst>
              </p:cNvPr>
              <p:cNvGrpSpPr>
                <a:grpSpLocks noChangeAspect="1"/>
              </p:cNvGrpSpPr>
              <p:nvPr>
                <p:custDataLst>
                  <p:tags r:id="rId43"/>
                </p:custDataLst>
              </p:nvPr>
            </p:nvGrpSpPr>
            <p:grpSpPr bwMode="auto">
              <a:xfrm>
                <a:off x="7496649" y="5197206"/>
                <a:ext cx="335500" cy="335500"/>
                <a:chOff x="800" y="800"/>
                <a:chExt cx="560" cy="560"/>
              </a:xfrm>
            </p:grpSpPr>
            <p:sp>
              <p:nvSpPr>
                <p:cNvPr id="1469" name="AutoShape 16">
                  <a:extLst>
                    <a:ext uri="{FF2B5EF4-FFF2-40B4-BE49-F238E27FC236}">
                      <a16:creationId xmlns:a16="http://schemas.microsoft.com/office/drawing/2014/main" id="{8E93E248-A30A-8008-29EF-C55BEC5DBACF}"/>
                    </a:ext>
                  </a:extLst>
                </p:cNvPr>
                <p:cNvSpPr>
                  <a:spLocks noChangeAspect="1" noChangeArrowheads="1" noTextEdit="1"/>
                </p:cNvSpPr>
                <p:nvPr>
                  <p:custDataLst>
                    <p:tags r:id="rId44"/>
                  </p:custDataLst>
                </p:nvPr>
              </p:nvSpPr>
              <p:spPr bwMode="auto">
                <a:xfrm>
                  <a:off x="800" y="800"/>
                  <a:ext cx="560" cy="560"/>
                </a:xfrm>
                <a:prstGeom prst="rect">
                  <a:avLst/>
                </a:prstGeom>
                <a:noFill/>
                <a:ln>
                  <a:noFill/>
                </a:ln>
                <a:extLst>
                  <a:ext uri="{909E8E84-426E-40DD-AFC4-6F175D3DCCD1}">
                    <a14:hiddenFill xmlns:a14="http://schemas.microsoft.com/office/drawing/2010/main">
                      <a:solidFill>
                        <a:schemeClr val="lt2"/>
                      </a:solidFill>
                    </a14:hiddenFill>
                  </a:ext>
                  <a:ext uri="{91240B29-F687-4F45-9708-019B960494DF}">
                    <a14:hiddenLine xmlns:a14="http://schemas.microsoft.com/office/drawing/2010/main" w="9525" cap="flat" cmpd="sng" algn="ctr">
                      <a:solidFill>
                        <a:schemeClr val="lt2"/>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de-DE"/>
                </a:p>
              </p:txBody>
            </p:sp>
            <p:sp>
              <p:nvSpPr>
                <p:cNvPr id="1470" name="Freeform 18">
                  <a:extLst>
                    <a:ext uri="{FF2B5EF4-FFF2-40B4-BE49-F238E27FC236}">
                      <a16:creationId xmlns:a16="http://schemas.microsoft.com/office/drawing/2014/main" id="{8E7FCAC7-1A04-E83D-2645-9ADEC4896D4B}"/>
                    </a:ext>
                  </a:extLst>
                </p:cNvPr>
                <p:cNvSpPr>
                  <a:spLocks noEditPoints="1"/>
                </p:cNvSpPr>
                <p:nvPr/>
              </p:nvSpPr>
              <p:spPr bwMode="auto">
                <a:xfrm>
                  <a:off x="829" y="829"/>
                  <a:ext cx="500" cy="500"/>
                </a:xfrm>
                <a:custGeom>
                  <a:avLst/>
                  <a:gdLst>
                    <a:gd name="T0" fmla="*/ 6500 w 6500"/>
                    <a:gd name="T1" fmla="*/ 3250 h 6500"/>
                    <a:gd name="T2" fmla="*/ 0 w 6500"/>
                    <a:gd name="T3" fmla="*/ 3250 h 6500"/>
                    <a:gd name="T4" fmla="*/ 4059 w 6500"/>
                    <a:gd name="T5" fmla="*/ 360 h 6500"/>
                    <a:gd name="T6" fmla="*/ 4729 w 6500"/>
                    <a:gd name="T7" fmla="*/ 1500 h 6500"/>
                    <a:gd name="T8" fmla="*/ 4059 w 6500"/>
                    <a:gd name="T9" fmla="*/ 360 h 6500"/>
                    <a:gd name="T10" fmla="*/ 5849 w 6500"/>
                    <a:gd name="T11" fmla="*/ 1750 h 6500"/>
                    <a:gd name="T12" fmla="*/ 4999 w 6500"/>
                    <a:gd name="T13" fmla="*/ 3125 h 6500"/>
                    <a:gd name="T14" fmla="*/ 5688 w 6500"/>
                    <a:gd name="T15" fmla="*/ 5000 h 6500"/>
                    <a:gd name="T16" fmla="*/ 4510 w 6500"/>
                    <a:gd name="T17" fmla="*/ 5518 h 6500"/>
                    <a:gd name="T18" fmla="*/ 5688 w 6500"/>
                    <a:gd name="T19" fmla="*/ 5000 h 6500"/>
                    <a:gd name="T20" fmla="*/ 6248 w 6500"/>
                    <a:gd name="T21" fmla="*/ 3375 h 6500"/>
                    <a:gd name="T22" fmla="*/ 4805 w 6500"/>
                    <a:gd name="T23" fmla="*/ 4750 h 6500"/>
                    <a:gd name="T24" fmla="*/ 2441 w 6500"/>
                    <a:gd name="T25" fmla="*/ 6140 h 6500"/>
                    <a:gd name="T26" fmla="*/ 1771 w 6500"/>
                    <a:gd name="T27" fmla="*/ 5000 h 6500"/>
                    <a:gd name="T28" fmla="*/ 2441 w 6500"/>
                    <a:gd name="T29" fmla="*/ 6140 h 6500"/>
                    <a:gd name="T30" fmla="*/ 651 w 6500"/>
                    <a:gd name="T31" fmla="*/ 4750 h 6500"/>
                    <a:gd name="T32" fmla="*/ 1501 w 6500"/>
                    <a:gd name="T33" fmla="*/ 3375 h 6500"/>
                    <a:gd name="T34" fmla="*/ 813 w 6500"/>
                    <a:gd name="T35" fmla="*/ 1500 h 6500"/>
                    <a:gd name="T36" fmla="*/ 1990 w 6500"/>
                    <a:gd name="T37" fmla="*/ 983 h 6500"/>
                    <a:gd name="T38" fmla="*/ 813 w 6500"/>
                    <a:gd name="T39" fmla="*/ 1500 h 6500"/>
                    <a:gd name="T40" fmla="*/ 253 w 6500"/>
                    <a:gd name="T41" fmla="*/ 3125 h 6500"/>
                    <a:gd name="T42" fmla="*/ 1695 w 6500"/>
                    <a:gd name="T43" fmla="*/ 1750 h 6500"/>
                    <a:gd name="T44" fmla="*/ 4289 w 6500"/>
                    <a:gd name="T45" fmla="*/ 1098 h 6500"/>
                    <a:gd name="T46" fmla="*/ 3375 w 6500"/>
                    <a:gd name="T47" fmla="*/ 1500 h 6500"/>
                    <a:gd name="T48" fmla="*/ 4289 w 6500"/>
                    <a:gd name="T49" fmla="*/ 1098 h 6500"/>
                    <a:gd name="T50" fmla="*/ 4546 w 6500"/>
                    <a:gd name="T51" fmla="*/ 1750 h 6500"/>
                    <a:gd name="T52" fmla="*/ 3375 w 6500"/>
                    <a:gd name="T53" fmla="*/ 3125 h 6500"/>
                    <a:gd name="T54" fmla="*/ 4289 w 6500"/>
                    <a:gd name="T55" fmla="*/ 5403 h 6500"/>
                    <a:gd name="T56" fmla="*/ 3375 w 6500"/>
                    <a:gd name="T57" fmla="*/ 5000 h 6500"/>
                    <a:gd name="T58" fmla="*/ 4289 w 6500"/>
                    <a:gd name="T59" fmla="*/ 5403 h 6500"/>
                    <a:gd name="T60" fmla="*/ 4749 w 6500"/>
                    <a:gd name="T61" fmla="*/ 3375 h 6500"/>
                    <a:gd name="T62" fmla="*/ 3375 w 6500"/>
                    <a:gd name="T63" fmla="*/ 4750 h 6500"/>
                    <a:gd name="T64" fmla="*/ 2211 w 6500"/>
                    <a:gd name="T65" fmla="*/ 5403 h 6500"/>
                    <a:gd name="T66" fmla="*/ 3125 w 6500"/>
                    <a:gd name="T67" fmla="*/ 5000 h 6500"/>
                    <a:gd name="T68" fmla="*/ 2211 w 6500"/>
                    <a:gd name="T69" fmla="*/ 5403 h 6500"/>
                    <a:gd name="T70" fmla="*/ 1954 w 6500"/>
                    <a:gd name="T71" fmla="*/ 4750 h 6500"/>
                    <a:gd name="T72" fmla="*/ 3125 w 6500"/>
                    <a:gd name="T73" fmla="*/ 3375 h 6500"/>
                    <a:gd name="T74" fmla="*/ 2211 w 6500"/>
                    <a:gd name="T75" fmla="*/ 1098 h 6500"/>
                    <a:gd name="T76" fmla="*/ 3125 w 6500"/>
                    <a:gd name="T77" fmla="*/ 1500 h 6500"/>
                    <a:gd name="T78" fmla="*/ 2211 w 6500"/>
                    <a:gd name="T79" fmla="*/ 1098 h 6500"/>
                    <a:gd name="T80" fmla="*/ 1751 w 6500"/>
                    <a:gd name="T81" fmla="*/ 3125 h 6500"/>
                    <a:gd name="T82" fmla="*/ 3125 w 6500"/>
                    <a:gd name="T83" fmla="*/ 1750 h 6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500" h="6500">
                      <a:moveTo>
                        <a:pt x="3250" y="0"/>
                      </a:moveTo>
                      <a:cubicBezTo>
                        <a:pt x="5045" y="0"/>
                        <a:pt x="6500" y="1455"/>
                        <a:pt x="6500" y="3250"/>
                      </a:cubicBezTo>
                      <a:cubicBezTo>
                        <a:pt x="6500" y="5045"/>
                        <a:pt x="5045" y="6500"/>
                        <a:pt x="3250" y="6500"/>
                      </a:cubicBezTo>
                      <a:cubicBezTo>
                        <a:pt x="1455" y="6500"/>
                        <a:pt x="0" y="5045"/>
                        <a:pt x="0" y="3250"/>
                      </a:cubicBezTo>
                      <a:cubicBezTo>
                        <a:pt x="0" y="1455"/>
                        <a:pt x="1455" y="0"/>
                        <a:pt x="3250" y="0"/>
                      </a:cubicBezTo>
                      <a:close/>
                      <a:moveTo>
                        <a:pt x="4059" y="360"/>
                      </a:moveTo>
                      <a:cubicBezTo>
                        <a:pt x="4228" y="521"/>
                        <a:pt x="4380" y="733"/>
                        <a:pt x="4510" y="983"/>
                      </a:cubicBezTo>
                      <a:cubicBezTo>
                        <a:pt x="4591" y="1140"/>
                        <a:pt x="4665" y="1314"/>
                        <a:pt x="4729" y="1500"/>
                      </a:cubicBezTo>
                      <a:lnTo>
                        <a:pt x="5688" y="1500"/>
                      </a:lnTo>
                      <a:cubicBezTo>
                        <a:pt x="5290" y="948"/>
                        <a:pt x="4715" y="544"/>
                        <a:pt x="4059" y="360"/>
                      </a:cubicBezTo>
                      <a:close/>
                      <a:moveTo>
                        <a:pt x="6248" y="3125"/>
                      </a:moveTo>
                      <a:cubicBezTo>
                        <a:pt x="6228" y="2625"/>
                        <a:pt x="6084" y="2158"/>
                        <a:pt x="5849" y="1750"/>
                      </a:cubicBezTo>
                      <a:lnTo>
                        <a:pt x="4805" y="1750"/>
                      </a:lnTo>
                      <a:cubicBezTo>
                        <a:pt x="4920" y="2164"/>
                        <a:pt x="4989" y="2630"/>
                        <a:pt x="4999" y="3125"/>
                      </a:cubicBezTo>
                      <a:lnTo>
                        <a:pt x="6248" y="3125"/>
                      </a:lnTo>
                      <a:close/>
                      <a:moveTo>
                        <a:pt x="5688" y="5000"/>
                      </a:moveTo>
                      <a:lnTo>
                        <a:pt x="4729" y="5000"/>
                      </a:lnTo>
                      <a:cubicBezTo>
                        <a:pt x="4665" y="5186"/>
                        <a:pt x="4591" y="5360"/>
                        <a:pt x="4510" y="5518"/>
                      </a:cubicBezTo>
                      <a:cubicBezTo>
                        <a:pt x="4380" y="5768"/>
                        <a:pt x="4228" y="5978"/>
                        <a:pt x="4059" y="6140"/>
                      </a:cubicBezTo>
                      <a:cubicBezTo>
                        <a:pt x="4715" y="5956"/>
                        <a:pt x="5290" y="5553"/>
                        <a:pt x="5688" y="5000"/>
                      </a:cubicBezTo>
                      <a:close/>
                      <a:moveTo>
                        <a:pt x="5849" y="4750"/>
                      </a:moveTo>
                      <a:cubicBezTo>
                        <a:pt x="6084" y="4343"/>
                        <a:pt x="6228" y="3875"/>
                        <a:pt x="6248" y="3375"/>
                      </a:cubicBezTo>
                      <a:lnTo>
                        <a:pt x="4999" y="3375"/>
                      </a:lnTo>
                      <a:cubicBezTo>
                        <a:pt x="4989" y="3870"/>
                        <a:pt x="4920" y="4336"/>
                        <a:pt x="4805" y="4750"/>
                      </a:cubicBezTo>
                      <a:lnTo>
                        <a:pt x="5849" y="4750"/>
                      </a:lnTo>
                      <a:close/>
                      <a:moveTo>
                        <a:pt x="2441" y="6140"/>
                      </a:moveTo>
                      <a:cubicBezTo>
                        <a:pt x="2273" y="5978"/>
                        <a:pt x="2120" y="5768"/>
                        <a:pt x="1990" y="5518"/>
                      </a:cubicBezTo>
                      <a:cubicBezTo>
                        <a:pt x="1909" y="5360"/>
                        <a:pt x="1835" y="5186"/>
                        <a:pt x="1771" y="5000"/>
                      </a:cubicBezTo>
                      <a:lnTo>
                        <a:pt x="813" y="5000"/>
                      </a:lnTo>
                      <a:cubicBezTo>
                        <a:pt x="1210" y="5553"/>
                        <a:pt x="1785" y="5956"/>
                        <a:pt x="2441" y="6140"/>
                      </a:cubicBezTo>
                      <a:close/>
                      <a:moveTo>
                        <a:pt x="253" y="3375"/>
                      </a:moveTo>
                      <a:cubicBezTo>
                        <a:pt x="273" y="3875"/>
                        <a:pt x="416" y="4343"/>
                        <a:pt x="651" y="4750"/>
                      </a:cubicBezTo>
                      <a:lnTo>
                        <a:pt x="1695" y="4750"/>
                      </a:lnTo>
                      <a:cubicBezTo>
                        <a:pt x="1580" y="4336"/>
                        <a:pt x="1511" y="3870"/>
                        <a:pt x="1501" y="3375"/>
                      </a:cubicBezTo>
                      <a:lnTo>
                        <a:pt x="253" y="3375"/>
                      </a:lnTo>
                      <a:close/>
                      <a:moveTo>
                        <a:pt x="813" y="1500"/>
                      </a:moveTo>
                      <a:lnTo>
                        <a:pt x="1771" y="1500"/>
                      </a:lnTo>
                      <a:cubicBezTo>
                        <a:pt x="1835" y="1314"/>
                        <a:pt x="1909" y="1140"/>
                        <a:pt x="1990" y="983"/>
                      </a:cubicBezTo>
                      <a:cubicBezTo>
                        <a:pt x="2120" y="733"/>
                        <a:pt x="2273" y="521"/>
                        <a:pt x="2441" y="360"/>
                      </a:cubicBezTo>
                      <a:cubicBezTo>
                        <a:pt x="1785" y="544"/>
                        <a:pt x="1210" y="948"/>
                        <a:pt x="813" y="1500"/>
                      </a:cubicBezTo>
                      <a:close/>
                      <a:moveTo>
                        <a:pt x="651" y="1750"/>
                      </a:moveTo>
                      <a:cubicBezTo>
                        <a:pt x="416" y="2158"/>
                        <a:pt x="273" y="2625"/>
                        <a:pt x="253" y="3125"/>
                      </a:cubicBezTo>
                      <a:lnTo>
                        <a:pt x="1501" y="3125"/>
                      </a:lnTo>
                      <a:cubicBezTo>
                        <a:pt x="1511" y="2630"/>
                        <a:pt x="1580" y="2164"/>
                        <a:pt x="1695" y="1750"/>
                      </a:cubicBezTo>
                      <a:lnTo>
                        <a:pt x="651" y="1750"/>
                      </a:lnTo>
                      <a:close/>
                      <a:moveTo>
                        <a:pt x="4289" y="1098"/>
                      </a:moveTo>
                      <a:cubicBezTo>
                        <a:pt x="4045" y="629"/>
                        <a:pt x="3725" y="321"/>
                        <a:pt x="3375" y="261"/>
                      </a:cubicBezTo>
                      <a:lnTo>
                        <a:pt x="3375" y="1500"/>
                      </a:lnTo>
                      <a:lnTo>
                        <a:pt x="4464" y="1500"/>
                      </a:lnTo>
                      <a:cubicBezTo>
                        <a:pt x="4411" y="1356"/>
                        <a:pt x="4353" y="1221"/>
                        <a:pt x="4289" y="1098"/>
                      </a:cubicBezTo>
                      <a:close/>
                      <a:moveTo>
                        <a:pt x="4749" y="3125"/>
                      </a:moveTo>
                      <a:cubicBezTo>
                        <a:pt x="4739" y="2626"/>
                        <a:pt x="4666" y="2158"/>
                        <a:pt x="4546" y="1750"/>
                      </a:cubicBezTo>
                      <a:lnTo>
                        <a:pt x="3375" y="1750"/>
                      </a:lnTo>
                      <a:lnTo>
                        <a:pt x="3375" y="3125"/>
                      </a:lnTo>
                      <a:lnTo>
                        <a:pt x="4749" y="3125"/>
                      </a:lnTo>
                      <a:close/>
                      <a:moveTo>
                        <a:pt x="4289" y="5403"/>
                      </a:moveTo>
                      <a:cubicBezTo>
                        <a:pt x="4353" y="5279"/>
                        <a:pt x="4411" y="5144"/>
                        <a:pt x="4464" y="5000"/>
                      </a:cubicBezTo>
                      <a:lnTo>
                        <a:pt x="3375" y="5000"/>
                      </a:lnTo>
                      <a:lnTo>
                        <a:pt x="3375" y="6239"/>
                      </a:lnTo>
                      <a:cubicBezTo>
                        <a:pt x="3725" y="6179"/>
                        <a:pt x="4045" y="5871"/>
                        <a:pt x="4289" y="5403"/>
                      </a:cubicBezTo>
                      <a:close/>
                      <a:moveTo>
                        <a:pt x="4546" y="4750"/>
                      </a:moveTo>
                      <a:cubicBezTo>
                        <a:pt x="4666" y="4343"/>
                        <a:pt x="4739" y="3874"/>
                        <a:pt x="4749" y="3375"/>
                      </a:cubicBezTo>
                      <a:lnTo>
                        <a:pt x="3375" y="3375"/>
                      </a:lnTo>
                      <a:lnTo>
                        <a:pt x="3375" y="4750"/>
                      </a:lnTo>
                      <a:lnTo>
                        <a:pt x="4546" y="4750"/>
                      </a:lnTo>
                      <a:close/>
                      <a:moveTo>
                        <a:pt x="2211" y="5403"/>
                      </a:moveTo>
                      <a:cubicBezTo>
                        <a:pt x="2455" y="5871"/>
                        <a:pt x="2775" y="6179"/>
                        <a:pt x="3125" y="6239"/>
                      </a:cubicBezTo>
                      <a:lnTo>
                        <a:pt x="3125" y="5000"/>
                      </a:lnTo>
                      <a:lnTo>
                        <a:pt x="2036" y="5000"/>
                      </a:lnTo>
                      <a:cubicBezTo>
                        <a:pt x="2089" y="5144"/>
                        <a:pt x="2148" y="5279"/>
                        <a:pt x="2211" y="5403"/>
                      </a:cubicBezTo>
                      <a:close/>
                      <a:moveTo>
                        <a:pt x="1751" y="3375"/>
                      </a:moveTo>
                      <a:cubicBezTo>
                        <a:pt x="1761" y="3874"/>
                        <a:pt x="1834" y="4343"/>
                        <a:pt x="1954" y="4750"/>
                      </a:cubicBezTo>
                      <a:lnTo>
                        <a:pt x="3125" y="4750"/>
                      </a:lnTo>
                      <a:lnTo>
                        <a:pt x="3125" y="3375"/>
                      </a:lnTo>
                      <a:lnTo>
                        <a:pt x="1751" y="3375"/>
                      </a:lnTo>
                      <a:close/>
                      <a:moveTo>
                        <a:pt x="2211" y="1098"/>
                      </a:moveTo>
                      <a:cubicBezTo>
                        <a:pt x="2148" y="1221"/>
                        <a:pt x="2089" y="1356"/>
                        <a:pt x="2036" y="1500"/>
                      </a:cubicBezTo>
                      <a:lnTo>
                        <a:pt x="3125" y="1500"/>
                      </a:lnTo>
                      <a:lnTo>
                        <a:pt x="3125" y="261"/>
                      </a:lnTo>
                      <a:cubicBezTo>
                        <a:pt x="2775" y="321"/>
                        <a:pt x="2455" y="629"/>
                        <a:pt x="2211" y="1098"/>
                      </a:cubicBezTo>
                      <a:close/>
                      <a:moveTo>
                        <a:pt x="1954" y="1750"/>
                      </a:moveTo>
                      <a:cubicBezTo>
                        <a:pt x="1834" y="2158"/>
                        <a:pt x="1761" y="2626"/>
                        <a:pt x="1751" y="3125"/>
                      </a:cubicBezTo>
                      <a:lnTo>
                        <a:pt x="3125" y="3125"/>
                      </a:lnTo>
                      <a:lnTo>
                        <a:pt x="3125" y="1750"/>
                      </a:lnTo>
                      <a:lnTo>
                        <a:pt x="1954" y="1750"/>
                      </a:lnTo>
                      <a:close/>
                    </a:path>
                  </a:pathLst>
                </a:custGeom>
                <a:solidFill>
                  <a:schemeClr val="lt2"/>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lt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de-DE" sz="1100"/>
                </a:p>
              </p:txBody>
            </p:sp>
          </p:grpSp>
        </p:grpSp>
      </p:grpSp>
      <p:grpSp>
        <p:nvGrpSpPr>
          <p:cNvPr id="1496" name="kpis_group">
            <a:extLst>
              <a:ext uri="{FF2B5EF4-FFF2-40B4-BE49-F238E27FC236}">
                <a16:creationId xmlns:a16="http://schemas.microsoft.com/office/drawing/2014/main" id="{DDF4BD19-355E-47D2-8F01-95977B3837BD}"/>
              </a:ext>
            </a:extLst>
          </p:cNvPr>
          <p:cNvGrpSpPr/>
          <p:nvPr/>
        </p:nvGrpSpPr>
        <p:grpSpPr>
          <a:xfrm>
            <a:off x="4309574" y="1577034"/>
            <a:ext cx="1173564" cy="2437344"/>
            <a:chOff x="4366218" y="1795518"/>
            <a:chExt cx="1173564" cy="2437344"/>
          </a:xfrm>
        </p:grpSpPr>
        <p:grpSp>
          <p:nvGrpSpPr>
            <p:cNvPr id="1497" name="Group 1496">
              <a:extLst>
                <a:ext uri="{FF2B5EF4-FFF2-40B4-BE49-F238E27FC236}">
                  <a16:creationId xmlns:a16="http://schemas.microsoft.com/office/drawing/2014/main" id="{D5524D40-88FB-6FA1-74DA-7FF6BE4E4123}"/>
                </a:ext>
              </a:extLst>
            </p:cNvPr>
            <p:cNvGrpSpPr/>
            <p:nvPr/>
          </p:nvGrpSpPr>
          <p:grpSpPr bwMode="gray">
            <a:xfrm>
              <a:off x="4366218" y="3672649"/>
              <a:ext cx="1173564" cy="560213"/>
              <a:chOff x="5598798" y="2374603"/>
              <a:chExt cx="995465" cy="560213"/>
            </a:xfrm>
          </p:grpSpPr>
          <p:sp>
            <p:nvSpPr>
              <p:cNvPr id="1504" name="kpi_3_content_3kpis">
                <a:extLst>
                  <a:ext uri="{FF2B5EF4-FFF2-40B4-BE49-F238E27FC236}">
                    <a16:creationId xmlns:a16="http://schemas.microsoft.com/office/drawing/2014/main" id="{2F4428D5-DE8C-A788-2203-F796657B7974}"/>
                  </a:ext>
                </a:extLst>
              </p:cNvPr>
              <p:cNvSpPr txBox="1"/>
              <p:nvPr/>
            </p:nvSpPr>
            <p:spPr bwMode="gray">
              <a:xfrm>
                <a:off x="5749480" y="2374603"/>
                <a:ext cx="694101" cy="369332"/>
              </a:xfrm>
              <a:prstGeom prst="rect">
                <a:avLst/>
              </a:prstGeom>
              <a:noFill/>
            </p:spPr>
            <p:txBody>
              <a:bodyPr wrap="none" lIns="0" tIns="0" rIns="0" bIns="0" rtlCol="0" anchor="t">
                <a:noAutofit/>
              </a:bodyPr>
              <a:lstStyle/>
              <a:p>
                <a:pPr algn="ctr"/>
                <a:r>
                  <a:rPr lang="en-GB" sz="2400">
                    <a:solidFill>
                      <a:schemeClr val="accent1"/>
                    </a:solidFill>
                  </a:rPr>
                  <a:t>10+</a:t>
                </a:r>
              </a:p>
            </p:txBody>
          </p:sp>
          <p:sp>
            <p:nvSpPr>
              <p:cNvPr id="1505" name="kpi_3_title_3kpis">
                <a:extLst>
                  <a:ext uri="{FF2B5EF4-FFF2-40B4-BE49-F238E27FC236}">
                    <a16:creationId xmlns:a16="http://schemas.microsoft.com/office/drawing/2014/main" id="{5E49DBAB-3C57-C130-0D27-60940804A597}"/>
                  </a:ext>
                </a:extLst>
              </p:cNvPr>
              <p:cNvSpPr txBox="1"/>
              <p:nvPr/>
            </p:nvSpPr>
            <p:spPr bwMode="gray">
              <a:xfrm>
                <a:off x="5598798" y="2780928"/>
                <a:ext cx="995465" cy="153888"/>
              </a:xfrm>
              <a:prstGeom prst="rect">
                <a:avLst/>
              </a:prstGeom>
              <a:noFill/>
            </p:spPr>
            <p:txBody>
              <a:bodyPr wrap="none" lIns="0" tIns="0" rIns="0" bIns="0" rtlCol="0" anchor="t">
                <a:noAutofit/>
              </a:bodyPr>
              <a:lstStyle/>
              <a:p>
                <a:pPr algn="ctr"/>
                <a:r>
                  <a:rPr lang="en-GB" sz="1100"/>
                  <a:t>Bürostandorte</a:t>
                </a:r>
              </a:p>
            </p:txBody>
          </p:sp>
        </p:grpSp>
        <p:grpSp>
          <p:nvGrpSpPr>
            <p:cNvPr id="1498" name="Group 1497">
              <a:extLst>
                <a:ext uri="{FF2B5EF4-FFF2-40B4-BE49-F238E27FC236}">
                  <a16:creationId xmlns:a16="http://schemas.microsoft.com/office/drawing/2014/main" id="{D92C202A-8AF2-72F5-FB0E-4C223596016F}"/>
                </a:ext>
              </a:extLst>
            </p:cNvPr>
            <p:cNvGrpSpPr/>
            <p:nvPr/>
          </p:nvGrpSpPr>
          <p:grpSpPr bwMode="gray">
            <a:xfrm>
              <a:off x="4366218" y="1795518"/>
              <a:ext cx="1173564" cy="560213"/>
              <a:chOff x="5598798" y="2374603"/>
              <a:chExt cx="995465" cy="560213"/>
            </a:xfrm>
          </p:grpSpPr>
          <p:sp>
            <p:nvSpPr>
              <p:cNvPr id="1502" name="kpi_1_content_3kpis">
                <a:extLst>
                  <a:ext uri="{FF2B5EF4-FFF2-40B4-BE49-F238E27FC236}">
                    <a16:creationId xmlns:a16="http://schemas.microsoft.com/office/drawing/2014/main" id="{DBD8B12B-FA00-5678-D16B-02B90D0D824A}"/>
                  </a:ext>
                </a:extLst>
              </p:cNvPr>
              <p:cNvSpPr txBox="1"/>
              <p:nvPr/>
            </p:nvSpPr>
            <p:spPr bwMode="gray">
              <a:xfrm>
                <a:off x="5749480" y="2374603"/>
                <a:ext cx="694101" cy="369332"/>
              </a:xfrm>
              <a:prstGeom prst="rect">
                <a:avLst/>
              </a:prstGeom>
              <a:noFill/>
            </p:spPr>
            <p:txBody>
              <a:bodyPr wrap="none" lIns="0" tIns="0" rIns="0" bIns="0" rtlCol="0" anchor="t">
                <a:noAutofit/>
              </a:bodyPr>
              <a:lstStyle/>
              <a:p>
                <a:pPr algn="ctr"/>
                <a:r>
                  <a:rPr lang="en-GB" sz="2400">
                    <a:solidFill>
                      <a:schemeClr val="accent1"/>
                    </a:solidFill>
                  </a:rPr>
                  <a:t>20+</a:t>
                </a:r>
              </a:p>
            </p:txBody>
          </p:sp>
          <p:sp>
            <p:nvSpPr>
              <p:cNvPr id="1503" name="kpi_1_title_3kpis">
                <a:extLst>
                  <a:ext uri="{FF2B5EF4-FFF2-40B4-BE49-F238E27FC236}">
                    <a16:creationId xmlns:a16="http://schemas.microsoft.com/office/drawing/2014/main" id="{F2E48EEF-1E00-E9AE-8E4A-779DE58FE28E}"/>
                  </a:ext>
                </a:extLst>
              </p:cNvPr>
              <p:cNvSpPr txBox="1"/>
              <p:nvPr/>
            </p:nvSpPr>
            <p:spPr bwMode="gray">
              <a:xfrm>
                <a:off x="5598798" y="2780928"/>
                <a:ext cx="995465" cy="153888"/>
              </a:xfrm>
              <a:prstGeom prst="rect">
                <a:avLst/>
              </a:prstGeom>
              <a:noFill/>
            </p:spPr>
            <p:txBody>
              <a:bodyPr wrap="none" lIns="0" tIns="0" rIns="0" bIns="0" rtlCol="0" anchor="t">
                <a:noAutofit/>
              </a:bodyPr>
              <a:lstStyle/>
              <a:p>
                <a:pPr algn="ctr"/>
                <a:r>
                  <a:rPr lang="en-GB" sz="1100"/>
                  <a:t>Jahre Erfahrung</a:t>
                </a:r>
              </a:p>
            </p:txBody>
          </p:sp>
        </p:grpSp>
        <p:grpSp>
          <p:nvGrpSpPr>
            <p:cNvPr id="1499" name="Group 1498">
              <a:extLst>
                <a:ext uri="{FF2B5EF4-FFF2-40B4-BE49-F238E27FC236}">
                  <a16:creationId xmlns:a16="http://schemas.microsoft.com/office/drawing/2014/main" id="{E45B4D03-195C-31DE-3C5B-B100897A6230}"/>
                </a:ext>
              </a:extLst>
            </p:cNvPr>
            <p:cNvGrpSpPr/>
            <p:nvPr/>
          </p:nvGrpSpPr>
          <p:grpSpPr>
            <a:xfrm>
              <a:off x="4366218" y="2734083"/>
              <a:ext cx="1173564" cy="560213"/>
              <a:chOff x="4366218" y="2686803"/>
              <a:chExt cx="1173564" cy="560213"/>
            </a:xfrm>
          </p:grpSpPr>
          <p:sp>
            <p:nvSpPr>
              <p:cNvPr id="1500" name="kpi_2_content_3kpis">
                <a:extLst>
                  <a:ext uri="{FF2B5EF4-FFF2-40B4-BE49-F238E27FC236}">
                    <a16:creationId xmlns:a16="http://schemas.microsoft.com/office/drawing/2014/main" id="{34AB0C9E-7E91-6FC6-D357-00340C9374AC}"/>
                  </a:ext>
                </a:extLst>
              </p:cNvPr>
              <p:cNvSpPr txBox="1"/>
              <p:nvPr/>
            </p:nvSpPr>
            <p:spPr bwMode="gray">
              <a:xfrm>
                <a:off x="4543859" y="2686803"/>
                <a:ext cx="818283" cy="369332"/>
              </a:xfrm>
              <a:prstGeom prst="rect">
                <a:avLst/>
              </a:prstGeom>
              <a:noFill/>
            </p:spPr>
            <p:txBody>
              <a:bodyPr wrap="none" lIns="0" tIns="0" rIns="0" bIns="0" rtlCol="0" anchor="t">
                <a:noAutofit/>
              </a:bodyPr>
              <a:lstStyle/>
              <a:p>
                <a:pPr algn="ctr"/>
                <a:r>
                  <a:rPr lang="en-GB" sz="2400">
                    <a:solidFill>
                      <a:schemeClr val="accent1"/>
                    </a:solidFill>
                  </a:rPr>
                  <a:t>30+</a:t>
                </a:r>
              </a:p>
            </p:txBody>
          </p:sp>
          <p:sp>
            <p:nvSpPr>
              <p:cNvPr id="1501" name="kpi_2_title_3kpis">
                <a:extLst>
                  <a:ext uri="{FF2B5EF4-FFF2-40B4-BE49-F238E27FC236}">
                    <a16:creationId xmlns:a16="http://schemas.microsoft.com/office/drawing/2014/main" id="{680EF659-9AEB-C628-7434-334C13DE99BF}"/>
                  </a:ext>
                </a:extLst>
              </p:cNvPr>
              <p:cNvSpPr txBox="1"/>
              <p:nvPr/>
            </p:nvSpPr>
            <p:spPr bwMode="gray">
              <a:xfrm>
                <a:off x="4366218" y="3093128"/>
                <a:ext cx="1173564" cy="153888"/>
              </a:xfrm>
              <a:prstGeom prst="rect">
                <a:avLst/>
              </a:prstGeom>
              <a:noFill/>
            </p:spPr>
            <p:txBody>
              <a:bodyPr wrap="none" lIns="0" tIns="0" rIns="0" bIns="0" rtlCol="0" anchor="t">
                <a:noAutofit/>
              </a:bodyPr>
              <a:lstStyle/>
              <a:p>
                <a:pPr algn="ctr"/>
                <a:r>
                  <a:rPr lang="en-GB" sz="1100"/>
                  <a:t>Nationalitäten</a:t>
                </a:r>
                <a:endParaRPr lang="en-GB" sz="900"/>
              </a:p>
            </p:txBody>
          </p:sp>
        </p:grpSp>
      </p:grpSp>
      <p:grpSp>
        <p:nvGrpSpPr>
          <p:cNvPr id="1506" name="dna_title">
            <a:extLst>
              <a:ext uri="{FF2B5EF4-FFF2-40B4-BE49-F238E27FC236}">
                <a16:creationId xmlns:a16="http://schemas.microsoft.com/office/drawing/2014/main" id="{D7FB1D54-528B-05E1-3CA1-B72495252459}"/>
              </a:ext>
            </a:extLst>
          </p:cNvPr>
          <p:cNvGrpSpPr/>
          <p:nvPr>
            <p:custDataLst>
              <p:tags r:id="rId4"/>
            </p:custDataLst>
          </p:nvPr>
        </p:nvGrpSpPr>
        <p:grpSpPr bwMode="gray">
          <a:xfrm>
            <a:off x="210055" y="1051516"/>
            <a:ext cx="3784994" cy="396048"/>
            <a:chOff x="0" y="0"/>
            <a:chExt cx="1800225" cy="396048"/>
          </a:xfrm>
        </p:grpSpPr>
        <p:sp>
          <p:nvSpPr>
            <p:cNvPr id="1507" name="content">
              <a:extLst>
                <a:ext uri="{FF2B5EF4-FFF2-40B4-BE49-F238E27FC236}">
                  <a16:creationId xmlns:a16="http://schemas.microsoft.com/office/drawing/2014/main" id="{C4E19A38-279B-7BB9-AC84-DCE844C03F79}"/>
                </a:ext>
              </a:extLst>
            </p:cNvPr>
            <p:cNvSpPr txBox="1"/>
            <p:nvPr/>
          </p:nvSpPr>
          <p:spPr bwMode="gray">
            <a:xfrm>
              <a:off x="0" y="0"/>
              <a:ext cx="1800225" cy="288036"/>
            </a:xfrm>
            <a:prstGeom prst="rect">
              <a:avLst/>
            </a:prstGeom>
            <a:noFill/>
          </p:spPr>
          <p:txBody>
            <a:bodyPr vert="horz" wrap="none" lIns="0" tIns="0" rIns="0" bIns="0" rtlCol="0" anchor="ctr">
              <a:noAutofit/>
            </a:bodyPr>
            <a:lstStyle/>
            <a:p>
              <a:pPr algn="ctr"/>
              <a:r>
                <a:rPr lang="en-GB" sz="1400" b="1" err="1">
                  <a:solidFill>
                    <a:srgbClr val="003C50"/>
                  </a:solidFill>
                  <a:latin typeface="Roboto" panose="02000000000000000000" pitchFamily="2" charset="0"/>
                </a:rPr>
                <a:t>Unsere</a:t>
              </a:r>
              <a:r>
                <a:rPr lang="en-GB" sz="1400" b="1">
                  <a:solidFill>
                    <a:srgbClr val="003C50"/>
                  </a:solidFill>
                  <a:latin typeface="Roboto" panose="02000000000000000000" pitchFamily="2" charset="0"/>
                </a:rPr>
                <a:t> DNA</a:t>
              </a:r>
            </a:p>
          </p:txBody>
        </p:sp>
        <p:sp>
          <p:nvSpPr>
            <p:cNvPr id="1508" name="line_bottom">
              <a:extLst>
                <a:ext uri="{FF2B5EF4-FFF2-40B4-BE49-F238E27FC236}">
                  <a16:creationId xmlns:a16="http://schemas.microsoft.com/office/drawing/2014/main" id="{AFA8E800-CEC7-3792-34C7-525435C26EB9}"/>
                </a:ext>
              </a:extLst>
            </p:cNvPr>
            <p:cNvSpPr/>
            <p:nvPr>
              <p:custDataLst>
                <p:tags r:id="rId41"/>
              </p:custDataLst>
            </p:nvPr>
          </p:nvSpPr>
          <p:spPr bwMode="gray">
            <a:xfrm>
              <a:off x="0" y="288035"/>
              <a:ext cx="1800225" cy="108013"/>
            </a:xfrm>
            <a:custGeom>
              <a:avLst/>
              <a:gdLst>
                <a:gd name="connsiteX0" fmla="*/ 0 w 1800225"/>
                <a:gd name="connsiteY0" fmla="*/ 0 h 114300"/>
                <a:gd name="connsiteX1" fmla="*/ 856962 w 1800225"/>
                <a:gd name="connsiteY1" fmla="*/ 0 h 114300"/>
                <a:gd name="connsiteX2" fmla="*/ 900113 w 1800225"/>
                <a:gd name="connsiteY2" fmla="*/ 114300 h 114300"/>
                <a:gd name="connsiteX3" fmla="*/ 1014413 w 1800225"/>
                <a:gd name="connsiteY3" fmla="*/ 0 h 114300"/>
                <a:gd name="connsiteX4" fmla="*/ 1800225 w 1800225"/>
                <a:gd name="connsiteY4" fmla="*/ 0 h 114300"/>
                <a:gd name="connsiteX0" fmla="*/ 0 w 1800225"/>
                <a:gd name="connsiteY0" fmla="*/ 0 h 108013"/>
                <a:gd name="connsiteX1" fmla="*/ 856962 w 1800225"/>
                <a:gd name="connsiteY1" fmla="*/ 0 h 108013"/>
                <a:gd name="connsiteX2" fmla="*/ 900112 w 1800225"/>
                <a:gd name="connsiteY2" fmla="*/ 108013 h 108013"/>
                <a:gd name="connsiteX3" fmla="*/ 1014413 w 1800225"/>
                <a:gd name="connsiteY3" fmla="*/ 0 h 108013"/>
                <a:gd name="connsiteX4" fmla="*/ 1800225 w 1800225"/>
                <a:gd name="connsiteY4" fmla="*/ 0 h 108013"/>
                <a:gd name="connsiteX0" fmla="*/ 0 w 1800225"/>
                <a:gd name="connsiteY0" fmla="*/ 0 h 108013"/>
                <a:gd name="connsiteX1" fmla="*/ 856962 w 1800225"/>
                <a:gd name="connsiteY1" fmla="*/ 0 h 108013"/>
                <a:gd name="connsiteX2" fmla="*/ 900112 w 1800225"/>
                <a:gd name="connsiteY2" fmla="*/ 108013 h 108013"/>
                <a:gd name="connsiteX3" fmla="*/ 943263 w 1800225"/>
                <a:gd name="connsiteY3" fmla="*/ 1 h 108013"/>
                <a:gd name="connsiteX4" fmla="*/ 1800225 w 1800225"/>
                <a:gd name="connsiteY4" fmla="*/ 0 h 108013"/>
                <a:gd name="connsiteX0" fmla="*/ 0 w 1800225"/>
                <a:gd name="connsiteY0" fmla="*/ 0 h 108013"/>
                <a:gd name="connsiteX1" fmla="*/ 856082 w 1800225"/>
                <a:gd name="connsiteY1" fmla="*/ 0 h 108013"/>
                <a:gd name="connsiteX2" fmla="*/ 900112 w 1800225"/>
                <a:gd name="connsiteY2" fmla="*/ 108013 h 108013"/>
                <a:gd name="connsiteX3" fmla="*/ 943263 w 1800225"/>
                <a:gd name="connsiteY3" fmla="*/ 1 h 108013"/>
                <a:gd name="connsiteX4" fmla="*/ 1800225 w 1800225"/>
                <a:gd name="connsiteY4" fmla="*/ 0 h 108013"/>
                <a:gd name="connsiteX0" fmla="*/ 0 w 1800225"/>
                <a:gd name="connsiteY0" fmla="*/ 0 h 108014"/>
                <a:gd name="connsiteX1" fmla="*/ 856082 w 1800225"/>
                <a:gd name="connsiteY1" fmla="*/ 0 h 108014"/>
                <a:gd name="connsiteX2" fmla="*/ 900112 w 1800225"/>
                <a:gd name="connsiteY2" fmla="*/ 108014 h 108014"/>
                <a:gd name="connsiteX3" fmla="*/ 943263 w 1800225"/>
                <a:gd name="connsiteY3" fmla="*/ 1 h 108014"/>
                <a:gd name="connsiteX4" fmla="*/ 1800225 w 1800225"/>
                <a:gd name="connsiteY4" fmla="*/ 0 h 108014"/>
                <a:gd name="connsiteX0" fmla="*/ 0 w 1800225"/>
                <a:gd name="connsiteY0" fmla="*/ 1 h 108015"/>
                <a:gd name="connsiteX1" fmla="*/ 856082 w 1800225"/>
                <a:gd name="connsiteY1" fmla="*/ 1 h 108015"/>
                <a:gd name="connsiteX2" fmla="*/ 900112 w 1800225"/>
                <a:gd name="connsiteY2" fmla="*/ 108015 h 108015"/>
                <a:gd name="connsiteX3" fmla="*/ 944143 w 1800225"/>
                <a:gd name="connsiteY3" fmla="*/ 0 h 108015"/>
                <a:gd name="connsiteX4" fmla="*/ 1800225 w 1800225"/>
                <a:gd name="connsiteY4" fmla="*/ 1 h 108015"/>
                <a:gd name="connsiteX0" fmla="*/ 0 w 1800225"/>
                <a:gd name="connsiteY0" fmla="*/ 1 h 108015"/>
                <a:gd name="connsiteX1" fmla="*/ 843262 w 1800225"/>
                <a:gd name="connsiteY1" fmla="*/ 1 h 108015"/>
                <a:gd name="connsiteX2" fmla="*/ 900112 w 1800225"/>
                <a:gd name="connsiteY2" fmla="*/ 108015 h 108015"/>
                <a:gd name="connsiteX3" fmla="*/ 944143 w 1800225"/>
                <a:gd name="connsiteY3" fmla="*/ 0 h 108015"/>
                <a:gd name="connsiteX4" fmla="*/ 1800225 w 1800225"/>
                <a:gd name="connsiteY4" fmla="*/ 1 h 108015"/>
                <a:gd name="connsiteX0" fmla="*/ 0 w 1800225"/>
                <a:gd name="connsiteY0" fmla="*/ 1 h 108015"/>
                <a:gd name="connsiteX1" fmla="*/ 843262 w 1800225"/>
                <a:gd name="connsiteY1" fmla="*/ 1 h 108015"/>
                <a:gd name="connsiteX2" fmla="*/ 900113 w 1800225"/>
                <a:gd name="connsiteY2" fmla="*/ 108015 h 108015"/>
                <a:gd name="connsiteX3" fmla="*/ 944143 w 1800225"/>
                <a:gd name="connsiteY3" fmla="*/ 0 h 108015"/>
                <a:gd name="connsiteX4" fmla="*/ 1800225 w 1800225"/>
                <a:gd name="connsiteY4" fmla="*/ 1 h 108015"/>
                <a:gd name="connsiteX0" fmla="*/ 0 w 1800225"/>
                <a:gd name="connsiteY0" fmla="*/ 0 h 108014"/>
                <a:gd name="connsiteX1" fmla="*/ 843262 w 1800225"/>
                <a:gd name="connsiteY1" fmla="*/ 0 h 108014"/>
                <a:gd name="connsiteX2" fmla="*/ 900113 w 1800225"/>
                <a:gd name="connsiteY2" fmla="*/ 108014 h 108014"/>
                <a:gd name="connsiteX3" fmla="*/ 956963 w 1800225"/>
                <a:gd name="connsiteY3" fmla="*/ 0 h 108014"/>
                <a:gd name="connsiteX4" fmla="*/ 1800225 w 1800225"/>
                <a:gd name="connsiteY4" fmla="*/ 0 h 108014"/>
                <a:gd name="connsiteX0" fmla="*/ 0 w 1800225"/>
                <a:gd name="connsiteY0" fmla="*/ 0 h 108014"/>
                <a:gd name="connsiteX1" fmla="*/ 848739 w 1800225"/>
                <a:gd name="connsiteY1" fmla="*/ 0 h 108014"/>
                <a:gd name="connsiteX2" fmla="*/ 900113 w 1800225"/>
                <a:gd name="connsiteY2" fmla="*/ 108014 h 108014"/>
                <a:gd name="connsiteX3" fmla="*/ 956963 w 1800225"/>
                <a:gd name="connsiteY3" fmla="*/ 0 h 108014"/>
                <a:gd name="connsiteX4" fmla="*/ 1800225 w 1800225"/>
                <a:gd name="connsiteY4" fmla="*/ 0 h 108014"/>
                <a:gd name="connsiteX0" fmla="*/ 0 w 1800225"/>
                <a:gd name="connsiteY0" fmla="*/ 0 h 108013"/>
                <a:gd name="connsiteX1" fmla="*/ 848739 w 1800225"/>
                <a:gd name="connsiteY1" fmla="*/ 0 h 108013"/>
                <a:gd name="connsiteX2" fmla="*/ 900112 w 1800225"/>
                <a:gd name="connsiteY2" fmla="*/ 108013 h 108013"/>
                <a:gd name="connsiteX3" fmla="*/ 956963 w 1800225"/>
                <a:gd name="connsiteY3" fmla="*/ 0 h 108013"/>
                <a:gd name="connsiteX4" fmla="*/ 1800225 w 1800225"/>
                <a:gd name="connsiteY4" fmla="*/ 0 h 108013"/>
                <a:gd name="connsiteX0" fmla="*/ 0 w 1800225"/>
                <a:gd name="connsiteY0" fmla="*/ 0 h 108013"/>
                <a:gd name="connsiteX1" fmla="*/ 848739 w 1800225"/>
                <a:gd name="connsiteY1" fmla="*/ 0 h 108013"/>
                <a:gd name="connsiteX2" fmla="*/ 900112 w 1800225"/>
                <a:gd name="connsiteY2" fmla="*/ 108013 h 108013"/>
                <a:gd name="connsiteX3" fmla="*/ 951486 w 1800225"/>
                <a:gd name="connsiteY3" fmla="*/ 1 h 108013"/>
                <a:gd name="connsiteX4" fmla="*/ 1800225 w 1800225"/>
                <a:gd name="connsiteY4" fmla="*/ 0 h 108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225" h="108013">
                  <a:moveTo>
                    <a:pt x="0" y="0"/>
                  </a:moveTo>
                  <a:lnTo>
                    <a:pt x="848739" y="0"/>
                  </a:lnTo>
                  <a:lnTo>
                    <a:pt x="900112" y="108013"/>
                  </a:lnTo>
                  <a:lnTo>
                    <a:pt x="951486" y="1"/>
                  </a:lnTo>
                  <a:lnTo>
                    <a:pt x="1800225" y="0"/>
                  </a:lnTo>
                </a:path>
              </a:pathLst>
            </a:custGeom>
            <a:ln w="1905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b="1"/>
            </a:p>
          </p:txBody>
        </p:sp>
        <p:cxnSp>
          <p:nvCxnSpPr>
            <p:cNvPr id="1509" name="line_top">
              <a:extLst>
                <a:ext uri="{FF2B5EF4-FFF2-40B4-BE49-F238E27FC236}">
                  <a16:creationId xmlns:a16="http://schemas.microsoft.com/office/drawing/2014/main" id="{E94666D8-D0BE-A2C8-BFEE-44CB74E82890}"/>
                </a:ext>
              </a:extLst>
            </p:cNvPr>
            <p:cNvCxnSpPr/>
            <p:nvPr/>
          </p:nvCxnSpPr>
          <p:spPr bwMode="gray">
            <a:xfrm>
              <a:off x="0" y="0"/>
              <a:ext cx="1800225"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510" name="team_graphic">
            <a:extLst>
              <a:ext uri="{FF2B5EF4-FFF2-40B4-BE49-F238E27FC236}">
                <a16:creationId xmlns:a16="http://schemas.microsoft.com/office/drawing/2014/main" id="{E32B43B6-8314-9DB9-3DEE-63936F7F7B78}"/>
              </a:ext>
            </a:extLst>
          </p:cNvPr>
          <p:cNvGrpSpPr/>
          <p:nvPr/>
        </p:nvGrpSpPr>
        <p:grpSpPr>
          <a:xfrm>
            <a:off x="5797662" y="2055168"/>
            <a:ext cx="1752199" cy="1752199"/>
            <a:chOff x="5223032" y="2256065"/>
            <a:chExt cx="1752199" cy="1752199"/>
          </a:xfrm>
        </p:grpSpPr>
        <p:grpSp>
          <p:nvGrpSpPr>
            <p:cNvPr id="1511" name="Group 1510">
              <a:extLst>
                <a:ext uri="{FF2B5EF4-FFF2-40B4-BE49-F238E27FC236}">
                  <a16:creationId xmlns:a16="http://schemas.microsoft.com/office/drawing/2014/main" id="{DA84B4BD-D5C7-7271-AE5C-302783B4F69D}"/>
                </a:ext>
              </a:extLst>
            </p:cNvPr>
            <p:cNvGrpSpPr/>
            <p:nvPr/>
          </p:nvGrpSpPr>
          <p:grpSpPr bwMode="gray">
            <a:xfrm>
              <a:off x="5726438" y="2871907"/>
              <a:ext cx="745397" cy="535903"/>
              <a:chOff x="5726438" y="2385462"/>
              <a:chExt cx="745397" cy="535903"/>
            </a:xfrm>
          </p:grpSpPr>
          <p:sp>
            <p:nvSpPr>
              <p:cNvPr id="1517" name="TextBox 1516">
                <a:extLst>
                  <a:ext uri="{FF2B5EF4-FFF2-40B4-BE49-F238E27FC236}">
                    <a16:creationId xmlns:a16="http://schemas.microsoft.com/office/drawing/2014/main" id="{8467007E-D475-89AE-C7C4-37A21E5A54A5}"/>
                  </a:ext>
                </a:extLst>
              </p:cNvPr>
              <p:cNvSpPr txBox="1"/>
              <p:nvPr/>
            </p:nvSpPr>
            <p:spPr bwMode="gray">
              <a:xfrm>
                <a:off x="5732874" y="2385462"/>
                <a:ext cx="732515" cy="330621"/>
              </a:xfrm>
              <a:prstGeom prst="rect">
                <a:avLst/>
              </a:prstGeom>
              <a:noFill/>
            </p:spPr>
            <p:txBody>
              <a:bodyPr wrap="none" lIns="0" tIns="0" rIns="0" bIns="0" rtlCol="0" anchor="t">
                <a:noAutofit/>
              </a:bodyPr>
              <a:lstStyle/>
              <a:p>
                <a:pPr algn="ctr"/>
                <a:r>
                  <a:rPr lang="en-GB" sz="2400">
                    <a:solidFill>
                      <a:schemeClr val="accent1"/>
                    </a:solidFill>
                  </a:rPr>
                  <a:t>2.000</a:t>
                </a:r>
              </a:p>
            </p:txBody>
          </p:sp>
          <p:sp>
            <p:nvSpPr>
              <p:cNvPr id="1518" name="TextBox 1517">
                <a:extLst>
                  <a:ext uri="{FF2B5EF4-FFF2-40B4-BE49-F238E27FC236}">
                    <a16:creationId xmlns:a16="http://schemas.microsoft.com/office/drawing/2014/main" id="{D123D542-0F19-0A61-8391-3DE35BEAA213}"/>
                  </a:ext>
                </a:extLst>
              </p:cNvPr>
              <p:cNvSpPr txBox="1"/>
              <p:nvPr/>
            </p:nvSpPr>
            <p:spPr bwMode="gray">
              <a:xfrm>
                <a:off x="5726438" y="2752088"/>
                <a:ext cx="745397" cy="169277"/>
              </a:xfrm>
              <a:prstGeom prst="rect">
                <a:avLst/>
              </a:prstGeom>
              <a:noFill/>
            </p:spPr>
            <p:txBody>
              <a:bodyPr wrap="none" lIns="0" tIns="0" rIns="0" bIns="0" rtlCol="0" anchor="t">
                <a:spAutoFit/>
              </a:bodyPr>
              <a:lstStyle/>
              <a:p>
                <a:pPr algn="ctr"/>
                <a:r>
                  <a:rPr lang="en-GB" sz="1100" dirty="0"/>
                  <a:t>kluge </a:t>
                </a:r>
                <a:r>
                  <a:rPr lang="en-GB" sz="1100" dirty="0" err="1"/>
                  <a:t>Köpfe</a:t>
                </a:r>
                <a:endParaRPr lang="en-GB" sz="1100" dirty="0"/>
              </a:p>
            </p:txBody>
          </p:sp>
        </p:grpSp>
        <p:sp>
          <p:nvSpPr>
            <p:cNvPr id="1512" name="Block Arc 1511">
              <a:extLst>
                <a:ext uri="{FF2B5EF4-FFF2-40B4-BE49-F238E27FC236}">
                  <a16:creationId xmlns:a16="http://schemas.microsoft.com/office/drawing/2014/main" id="{5A84C7B9-88CF-1532-4F31-8BE28640D378}"/>
                </a:ext>
              </a:extLst>
            </p:cNvPr>
            <p:cNvSpPr/>
            <p:nvPr/>
          </p:nvSpPr>
          <p:spPr bwMode="gray">
            <a:xfrm>
              <a:off x="5414653" y="2447686"/>
              <a:ext cx="1368957" cy="1368957"/>
            </a:xfrm>
            <a:prstGeom prst="blockArc">
              <a:avLst>
                <a:gd name="adj1" fmla="val 16208443"/>
                <a:gd name="adj2" fmla="val 16166059"/>
                <a:gd name="adj3" fmla="val 5260"/>
              </a:avLst>
            </a:prstGeom>
            <a:solidFill>
              <a:schemeClr val="accent5"/>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513" name="Block Arc 1512">
              <a:extLst>
                <a:ext uri="{FF2B5EF4-FFF2-40B4-BE49-F238E27FC236}">
                  <a16:creationId xmlns:a16="http://schemas.microsoft.com/office/drawing/2014/main" id="{DCCDBE0E-4F1D-0E87-1B03-723CE7F6FDF2}"/>
                </a:ext>
              </a:extLst>
            </p:cNvPr>
            <p:cNvSpPr/>
            <p:nvPr/>
          </p:nvSpPr>
          <p:spPr bwMode="gray">
            <a:xfrm>
              <a:off x="5223032" y="2256065"/>
              <a:ext cx="1752199" cy="1752199"/>
            </a:xfrm>
            <a:prstGeom prst="blockArc">
              <a:avLst>
                <a:gd name="adj1" fmla="val 16208443"/>
                <a:gd name="adj2" fmla="val 16167856"/>
                <a:gd name="adj3" fmla="val 4110"/>
              </a:avLst>
            </a:prstGeom>
            <a:solidFill>
              <a:schemeClr val="tx2">
                <a:lumMod val="20000"/>
                <a:lumOff val="80000"/>
              </a:schemeClr>
            </a:solidFill>
            <a:ln w="9525">
              <a:solidFill>
                <a:srgbClr val="C2E7F7"/>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514" name="Block Arc 1513">
              <a:extLst>
                <a:ext uri="{FF2B5EF4-FFF2-40B4-BE49-F238E27FC236}">
                  <a16:creationId xmlns:a16="http://schemas.microsoft.com/office/drawing/2014/main" id="{E3462C5B-5A9E-6823-5291-19F5537D315F}"/>
                </a:ext>
              </a:extLst>
            </p:cNvPr>
            <p:cNvSpPr/>
            <p:nvPr/>
          </p:nvSpPr>
          <p:spPr bwMode="gray">
            <a:xfrm>
              <a:off x="5223032" y="2256065"/>
              <a:ext cx="1752199" cy="1752199"/>
            </a:xfrm>
            <a:prstGeom prst="blockArc">
              <a:avLst>
                <a:gd name="adj1" fmla="val 4932"/>
                <a:gd name="adj2" fmla="val 13423607"/>
                <a:gd name="adj3" fmla="val 4110"/>
              </a:avLst>
            </a:prstGeom>
            <a:solidFill>
              <a:schemeClr val="tx2">
                <a:lumMod val="40000"/>
                <a:lumOff val="60000"/>
              </a:schemeClr>
            </a:solidFill>
            <a:ln w="9525">
              <a:solidFill>
                <a:srgbClr val="85CEEF"/>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515" name="Block Arc 1514">
              <a:extLst>
                <a:ext uri="{FF2B5EF4-FFF2-40B4-BE49-F238E27FC236}">
                  <a16:creationId xmlns:a16="http://schemas.microsoft.com/office/drawing/2014/main" id="{966A6C5F-41B3-9E27-EB4A-8806D23784EA}"/>
                </a:ext>
              </a:extLst>
            </p:cNvPr>
            <p:cNvSpPr/>
            <p:nvPr/>
          </p:nvSpPr>
          <p:spPr bwMode="gray">
            <a:xfrm>
              <a:off x="5223032" y="2256065"/>
              <a:ext cx="1752199" cy="1752199"/>
            </a:xfrm>
            <a:prstGeom prst="blockArc">
              <a:avLst>
                <a:gd name="adj1" fmla="val 16209035"/>
                <a:gd name="adj2" fmla="val 5452502"/>
                <a:gd name="adj3" fmla="val 4110"/>
              </a:avLst>
            </a:prstGeom>
            <a:solidFill>
              <a:schemeClr val="accent6"/>
            </a:solidFill>
            <a:ln w="9525">
              <a:solidFill>
                <a:srgbClr val="99B1B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516" name="Block Arc 1515">
              <a:extLst>
                <a:ext uri="{FF2B5EF4-FFF2-40B4-BE49-F238E27FC236}">
                  <a16:creationId xmlns:a16="http://schemas.microsoft.com/office/drawing/2014/main" id="{14244C44-3EAE-031C-88A4-53A630A99A89}"/>
                </a:ext>
              </a:extLst>
            </p:cNvPr>
            <p:cNvSpPr/>
            <p:nvPr/>
          </p:nvSpPr>
          <p:spPr bwMode="gray">
            <a:xfrm>
              <a:off x="5414653" y="2447686"/>
              <a:ext cx="1368957" cy="1368957"/>
            </a:xfrm>
            <a:prstGeom prst="blockArc">
              <a:avLst>
                <a:gd name="adj1" fmla="val 10748171"/>
                <a:gd name="adj2" fmla="val 12801"/>
                <a:gd name="adj3" fmla="val 5026"/>
              </a:avLst>
            </a:prstGeom>
            <a:solidFill>
              <a:schemeClr val="accent3"/>
            </a:solidFill>
            <a:ln w="9525">
              <a:solidFill>
                <a:srgbClr val="FFAA0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grpSp>
      <p:sp>
        <p:nvSpPr>
          <p:cNvPr id="1519" name="Rectangle 1518">
            <a:extLst>
              <a:ext uri="{FF2B5EF4-FFF2-40B4-BE49-F238E27FC236}">
                <a16:creationId xmlns:a16="http://schemas.microsoft.com/office/drawing/2014/main" id="{F7BF0E95-5092-7521-07D3-D02B18EC065E}"/>
              </a:ext>
            </a:extLst>
          </p:cNvPr>
          <p:cNvSpPr/>
          <p:nvPr>
            <p:custDataLst>
              <p:tags r:id="rId5"/>
            </p:custDataLst>
          </p:nvPr>
        </p:nvSpPr>
        <p:spPr bwMode="gray">
          <a:xfrm>
            <a:off x="2366206" y="1442066"/>
            <a:ext cx="1628843" cy="2908473"/>
          </a:xfrm>
          <a:prstGeom prst="rect">
            <a:avLst/>
          </a:prstGeom>
          <a:gradFill flip="none" rotWithShape="1">
            <a:gsLst>
              <a:gs pos="0">
                <a:schemeClr val="bg1">
                  <a:alpha val="0"/>
                </a:schemeClr>
              </a:gs>
              <a:gs pos="63300">
                <a:schemeClr val="bg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nvGrpSpPr>
          <p:cNvPr id="1520" name="team_legend">
            <a:extLst>
              <a:ext uri="{FF2B5EF4-FFF2-40B4-BE49-F238E27FC236}">
                <a16:creationId xmlns:a16="http://schemas.microsoft.com/office/drawing/2014/main" id="{0DC5EB56-B971-1935-D9DB-ECE3826224CE}"/>
              </a:ext>
            </a:extLst>
          </p:cNvPr>
          <p:cNvGrpSpPr/>
          <p:nvPr/>
        </p:nvGrpSpPr>
        <p:grpSpPr>
          <a:xfrm>
            <a:off x="8048891" y="1992857"/>
            <a:ext cx="1452576" cy="1876820"/>
            <a:chOff x="8105535" y="2211341"/>
            <a:chExt cx="1452576" cy="1876820"/>
          </a:xfrm>
        </p:grpSpPr>
        <p:sp>
          <p:nvSpPr>
            <p:cNvPr id="1521" name="tb_physics">
              <a:extLst>
                <a:ext uri="{FF2B5EF4-FFF2-40B4-BE49-F238E27FC236}">
                  <a16:creationId xmlns:a16="http://schemas.microsoft.com/office/drawing/2014/main" id="{C556684F-6F4F-F87E-5A78-32ACBA02BA22}"/>
                </a:ext>
              </a:extLst>
            </p:cNvPr>
            <p:cNvSpPr txBox="1"/>
            <p:nvPr/>
          </p:nvSpPr>
          <p:spPr bwMode="gray">
            <a:xfrm>
              <a:off x="8286560" y="2211341"/>
              <a:ext cx="1271551" cy="137758"/>
            </a:xfrm>
            <a:prstGeom prst="rect">
              <a:avLst/>
            </a:prstGeom>
            <a:noFill/>
          </p:spPr>
          <p:txBody>
            <a:bodyPr wrap="none" lIns="0" tIns="0" rIns="0" bIns="0" rtlCol="0" anchor="ctr">
              <a:noAutofit/>
            </a:bodyPr>
            <a:lstStyle>
              <a:defPPr>
                <a:defRPr lang="de-DE"/>
              </a:defPPr>
              <a:lvl1pPr defTabSz="358775">
                <a:defRPr sz="1000"/>
              </a:lvl1pPr>
            </a:lstStyle>
            <a:p>
              <a:r>
                <a:rPr lang="en-GB" sz="1100"/>
                <a:t>50% 	</a:t>
              </a:r>
              <a:r>
                <a:rPr lang="en-GB" sz="1100" err="1"/>
                <a:t>Physik</a:t>
              </a:r>
              <a:endParaRPr lang="en-GB" sz="1100"/>
            </a:p>
          </p:txBody>
        </p:sp>
        <p:sp>
          <p:nvSpPr>
            <p:cNvPr id="1522" name="tb_math">
              <a:extLst>
                <a:ext uri="{FF2B5EF4-FFF2-40B4-BE49-F238E27FC236}">
                  <a16:creationId xmlns:a16="http://schemas.microsoft.com/office/drawing/2014/main" id="{3D148BD4-3C5A-4B04-A84A-4672C2C8E533}"/>
                </a:ext>
              </a:extLst>
            </p:cNvPr>
            <p:cNvSpPr txBox="1"/>
            <p:nvPr/>
          </p:nvSpPr>
          <p:spPr bwMode="gray">
            <a:xfrm>
              <a:off x="8286560" y="2648862"/>
              <a:ext cx="1271551" cy="137758"/>
            </a:xfrm>
            <a:prstGeom prst="rect">
              <a:avLst/>
            </a:prstGeom>
            <a:noFill/>
          </p:spPr>
          <p:txBody>
            <a:bodyPr wrap="none" lIns="0" tIns="0" rIns="0" bIns="0" rtlCol="0" anchor="ctr">
              <a:noAutofit/>
            </a:bodyPr>
            <a:lstStyle/>
            <a:p>
              <a:pPr defTabSz="358775"/>
              <a:r>
                <a:rPr lang="en-GB" sz="1100"/>
                <a:t>35% 	</a:t>
              </a:r>
              <a:r>
                <a:rPr lang="en-GB" sz="1100" err="1"/>
                <a:t>Mathematik</a:t>
              </a:r>
              <a:endParaRPr lang="en-GB" sz="1100"/>
            </a:p>
          </p:txBody>
        </p:sp>
        <p:sp>
          <p:nvSpPr>
            <p:cNvPr id="1523" name="tb_other">
              <a:extLst>
                <a:ext uri="{FF2B5EF4-FFF2-40B4-BE49-F238E27FC236}">
                  <a16:creationId xmlns:a16="http://schemas.microsoft.com/office/drawing/2014/main" id="{02290A48-FFBB-9258-D225-FC68F4CA3816}"/>
                </a:ext>
              </a:extLst>
            </p:cNvPr>
            <p:cNvSpPr txBox="1"/>
            <p:nvPr/>
          </p:nvSpPr>
          <p:spPr bwMode="gray">
            <a:xfrm>
              <a:off x="8286560" y="3074077"/>
              <a:ext cx="1271551" cy="275517"/>
            </a:xfrm>
            <a:prstGeom prst="rect">
              <a:avLst/>
            </a:prstGeom>
            <a:noFill/>
          </p:spPr>
          <p:txBody>
            <a:bodyPr wrap="none" lIns="0" tIns="0" rIns="0" bIns="0" rtlCol="0" anchor="t">
              <a:noAutofit/>
            </a:bodyPr>
            <a:lstStyle>
              <a:defPPr>
                <a:defRPr lang="de-DE"/>
              </a:defPPr>
              <a:lvl1pPr defTabSz="358775">
                <a:defRPr sz="1000"/>
              </a:lvl1pPr>
            </a:lstStyle>
            <a:p>
              <a:r>
                <a:rPr lang="en-GB" sz="1100"/>
                <a:t>15% 	</a:t>
              </a:r>
              <a:r>
                <a:rPr lang="en-GB" sz="1100" err="1"/>
                <a:t>Sonstige</a:t>
              </a:r>
              <a:r>
                <a:rPr lang="en-GB" sz="1100"/>
                <a:t> </a:t>
              </a:r>
            </a:p>
            <a:p>
              <a:r>
                <a:rPr lang="en-GB" sz="1100"/>
                <a:t>	MINT-</a:t>
              </a:r>
              <a:r>
                <a:rPr lang="en-GB" sz="1100" err="1"/>
                <a:t>Fächer</a:t>
              </a:r>
              <a:r>
                <a:rPr lang="en-GB" sz="1100"/>
                <a:t> </a:t>
              </a:r>
            </a:p>
            <a:p>
              <a:r>
                <a:rPr lang="en-GB" sz="1100"/>
                <a:t>	&amp; </a:t>
              </a:r>
              <a:r>
                <a:rPr lang="en-GB" sz="1100" err="1"/>
                <a:t>WiWi</a:t>
              </a:r>
              <a:endParaRPr lang="en-GB" sz="1100"/>
            </a:p>
          </p:txBody>
        </p:sp>
        <p:sp>
          <p:nvSpPr>
            <p:cNvPr id="1524" name="tb_phd">
              <a:extLst>
                <a:ext uri="{FF2B5EF4-FFF2-40B4-BE49-F238E27FC236}">
                  <a16:creationId xmlns:a16="http://schemas.microsoft.com/office/drawing/2014/main" id="{5691727C-E011-1C4B-C2D1-831909266FFC}"/>
                </a:ext>
              </a:extLst>
            </p:cNvPr>
            <p:cNvSpPr txBox="1"/>
            <p:nvPr/>
          </p:nvSpPr>
          <p:spPr bwMode="gray">
            <a:xfrm>
              <a:off x="8286560" y="3950403"/>
              <a:ext cx="1271551" cy="137758"/>
            </a:xfrm>
            <a:prstGeom prst="rect">
              <a:avLst/>
            </a:prstGeom>
            <a:noFill/>
          </p:spPr>
          <p:txBody>
            <a:bodyPr wrap="none" lIns="0" tIns="0" rIns="0" bIns="0" rtlCol="0" anchor="ctr">
              <a:noAutofit/>
            </a:bodyPr>
            <a:lstStyle>
              <a:defPPr>
                <a:defRPr lang="de-DE"/>
              </a:defPPr>
              <a:lvl1pPr defTabSz="358775">
                <a:defRPr sz="1000"/>
              </a:lvl1pPr>
            </a:lstStyle>
            <a:p>
              <a:r>
                <a:rPr lang="en-GB" sz="1100"/>
                <a:t>50% 	</a:t>
              </a:r>
              <a:r>
                <a:rPr lang="en-GB" sz="1100" err="1"/>
                <a:t>mit</a:t>
              </a:r>
              <a:r>
                <a:rPr lang="en-GB" sz="1100"/>
                <a:t> Promotion</a:t>
              </a:r>
            </a:p>
          </p:txBody>
        </p:sp>
        <p:cxnSp>
          <p:nvCxnSpPr>
            <p:cNvPr id="1525" name="connector_legend">
              <a:extLst>
                <a:ext uri="{FF2B5EF4-FFF2-40B4-BE49-F238E27FC236}">
                  <a16:creationId xmlns:a16="http://schemas.microsoft.com/office/drawing/2014/main" id="{AE8A7250-D8B7-DEA8-5110-48230CE7EAB4}"/>
                </a:ext>
              </a:extLst>
            </p:cNvPr>
            <p:cNvCxnSpPr/>
            <p:nvPr/>
          </p:nvCxnSpPr>
          <p:spPr bwMode="gray">
            <a:xfrm>
              <a:off x="8105535" y="3654079"/>
              <a:ext cx="13212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526" name="Rectangle 1525">
            <a:extLst>
              <a:ext uri="{FF2B5EF4-FFF2-40B4-BE49-F238E27FC236}">
                <a16:creationId xmlns:a16="http://schemas.microsoft.com/office/drawing/2014/main" id="{01EF376F-FFFA-8AD2-1047-90F2C1F877FD}"/>
              </a:ext>
            </a:extLst>
          </p:cNvPr>
          <p:cNvSpPr/>
          <p:nvPr/>
        </p:nvSpPr>
        <p:spPr bwMode="gray">
          <a:xfrm>
            <a:off x="209756" y="2509315"/>
            <a:ext cx="1088117" cy="225961"/>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grpSp>
        <p:nvGrpSpPr>
          <p:cNvPr id="1527" name="background_grid">
            <a:extLst>
              <a:ext uri="{FF2B5EF4-FFF2-40B4-BE49-F238E27FC236}">
                <a16:creationId xmlns:a16="http://schemas.microsoft.com/office/drawing/2014/main" id="{099022C7-CA26-B646-206A-F4ED7ABF2AC2}"/>
              </a:ext>
            </a:extLst>
          </p:cNvPr>
          <p:cNvGrpSpPr/>
          <p:nvPr/>
        </p:nvGrpSpPr>
        <p:grpSpPr>
          <a:xfrm>
            <a:off x="209756" y="1448416"/>
            <a:ext cx="3785293" cy="2908473"/>
            <a:chOff x="266400" y="1660550"/>
            <a:chExt cx="3785293" cy="2908473"/>
          </a:xfrm>
        </p:grpSpPr>
        <p:grpSp>
          <p:nvGrpSpPr>
            <p:cNvPr id="1528" name="Group 1527">
              <a:extLst>
                <a:ext uri="{FF2B5EF4-FFF2-40B4-BE49-F238E27FC236}">
                  <a16:creationId xmlns:a16="http://schemas.microsoft.com/office/drawing/2014/main" id="{045318BF-00C7-69AD-FC77-72BE53BC4349}"/>
                </a:ext>
              </a:extLst>
            </p:cNvPr>
            <p:cNvGrpSpPr>
              <a:grpSpLocks/>
            </p:cNvGrpSpPr>
            <p:nvPr/>
          </p:nvGrpSpPr>
          <p:grpSpPr bwMode="gray">
            <a:xfrm flipH="1">
              <a:off x="1390562" y="1660550"/>
              <a:ext cx="2134081" cy="2908473"/>
              <a:chOff x="266700" y="1585436"/>
              <a:chExt cx="2134081" cy="2908473"/>
            </a:xfrm>
            <a:noFill/>
          </p:grpSpPr>
          <p:grpSp>
            <p:nvGrpSpPr>
              <p:cNvPr id="2248" name="Group 2247">
                <a:extLst>
                  <a:ext uri="{FF2B5EF4-FFF2-40B4-BE49-F238E27FC236}">
                    <a16:creationId xmlns:a16="http://schemas.microsoft.com/office/drawing/2014/main" id="{D1B8194B-440E-774E-0E6D-E9A101DECD10}"/>
                  </a:ext>
                </a:extLst>
              </p:cNvPr>
              <p:cNvGrpSpPr>
                <a:grpSpLocks/>
              </p:cNvGrpSpPr>
              <p:nvPr/>
            </p:nvGrpSpPr>
            <p:grpSpPr bwMode="gray">
              <a:xfrm>
                <a:off x="700982" y="1623437"/>
                <a:ext cx="217142" cy="217142"/>
                <a:chOff x="902726" y="2088942"/>
                <a:chExt cx="330948" cy="330948"/>
              </a:xfrm>
              <a:grpFill/>
            </p:grpSpPr>
            <p:sp>
              <p:nvSpPr>
                <p:cNvPr id="2960" name="dfine_grid_single_shape_frame">
                  <a:extLst>
                    <a:ext uri="{FF2B5EF4-FFF2-40B4-BE49-F238E27FC236}">
                      <a16:creationId xmlns:a16="http://schemas.microsoft.com/office/drawing/2014/main" id="{B09450F6-E6D5-F149-0396-8ECCB6684081}"/>
                    </a:ext>
                  </a:extLst>
                </p:cNvPr>
                <p:cNvSpPr>
                  <a:spLocks/>
                </p:cNvSpPr>
                <p:nvPr>
                  <p:custDataLst>
                    <p:tags r:id="rId40"/>
                  </p:custDataLst>
                </p:nvPr>
              </p:nvSpPr>
              <p:spPr bwMode="gray">
                <a:xfrm>
                  <a:off x="902726"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61" name="Triangle_1">
                  <a:extLst>
                    <a:ext uri="{FF2B5EF4-FFF2-40B4-BE49-F238E27FC236}">
                      <a16:creationId xmlns:a16="http://schemas.microsoft.com/office/drawing/2014/main" id="{4288D035-DB24-49C3-9271-D4CF22C9E92D}"/>
                    </a:ext>
                  </a:extLst>
                </p:cNvPr>
                <p:cNvSpPr>
                  <a:spLocks/>
                </p:cNvSpPr>
                <p:nvPr/>
              </p:nvSpPr>
              <p:spPr bwMode="gray">
                <a:xfrm rot="10800000">
                  <a:off x="902726"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62" name="Triangle_2">
                  <a:extLst>
                    <a:ext uri="{FF2B5EF4-FFF2-40B4-BE49-F238E27FC236}">
                      <a16:creationId xmlns:a16="http://schemas.microsoft.com/office/drawing/2014/main" id="{E3CD9BE6-1F51-5D35-0359-BB61FD1F611C}"/>
                    </a:ext>
                  </a:extLst>
                </p:cNvPr>
                <p:cNvSpPr>
                  <a:spLocks/>
                </p:cNvSpPr>
                <p:nvPr/>
              </p:nvSpPr>
              <p:spPr bwMode="gray">
                <a:xfrm>
                  <a:off x="902726"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63" name="Triangle_3">
                  <a:extLst>
                    <a:ext uri="{FF2B5EF4-FFF2-40B4-BE49-F238E27FC236}">
                      <a16:creationId xmlns:a16="http://schemas.microsoft.com/office/drawing/2014/main" id="{9D49F3C0-5C71-902E-D036-9E72E68864A0}"/>
                    </a:ext>
                  </a:extLst>
                </p:cNvPr>
                <p:cNvSpPr>
                  <a:spLocks/>
                </p:cNvSpPr>
                <p:nvPr/>
              </p:nvSpPr>
              <p:spPr bwMode="gray">
                <a:xfrm rot="5400000">
                  <a:off x="819989"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64" name="Triangle_4">
                  <a:extLst>
                    <a:ext uri="{FF2B5EF4-FFF2-40B4-BE49-F238E27FC236}">
                      <a16:creationId xmlns:a16="http://schemas.microsoft.com/office/drawing/2014/main" id="{8493F24D-B42B-8054-E29A-76CBA32421E3}"/>
                    </a:ext>
                  </a:extLst>
                </p:cNvPr>
                <p:cNvSpPr>
                  <a:spLocks/>
                </p:cNvSpPr>
                <p:nvPr/>
              </p:nvSpPr>
              <p:spPr bwMode="gray">
                <a:xfrm rot="16200000">
                  <a:off x="985463"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49" name="Group 2248">
                <a:extLst>
                  <a:ext uri="{FF2B5EF4-FFF2-40B4-BE49-F238E27FC236}">
                    <a16:creationId xmlns:a16="http://schemas.microsoft.com/office/drawing/2014/main" id="{64EBCAA4-47F8-5842-3E23-435E59B8614A}"/>
                  </a:ext>
                </a:extLst>
              </p:cNvPr>
              <p:cNvGrpSpPr>
                <a:grpSpLocks/>
              </p:cNvGrpSpPr>
              <p:nvPr/>
            </p:nvGrpSpPr>
            <p:grpSpPr bwMode="gray">
              <a:xfrm>
                <a:off x="700982" y="1840578"/>
                <a:ext cx="217142" cy="217142"/>
                <a:chOff x="902726" y="2419889"/>
                <a:chExt cx="330948" cy="330948"/>
              </a:xfrm>
              <a:grpFill/>
            </p:grpSpPr>
            <p:sp>
              <p:nvSpPr>
                <p:cNvPr id="2955" name="dfine_grid_single_shape_frame">
                  <a:extLst>
                    <a:ext uri="{FF2B5EF4-FFF2-40B4-BE49-F238E27FC236}">
                      <a16:creationId xmlns:a16="http://schemas.microsoft.com/office/drawing/2014/main" id="{017E50AF-580B-E872-4A34-0577C9D23694}"/>
                    </a:ext>
                  </a:extLst>
                </p:cNvPr>
                <p:cNvSpPr>
                  <a:spLocks/>
                </p:cNvSpPr>
                <p:nvPr/>
              </p:nvSpPr>
              <p:spPr bwMode="gray">
                <a:xfrm>
                  <a:off x="902726"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56" name="Triangle_1">
                  <a:extLst>
                    <a:ext uri="{FF2B5EF4-FFF2-40B4-BE49-F238E27FC236}">
                      <a16:creationId xmlns:a16="http://schemas.microsoft.com/office/drawing/2014/main" id="{DE476AEF-58FA-4018-1ED7-CE298A925BC5}"/>
                    </a:ext>
                  </a:extLst>
                </p:cNvPr>
                <p:cNvSpPr>
                  <a:spLocks/>
                </p:cNvSpPr>
                <p:nvPr/>
              </p:nvSpPr>
              <p:spPr bwMode="gray">
                <a:xfrm rot="10800000">
                  <a:off x="902726"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57" name="Triangle_2">
                  <a:extLst>
                    <a:ext uri="{FF2B5EF4-FFF2-40B4-BE49-F238E27FC236}">
                      <a16:creationId xmlns:a16="http://schemas.microsoft.com/office/drawing/2014/main" id="{840A6879-5757-BE77-B493-2AF0516457D0}"/>
                    </a:ext>
                  </a:extLst>
                </p:cNvPr>
                <p:cNvSpPr>
                  <a:spLocks/>
                </p:cNvSpPr>
                <p:nvPr/>
              </p:nvSpPr>
              <p:spPr bwMode="gray">
                <a:xfrm>
                  <a:off x="902726"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58" name="Triangle_3">
                  <a:extLst>
                    <a:ext uri="{FF2B5EF4-FFF2-40B4-BE49-F238E27FC236}">
                      <a16:creationId xmlns:a16="http://schemas.microsoft.com/office/drawing/2014/main" id="{0108244F-848C-B20D-A8F0-B7104DBF1E60}"/>
                    </a:ext>
                  </a:extLst>
                </p:cNvPr>
                <p:cNvSpPr>
                  <a:spLocks/>
                </p:cNvSpPr>
                <p:nvPr/>
              </p:nvSpPr>
              <p:spPr bwMode="gray">
                <a:xfrm rot="5400000">
                  <a:off x="819989"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59" name="Triangle_4">
                  <a:extLst>
                    <a:ext uri="{FF2B5EF4-FFF2-40B4-BE49-F238E27FC236}">
                      <a16:creationId xmlns:a16="http://schemas.microsoft.com/office/drawing/2014/main" id="{4A220C36-04B5-CEA6-06A2-03E32773153C}"/>
                    </a:ext>
                  </a:extLst>
                </p:cNvPr>
                <p:cNvSpPr>
                  <a:spLocks/>
                </p:cNvSpPr>
                <p:nvPr/>
              </p:nvSpPr>
              <p:spPr bwMode="gray">
                <a:xfrm rot="16200000">
                  <a:off x="98546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50" name="Group 2249">
                <a:extLst>
                  <a:ext uri="{FF2B5EF4-FFF2-40B4-BE49-F238E27FC236}">
                    <a16:creationId xmlns:a16="http://schemas.microsoft.com/office/drawing/2014/main" id="{8EB824EB-39B5-5177-3B5D-C54AA106A19E}"/>
                  </a:ext>
                </a:extLst>
              </p:cNvPr>
              <p:cNvGrpSpPr>
                <a:grpSpLocks/>
              </p:cNvGrpSpPr>
              <p:nvPr/>
            </p:nvGrpSpPr>
            <p:grpSpPr bwMode="gray">
              <a:xfrm>
                <a:off x="700982" y="2057719"/>
                <a:ext cx="217142" cy="217142"/>
                <a:chOff x="902726" y="2750836"/>
                <a:chExt cx="330948" cy="330948"/>
              </a:xfrm>
              <a:grpFill/>
            </p:grpSpPr>
            <p:sp>
              <p:nvSpPr>
                <p:cNvPr id="2950" name="dfine_grid_single_shape_frame">
                  <a:extLst>
                    <a:ext uri="{FF2B5EF4-FFF2-40B4-BE49-F238E27FC236}">
                      <a16:creationId xmlns:a16="http://schemas.microsoft.com/office/drawing/2014/main" id="{ED312602-F771-BE83-91BE-C315EC2FCCC9}"/>
                    </a:ext>
                  </a:extLst>
                </p:cNvPr>
                <p:cNvSpPr>
                  <a:spLocks/>
                </p:cNvSpPr>
                <p:nvPr/>
              </p:nvSpPr>
              <p:spPr bwMode="gray">
                <a:xfrm>
                  <a:off x="902726"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51" name="Triangle_1">
                  <a:extLst>
                    <a:ext uri="{FF2B5EF4-FFF2-40B4-BE49-F238E27FC236}">
                      <a16:creationId xmlns:a16="http://schemas.microsoft.com/office/drawing/2014/main" id="{72D32D95-1047-3E86-47C5-A825DF278212}"/>
                    </a:ext>
                  </a:extLst>
                </p:cNvPr>
                <p:cNvSpPr>
                  <a:spLocks/>
                </p:cNvSpPr>
                <p:nvPr/>
              </p:nvSpPr>
              <p:spPr bwMode="gray">
                <a:xfrm rot="10800000">
                  <a:off x="902726"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52" name="Triangle_2">
                  <a:extLst>
                    <a:ext uri="{FF2B5EF4-FFF2-40B4-BE49-F238E27FC236}">
                      <a16:creationId xmlns:a16="http://schemas.microsoft.com/office/drawing/2014/main" id="{E8A71146-DAE3-481B-944F-B5564F1D1DDA}"/>
                    </a:ext>
                  </a:extLst>
                </p:cNvPr>
                <p:cNvSpPr>
                  <a:spLocks/>
                </p:cNvSpPr>
                <p:nvPr/>
              </p:nvSpPr>
              <p:spPr bwMode="gray">
                <a:xfrm>
                  <a:off x="902726"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53" name="Triangle_3">
                  <a:extLst>
                    <a:ext uri="{FF2B5EF4-FFF2-40B4-BE49-F238E27FC236}">
                      <a16:creationId xmlns:a16="http://schemas.microsoft.com/office/drawing/2014/main" id="{0893875B-031D-DC40-7077-7F169E85A03A}"/>
                    </a:ext>
                  </a:extLst>
                </p:cNvPr>
                <p:cNvSpPr>
                  <a:spLocks/>
                </p:cNvSpPr>
                <p:nvPr/>
              </p:nvSpPr>
              <p:spPr bwMode="gray">
                <a:xfrm rot="5400000">
                  <a:off x="819989"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54" name="Triangle_4">
                  <a:extLst>
                    <a:ext uri="{FF2B5EF4-FFF2-40B4-BE49-F238E27FC236}">
                      <a16:creationId xmlns:a16="http://schemas.microsoft.com/office/drawing/2014/main" id="{37C9770F-6666-8488-C63D-94FDEB5A31C0}"/>
                    </a:ext>
                  </a:extLst>
                </p:cNvPr>
                <p:cNvSpPr>
                  <a:spLocks/>
                </p:cNvSpPr>
                <p:nvPr/>
              </p:nvSpPr>
              <p:spPr bwMode="gray">
                <a:xfrm rot="16200000">
                  <a:off x="98546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51" name="Group 2250">
                <a:extLst>
                  <a:ext uri="{FF2B5EF4-FFF2-40B4-BE49-F238E27FC236}">
                    <a16:creationId xmlns:a16="http://schemas.microsoft.com/office/drawing/2014/main" id="{E04619A7-2E1E-AA47-2BC5-15B13DF4F73B}"/>
                  </a:ext>
                </a:extLst>
              </p:cNvPr>
              <p:cNvGrpSpPr>
                <a:grpSpLocks/>
              </p:cNvGrpSpPr>
              <p:nvPr/>
            </p:nvGrpSpPr>
            <p:grpSpPr bwMode="gray">
              <a:xfrm>
                <a:off x="700982" y="2274860"/>
                <a:ext cx="217142" cy="217142"/>
                <a:chOff x="902726" y="3081783"/>
                <a:chExt cx="330948" cy="330948"/>
              </a:xfrm>
              <a:grpFill/>
            </p:grpSpPr>
            <p:sp>
              <p:nvSpPr>
                <p:cNvPr id="2945" name="dfine_grid_single_shape_frame">
                  <a:extLst>
                    <a:ext uri="{FF2B5EF4-FFF2-40B4-BE49-F238E27FC236}">
                      <a16:creationId xmlns:a16="http://schemas.microsoft.com/office/drawing/2014/main" id="{56059CD3-FD32-68CC-30E7-1AA7B0556ABE}"/>
                    </a:ext>
                  </a:extLst>
                </p:cNvPr>
                <p:cNvSpPr>
                  <a:spLocks/>
                </p:cNvSpPr>
                <p:nvPr/>
              </p:nvSpPr>
              <p:spPr bwMode="gray">
                <a:xfrm>
                  <a:off x="902726"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46" name="Triangle_1">
                  <a:extLst>
                    <a:ext uri="{FF2B5EF4-FFF2-40B4-BE49-F238E27FC236}">
                      <a16:creationId xmlns:a16="http://schemas.microsoft.com/office/drawing/2014/main" id="{57E82BE2-A04C-B4E7-67F5-7D5CF87E96A0}"/>
                    </a:ext>
                  </a:extLst>
                </p:cNvPr>
                <p:cNvSpPr>
                  <a:spLocks/>
                </p:cNvSpPr>
                <p:nvPr/>
              </p:nvSpPr>
              <p:spPr bwMode="gray">
                <a:xfrm rot="10800000">
                  <a:off x="902726"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47" name="Triangle_2">
                  <a:extLst>
                    <a:ext uri="{FF2B5EF4-FFF2-40B4-BE49-F238E27FC236}">
                      <a16:creationId xmlns:a16="http://schemas.microsoft.com/office/drawing/2014/main" id="{6EC589BC-E56D-1FC4-1736-DF11B5C143B0}"/>
                    </a:ext>
                  </a:extLst>
                </p:cNvPr>
                <p:cNvSpPr>
                  <a:spLocks/>
                </p:cNvSpPr>
                <p:nvPr/>
              </p:nvSpPr>
              <p:spPr bwMode="gray">
                <a:xfrm>
                  <a:off x="902726"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48" name="Triangle_3">
                  <a:extLst>
                    <a:ext uri="{FF2B5EF4-FFF2-40B4-BE49-F238E27FC236}">
                      <a16:creationId xmlns:a16="http://schemas.microsoft.com/office/drawing/2014/main" id="{45D97A9C-0C22-8FD1-4861-35BC8E26AC20}"/>
                    </a:ext>
                  </a:extLst>
                </p:cNvPr>
                <p:cNvSpPr>
                  <a:spLocks/>
                </p:cNvSpPr>
                <p:nvPr/>
              </p:nvSpPr>
              <p:spPr bwMode="gray">
                <a:xfrm rot="5400000">
                  <a:off x="819989"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49" name="Triangle_4">
                  <a:extLst>
                    <a:ext uri="{FF2B5EF4-FFF2-40B4-BE49-F238E27FC236}">
                      <a16:creationId xmlns:a16="http://schemas.microsoft.com/office/drawing/2014/main" id="{2E00DD77-F85D-7FE1-A59B-354E98E52A6F}"/>
                    </a:ext>
                  </a:extLst>
                </p:cNvPr>
                <p:cNvSpPr>
                  <a:spLocks/>
                </p:cNvSpPr>
                <p:nvPr/>
              </p:nvSpPr>
              <p:spPr bwMode="gray">
                <a:xfrm rot="16200000">
                  <a:off x="98546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52" name="Group 2251">
                <a:extLst>
                  <a:ext uri="{FF2B5EF4-FFF2-40B4-BE49-F238E27FC236}">
                    <a16:creationId xmlns:a16="http://schemas.microsoft.com/office/drawing/2014/main" id="{8997B4B0-4D81-CD38-48D7-9E1837961865}"/>
                  </a:ext>
                </a:extLst>
              </p:cNvPr>
              <p:cNvGrpSpPr>
                <a:grpSpLocks/>
              </p:cNvGrpSpPr>
              <p:nvPr/>
            </p:nvGrpSpPr>
            <p:grpSpPr bwMode="gray">
              <a:xfrm>
                <a:off x="700982" y="2492001"/>
                <a:ext cx="217142" cy="217142"/>
                <a:chOff x="902726" y="3412730"/>
                <a:chExt cx="330948" cy="330948"/>
              </a:xfrm>
              <a:grpFill/>
            </p:grpSpPr>
            <p:sp>
              <p:nvSpPr>
                <p:cNvPr id="2940" name="dfine_grid_single_shape_frame">
                  <a:extLst>
                    <a:ext uri="{FF2B5EF4-FFF2-40B4-BE49-F238E27FC236}">
                      <a16:creationId xmlns:a16="http://schemas.microsoft.com/office/drawing/2014/main" id="{577E532A-2308-C42D-C305-3D659DC7EE46}"/>
                    </a:ext>
                  </a:extLst>
                </p:cNvPr>
                <p:cNvSpPr>
                  <a:spLocks/>
                </p:cNvSpPr>
                <p:nvPr/>
              </p:nvSpPr>
              <p:spPr bwMode="gray">
                <a:xfrm>
                  <a:off x="902726"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41" name="Triangle_1">
                  <a:extLst>
                    <a:ext uri="{FF2B5EF4-FFF2-40B4-BE49-F238E27FC236}">
                      <a16:creationId xmlns:a16="http://schemas.microsoft.com/office/drawing/2014/main" id="{6864A70E-3A3C-AD82-3C36-9A7AD5F93760}"/>
                    </a:ext>
                  </a:extLst>
                </p:cNvPr>
                <p:cNvSpPr>
                  <a:spLocks/>
                </p:cNvSpPr>
                <p:nvPr/>
              </p:nvSpPr>
              <p:spPr bwMode="gray">
                <a:xfrm rot="10800000">
                  <a:off x="902726"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42" name="Triangle_2">
                  <a:extLst>
                    <a:ext uri="{FF2B5EF4-FFF2-40B4-BE49-F238E27FC236}">
                      <a16:creationId xmlns:a16="http://schemas.microsoft.com/office/drawing/2014/main" id="{7D003E3E-1F59-AA5F-D87C-0B252B26F3EA}"/>
                    </a:ext>
                  </a:extLst>
                </p:cNvPr>
                <p:cNvSpPr>
                  <a:spLocks/>
                </p:cNvSpPr>
                <p:nvPr/>
              </p:nvSpPr>
              <p:spPr bwMode="gray">
                <a:xfrm>
                  <a:off x="902726"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43" name="Triangle_3">
                  <a:extLst>
                    <a:ext uri="{FF2B5EF4-FFF2-40B4-BE49-F238E27FC236}">
                      <a16:creationId xmlns:a16="http://schemas.microsoft.com/office/drawing/2014/main" id="{E01526E3-A080-1916-D71E-F67285DF473A}"/>
                    </a:ext>
                  </a:extLst>
                </p:cNvPr>
                <p:cNvSpPr>
                  <a:spLocks/>
                </p:cNvSpPr>
                <p:nvPr/>
              </p:nvSpPr>
              <p:spPr bwMode="gray">
                <a:xfrm rot="5400000">
                  <a:off x="819989"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44" name="Triangle_4">
                  <a:extLst>
                    <a:ext uri="{FF2B5EF4-FFF2-40B4-BE49-F238E27FC236}">
                      <a16:creationId xmlns:a16="http://schemas.microsoft.com/office/drawing/2014/main" id="{B3136749-FD42-4EF6-AA3B-787728DE9C2B}"/>
                    </a:ext>
                  </a:extLst>
                </p:cNvPr>
                <p:cNvSpPr>
                  <a:spLocks/>
                </p:cNvSpPr>
                <p:nvPr/>
              </p:nvSpPr>
              <p:spPr bwMode="gray">
                <a:xfrm rot="16200000">
                  <a:off x="98546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53" name="Group 2252">
                <a:extLst>
                  <a:ext uri="{FF2B5EF4-FFF2-40B4-BE49-F238E27FC236}">
                    <a16:creationId xmlns:a16="http://schemas.microsoft.com/office/drawing/2014/main" id="{F8C57641-EA87-2A18-8FED-C3D7CA2BE000}"/>
                  </a:ext>
                </a:extLst>
              </p:cNvPr>
              <p:cNvGrpSpPr>
                <a:grpSpLocks/>
              </p:cNvGrpSpPr>
              <p:nvPr/>
            </p:nvGrpSpPr>
            <p:grpSpPr bwMode="gray">
              <a:xfrm>
                <a:off x="700982" y="2709142"/>
                <a:ext cx="217142" cy="217142"/>
                <a:chOff x="902726" y="3743677"/>
                <a:chExt cx="330948" cy="330948"/>
              </a:xfrm>
              <a:grpFill/>
            </p:grpSpPr>
            <p:sp>
              <p:nvSpPr>
                <p:cNvPr id="2935" name="dfine_grid_single_shape_frame">
                  <a:extLst>
                    <a:ext uri="{FF2B5EF4-FFF2-40B4-BE49-F238E27FC236}">
                      <a16:creationId xmlns:a16="http://schemas.microsoft.com/office/drawing/2014/main" id="{77E777AD-AEFD-D55A-E364-91B3AE0D3AB1}"/>
                    </a:ext>
                  </a:extLst>
                </p:cNvPr>
                <p:cNvSpPr>
                  <a:spLocks/>
                </p:cNvSpPr>
                <p:nvPr/>
              </p:nvSpPr>
              <p:spPr bwMode="gray">
                <a:xfrm>
                  <a:off x="902726"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36" name="Triangle_1">
                  <a:extLst>
                    <a:ext uri="{FF2B5EF4-FFF2-40B4-BE49-F238E27FC236}">
                      <a16:creationId xmlns:a16="http://schemas.microsoft.com/office/drawing/2014/main" id="{849BF071-E6C0-DC28-478C-186DBAEFF2EA}"/>
                    </a:ext>
                  </a:extLst>
                </p:cNvPr>
                <p:cNvSpPr>
                  <a:spLocks/>
                </p:cNvSpPr>
                <p:nvPr/>
              </p:nvSpPr>
              <p:spPr bwMode="gray">
                <a:xfrm rot="10800000">
                  <a:off x="902726"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37" name="Triangle_2">
                  <a:extLst>
                    <a:ext uri="{FF2B5EF4-FFF2-40B4-BE49-F238E27FC236}">
                      <a16:creationId xmlns:a16="http://schemas.microsoft.com/office/drawing/2014/main" id="{F62EB0A8-9F4A-C74A-EC6A-F68F2487542B}"/>
                    </a:ext>
                  </a:extLst>
                </p:cNvPr>
                <p:cNvSpPr>
                  <a:spLocks/>
                </p:cNvSpPr>
                <p:nvPr/>
              </p:nvSpPr>
              <p:spPr bwMode="gray">
                <a:xfrm>
                  <a:off x="902726"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38" name="Triangle_3">
                  <a:extLst>
                    <a:ext uri="{FF2B5EF4-FFF2-40B4-BE49-F238E27FC236}">
                      <a16:creationId xmlns:a16="http://schemas.microsoft.com/office/drawing/2014/main" id="{81EE5353-8719-9EB7-7024-FCDD7B42A247}"/>
                    </a:ext>
                  </a:extLst>
                </p:cNvPr>
                <p:cNvSpPr>
                  <a:spLocks/>
                </p:cNvSpPr>
                <p:nvPr/>
              </p:nvSpPr>
              <p:spPr bwMode="gray">
                <a:xfrm rot="5400000">
                  <a:off x="819989"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39" name="Triangle_4">
                  <a:extLst>
                    <a:ext uri="{FF2B5EF4-FFF2-40B4-BE49-F238E27FC236}">
                      <a16:creationId xmlns:a16="http://schemas.microsoft.com/office/drawing/2014/main" id="{DD092F89-7F1B-A13D-EC0A-D8A9A290067F}"/>
                    </a:ext>
                  </a:extLst>
                </p:cNvPr>
                <p:cNvSpPr>
                  <a:spLocks/>
                </p:cNvSpPr>
                <p:nvPr/>
              </p:nvSpPr>
              <p:spPr bwMode="gray">
                <a:xfrm rot="16200000">
                  <a:off x="98546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54" name="Group 2253">
                <a:extLst>
                  <a:ext uri="{FF2B5EF4-FFF2-40B4-BE49-F238E27FC236}">
                    <a16:creationId xmlns:a16="http://schemas.microsoft.com/office/drawing/2014/main" id="{B8CBF51B-2C54-DDE0-9883-5B0A0DC23C32}"/>
                  </a:ext>
                </a:extLst>
              </p:cNvPr>
              <p:cNvGrpSpPr>
                <a:grpSpLocks/>
              </p:cNvGrpSpPr>
              <p:nvPr/>
            </p:nvGrpSpPr>
            <p:grpSpPr bwMode="gray">
              <a:xfrm>
                <a:off x="700982" y="2926283"/>
                <a:ext cx="217142" cy="217142"/>
                <a:chOff x="902726" y="4074624"/>
                <a:chExt cx="330948" cy="330948"/>
              </a:xfrm>
              <a:grpFill/>
            </p:grpSpPr>
            <p:sp>
              <p:nvSpPr>
                <p:cNvPr id="2930" name="dfine_grid_single_shape_frame">
                  <a:extLst>
                    <a:ext uri="{FF2B5EF4-FFF2-40B4-BE49-F238E27FC236}">
                      <a16:creationId xmlns:a16="http://schemas.microsoft.com/office/drawing/2014/main" id="{C3F9D087-82D5-0180-0623-B63E26A86CC5}"/>
                    </a:ext>
                  </a:extLst>
                </p:cNvPr>
                <p:cNvSpPr>
                  <a:spLocks/>
                </p:cNvSpPr>
                <p:nvPr/>
              </p:nvSpPr>
              <p:spPr bwMode="gray">
                <a:xfrm>
                  <a:off x="902726"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31" name="Triangle_1">
                  <a:extLst>
                    <a:ext uri="{FF2B5EF4-FFF2-40B4-BE49-F238E27FC236}">
                      <a16:creationId xmlns:a16="http://schemas.microsoft.com/office/drawing/2014/main" id="{B949CFAE-BB8B-D57A-DF73-F66407E66A94}"/>
                    </a:ext>
                  </a:extLst>
                </p:cNvPr>
                <p:cNvSpPr>
                  <a:spLocks/>
                </p:cNvSpPr>
                <p:nvPr/>
              </p:nvSpPr>
              <p:spPr bwMode="gray">
                <a:xfrm rot="10800000">
                  <a:off x="902726"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32" name="Triangle_2">
                  <a:extLst>
                    <a:ext uri="{FF2B5EF4-FFF2-40B4-BE49-F238E27FC236}">
                      <a16:creationId xmlns:a16="http://schemas.microsoft.com/office/drawing/2014/main" id="{F599AF2A-E8F9-21E9-48D5-42E9180F783E}"/>
                    </a:ext>
                  </a:extLst>
                </p:cNvPr>
                <p:cNvSpPr>
                  <a:spLocks/>
                </p:cNvSpPr>
                <p:nvPr/>
              </p:nvSpPr>
              <p:spPr bwMode="gray">
                <a:xfrm>
                  <a:off x="902726"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33" name="Triangle_3">
                  <a:extLst>
                    <a:ext uri="{FF2B5EF4-FFF2-40B4-BE49-F238E27FC236}">
                      <a16:creationId xmlns:a16="http://schemas.microsoft.com/office/drawing/2014/main" id="{892797B3-8D01-3E6E-9747-07F529B4CB2A}"/>
                    </a:ext>
                  </a:extLst>
                </p:cNvPr>
                <p:cNvSpPr>
                  <a:spLocks/>
                </p:cNvSpPr>
                <p:nvPr/>
              </p:nvSpPr>
              <p:spPr bwMode="gray">
                <a:xfrm rot="5400000">
                  <a:off x="819989"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34" name="Triangle_4">
                  <a:extLst>
                    <a:ext uri="{FF2B5EF4-FFF2-40B4-BE49-F238E27FC236}">
                      <a16:creationId xmlns:a16="http://schemas.microsoft.com/office/drawing/2014/main" id="{FAB213B4-51D7-2BFF-97EA-A0405BE0229D}"/>
                    </a:ext>
                  </a:extLst>
                </p:cNvPr>
                <p:cNvSpPr>
                  <a:spLocks/>
                </p:cNvSpPr>
                <p:nvPr/>
              </p:nvSpPr>
              <p:spPr bwMode="gray">
                <a:xfrm rot="16200000">
                  <a:off x="98546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55" name="Group 2254">
                <a:extLst>
                  <a:ext uri="{FF2B5EF4-FFF2-40B4-BE49-F238E27FC236}">
                    <a16:creationId xmlns:a16="http://schemas.microsoft.com/office/drawing/2014/main" id="{0EFA6BEF-77CE-EC88-2194-13561C1C4FEB}"/>
                  </a:ext>
                </a:extLst>
              </p:cNvPr>
              <p:cNvGrpSpPr>
                <a:grpSpLocks/>
              </p:cNvGrpSpPr>
              <p:nvPr/>
            </p:nvGrpSpPr>
            <p:grpSpPr bwMode="gray">
              <a:xfrm>
                <a:off x="918123" y="1623437"/>
                <a:ext cx="217142" cy="217142"/>
                <a:chOff x="1233673" y="2088942"/>
                <a:chExt cx="330948" cy="330948"/>
              </a:xfrm>
              <a:grpFill/>
            </p:grpSpPr>
            <p:sp>
              <p:nvSpPr>
                <p:cNvPr id="2925" name="dfine_grid_single_shape_frame">
                  <a:extLst>
                    <a:ext uri="{FF2B5EF4-FFF2-40B4-BE49-F238E27FC236}">
                      <a16:creationId xmlns:a16="http://schemas.microsoft.com/office/drawing/2014/main" id="{5B52521D-14FC-C190-843F-D9C3E09EA8CB}"/>
                    </a:ext>
                  </a:extLst>
                </p:cNvPr>
                <p:cNvSpPr>
                  <a:spLocks/>
                </p:cNvSpPr>
                <p:nvPr/>
              </p:nvSpPr>
              <p:spPr bwMode="gray">
                <a:xfrm>
                  <a:off x="1233673"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26" name="Triangle_1">
                  <a:extLst>
                    <a:ext uri="{FF2B5EF4-FFF2-40B4-BE49-F238E27FC236}">
                      <a16:creationId xmlns:a16="http://schemas.microsoft.com/office/drawing/2014/main" id="{DB9AA219-BEBE-B3DD-BB00-B058821D3689}"/>
                    </a:ext>
                  </a:extLst>
                </p:cNvPr>
                <p:cNvSpPr>
                  <a:spLocks/>
                </p:cNvSpPr>
                <p:nvPr/>
              </p:nvSpPr>
              <p:spPr bwMode="gray">
                <a:xfrm rot="10800000">
                  <a:off x="1233673"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27" name="Triangle_2">
                  <a:extLst>
                    <a:ext uri="{FF2B5EF4-FFF2-40B4-BE49-F238E27FC236}">
                      <a16:creationId xmlns:a16="http://schemas.microsoft.com/office/drawing/2014/main" id="{1E452E75-2780-2C02-5018-98FBC8D3D2AE}"/>
                    </a:ext>
                  </a:extLst>
                </p:cNvPr>
                <p:cNvSpPr>
                  <a:spLocks/>
                </p:cNvSpPr>
                <p:nvPr/>
              </p:nvSpPr>
              <p:spPr bwMode="gray">
                <a:xfrm>
                  <a:off x="1233673"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28" name="Triangle_3">
                  <a:extLst>
                    <a:ext uri="{FF2B5EF4-FFF2-40B4-BE49-F238E27FC236}">
                      <a16:creationId xmlns:a16="http://schemas.microsoft.com/office/drawing/2014/main" id="{EA74A941-AC23-F924-6453-923E0E3E8C2E}"/>
                    </a:ext>
                  </a:extLst>
                </p:cNvPr>
                <p:cNvSpPr>
                  <a:spLocks/>
                </p:cNvSpPr>
                <p:nvPr/>
              </p:nvSpPr>
              <p:spPr bwMode="gray">
                <a:xfrm rot="5400000">
                  <a:off x="1150936"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29" name="Triangle_4">
                  <a:extLst>
                    <a:ext uri="{FF2B5EF4-FFF2-40B4-BE49-F238E27FC236}">
                      <a16:creationId xmlns:a16="http://schemas.microsoft.com/office/drawing/2014/main" id="{03627A52-AB64-DD72-13B3-04C0483F415C}"/>
                    </a:ext>
                  </a:extLst>
                </p:cNvPr>
                <p:cNvSpPr>
                  <a:spLocks/>
                </p:cNvSpPr>
                <p:nvPr/>
              </p:nvSpPr>
              <p:spPr bwMode="gray">
                <a:xfrm rot="16200000">
                  <a:off x="1316410"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56" name="Group 2255">
                <a:extLst>
                  <a:ext uri="{FF2B5EF4-FFF2-40B4-BE49-F238E27FC236}">
                    <a16:creationId xmlns:a16="http://schemas.microsoft.com/office/drawing/2014/main" id="{C5C1EBA6-B13C-5502-9D0E-75A24DA9822C}"/>
                  </a:ext>
                </a:extLst>
              </p:cNvPr>
              <p:cNvGrpSpPr>
                <a:grpSpLocks/>
              </p:cNvGrpSpPr>
              <p:nvPr/>
            </p:nvGrpSpPr>
            <p:grpSpPr bwMode="gray">
              <a:xfrm>
                <a:off x="918123" y="1840578"/>
                <a:ext cx="217142" cy="217142"/>
                <a:chOff x="1233673" y="2419889"/>
                <a:chExt cx="330948" cy="330948"/>
              </a:xfrm>
              <a:grpFill/>
            </p:grpSpPr>
            <p:sp>
              <p:nvSpPr>
                <p:cNvPr id="2920" name="dfine_grid_single_shape_frame">
                  <a:extLst>
                    <a:ext uri="{FF2B5EF4-FFF2-40B4-BE49-F238E27FC236}">
                      <a16:creationId xmlns:a16="http://schemas.microsoft.com/office/drawing/2014/main" id="{77101E2F-EABF-F1F3-9D52-644D0D788292}"/>
                    </a:ext>
                  </a:extLst>
                </p:cNvPr>
                <p:cNvSpPr>
                  <a:spLocks/>
                </p:cNvSpPr>
                <p:nvPr/>
              </p:nvSpPr>
              <p:spPr bwMode="gray">
                <a:xfrm>
                  <a:off x="1233673"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21" name="Triangle_1">
                  <a:extLst>
                    <a:ext uri="{FF2B5EF4-FFF2-40B4-BE49-F238E27FC236}">
                      <a16:creationId xmlns:a16="http://schemas.microsoft.com/office/drawing/2014/main" id="{891F3136-30B1-C130-2E88-AE6F6EBA0FCE}"/>
                    </a:ext>
                  </a:extLst>
                </p:cNvPr>
                <p:cNvSpPr>
                  <a:spLocks/>
                </p:cNvSpPr>
                <p:nvPr/>
              </p:nvSpPr>
              <p:spPr bwMode="gray">
                <a:xfrm rot="10800000">
                  <a:off x="1233673"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22" name="Triangle_2">
                  <a:extLst>
                    <a:ext uri="{FF2B5EF4-FFF2-40B4-BE49-F238E27FC236}">
                      <a16:creationId xmlns:a16="http://schemas.microsoft.com/office/drawing/2014/main" id="{42F7DDD4-D243-2A84-3F57-5EA9B352C997}"/>
                    </a:ext>
                  </a:extLst>
                </p:cNvPr>
                <p:cNvSpPr>
                  <a:spLocks/>
                </p:cNvSpPr>
                <p:nvPr/>
              </p:nvSpPr>
              <p:spPr bwMode="gray">
                <a:xfrm>
                  <a:off x="1233673"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23" name="Triangle_3">
                  <a:extLst>
                    <a:ext uri="{FF2B5EF4-FFF2-40B4-BE49-F238E27FC236}">
                      <a16:creationId xmlns:a16="http://schemas.microsoft.com/office/drawing/2014/main" id="{6641D8B7-5999-3600-CD3E-B032F8F655B6}"/>
                    </a:ext>
                  </a:extLst>
                </p:cNvPr>
                <p:cNvSpPr>
                  <a:spLocks/>
                </p:cNvSpPr>
                <p:nvPr/>
              </p:nvSpPr>
              <p:spPr bwMode="gray">
                <a:xfrm rot="5400000">
                  <a:off x="1150936"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24" name="Triangle_4">
                  <a:extLst>
                    <a:ext uri="{FF2B5EF4-FFF2-40B4-BE49-F238E27FC236}">
                      <a16:creationId xmlns:a16="http://schemas.microsoft.com/office/drawing/2014/main" id="{DD77E1F0-DEDF-F057-80B2-47A218ADB058}"/>
                    </a:ext>
                  </a:extLst>
                </p:cNvPr>
                <p:cNvSpPr>
                  <a:spLocks/>
                </p:cNvSpPr>
                <p:nvPr/>
              </p:nvSpPr>
              <p:spPr bwMode="gray">
                <a:xfrm rot="16200000">
                  <a:off x="1316410"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57" name="Group 2256">
                <a:extLst>
                  <a:ext uri="{FF2B5EF4-FFF2-40B4-BE49-F238E27FC236}">
                    <a16:creationId xmlns:a16="http://schemas.microsoft.com/office/drawing/2014/main" id="{63171822-83D9-D2BF-225A-0B48EEBFBEE3}"/>
                  </a:ext>
                </a:extLst>
              </p:cNvPr>
              <p:cNvGrpSpPr>
                <a:grpSpLocks/>
              </p:cNvGrpSpPr>
              <p:nvPr/>
            </p:nvGrpSpPr>
            <p:grpSpPr bwMode="gray">
              <a:xfrm>
                <a:off x="918123" y="2057719"/>
                <a:ext cx="217142" cy="217142"/>
                <a:chOff x="1233673" y="2750836"/>
                <a:chExt cx="330948" cy="330948"/>
              </a:xfrm>
              <a:grpFill/>
            </p:grpSpPr>
            <p:sp>
              <p:nvSpPr>
                <p:cNvPr id="2915" name="dfine_grid_single_shape_frame">
                  <a:extLst>
                    <a:ext uri="{FF2B5EF4-FFF2-40B4-BE49-F238E27FC236}">
                      <a16:creationId xmlns:a16="http://schemas.microsoft.com/office/drawing/2014/main" id="{8C9D8B94-568A-79DB-3191-7914C4876523}"/>
                    </a:ext>
                  </a:extLst>
                </p:cNvPr>
                <p:cNvSpPr>
                  <a:spLocks/>
                </p:cNvSpPr>
                <p:nvPr/>
              </p:nvSpPr>
              <p:spPr bwMode="gray">
                <a:xfrm>
                  <a:off x="1233673"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16" name="Triangle_1">
                  <a:extLst>
                    <a:ext uri="{FF2B5EF4-FFF2-40B4-BE49-F238E27FC236}">
                      <a16:creationId xmlns:a16="http://schemas.microsoft.com/office/drawing/2014/main" id="{40C27E5F-060A-1111-7F62-28E2CA091A04}"/>
                    </a:ext>
                  </a:extLst>
                </p:cNvPr>
                <p:cNvSpPr>
                  <a:spLocks/>
                </p:cNvSpPr>
                <p:nvPr/>
              </p:nvSpPr>
              <p:spPr bwMode="gray">
                <a:xfrm rot="10800000">
                  <a:off x="1233673"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17" name="Triangle_2">
                  <a:extLst>
                    <a:ext uri="{FF2B5EF4-FFF2-40B4-BE49-F238E27FC236}">
                      <a16:creationId xmlns:a16="http://schemas.microsoft.com/office/drawing/2014/main" id="{3190BC25-CF9F-D2CD-2A5D-46CED1B50801}"/>
                    </a:ext>
                  </a:extLst>
                </p:cNvPr>
                <p:cNvSpPr>
                  <a:spLocks/>
                </p:cNvSpPr>
                <p:nvPr/>
              </p:nvSpPr>
              <p:spPr bwMode="gray">
                <a:xfrm>
                  <a:off x="1233673"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18" name="Triangle_3">
                  <a:extLst>
                    <a:ext uri="{FF2B5EF4-FFF2-40B4-BE49-F238E27FC236}">
                      <a16:creationId xmlns:a16="http://schemas.microsoft.com/office/drawing/2014/main" id="{AC40A3AE-A8F6-B982-7631-470CF350A4FA}"/>
                    </a:ext>
                  </a:extLst>
                </p:cNvPr>
                <p:cNvSpPr>
                  <a:spLocks/>
                </p:cNvSpPr>
                <p:nvPr/>
              </p:nvSpPr>
              <p:spPr bwMode="gray">
                <a:xfrm rot="5400000">
                  <a:off x="1150936"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19" name="Triangle_4">
                  <a:extLst>
                    <a:ext uri="{FF2B5EF4-FFF2-40B4-BE49-F238E27FC236}">
                      <a16:creationId xmlns:a16="http://schemas.microsoft.com/office/drawing/2014/main" id="{66808CCE-D8B1-9069-C13C-9BA43D0B0474}"/>
                    </a:ext>
                  </a:extLst>
                </p:cNvPr>
                <p:cNvSpPr>
                  <a:spLocks/>
                </p:cNvSpPr>
                <p:nvPr/>
              </p:nvSpPr>
              <p:spPr bwMode="gray">
                <a:xfrm rot="16200000">
                  <a:off x="1316410"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58" name="Group 2257">
                <a:extLst>
                  <a:ext uri="{FF2B5EF4-FFF2-40B4-BE49-F238E27FC236}">
                    <a16:creationId xmlns:a16="http://schemas.microsoft.com/office/drawing/2014/main" id="{C4AF20CF-BC6F-B6B5-4A19-E6E355BD2D70}"/>
                  </a:ext>
                </a:extLst>
              </p:cNvPr>
              <p:cNvGrpSpPr>
                <a:grpSpLocks/>
              </p:cNvGrpSpPr>
              <p:nvPr/>
            </p:nvGrpSpPr>
            <p:grpSpPr bwMode="gray">
              <a:xfrm>
                <a:off x="918123" y="2274860"/>
                <a:ext cx="217142" cy="217142"/>
                <a:chOff x="1233673" y="3081783"/>
                <a:chExt cx="330948" cy="330948"/>
              </a:xfrm>
              <a:grpFill/>
            </p:grpSpPr>
            <p:sp>
              <p:nvSpPr>
                <p:cNvPr id="2910" name="dfine_grid_single_shape_frame">
                  <a:extLst>
                    <a:ext uri="{FF2B5EF4-FFF2-40B4-BE49-F238E27FC236}">
                      <a16:creationId xmlns:a16="http://schemas.microsoft.com/office/drawing/2014/main" id="{84C787F6-683F-D10D-C6C1-A357EC4CD2A5}"/>
                    </a:ext>
                  </a:extLst>
                </p:cNvPr>
                <p:cNvSpPr>
                  <a:spLocks/>
                </p:cNvSpPr>
                <p:nvPr/>
              </p:nvSpPr>
              <p:spPr bwMode="gray">
                <a:xfrm>
                  <a:off x="1233673"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11" name="Triangle_1">
                  <a:extLst>
                    <a:ext uri="{FF2B5EF4-FFF2-40B4-BE49-F238E27FC236}">
                      <a16:creationId xmlns:a16="http://schemas.microsoft.com/office/drawing/2014/main" id="{594CC757-2A65-0A6C-8E09-C925D99281C1}"/>
                    </a:ext>
                  </a:extLst>
                </p:cNvPr>
                <p:cNvSpPr>
                  <a:spLocks/>
                </p:cNvSpPr>
                <p:nvPr/>
              </p:nvSpPr>
              <p:spPr bwMode="gray">
                <a:xfrm rot="10800000">
                  <a:off x="1233673"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12" name="Triangle_2">
                  <a:extLst>
                    <a:ext uri="{FF2B5EF4-FFF2-40B4-BE49-F238E27FC236}">
                      <a16:creationId xmlns:a16="http://schemas.microsoft.com/office/drawing/2014/main" id="{9438D522-6978-0BE8-D29E-486DDBE00EFE}"/>
                    </a:ext>
                  </a:extLst>
                </p:cNvPr>
                <p:cNvSpPr>
                  <a:spLocks/>
                </p:cNvSpPr>
                <p:nvPr/>
              </p:nvSpPr>
              <p:spPr bwMode="gray">
                <a:xfrm>
                  <a:off x="1233673"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13" name="Triangle_3">
                  <a:extLst>
                    <a:ext uri="{FF2B5EF4-FFF2-40B4-BE49-F238E27FC236}">
                      <a16:creationId xmlns:a16="http://schemas.microsoft.com/office/drawing/2014/main" id="{1053DFD9-6C5C-A680-7A64-4F9FD6D78A0D}"/>
                    </a:ext>
                  </a:extLst>
                </p:cNvPr>
                <p:cNvSpPr>
                  <a:spLocks/>
                </p:cNvSpPr>
                <p:nvPr/>
              </p:nvSpPr>
              <p:spPr bwMode="gray">
                <a:xfrm rot="5400000">
                  <a:off x="1150936"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14" name="Triangle_4">
                  <a:extLst>
                    <a:ext uri="{FF2B5EF4-FFF2-40B4-BE49-F238E27FC236}">
                      <a16:creationId xmlns:a16="http://schemas.microsoft.com/office/drawing/2014/main" id="{D4B53C23-9B8E-8668-36D8-40DCFA2CD619}"/>
                    </a:ext>
                  </a:extLst>
                </p:cNvPr>
                <p:cNvSpPr>
                  <a:spLocks/>
                </p:cNvSpPr>
                <p:nvPr/>
              </p:nvSpPr>
              <p:spPr bwMode="gray">
                <a:xfrm rot="16200000">
                  <a:off x="1316410"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59" name="Group 2258">
                <a:extLst>
                  <a:ext uri="{FF2B5EF4-FFF2-40B4-BE49-F238E27FC236}">
                    <a16:creationId xmlns:a16="http://schemas.microsoft.com/office/drawing/2014/main" id="{F553760F-AEC3-0F48-6310-2C6E3F157DD4}"/>
                  </a:ext>
                </a:extLst>
              </p:cNvPr>
              <p:cNvGrpSpPr>
                <a:grpSpLocks/>
              </p:cNvGrpSpPr>
              <p:nvPr/>
            </p:nvGrpSpPr>
            <p:grpSpPr bwMode="gray">
              <a:xfrm>
                <a:off x="918123" y="2492001"/>
                <a:ext cx="217142" cy="217142"/>
                <a:chOff x="1233673" y="3412730"/>
                <a:chExt cx="330948" cy="330948"/>
              </a:xfrm>
              <a:grpFill/>
            </p:grpSpPr>
            <p:sp>
              <p:nvSpPr>
                <p:cNvPr id="2905" name="dfine_grid_single_shape_frame">
                  <a:extLst>
                    <a:ext uri="{FF2B5EF4-FFF2-40B4-BE49-F238E27FC236}">
                      <a16:creationId xmlns:a16="http://schemas.microsoft.com/office/drawing/2014/main" id="{035159B0-2098-993D-27B2-A35AD44E1E5B}"/>
                    </a:ext>
                  </a:extLst>
                </p:cNvPr>
                <p:cNvSpPr>
                  <a:spLocks/>
                </p:cNvSpPr>
                <p:nvPr/>
              </p:nvSpPr>
              <p:spPr bwMode="gray">
                <a:xfrm>
                  <a:off x="1233673"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06" name="Triangle_1">
                  <a:extLst>
                    <a:ext uri="{FF2B5EF4-FFF2-40B4-BE49-F238E27FC236}">
                      <a16:creationId xmlns:a16="http://schemas.microsoft.com/office/drawing/2014/main" id="{C6D2AD65-5573-6F1B-F888-FD30895B67F2}"/>
                    </a:ext>
                  </a:extLst>
                </p:cNvPr>
                <p:cNvSpPr>
                  <a:spLocks/>
                </p:cNvSpPr>
                <p:nvPr/>
              </p:nvSpPr>
              <p:spPr bwMode="gray">
                <a:xfrm rot="10800000">
                  <a:off x="1233673"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07" name="Triangle_2">
                  <a:extLst>
                    <a:ext uri="{FF2B5EF4-FFF2-40B4-BE49-F238E27FC236}">
                      <a16:creationId xmlns:a16="http://schemas.microsoft.com/office/drawing/2014/main" id="{EA2BE006-ACD6-4B15-FEB0-A29F8CA97DDE}"/>
                    </a:ext>
                  </a:extLst>
                </p:cNvPr>
                <p:cNvSpPr>
                  <a:spLocks/>
                </p:cNvSpPr>
                <p:nvPr/>
              </p:nvSpPr>
              <p:spPr bwMode="gray">
                <a:xfrm>
                  <a:off x="1233673"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08" name="Triangle_3">
                  <a:extLst>
                    <a:ext uri="{FF2B5EF4-FFF2-40B4-BE49-F238E27FC236}">
                      <a16:creationId xmlns:a16="http://schemas.microsoft.com/office/drawing/2014/main" id="{87721BFB-E551-0EE7-88F1-AD4EBB17D881}"/>
                    </a:ext>
                  </a:extLst>
                </p:cNvPr>
                <p:cNvSpPr>
                  <a:spLocks/>
                </p:cNvSpPr>
                <p:nvPr/>
              </p:nvSpPr>
              <p:spPr bwMode="gray">
                <a:xfrm rot="5400000">
                  <a:off x="1150936"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09" name="Triangle_4">
                  <a:extLst>
                    <a:ext uri="{FF2B5EF4-FFF2-40B4-BE49-F238E27FC236}">
                      <a16:creationId xmlns:a16="http://schemas.microsoft.com/office/drawing/2014/main" id="{48D2C891-F529-AFB6-6CE0-768DCEB2CC7C}"/>
                    </a:ext>
                  </a:extLst>
                </p:cNvPr>
                <p:cNvSpPr>
                  <a:spLocks/>
                </p:cNvSpPr>
                <p:nvPr/>
              </p:nvSpPr>
              <p:spPr bwMode="gray">
                <a:xfrm rot="16200000">
                  <a:off x="1316410" y="3495467"/>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60" name="Group 2259">
                <a:extLst>
                  <a:ext uri="{FF2B5EF4-FFF2-40B4-BE49-F238E27FC236}">
                    <a16:creationId xmlns:a16="http://schemas.microsoft.com/office/drawing/2014/main" id="{948E3F18-96EE-010A-845E-6B4B81FA8DF8}"/>
                  </a:ext>
                </a:extLst>
              </p:cNvPr>
              <p:cNvGrpSpPr>
                <a:grpSpLocks/>
              </p:cNvGrpSpPr>
              <p:nvPr/>
            </p:nvGrpSpPr>
            <p:grpSpPr bwMode="gray">
              <a:xfrm>
                <a:off x="918123" y="2709142"/>
                <a:ext cx="217142" cy="217142"/>
                <a:chOff x="1233673" y="3743677"/>
                <a:chExt cx="330948" cy="330948"/>
              </a:xfrm>
              <a:grpFill/>
            </p:grpSpPr>
            <p:sp>
              <p:nvSpPr>
                <p:cNvPr id="2900" name="dfine_grid_single_shape_frame">
                  <a:extLst>
                    <a:ext uri="{FF2B5EF4-FFF2-40B4-BE49-F238E27FC236}">
                      <a16:creationId xmlns:a16="http://schemas.microsoft.com/office/drawing/2014/main" id="{4A416423-88ED-7BF1-1A4E-A9E77027FE6B}"/>
                    </a:ext>
                  </a:extLst>
                </p:cNvPr>
                <p:cNvSpPr>
                  <a:spLocks/>
                </p:cNvSpPr>
                <p:nvPr/>
              </p:nvSpPr>
              <p:spPr bwMode="gray">
                <a:xfrm>
                  <a:off x="1233673"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01" name="Triangle_1">
                  <a:extLst>
                    <a:ext uri="{FF2B5EF4-FFF2-40B4-BE49-F238E27FC236}">
                      <a16:creationId xmlns:a16="http://schemas.microsoft.com/office/drawing/2014/main" id="{F01BA0CD-7BAB-D41C-AA67-871429F5DE21}"/>
                    </a:ext>
                  </a:extLst>
                </p:cNvPr>
                <p:cNvSpPr>
                  <a:spLocks/>
                </p:cNvSpPr>
                <p:nvPr/>
              </p:nvSpPr>
              <p:spPr bwMode="gray">
                <a:xfrm rot="10800000">
                  <a:off x="1233673"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02" name="Triangle_2">
                  <a:extLst>
                    <a:ext uri="{FF2B5EF4-FFF2-40B4-BE49-F238E27FC236}">
                      <a16:creationId xmlns:a16="http://schemas.microsoft.com/office/drawing/2014/main" id="{3673C5EB-B4F7-804B-771C-4A751742E77E}"/>
                    </a:ext>
                  </a:extLst>
                </p:cNvPr>
                <p:cNvSpPr>
                  <a:spLocks/>
                </p:cNvSpPr>
                <p:nvPr/>
              </p:nvSpPr>
              <p:spPr bwMode="gray">
                <a:xfrm>
                  <a:off x="1233673"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03" name="Triangle_3">
                  <a:extLst>
                    <a:ext uri="{FF2B5EF4-FFF2-40B4-BE49-F238E27FC236}">
                      <a16:creationId xmlns:a16="http://schemas.microsoft.com/office/drawing/2014/main" id="{B1A03C8D-2057-F17D-D056-4E3C6DB5937F}"/>
                    </a:ext>
                  </a:extLst>
                </p:cNvPr>
                <p:cNvSpPr>
                  <a:spLocks/>
                </p:cNvSpPr>
                <p:nvPr/>
              </p:nvSpPr>
              <p:spPr bwMode="gray">
                <a:xfrm rot="5400000">
                  <a:off x="1150936"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904" name="Triangle_4">
                  <a:extLst>
                    <a:ext uri="{FF2B5EF4-FFF2-40B4-BE49-F238E27FC236}">
                      <a16:creationId xmlns:a16="http://schemas.microsoft.com/office/drawing/2014/main" id="{A3D000E2-38F9-4528-D9A7-305D2F775076}"/>
                    </a:ext>
                  </a:extLst>
                </p:cNvPr>
                <p:cNvSpPr>
                  <a:spLocks/>
                </p:cNvSpPr>
                <p:nvPr/>
              </p:nvSpPr>
              <p:spPr bwMode="gray">
                <a:xfrm rot="16200000">
                  <a:off x="1316410"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61" name="Group 2260">
                <a:extLst>
                  <a:ext uri="{FF2B5EF4-FFF2-40B4-BE49-F238E27FC236}">
                    <a16:creationId xmlns:a16="http://schemas.microsoft.com/office/drawing/2014/main" id="{84C9D348-63C9-8817-7445-084B36C95DEB}"/>
                  </a:ext>
                </a:extLst>
              </p:cNvPr>
              <p:cNvGrpSpPr>
                <a:grpSpLocks/>
              </p:cNvGrpSpPr>
              <p:nvPr/>
            </p:nvGrpSpPr>
            <p:grpSpPr bwMode="gray">
              <a:xfrm>
                <a:off x="918123" y="2926283"/>
                <a:ext cx="217142" cy="217142"/>
                <a:chOff x="1233673" y="4074624"/>
                <a:chExt cx="330948" cy="330948"/>
              </a:xfrm>
              <a:grpFill/>
            </p:grpSpPr>
            <p:sp>
              <p:nvSpPr>
                <p:cNvPr id="2895" name="dfine_grid_single_shape_frame">
                  <a:extLst>
                    <a:ext uri="{FF2B5EF4-FFF2-40B4-BE49-F238E27FC236}">
                      <a16:creationId xmlns:a16="http://schemas.microsoft.com/office/drawing/2014/main" id="{9F4C3791-DB30-592C-5224-80FAFC488982}"/>
                    </a:ext>
                  </a:extLst>
                </p:cNvPr>
                <p:cNvSpPr>
                  <a:spLocks/>
                </p:cNvSpPr>
                <p:nvPr/>
              </p:nvSpPr>
              <p:spPr bwMode="gray">
                <a:xfrm>
                  <a:off x="1233673"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96" name="Triangle_1">
                  <a:extLst>
                    <a:ext uri="{FF2B5EF4-FFF2-40B4-BE49-F238E27FC236}">
                      <a16:creationId xmlns:a16="http://schemas.microsoft.com/office/drawing/2014/main" id="{F658A5AB-DB77-9486-371B-9E7AB6BB3A9E}"/>
                    </a:ext>
                  </a:extLst>
                </p:cNvPr>
                <p:cNvSpPr>
                  <a:spLocks/>
                </p:cNvSpPr>
                <p:nvPr/>
              </p:nvSpPr>
              <p:spPr bwMode="gray">
                <a:xfrm rot="10800000">
                  <a:off x="1233673"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97" name="Triangle_2">
                  <a:extLst>
                    <a:ext uri="{FF2B5EF4-FFF2-40B4-BE49-F238E27FC236}">
                      <a16:creationId xmlns:a16="http://schemas.microsoft.com/office/drawing/2014/main" id="{C83A36E5-FF22-CBD3-4AAF-E57BDE50E0A5}"/>
                    </a:ext>
                  </a:extLst>
                </p:cNvPr>
                <p:cNvSpPr>
                  <a:spLocks/>
                </p:cNvSpPr>
                <p:nvPr/>
              </p:nvSpPr>
              <p:spPr bwMode="gray">
                <a:xfrm>
                  <a:off x="1233673"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98" name="Triangle_3">
                  <a:extLst>
                    <a:ext uri="{FF2B5EF4-FFF2-40B4-BE49-F238E27FC236}">
                      <a16:creationId xmlns:a16="http://schemas.microsoft.com/office/drawing/2014/main" id="{CD415DE9-52B4-7B86-7B88-A8CFF7E28F68}"/>
                    </a:ext>
                  </a:extLst>
                </p:cNvPr>
                <p:cNvSpPr>
                  <a:spLocks/>
                </p:cNvSpPr>
                <p:nvPr/>
              </p:nvSpPr>
              <p:spPr bwMode="gray">
                <a:xfrm rot="5400000">
                  <a:off x="1150936"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99" name="Triangle_4">
                  <a:extLst>
                    <a:ext uri="{FF2B5EF4-FFF2-40B4-BE49-F238E27FC236}">
                      <a16:creationId xmlns:a16="http://schemas.microsoft.com/office/drawing/2014/main" id="{1C4BD68D-CE05-3714-F05A-6A09838AAE70}"/>
                    </a:ext>
                  </a:extLst>
                </p:cNvPr>
                <p:cNvSpPr>
                  <a:spLocks/>
                </p:cNvSpPr>
                <p:nvPr/>
              </p:nvSpPr>
              <p:spPr bwMode="gray">
                <a:xfrm rot="16200000">
                  <a:off x="1316410"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62" name="Group 2261">
                <a:extLst>
                  <a:ext uri="{FF2B5EF4-FFF2-40B4-BE49-F238E27FC236}">
                    <a16:creationId xmlns:a16="http://schemas.microsoft.com/office/drawing/2014/main" id="{341AD398-BBDC-81F2-CEA6-1AC55E606749}"/>
                  </a:ext>
                </a:extLst>
              </p:cNvPr>
              <p:cNvGrpSpPr>
                <a:grpSpLocks/>
              </p:cNvGrpSpPr>
              <p:nvPr/>
            </p:nvGrpSpPr>
            <p:grpSpPr bwMode="gray">
              <a:xfrm>
                <a:off x="700982" y="2492001"/>
                <a:ext cx="217142" cy="217142"/>
                <a:chOff x="902726" y="3412730"/>
                <a:chExt cx="330948" cy="330948"/>
              </a:xfrm>
              <a:grpFill/>
            </p:grpSpPr>
            <p:sp>
              <p:nvSpPr>
                <p:cNvPr id="2890" name="dfine_grid_single_shape_frame">
                  <a:extLst>
                    <a:ext uri="{FF2B5EF4-FFF2-40B4-BE49-F238E27FC236}">
                      <a16:creationId xmlns:a16="http://schemas.microsoft.com/office/drawing/2014/main" id="{631D20D0-72D1-57AA-AD12-590AB1A94CA7}"/>
                    </a:ext>
                  </a:extLst>
                </p:cNvPr>
                <p:cNvSpPr>
                  <a:spLocks/>
                </p:cNvSpPr>
                <p:nvPr/>
              </p:nvSpPr>
              <p:spPr bwMode="gray">
                <a:xfrm>
                  <a:off x="902726"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91" name="Triangle_1">
                  <a:extLst>
                    <a:ext uri="{FF2B5EF4-FFF2-40B4-BE49-F238E27FC236}">
                      <a16:creationId xmlns:a16="http://schemas.microsoft.com/office/drawing/2014/main" id="{9EDB011B-5A5C-D665-1760-375F34D3FF4E}"/>
                    </a:ext>
                  </a:extLst>
                </p:cNvPr>
                <p:cNvSpPr>
                  <a:spLocks/>
                </p:cNvSpPr>
                <p:nvPr/>
              </p:nvSpPr>
              <p:spPr bwMode="gray">
                <a:xfrm rot="10800000">
                  <a:off x="902726"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92" name="Triangle_2">
                  <a:extLst>
                    <a:ext uri="{FF2B5EF4-FFF2-40B4-BE49-F238E27FC236}">
                      <a16:creationId xmlns:a16="http://schemas.microsoft.com/office/drawing/2014/main" id="{86F2718B-FA84-2637-EB09-B38F7A544733}"/>
                    </a:ext>
                  </a:extLst>
                </p:cNvPr>
                <p:cNvSpPr>
                  <a:spLocks/>
                </p:cNvSpPr>
                <p:nvPr/>
              </p:nvSpPr>
              <p:spPr bwMode="gray">
                <a:xfrm>
                  <a:off x="902726"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93" name="Triangle_3">
                  <a:extLst>
                    <a:ext uri="{FF2B5EF4-FFF2-40B4-BE49-F238E27FC236}">
                      <a16:creationId xmlns:a16="http://schemas.microsoft.com/office/drawing/2014/main" id="{5986ECB6-E7A1-8D6F-7FBA-5FC5FA0C4BE7}"/>
                    </a:ext>
                  </a:extLst>
                </p:cNvPr>
                <p:cNvSpPr>
                  <a:spLocks/>
                </p:cNvSpPr>
                <p:nvPr/>
              </p:nvSpPr>
              <p:spPr bwMode="gray">
                <a:xfrm rot="5400000">
                  <a:off x="819989"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94" name="Triangle_4">
                  <a:extLst>
                    <a:ext uri="{FF2B5EF4-FFF2-40B4-BE49-F238E27FC236}">
                      <a16:creationId xmlns:a16="http://schemas.microsoft.com/office/drawing/2014/main" id="{5295799D-E7DD-C85F-AE97-017CFAD38591}"/>
                    </a:ext>
                  </a:extLst>
                </p:cNvPr>
                <p:cNvSpPr>
                  <a:spLocks/>
                </p:cNvSpPr>
                <p:nvPr/>
              </p:nvSpPr>
              <p:spPr bwMode="gray">
                <a:xfrm rot="16200000">
                  <a:off x="98546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63" name="Group 2262">
                <a:extLst>
                  <a:ext uri="{FF2B5EF4-FFF2-40B4-BE49-F238E27FC236}">
                    <a16:creationId xmlns:a16="http://schemas.microsoft.com/office/drawing/2014/main" id="{1652A442-E74E-0ABF-98A6-9DFFFBE824D1}"/>
                  </a:ext>
                </a:extLst>
              </p:cNvPr>
              <p:cNvGrpSpPr>
                <a:grpSpLocks/>
              </p:cNvGrpSpPr>
              <p:nvPr/>
            </p:nvGrpSpPr>
            <p:grpSpPr bwMode="gray">
              <a:xfrm>
                <a:off x="266700" y="1623437"/>
                <a:ext cx="217142" cy="217142"/>
                <a:chOff x="240832" y="2088942"/>
                <a:chExt cx="330948" cy="330948"/>
              </a:xfrm>
              <a:grpFill/>
            </p:grpSpPr>
            <p:sp>
              <p:nvSpPr>
                <p:cNvPr id="2885" name="dfine_grid_single_shape_frame">
                  <a:extLst>
                    <a:ext uri="{FF2B5EF4-FFF2-40B4-BE49-F238E27FC236}">
                      <a16:creationId xmlns:a16="http://schemas.microsoft.com/office/drawing/2014/main" id="{2BA2947C-A2D1-1668-F148-0F1333AC2441}"/>
                    </a:ext>
                  </a:extLst>
                </p:cNvPr>
                <p:cNvSpPr>
                  <a:spLocks/>
                </p:cNvSpPr>
                <p:nvPr>
                  <p:custDataLst>
                    <p:tags r:id="rId39"/>
                  </p:custDataLst>
                </p:nvPr>
              </p:nvSpPr>
              <p:spPr bwMode="gray">
                <a:xfrm>
                  <a:off x="240832"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86" name="Triangle_1">
                  <a:extLst>
                    <a:ext uri="{FF2B5EF4-FFF2-40B4-BE49-F238E27FC236}">
                      <a16:creationId xmlns:a16="http://schemas.microsoft.com/office/drawing/2014/main" id="{CC860145-75E1-393F-79A2-811E9490C6EC}"/>
                    </a:ext>
                  </a:extLst>
                </p:cNvPr>
                <p:cNvSpPr>
                  <a:spLocks/>
                </p:cNvSpPr>
                <p:nvPr/>
              </p:nvSpPr>
              <p:spPr bwMode="gray">
                <a:xfrm rot="10800000">
                  <a:off x="240832"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87" name="Triangle_2">
                  <a:extLst>
                    <a:ext uri="{FF2B5EF4-FFF2-40B4-BE49-F238E27FC236}">
                      <a16:creationId xmlns:a16="http://schemas.microsoft.com/office/drawing/2014/main" id="{0FC8F79C-0EEC-6E2E-8E8E-089DEAACC8A8}"/>
                    </a:ext>
                  </a:extLst>
                </p:cNvPr>
                <p:cNvSpPr>
                  <a:spLocks/>
                </p:cNvSpPr>
                <p:nvPr/>
              </p:nvSpPr>
              <p:spPr bwMode="gray">
                <a:xfrm>
                  <a:off x="240832"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88" name="Triangle_3">
                  <a:extLst>
                    <a:ext uri="{FF2B5EF4-FFF2-40B4-BE49-F238E27FC236}">
                      <a16:creationId xmlns:a16="http://schemas.microsoft.com/office/drawing/2014/main" id="{9B374768-D0FD-A79C-2B6F-6452756CDC8A}"/>
                    </a:ext>
                  </a:extLst>
                </p:cNvPr>
                <p:cNvSpPr>
                  <a:spLocks/>
                </p:cNvSpPr>
                <p:nvPr/>
              </p:nvSpPr>
              <p:spPr bwMode="gray">
                <a:xfrm rot="5400000">
                  <a:off x="158095"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89" name="Triangle_4">
                  <a:extLst>
                    <a:ext uri="{FF2B5EF4-FFF2-40B4-BE49-F238E27FC236}">
                      <a16:creationId xmlns:a16="http://schemas.microsoft.com/office/drawing/2014/main" id="{F260F841-52F2-B40F-B8E1-D7F086224475}"/>
                    </a:ext>
                  </a:extLst>
                </p:cNvPr>
                <p:cNvSpPr>
                  <a:spLocks/>
                </p:cNvSpPr>
                <p:nvPr/>
              </p:nvSpPr>
              <p:spPr bwMode="gray">
                <a:xfrm rot="16200000">
                  <a:off x="323569"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64" name="Group 2263">
                <a:extLst>
                  <a:ext uri="{FF2B5EF4-FFF2-40B4-BE49-F238E27FC236}">
                    <a16:creationId xmlns:a16="http://schemas.microsoft.com/office/drawing/2014/main" id="{B591CFFF-8A8A-4913-15A3-4E6818137691}"/>
                  </a:ext>
                </a:extLst>
              </p:cNvPr>
              <p:cNvGrpSpPr>
                <a:grpSpLocks/>
              </p:cNvGrpSpPr>
              <p:nvPr/>
            </p:nvGrpSpPr>
            <p:grpSpPr bwMode="gray">
              <a:xfrm>
                <a:off x="266700" y="1840578"/>
                <a:ext cx="217142" cy="217142"/>
                <a:chOff x="240832" y="2419889"/>
                <a:chExt cx="330948" cy="330948"/>
              </a:xfrm>
              <a:grpFill/>
            </p:grpSpPr>
            <p:sp>
              <p:nvSpPr>
                <p:cNvPr id="2880" name="dfine_grid_single_shape_frame">
                  <a:extLst>
                    <a:ext uri="{FF2B5EF4-FFF2-40B4-BE49-F238E27FC236}">
                      <a16:creationId xmlns:a16="http://schemas.microsoft.com/office/drawing/2014/main" id="{3ECF5D44-3D96-E5C4-BFDD-9F3D35D03AD3}"/>
                    </a:ext>
                  </a:extLst>
                </p:cNvPr>
                <p:cNvSpPr>
                  <a:spLocks/>
                </p:cNvSpPr>
                <p:nvPr>
                  <p:custDataLst>
                    <p:tags r:id="rId38"/>
                  </p:custDataLst>
                </p:nvPr>
              </p:nvSpPr>
              <p:spPr bwMode="gray">
                <a:xfrm>
                  <a:off x="240832"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81" name="Triangle_1">
                  <a:extLst>
                    <a:ext uri="{FF2B5EF4-FFF2-40B4-BE49-F238E27FC236}">
                      <a16:creationId xmlns:a16="http://schemas.microsoft.com/office/drawing/2014/main" id="{9E667B1D-29E5-3409-49AE-66ED996BF774}"/>
                    </a:ext>
                  </a:extLst>
                </p:cNvPr>
                <p:cNvSpPr>
                  <a:spLocks/>
                </p:cNvSpPr>
                <p:nvPr/>
              </p:nvSpPr>
              <p:spPr bwMode="gray">
                <a:xfrm rot="10800000">
                  <a:off x="240832"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82" name="Triangle_2">
                  <a:extLst>
                    <a:ext uri="{FF2B5EF4-FFF2-40B4-BE49-F238E27FC236}">
                      <a16:creationId xmlns:a16="http://schemas.microsoft.com/office/drawing/2014/main" id="{F2F18368-6E1B-3585-7D58-FD91BDCF8A7D}"/>
                    </a:ext>
                  </a:extLst>
                </p:cNvPr>
                <p:cNvSpPr>
                  <a:spLocks/>
                </p:cNvSpPr>
                <p:nvPr/>
              </p:nvSpPr>
              <p:spPr bwMode="gray">
                <a:xfrm>
                  <a:off x="240832"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83" name="Triangle_3">
                  <a:extLst>
                    <a:ext uri="{FF2B5EF4-FFF2-40B4-BE49-F238E27FC236}">
                      <a16:creationId xmlns:a16="http://schemas.microsoft.com/office/drawing/2014/main" id="{2FAE41CF-A3C6-B967-10C1-E265C8FE749B}"/>
                    </a:ext>
                  </a:extLst>
                </p:cNvPr>
                <p:cNvSpPr>
                  <a:spLocks/>
                </p:cNvSpPr>
                <p:nvPr/>
              </p:nvSpPr>
              <p:spPr bwMode="gray">
                <a:xfrm rot="5400000">
                  <a:off x="158095"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84" name="Triangle_4">
                  <a:extLst>
                    <a:ext uri="{FF2B5EF4-FFF2-40B4-BE49-F238E27FC236}">
                      <a16:creationId xmlns:a16="http://schemas.microsoft.com/office/drawing/2014/main" id="{DACCED5B-FF13-C926-739C-FCBE841738C0}"/>
                    </a:ext>
                  </a:extLst>
                </p:cNvPr>
                <p:cNvSpPr>
                  <a:spLocks/>
                </p:cNvSpPr>
                <p:nvPr/>
              </p:nvSpPr>
              <p:spPr bwMode="gray">
                <a:xfrm rot="16200000">
                  <a:off x="323569"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65" name="Group 2264">
                <a:extLst>
                  <a:ext uri="{FF2B5EF4-FFF2-40B4-BE49-F238E27FC236}">
                    <a16:creationId xmlns:a16="http://schemas.microsoft.com/office/drawing/2014/main" id="{C51A4DAE-31B4-93CA-22C1-3F38BABCFBDA}"/>
                  </a:ext>
                </a:extLst>
              </p:cNvPr>
              <p:cNvGrpSpPr>
                <a:grpSpLocks/>
              </p:cNvGrpSpPr>
              <p:nvPr/>
            </p:nvGrpSpPr>
            <p:grpSpPr bwMode="gray">
              <a:xfrm>
                <a:off x="266700" y="2057719"/>
                <a:ext cx="217142" cy="217142"/>
                <a:chOff x="240832" y="2750836"/>
                <a:chExt cx="330948" cy="330948"/>
              </a:xfrm>
              <a:grpFill/>
            </p:grpSpPr>
            <p:sp>
              <p:nvSpPr>
                <p:cNvPr id="2875" name="dfine_grid_single_shape_frame">
                  <a:extLst>
                    <a:ext uri="{FF2B5EF4-FFF2-40B4-BE49-F238E27FC236}">
                      <a16:creationId xmlns:a16="http://schemas.microsoft.com/office/drawing/2014/main" id="{4563EB1D-FC70-013D-D25A-654515EFDBAF}"/>
                    </a:ext>
                  </a:extLst>
                </p:cNvPr>
                <p:cNvSpPr>
                  <a:spLocks/>
                </p:cNvSpPr>
                <p:nvPr>
                  <p:custDataLst>
                    <p:tags r:id="rId37"/>
                  </p:custDataLst>
                </p:nvPr>
              </p:nvSpPr>
              <p:spPr bwMode="gray">
                <a:xfrm>
                  <a:off x="240832"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76" name="Triangle_1">
                  <a:extLst>
                    <a:ext uri="{FF2B5EF4-FFF2-40B4-BE49-F238E27FC236}">
                      <a16:creationId xmlns:a16="http://schemas.microsoft.com/office/drawing/2014/main" id="{9BA6CE85-BBF3-7F3F-EE5D-3BC686049919}"/>
                    </a:ext>
                  </a:extLst>
                </p:cNvPr>
                <p:cNvSpPr>
                  <a:spLocks/>
                </p:cNvSpPr>
                <p:nvPr/>
              </p:nvSpPr>
              <p:spPr bwMode="gray">
                <a:xfrm rot="10800000">
                  <a:off x="240832"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77" name="Triangle_2">
                  <a:extLst>
                    <a:ext uri="{FF2B5EF4-FFF2-40B4-BE49-F238E27FC236}">
                      <a16:creationId xmlns:a16="http://schemas.microsoft.com/office/drawing/2014/main" id="{A88BF41B-F355-FE12-5E27-F4A5492F4ECA}"/>
                    </a:ext>
                  </a:extLst>
                </p:cNvPr>
                <p:cNvSpPr>
                  <a:spLocks/>
                </p:cNvSpPr>
                <p:nvPr/>
              </p:nvSpPr>
              <p:spPr bwMode="gray">
                <a:xfrm>
                  <a:off x="240832"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78" name="Triangle_3">
                  <a:extLst>
                    <a:ext uri="{FF2B5EF4-FFF2-40B4-BE49-F238E27FC236}">
                      <a16:creationId xmlns:a16="http://schemas.microsoft.com/office/drawing/2014/main" id="{29AEB9FB-3E61-C027-B3A3-89070A932C88}"/>
                    </a:ext>
                  </a:extLst>
                </p:cNvPr>
                <p:cNvSpPr>
                  <a:spLocks/>
                </p:cNvSpPr>
                <p:nvPr/>
              </p:nvSpPr>
              <p:spPr bwMode="gray">
                <a:xfrm rot="5400000">
                  <a:off x="158095"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79" name="Triangle_4">
                  <a:extLst>
                    <a:ext uri="{FF2B5EF4-FFF2-40B4-BE49-F238E27FC236}">
                      <a16:creationId xmlns:a16="http://schemas.microsoft.com/office/drawing/2014/main" id="{5A6D11D6-DB1B-6C95-2465-46E8713F1083}"/>
                    </a:ext>
                  </a:extLst>
                </p:cNvPr>
                <p:cNvSpPr>
                  <a:spLocks/>
                </p:cNvSpPr>
                <p:nvPr/>
              </p:nvSpPr>
              <p:spPr bwMode="gray">
                <a:xfrm rot="16200000">
                  <a:off x="323569"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66" name="Group 2265">
                <a:extLst>
                  <a:ext uri="{FF2B5EF4-FFF2-40B4-BE49-F238E27FC236}">
                    <a16:creationId xmlns:a16="http://schemas.microsoft.com/office/drawing/2014/main" id="{9F37C923-B60F-2EE6-4CBA-698520CB74C0}"/>
                  </a:ext>
                </a:extLst>
              </p:cNvPr>
              <p:cNvGrpSpPr>
                <a:grpSpLocks/>
              </p:cNvGrpSpPr>
              <p:nvPr/>
            </p:nvGrpSpPr>
            <p:grpSpPr bwMode="gray">
              <a:xfrm>
                <a:off x="266700" y="2274860"/>
                <a:ext cx="217142" cy="217142"/>
                <a:chOff x="240832" y="3081783"/>
                <a:chExt cx="330948" cy="330948"/>
              </a:xfrm>
              <a:grpFill/>
            </p:grpSpPr>
            <p:sp>
              <p:nvSpPr>
                <p:cNvPr id="2870" name="dfine_grid_single_shape_frame">
                  <a:extLst>
                    <a:ext uri="{FF2B5EF4-FFF2-40B4-BE49-F238E27FC236}">
                      <a16:creationId xmlns:a16="http://schemas.microsoft.com/office/drawing/2014/main" id="{7901A9D1-8451-8C77-5565-06DF6B27E5EC}"/>
                    </a:ext>
                  </a:extLst>
                </p:cNvPr>
                <p:cNvSpPr>
                  <a:spLocks/>
                </p:cNvSpPr>
                <p:nvPr/>
              </p:nvSpPr>
              <p:spPr bwMode="gray">
                <a:xfrm>
                  <a:off x="240832"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71" name="Triangle_1">
                  <a:extLst>
                    <a:ext uri="{FF2B5EF4-FFF2-40B4-BE49-F238E27FC236}">
                      <a16:creationId xmlns:a16="http://schemas.microsoft.com/office/drawing/2014/main" id="{08F89367-3BE9-BBA0-06D5-C8809A089BBE}"/>
                    </a:ext>
                  </a:extLst>
                </p:cNvPr>
                <p:cNvSpPr>
                  <a:spLocks/>
                </p:cNvSpPr>
                <p:nvPr/>
              </p:nvSpPr>
              <p:spPr bwMode="gray">
                <a:xfrm rot="10800000">
                  <a:off x="240832"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72" name="Triangle_2">
                  <a:extLst>
                    <a:ext uri="{FF2B5EF4-FFF2-40B4-BE49-F238E27FC236}">
                      <a16:creationId xmlns:a16="http://schemas.microsoft.com/office/drawing/2014/main" id="{1E5ACE06-33EB-98EC-6061-36369A984DB3}"/>
                    </a:ext>
                  </a:extLst>
                </p:cNvPr>
                <p:cNvSpPr>
                  <a:spLocks/>
                </p:cNvSpPr>
                <p:nvPr/>
              </p:nvSpPr>
              <p:spPr bwMode="gray">
                <a:xfrm>
                  <a:off x="240832"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73" name="Triangle_3">
                  <a:extLst>
                    <a:ext uri="{FF2B5EF4-FFF2-40B4-BE49-F238E27FC236}">
                      <a16:creationId xmlns:a16="http://schemas.microsoft.com/office/drawing/2014/main" id="{74E94437-F77F-BC17-C7AB-A0564DCB980D}"/>
                    </a:ext>
                  </a:extLst>
                </p:cNvPr>
                <p:cNvSpPr>
                  <a:spLocks/>
                </p:cNvSpPr>
                <p:nvPr/>
              </p:nvSpPr>
              <p:spPr bwMode="gray">
                <a:xfrm rot="5400000">
                  <a:off x="158096" y="316452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74" name="Triangle_4">
                  <a:extLst>
                    <a:ext uri="{FF2B5EF4-FFF2-40B4-BE49-F238E27FC236}">
                      <a16:creationId xmlns:a16="http://schemas.microsoft.com/office/drawing/2014/main" id="{3D7AD84F-DCB9-3191-0919-0EC1EA59CD27}"/>
                    </a:ext>
                  </a:extLst>
                </p:cNvPr>
                <p:cNvSpPr>
                  <a:spLocks/>
                </p:cNvSpPr>
                <p:nvPr/>
              </p:nvSpPr>
              <p:spPr bwMode="gray">
                <a:xfrm rot="16200000">
                  <a:off x="323569"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67" name="Group 2266">
                <a:extLst>
                  <a:ext uri="{FF2B5EF4-FFF2-40B4-BE49-F238E27FC236}">
                    <a16:creationId xmlns:a16="http://schemas.microsoft.com/office/drawing/2014/main" id="{71968A5E-5DA8-3B84-8BDC-55F6C9FF2167}"/>
                  </a:ext>
                </a:extLst>
              </p:cNvPr>
              <p:cNvGrpSpPr>
                <a:grpSpLocks/>
              </p:cNvGrpSpPr>
              <p:nvPr/>
            </p:nvGrpSpPr>
            <p:grpSpPr bwMode="gray">
              <a:xfrm>
                <a:off x="266700" y="2492001"/>
                <a:ext cx="217142" cy="217142"/>
                <a:chOff x="240832" y="3412730"/>
                <a:chExt cx="330948" cy="330948"/>
              </a:xfrm>
              <a:grpFill/>
            </p:grpSpPr>
            <p:sp>
              <p:nvSpPr>
                <p:cNvPr id="2865" name="dfine_grid_single_shape_frame">
                  <a:extLst>
                    <a:ext uri="{FF2B5EF4-FFF2-40B4-BE49-F238E27FC236}">
                      <a16:creationId xmlns:a16="http://schemas.microsoft.com/office/drawing/2014/main" id="{EC9A0F33-5A4C-FC36-681E-C2E173748E54}"/>
                    </a:ext>
                  </a:extLst>
                </p:cNvPr>
                <p:cNvSpPr>
                  <a:spLocks/>
                </p:cNvSpPr>
                <p:nvPr/>
              </p:nvSpPr>
              <p:spPr bwMode="gray">
                <a:xfrm>
                  <a:off x="240832"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66" name="Triangle_1">
                  <a:extLst>
                    <a:ext uri="{FF2B5EF4-FFF2-40B4-BE49-F238E27FC236}">
                      <a16:creationId xmlns:a16="http://schemas.microsoft.com/office/drawing/2014/main" id="{4A789BA6-E4E2-3AB0-CCB0-4419AC43392B}"/>
                    </a:ext>
                  </a:extLst>
                </p:cNvPr>
                <p:cNvSpPr>
                  <a:spLocks/>
                </p:cNvSpPr>
                <p:nvPr/>
              </p:nvSpPr>
              <p:spPr bwMode="gray">
                <a:xfrm rot="10800000">
                  <a:off x="240832"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67" name="Triangle_2">
                  <a:extLst>
                    <a:ext uri="{FF2B5EF4-FFF2-40B4-BE49-F238E27FC236}">
                      <a16:creationId xmlns:a16="http://schemas.microsoft.com/office/drawing/2014/main" id="{605AC0DD-A804-C73A-EA85-8C5F48924B95}"/>
                    </a:ext>
                  </a:extLst>
                </p:cNvPr>
                <p:cNvSpPr>
                  <a:spLocks/>
                </p:cNvSpPr>
                <p:nvPr/>
              </p:nvSpPr>
              <p:spPr bwMode="gray">
                <a:xfrm>
                  <a:off x="240832"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68" name="Triangle_3">
                  <a:extLst>
                    <a:ext uri="{FF2B5EF4-FFF2-40B4-BE49-F238E27FC236}">
                      <a16:creationId xmlns:a16="http://schemas.microsoft.com/office/drawing/2014/main" id="{D4B7A5B4-9E22-D2E5-1C1C-FAAC21FF066B}"/>
                    </a:ext>
                  </a:extLst>
                </p:cNvPr>
                <p:cNvSpPr>
                  <a:spLocks/>
                </p:cNvSpPr>
                <p:nvPr/>
              </p:nvSpPr>
              <p:spPr bwMode="gray">
                <a:xfrm rot="5400000">
                  <a:off x="158095"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69" name="Triangle_4">
                  <a:extLst>
                    <a:ext uri="{FF2B5EF4-FFF2-40B4-BE49-F238E27FC236}">
                      <a16:creationId xmlns:a16="http://schemas.microsoft.com/office/drawing/2014/main" id="{9A8AB1FF-5B3E-A9C5-9BBF-E5E6B91157CE}"/>
                    </a:ext>
                  </a:extLst>
                </p:cNvPr>
                <p:cNvSpPr>
                  <a:spLocks/>
                </p:cNvSpPr>
                <p:nvPr/>
              </p:nvSpPr>
              <p:spPr bwMode="gray">
                <a:xfrm rot="16200000">
                  <a:off x="323569" y="3495467"/>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85CEEF"/>
                    </a:solidFill>
                  </a:endParaRPr>
                </a:p>
              </p:txBody>
            </p:sp>
          </p:grpSp>
          <p:grpSp>
            <p:nvGrpSpPr>
              <p:cNvPr id="2268" name="Group 2267">
                <a:extLst>
                  <a:ext uri="{FF2B5EF4-FFF2-40B4-BE49-F238E27FC236}">
                    <a16:creationId xmlns:a16="http://schemas.microsoft.com/office/drawing/2014/main" id="{B72D532A-E2D9-FD61-1215-B4F69A33D60F}"/>
                  </a:ext>
                </a:extLst>
              </p:cNvPr>
              <p:cNvGrpSpPr>
                <a:grpSpLocks/>
              </p:cNvGrpSpPr>
              <p:nvPr/>
            </p:nvGrpSpPr>
            <p:grpSpPr bwMode="gray">
              <a:xfrm>
                <a:off x="266700" y="2709142"/>
                <a:ext cx="217142" cy="217142"/>
                <a:chOff x="240832" y="3743677"/>
                <a:chExt cx="330948" cy="330948"/>
              </a:xfrm>
              <a:grpFill/>
            </p:grpSpPr>
            <p:sp>
              <p:nvSpPr>
                <p:cNvPr id="2860" name="dfine_grid_single_shape_frame">
                  <a:extLst>
                    <a:ext uri="{FF2B5EF4-FFF2-40B4-BE49-F238E27FC236}">
                      <a16:creationId xmlns:a16="http://schemas.microsoft.com/office/drawing/2014/main" id="{934C4DA7-18F7-7798-FBFA-593B529DC044}"/>
                    </a:ext>
                  </a:extLst>
                </p:cNvPr>
                <p:cNvSpPr>
                  <a:spLocks/>
                </p:cNvSpPr>
                <p:nvPr/>
              </p:nvSpPr>
              <p:spPr bwMode="gray">
                <a:xfrm>
                  <a:off x="240832"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61" name="Triangle_1">
                  <a:extLst>
                    <a:ext uri="{FF2B5EF4-FFF2-40B4-BE49-F238E27FC236}">
                      <a16:creationId xmlns:a16="http://schemas.microsoft.com/office/drawing/2014/main" id="{6780C780-2425-1298-D49D-397852E6EA22}"/>
                    </a:ext>
                  </a:extLst>
                </p:cNvPr>
                <p:cNvSpPr>
                  <a:spLocks/>
                </p:cNvSpPr>
                <p:nvPr/>
              </p:nvSpPr>
              <p:spPr bwMode="gray">
                <a:xfrm rot="10800000">
                  <a:off x="240832"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62" name="Triangle_2">
                  <a:extLst>
                    <a:ext uri="{FF2B5EF4-FFF2-40B4-BE49-F238E27FC236}">
                      <a16:creationId xmlns:a16="http://schemas.microsoft.com/office/drawing/2014/main" id="{4FF6AA52-7AF0-7DAD-F7F6-C1809652A2D3}"/>
                    </a:ext>
                  </a:extLst>
                </p:cNvPr>
                <p:cNvSpPr>
                  <a:spLocks/>
                </p:cNvSpPr>
                <p:nvPr/>
              </p:nvSpPr>
              <p:spPr bwMode="gray">
                <a:xfrm>
                  <a:off x="240832"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63" name="Triangle_3">
                  <a:extLst>
                    <a:ext uri="{FF2B5EF4-FFF2-40B4-BE49-F238E27FC236}">
                      <a16:creationId xmlns:a16="http://schemas.microsoft.com/office/drawing/2014/main" id="{95F36756-27D7-81E2-475F-C960284BD5D3}"/>
                    </a:ext>
                  </a:extLst>
                </p:cNvPr>
                <p:cNvSpPr>
                  <a:spLocks/>
                </p:cNvSpPr>
                <p:nvPr/>
              </p:nvSpPr>
              <p:spPr bwMode="gray">
                <a:xfrm rot="5400000">
                  <a:off x="158095"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64" name="Triangle_4">
                  <a:extLst>
                    <a:ext uri="{FF2B5EF4-FFF2-40B4-BE49-F238E27FC236}">
                      <a16:creationId xmlns:a16="http://schemas.microsoft.com/office/drawing/2014/main" id="{9BF98C39-23D9-4212-ECFA-91855791B63B}"/>
                    </a:ext>
                  </a:extLst>
                </p:cNvPr>
                <p:cNvSpPr>
                  <a:spLocks/>
                </p:cNvSpPr>
                <p:nvPr/>
              </p:nvSpPr>
              <p:spPr bwMode="gray">
                <a:xfrm rot="16200000">
                  <a:off x="323569"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69" name="Group 2268">
                <a:extLst>
                  <a:ext uri="{FF2B5EF4-FFF2-40B4-BE49-F238E27FC236}">
                    <a16:creationId xmlns:a16="http://schemas.microsoft.com/office/drawing/2014/main" id="{901CA116-BC2E-633C-6900-6DF7656FFF15}"/>
                  </a:ext>
                </a:extLst>
              </p:cNvPr>
              <p:cNvGrpSpPr>
                <a:grpSpLocks/>
              </p:cNvGrpSpPr>
              <p:nvPr/>
            </p:nvGrpSpPr>
            <p:grpSpPr bwMode="gray">
              <a:xfrm>
                <a:off x="266700" y="2926283"/>
                <a:ext cx="217142" cy="217142"/>
                <a:chOff x="240832" y="4074624"/>
                <a:chExt cx="330948" cy="330948"/>
              </a:xfrm>
              <a:grpFill/>
            </p:grpSpPr>
            <p:sp>
              <p:nvSpPr>
                <p:cNvPr id="2855" name="dfine_grid_single_shape_frame">
                  <a:extLst>
                    <a:ext uri="{FF2B5EF4-FFF2-40B4-BE49-F238E27FC236}">
                      <a16:creationId xmlns:a16="http://schemas.microsoft.com/office/drawing/2014/main" id="{389636F8-FC13-8B40-4660-0CAE913BC7F9}"/>
                    </a:ext>
                  </a:extLst>
                </p:cNvPr>
                <p:cNvSpPr>
                  <a:spLocks/>
                </p:cNvSpPr>
                <p:nvPr/>
              </p:nvSpPr>
              <p:spPr bwMode="gray">
                <a:xfrm>
                  <a:off x="240832"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56" name="Triangle_1">
                  <a:extLst>
                    <a:ext uri="{FF2B5EF4-FFF2-40B4-BE49-F238E27FC236}">
                      <a16:creationId xmlns:a16="http://schemas.microsoft.com/office/drawing/2014/main" id="{3F8E84FF-A6FC-0389-FEEA-BE3A774FB0E6}"/>
                    </a:ext>
                  </a:extLst>
                </p:cNvPr>
                <p:cNvSpPr>
                  <a:spLocks/>
                </p:cNvSpPr>
                <p:nvPr/>
              </p:nvSpPr>
              <p:spPr bwMode="gray">
                <a:xfrm rot="10800000">
                  <a:off x="240832"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57" name="Triangle_2">
                  <a:extLst>
                    <a:ext uri="{FF2B5EF4-FFF2-40B4-BE49-F238E27FC236}">
                      <a16:creationId xmlns:a16="http://schemas.microsoft.com/office/drawing/2014/main" id="{97541E72-65CE-7BF2-0349-C129F2F90D54}"/>
                    </a:ext>
                  </a:extLst>
                </p:cNvPr>
                <p:cNvSpPr>
                  <a:spLocks/>
                </p:cNvSpPr>
                <p:nvPr/>
              </p:nvSpPr>
              <p:spPr bwMode="gray">
                <a:xfrm>
                  <a:off x="240832"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58" name="Triangle_3">
                  <a:extLst>
                    <a:ext uri="{FF2B5EF4-FFF2-40B4-BE49-F238E27FC236}">
                      <a16:creationId xmlns:a16="http://schemas.microsoft.com/office/drawing/2014/main" id="{8ADA780E-8907-362F-F46A-52B41727FC15}"/>
                    </a:ext>
                  </a:extLst>
                </p:cNvPr>
                <p:cNvSpPr>
                  <a:spLocks/>
                </p:cNvSpPr>
                <p:nvPr/>
              </p:nvSpPr>
              <p:spPr bwMode="gray">
                <a:xfrm rot="5400000">
                  <a:off x="158095"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59" name="Triangle_4">
                  <a:extLst>
                    <a:ext uri="{FF2B5EF4-FFF2-40B4-BE49-F238E27FC236}">
                      <a16:creationId xmlns:a16="http://schemas.microsoft.com/office/drawing/2014/main" id="{BAE824E3-90EE-02C9-63A7-332CD4835898}"/>
                    </a:ext>
                  </a:extLst>
                </p:cNvPr>
                <p:cNvSpPr>
                  <a:spLocks/>
                </p:cNvSpPr>
                <p:nvPr/>
              </p:nvSpPr>
              <p:spPr bwMode="gray">
                <a:xfrm rot="16200000">
                  <a:off x="323569"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70" name="Group 2269">
                <a:extLst>
                  <a:ext uri="{FF2B5EF4-FFF2-40B4-BE49-F238E27FC236}">
                    <a16:creationId xmlns:a16="http://schemas.microsoft.com/office/drawing/2014/main" id="{0625A344-5AD6-7853-93BE-DCA67E7E45E9}"/>
                  </a:ext>
                </a:extLst>
              </p:cNvPr>
              <p:cNvGrpSpPr>
                <a:grpSpLocks/>
              </p:cNvGrpSpPr>
              <p:nvPr/>
            </p:nvGrpSpPr>
            <p:grpSpPr bwMode="gray">
              <a:xfrm>
                <a:off x="483841" y="1623437"/>
                <a:ext cx="217142" cy="217142"/>
                <a:chOff x="571779" y="2088942"/>
                <a:chExt cx="330948" cy="330948"/>
              </a:xfrm>
              <a:grpFill/>
            </p:grpSpPr>
            <p:sp>
              <p:nvSpPr>
                <p:cNvPr id="2850" name="dfine_grid_single_shape_frame">
                  <a:extLst>
                    <a:ext uri="{FF2B5EF4-FFF2-40B4-BE49-F238E27FC236}">
                      <a16:creationId xmlns:a16="http://schemas.microsoft.com/office/drawing/2014/main" id="{AD41F8A4-8F38-AD1D-EBCE-61CB8C504126}"/>
                    </a:ext>
                  </a:extLst>
                </p:cNvPr>
                <p:cNvSpPr>
                  <a:spLocks/>
                </p:cNvSpPr>
                <p:nvPr>
                  <p:custDataLst>
                    <p:tags r:id="rId36"/>
                  </p:custDataLst>
                </p:nvPr>
              </p:nvSpPr>
              <p:spPr bwMode="gray">
                <a:xfrm>
                  <a:off x="571779"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51" name="Triangle_1">
                  <a:extLst>
                    <a:ext uri="{FF2B5EF4-FFF2-40B4-BE49-F238E27FC236}">
                      <a16:creationId xmlns:a16="http://schemas.microsoft.com/office/drawing/2014/main" id="{EEC5516C-C244-DC4B-3BE9-D8CD00717D44}"/>
                    </a:ext>
                  </a:extLst>
                </p:cNvPr>
                <p:cNvSpPr>
                  <a:spLocks/>
                </p:cNvSpPr>
                <p:nvPr/>
              </p:nvSpPr>
              <p:spPr bwMode="gray">
                <a:xfrm rot="10800000">
                  <a:off x="571779"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52" name="Triangle_2">
                  <a:extLst>
                    <a:ext uri="{FF2B5EF4-FFF2-40B4-BE49-F238E27FC236}">
                      <a16:creationId xmlns:a16="http://schemas.microsoft.com/office/drawing/2014/main" id="{0807CDC1-3218-21F8-A65A-9AAE59FE6DE9}"/>
                    </a:ext>
                  </a:extLst>
                </p:cNvPr>
                <p:cNvSpPr>
                  <a:spLocks/>
                </p:cNvSpPr>
                <p:nvPr/>
              </p:nvSpPr>
              <p:spPr bwMode="gray">
                <a:xfrm>
                  <a:off x="571779"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53" name="Triangle_3">
                  <a:extLst>
                    <a:ext uri="{FF2B5EF4-FFF2-40B4-BE49-F238E27FC236}">
                      <a16:creationId xmlns:a16="http://schemas.microsoft.com/office/drawing/2014/main" id="{276B421B-36A8-FDC6-5CAE-1AC501EFA2F2}"/>
                    </a:ext>
                  </a:extLst>
                </p:cNvPr>
                <p:cNvSpPr>
                  <a:spLocks/>
                </p:cNvSpPr>
                <p:nvPr/>
              </p:nvSpPr>
              <p:spPr bwMode="gray">
                <a:xfrm rot="5400000">
                  <a:off x="489042"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54" name="Triangle_4">
                  <a:extLst>
                    <a:ext uri="{FF2B5EF4-FFF2-40B4-BE49-F238E27FC236}">
                      <a16:creationId xmlns:a16="http://schemas.microsoft.com/office/drawing/2014/main" id="{3D3B12FA-2437-96EE-1959-BCDC5ED24A17}"/>
                    </a:ext>
                  </a:extLst>
                </p:cNvPr>
                <p:cNvSpPr>
                  <a:spLocks/>
                </p:cNvSpPr>
                <p:nvPr/>
              </p:nvSpPr>
              <p:spPr bwMode="gray">
                <a:xfrm rot="16200000">
                  <a:off x="654516"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71" name="Group 2270">
                <a:extLst>
                  <a:ext uri="{FF2B5EF4-FFF2-40B4-BE49-F238E27FC236}">
                    <a16:creationId xmlns:a16="http://schemas.microsoft.com/office/drawing/2014/main" id="{B9D80EDD-2127-E34D-84F3-28BD701768A3}"/>
                  </a:ext>
                </a:extLst>
              </p:cNvPr>
              <p:cNvGrpSpPr>
                <a:grpSpLocks/>
              </p:cNvGrpSpPr>
              <p:nvPr/>
            </p:nvGrpSpPr>
            <p:grpSpPr bwMode="gray">
              <a:xfrm>
                <a:off x="483841" y="1840578"/>
                <a:ext cx="217142" cy="217142"/>
                <a:chOff x="571779" y="2419889"/>
                <a:chExt cx="330948" cy="330948"/>
              </a:xfrm>
              <a:grpFill/>
            </p:grpSpPr>
            <p:sp>
              <p:nvSpPr>
                <p:cNvPr id="2845" name="dfine_grid_single_shape_frame">
                  <a:extLst>
                    <a:ext uri="{FF2B5EF4-FFF2-40B4-BE49-F238E27FC236}">
                      <a16:creationId xmlns:a16="http://schemas.microsoft.com/office/drawing/2014/main" id="{50C48ECB-6083-A502-23FD-9CBF5485492E}"/>
                    </a:ext>
                  </a:extLst>
                </p:cNvPr>
                <p:cNvSpPr>
                  <a:spLocks/>
                </p:cNvSpPr>
                <p:nvPr/>
              </p:nvSpPr>
              <p:spPr bwMode="gray">
                <a:xfrm>
                  <a:off x="571779"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46" name="Triangle_1">
                  <a:extLst>
                    <a:ext uri="{FF2B5EF4-FFF2-40B4-BE49-F238E27FC236}">
                      <a16:creationId xmlns:a16="http://schemas.microsoft.com/office/drawing/2014/main" id="{87EC822C-E627-DAB5-111C-46932722F474}"/>
                    </a:ext>
                  </a:extLst>
                </p:cNvPr>
                <p:cNvSpPr>
                  <a:spLocks/>
                </p:cNvSpPr>
                <p:nvPr/>
              </p:nvSpPr>
              <p:spPr bwMode="gray">
                <a:xfrm rot="10800000">
                  <a:off x="571779"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47" name="Triangle_2">
                  <a:extLst>
                    <a:ext uri="{FF2B5EF4-FFF2-40B4-BE49-F238E27FC236}">
                      <a16:creationId xmlns:a16="http://schemas.microsoft.com/office/drawing/2014/main" id="{C618B093-803C-1D16-EE8D-E4A46C40EC42}"/>
                    </a:ext>
                  </a:extLst>
                </p:cNvPr>
                <p:cNvSpPr>
                  <a:spLocks/>
                </p:cNvSpPr>
                <p:nvPr/>
              </p:nvSpPr>
              <p:spPr bwMode="gray">
                <a:xfrm>
                  <a:off x="571779"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48" name="Triangle_3">
                  <a:extLst>
                    <a:ext uri="{FF2B5EF4-FFF2-40B4-BE49-F238E27FC236}">
                      <a16:creationId xmlns:a16="http://schemas.microsoft.com/office/drawing/2014/main" id="{A5D7F965-E1CD-C3A8-B6C6-260C5A7B5842}"/>
                    </a:ext>
                  </a:extLst>
                </p:cNvPr>
                <p:cNvSpPr>
                  <a:spLocks/>
                </p:cNvSpPr>
                <p:nvPr/>
              </p:nvSpPr>
              <p:spPr bwMode="gray">
                <a:xfrm rot="5400000">
                  <a:off x="489042"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49" name="Triangle_4">
                  <a:extLst>
                    <a:ext uri="{FF2B5EF4-FFF2-40B4-BE49-F238E27FC236}">
                      <a16:creationId xmlns:a16="http://schemas.microsoft.com/office/drawing/2014/main" id="{2B716275-D132-3C24-F0E7-1892A8A28270}"/>
                    </a:ext>
                  </a:extLst>
                </p:cNvPr>
                <p:cNvSpPr>
                  <a:spLocks/>
                </p:cNvSpPr>
                <p:nvPr/>
              </p:nvSpPr>
              <p:spPr bwMode="gray">
                <a:xfrm rot="16200000">
                  <a:off x="654516"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72" name="Group 2271">
                <a:extLst>
                  <a:ext uri="{FF2B5EF4-FFF2-40B4-BE49-F238E27FC236}">
                    <a16:creationId xmlns:a16="http://schemas.microsoft.com/office/drawing/2014/main" id="{7F9030E2-6EFB-069E-D648-BE6C53525B10}"/>
                  </a:ext>
                </a:extLst>
              </p:cNvPr>
              <p:cNvGrpSpPr>
                <a:grpSpLocks/>
              </p:cNvGrpSpPr>
              <p:nvPr/>
            </p:nvGrpSpPr>
            <p:grpSpPr bwMode="gray">
              <a:xfrm>
                <a:off x="483841" y="2057719"/>
                <a:ext cx="217142" cy="217142"/>
                <a:chOff x="571779" y="2750836"/>
                <a:chExt cx="330948" cy="330948"/>
              </a:xfrm>
              <a:grpFill/>
            </p:grpSpPr>
            <p:sp>
              <p:nvSpPr>
                <p:cNvPr id="2840" name="dfine_grid_single_shape_frame">
                  <a:extLst>
                    <a:ext uri="{FF2B5EF4-FFF2-40B4-BE49-F238E27FC236}">
                      <a16:creationId xmlns:a16="http://schemas.microsoft.com/office/drawing/2014/main" id="{3A5A0264-B424-11CA-D1B7-446255DAE0AF}"/>
                    </a:ext>
                  </a:extLst>
                </p:cNvPr>
                <p:cNvSpPr>
                  <a:spLocks/>
                </p:cNvSpPr>
                <p:nvPr/>
              </p:nvSpPr>
              <p:spPr bwMode="gray">
                <a:xfrm>
                  <a:off x="571779"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41" name="Triangle_1">
                  <a:extLst>
                    <a:ext uri="{FF2B5EF4-FFF2-40B4-BE49-F238E27FC236}">
                      <a16:creationId xmlns:a16="http://schemas.microsoft.com/office/drawing/2014/main" id="{74946EB9-407F-86F4-1F60-AC0798B6899F}"/>
                    </a:ext>
                  </a:extLst>
                </p:cNvPr>
                <p:cNvSpPr>
                  <a:spLocks/>
                </p:cNvSpPr>
                <p:nvPr/>
              </p:nvSpPr>
              <p:spPr bwMode="gray">
                <a:xfrm rot="10800000">
                  <a:off x="571779"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42" name="Triangle_2">
                  <a:extLst>
                    <a:ext uri="{FF2B5EF4-FFF2-40B4-BE49-F238E27FC236}">
                      <a16:creationId xmlns:a16="http://schemas.microsoft.com/office/drawing/2014/main" id="{0678B812-A39F-534A-F278-9A46F28B89F7}"/>
                    </a:ext>
                  </a:extLst>
                </p:cNvPr>
                <p:cNvSpPr>
                  <a:spLocks/>
                </p:cNvSpPr>
                <p:nvPr/>
              </p:nvSpPr>
              <p:spPr bwMode="gray">
                <a:xfrm>
                  <a:off x="571779"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43" name="Triangle_3">
                  <a:extLst>
                    <a:ext uri="{FF2B5EF4-FFF2-40B4-BE49-F238E27FC236}">
                      <a16:creationId xmlns:a16="http://schemas.microsoft.com/office/drawing/2014/main" id="{A45180F4-6170-4E27-E116-E404B4EEE310}"/>
                    </a:ext>
                  </a:extLst>
                </p:cNvPr>
                <p:cNvSpPr>
                  <a:spLocks/>
                </p:cNvSpPr>
                <p:nvPr/>
              </p:nvSpPr>
              <p:spPr bwMode="gray">
                <a:xfrm rot="5400000">
                  <a:off x="489042"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44" name="Triangle_4">
                  <a:extLst>
                    <a:ext uri="{FF2B5EF4-FFF2-40B4-BE49-F238E27FC236}">
                      <a16:creationId xmlns:a16="http://schemas.microsoft.com/office/drawing/2014/main" id="{3966A480-117E-3E86-2281-1FFAB3578F50}"/>
                    </a:ext>
                  </a:extLst>
                </p:cNvPr>
                <p:cNvSpPr>
                  <a:spLocks/>
                </p:cNvSpPr>
                <p:nvPr/>
              </p:nvSpPr>
              <p:spPr bwMode="gray">
                <a:xfrm rot="16200000">
                  <a:off x="654516"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73" name="Group 2272">
                <a:extLst>
                  <a:ext uri="{FF2B5EF4-FFF2-40B4-BE49-F238E27FC236}">
                    <a16:creationId xmlns:a16="http://schemas.microsoft.com/office/drawing/2014/main" id="{E89F5F7C-7D15-4C19-9AE6-B4CD0C244DBE}"/>
                  </a:ext>
                </a:extLst>
              </p:cNvPr>
              <p:cNvGrpSpPr>
                <a:grpSpLocks/>
              </p:cNvGrpSpPr>
              <p:nvPr/>
            </p:nvGrpSpPr>
            <p:grpSpPr bwMode="gray">
              <a:xfrm>
                <a:off x="483841" y="2274860"/>
                <a:ext cx="217142" cy="217142"/>
                <a:chOff x="571779" y="3081783"/>
                <a:chExt cx="330948" cy="330948"/>
              </a:xfrm>
              <a:grpFill/>
            </p:grpSpPr>
            <p:sp>
              <p:nvSpPr>
                <p:cNvPr id="2835" name="dfine_grid_single_shape_frame">
                  <a:extLst>
                    <a:ext uri="{FF2B5EF4-FFF2-40B4-BE49-F238E27FC236}">
                      <a16:creationId xmlns:a16="http://schemas.microsoft.com/office/drawing/2014/main" id="{5E17BDEA-755E-3D5F-BE28-814B4E907627}"/>
                    </a:ext>
                  </a:extLst>
                </p:cNvPr>
                <p:cNvSpPr>
                  <a:spLocks/>
                </p:cNvSpPr>
                <p:nvPr/>
              </p:nvSpPr>
              <p:spPr bwMode="gray">
                <a:xfrm>
                  <a:off x="571779"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36" name="Triangle_1">
                  <a:extLst>
                    <a:ext uri="{FF2B5EF4-FFF2-40B4-BE49-F238E27FC236}">
                      <a16:creationId xmlns:a16="http://schemas.microsoft.com/office/drawing/2014/main" id="{8E5CFF26-97E8-693A-0D2B-A4DF97ED7FB2}"/>
                    </a:ext>
                  </a:extLst>
                </p:cNvPr>
                <p:cNvSpPr>
                  <a:spLocks/>
                </p:cNvSpPr>
                <p:nvPr/>
              </p:nvSpPr>
              <p:spPr bwMode="gray">
                <a:xfrm rot="10800000">
                  <a:off x="571779"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37" name="Triangle_2">
                  <a:extLst>
                    <a:ext uri="{FF2B5EF4-FFF2-40B4-BE49-F238E27FC236}">
                      <a16:creationId xmlns:a16="http://schemas.microsoft.com/office/drawing/2014/main" id="{24CC5390-E162-A4E5-C236-E8589F17EBEE}"/>
                    </a:ext>
                  </a:extLst>
                </p:cNvPr>
                <p:cNvSpPr>
                  <a:spLocks/>
                </p:cNvSpPr>
                <p:nvPr/>
              </p:nvSpPr>
              <p:spPr bwMode="gray">
                <a:xfrm>
                  <a:off x="571779"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38" name="Triangle_3">
                  <a:extLst>
                    <a:ext uri="{FF2B5EF4-FFF2-40B4-BE49-F238E27FC236}">
                      <a16:creationId xmlns:a16="http://schemas.microsoft.com/office/drawing/2014/main" id="{095A5439-BA02-48C9-5DA9-1DF8C0C5ACB7}"/>
                    </a:ext>
                  </a:extLst>
                </p:cNvPr>
                <p:cNvSpPr>
                  <a:spLocks/>
                </p:cNvSpPr>
                <p:nvPr/>
              </p:nvSpPr>
              <p:spPr bwMode="gray">
                <a:xfrm rot="5400000">
                  <a:off x="489042"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39" name="Triangle_4">
                  <a:extLst>
                    <a:ext uri="{FF2B5EF4-FFF2-40B4-BE49-F238E27FC236}">
                      <a16:creationId xmlns:a16="http://schemas.microsoft.com/office/drawing/2014/main" id="{9AE363D6-6700-464D-4E5C-CF7BA760E188}"/>
                    </a:ext>
                  </a:extLst>
                </p:cNvPr>
                <p:cNvSpPr>
                  <a:spLocks/>
                </p:cNvSpPr>
                <p:nvPr/>
              </p:nvSpPr>
              <p:spPr bwMode="gray">
                <a:xfrm rot="16200000">
                  <a:off x="654516"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74" name="Group 2273">
                <a:extLst>
                  <a:ext uri="{FF2B5EF4-FFF2-40B4-BE49-F238E27FC236}">
                    <a16:creationId xmlns:a16="http://schemas.microsoft.com/office/drawing/2014/main" id="{B54306D9-0F29-F2EF-4BFB-360263A870A6}"/>
                  </a:ext>
                </a:extLst>
              </p:cNvPr>
              <p:cNvGrpSpPr>
                <a:grpSpLocks/>
              </p:cNvGrpSpPr>
              <p:nvPr/>
            </p:nvGrpSpPr>
            <p:grpSpPr bwMode="gray">
              <a:xfrm>
                <a:off x="483841" y="2492001"/>
                <a:ext cx="217142" cy="217142"/>
                <a:chOff x="571779" y="3412730"/>
                <a:chExt cx="330948" cy="330948"/>
              </a:xfrm>
              <a:grpFill/>
            </p:grpSpPr>
            <p:sp>
              <p:nvSpPr>
                <p:cNvPr id="2830" name="dfine_grid_single_shape_frame">
                  <a:extLst>
                    <a:ext uri="{FF2B5EF4-FFF2-40B4-BE49-F238E27FC236}">
                      <a16:creationId xmlns:a16="http://schemas.microsoft.com/office/drawing/2014/main" id="{B6BA9942-171C-4BCA-95F0-DF90FE80EF3E}"/>
                    </a:ext>
                  </a:extLst>
                </p:cNvPr>
                <p:cNvSpPr>
                  <a:spLocks/>
                </p:cNvSpPr>
                <p:nvPr>
                  <p:custDataLst>
                    <p:tags r:id="rId35"/>
                  </p:custDataLst>
                </p:nvPr>
              </p:nvSpPr>
              <p:spPr bwMode="gray">
                <a:xfrm>
                  <a:off x="571779"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31" name="Triangle_1">
                  <a:extLst>
                    <a:ext uri="{FF2B5EF4-FFF2-40B4-BE49-F238E27FC236}">
                      <a16:creationId xmlns:a16="http://schemas.microsoft.com/office/drawing/2014/main" id="{225E470B-34A7-65EE-3894-DC7A8CA39899}"/>
                    </a:ext>
                  </a:extLst>
                </p:cNvPr>
                <p:cNvSpPr>
                  <a:spLocks/>
                </p:cNvSpPr>
                <p:nvPr/>
              </p:nvSpPr>
              <p:spPr bwMode="gray">
                <a:xfrm rot="10800000">
                  <a:off x="571779"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32" name="Triangle_2">
                  <a:extLst>
                    <a:ext uri="{FF2B5EF4-FFF2-40B4-BE49-F238E27FC236}">
                      <a16:creationId xmlns:a16="http://schemas.microsoft.com/office/drawing/2014/main" id="{81C716EB-609E-D4FE-8F2B-494D15165CFE}"/>
                    </a:ext>
                  </a:extLst>
                </p:cNvPr>
                <p:cNvSpPr>
                  <a:spLocks/>
                </p:cNvSpPr>
                <p:nvPr/>
              </p:nvSpPr>
              <p:spPr bwMode="gray">
                <a:xfrm>
                  <a:off x="571779"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33" name="Triangle_3">
                  <a:extLst>
                    <a:ext uri="{FF2B5EF4-FFF2-40B4-BE49-F238E27FC236}">
                      <a16:creationId xmlns:a16="http://schemas.microsoft.com/office/drawing/2014/main" id="{5B522E40-7A7B-815A-47B7-F881B6FDD578}"/>
                    </a:ext>
                  </a:extLst>
                </p:cNvPr>
                <p:cNvSpPr>
                  <a:spLocks/>
                </p:cNvSpPr>
                <p:nvPr/>
              </p:nvSpPr>
              <p:spPr bwMode="gray">
                <a:xfrm rot="5400000">
                  <a:off x="489042"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34" name="Triangle_4">
                  <a:extLst>
                    <a:ext uri="{FF2B5EF4-FFF2-40B4-BE49-F238E27FC236}">
                      <a16:creationId xmlns:a16="http://schemas.microsoft.com/office/drawing/2014/main" id="{508FB524-1E4F-F5F5-F6FA-C83034ABAC0B}"/>
                    </a:ext>
                  </a:extLst>
                </p:cNvPr>
                <p:cNvSpPr>
                  <a:spLocks/>
                </p:cNvSpPr>
                <p:nvPr/>
              </p:nvSpPr>
              <p:spPr bwMode="gray">
                <a:xfrm rot="16200000">
                  <a:off x="654516"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75" name="Group 2274">
                <a:extLst>
                  <a:ext uri="{FF2B5EF4-FFF2-40B4-BE49-F238E27FC236}">
                    <a16:creationId xmlns:a16="http://schemas.microsoft.com/office/drawing/2014/main" id="{EC0CBE02-15BD-C16A-E1A4-7342DFE81697}"/>
                  </a:ext>
                </a:extLst>
              </p:cNvPr>
              <p:cNvGrpSpPr>
                <a:grpSpLocks/>
              </p:cNvGrpSpPr>
              <p:nvPr/>
            </p:nvGrpSpPr>
            <p:grpSpPr bwMode="gray">
              <a:xfrm>
                <a:off x="483841" y="2709142"/>
                <a:ext cx="217142" cy="217142"/>
                <a:chOff x="571779" y="3743677"/>
                <a:chExt cx="330948" cy="330948"/>
              </a:xfrm>
              <a:grpFill/>
            </p:grpSpPr>
            <p:sp>
              <p:nvSpPr>
                <p:cNvPr id="2825" name="dfine_grid_single_shape_frame">
                  <a:extLst>
                    <a:ext uri="{FF2B5EF4-FFF2-40B4-BE49-F238E27FC236}">
                      <a16:creationId xmlns:a16="http://schemas.microsoft.com/office/drawing/2014/main" id="{5925AB93-D1F9-EE3C-AC16-6C6FF17D6E4E}"/>
                    </a:ext>
                  </a:extLst>
                </p:cNvPr>
                <p:cNvSpPr>
                  <a:spLocks/>
                </p:cNvSpPr>
                <p:nvPr/>
              </p:nvSpPr>
              <p:spPr bwMode="gray">
                <a:xfrm>
                  <a:off x="571779"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26" name="Triangle_1">
                  <a:extLst>
                    <a:ext uri="{FF2B5EF4-FFF2-40B4-BE49-F238E27FC236}">
                      <a16:creationId xmlns:a16="http://schemas.microsoft.com/office/drawing/2014/main" id="{9572BBA1-8B64-5665-F58F-6FF2EDC719F0}"/>
                    </a:ext>
                  </a:extLst>
                </p:cNvPr>
                <p:cNvSpPr>
                  <a:spLocks/>
                </p:cNvSpPr>
                <p:nvPr/>
              </p:nvSpPr>
              <p:spPr bwMode="gray">
                <a:xfrm rot="10800000">
                  <a:off x="571779"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27" name="Triangle_2">
                  <a:extLst>
                    <a:ext uri="{FF2B5EF4-FFF2-40B4-BE49-F238E27FC236}">
                      <a16:creationId xmlns:a16="http://schemas.microsoft.com/office/drawing/2014/main" id="{87A361AF-BEDC-3D56-C7A3-9D571D9E5028}"/>
                    </a:ext>
                  </a:extLst>
                </p:cNvPr>
                <p:cNvSpPr>
                  <a:spLocks/>
                </p:cNvSpPr>
                <p:nvPr/>
              </p:nvSpPr>
              <p:spPr bwMode="gray">
                <a:xfrm>
                  <a:off x="571779"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28" name="Triangle_3">
                  <a:extLst>
                    <a:ext uri="{FF2B5EF4-FFF2-40B4-BE49-F238E27FC236}">
                      <a16:creationId xmlns:a16="http://schemas.microsoft.com/office/drawing/2014/main" id="{EFD95D55-A36F-A1B9-64FA-35F075C48552}"/>
                    </a:ext>
                  </a:extLst>
                </p:cNvPr>
                <p:cNvSpPr>
                  <a:spLocks/>
                </p:cNvSpPr>
                <p:nvPr/>
              </p:nvSpPr>
              <p:spPr bwMode="gray">
                <a:xfrm rot="5400000">
                  <a:off x="489042"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29" name="Triangle_4">
                  <a:extLst>
                    <a:ext uri="{FF2B5EF4-FFF2-40B4-BE49-F238E27FC236}">
                      <a16:creationId xmlns:a16="http://schemas.microsoft.com/office/drawing/2014/main" id="{63DDC566-3D1A-F932-DA32-0E7ECF1000F9}"/>
                    </a:ext>
                  </a:extLst>
                </p:cNvPr>
                <p:cNvSpPr>
                  <a:spLocks/>
                </p:cNvSpPr>
                <p:nvPr/>
              </p:nvSpPr>
              <p:spPr bwMode="gray">
                <a:xfrm rot="16200000">
                  <a:off x="654516"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76" name="Group 2275">
                <a:extLst>
                  <a:ext uri="{FF2B5EF4-FFF2-40B4-BE49-F238E27FC236}">
                    <a16:creationId xmlns:a16="http://schemas.microsoft.com/office/drawing/2014/main" id="{3BBB869A-64D9-0235-B24D-6B52CCB06E64}"/>
                  </a:ext>
                </a:extLst>
              </p:cNvPr>
              <p:cNvGrpSpPr>
                <a:grpSpLocks/>
              </p:cNvGrpSpPr>
              <p:nvPr/>
            </p:nvGrpSpPr>
            <p:grpSpPr bwMode="gray">
              <a:xfrm>
                <a:off x="483841" y="2926283"/>
                <a:ext cx="217142" cy="217142"/>
                <a:chOff x="571779" y="4074624"/>
                <a:chExt cx="330948" cy="330948"/>
              </a:xfrm>
              <a:grpFill/>
            </p:grpSpPr>
            <p:sp>
              <p:nvSpPr>
                <p:cNvPr id="2820" name="dfine_grid_single_shape_frame">
                  <a:extLst>
                    <a:ext uri="{FF2B5EF4-FFF2-40B4-BE49-F238E27FC236}">
                      <a16:creationId xmlns:a16="http://schemas.microsoft.com/office/drawing/2014/main" id="{093D7506-4AA0-7177-6157-BA29F6438E8F}"/>
                    </a:ext>
                  </a:extLst>
                </p:cNvPr>
                <p:cNvSpPr>
                  <a:spLocks/>
                </p:cNvSpPr>
                <p:nvPr/>
              </p:nvSpPr>
              <p:spPr bwMode="gray">
                <a:xfrm>
                  <a:off x="571779"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21" name="Triangle_1">
                  <a:extLst>
                    <a:ext uri="{FF2B5EF4-FFF2-40B4-BE49-F238E27FC236}">
                      <a16:creationId xmlns:a16="http://schemas.microsoft.com/office/drawing/2014/main" id="{DA35A986-4CAA-71AC-6EDC-E7ABB91A2382}"/>
                    </a:ext>
                  </a:extLst>
                </p:cNvPr>
                <p:cNvSpPr>
                  <a:spLocks/>
                </p:cNvSpPr>
                <p:nvPr/>
              </p:nvSpPr>
              <p:spPr bwMode="gray">
                <a:xfrm rot="10800000">
                  <a:off x="571779"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22" name="Triangle_2">
                  <a:extLst>
                    <a:ext uri="{FF2B5EF4-FFF2-40B4-BE49-F238E27FC236}">
                      <a16:creationId xmlns:a16="http://schemas.microsoft.com/office/drawing/2014/main" id="{0C2E6483-8CF6-29E5-C4E0-8AB5AD1B8F97}"/>
                    </a:ext>
                  </a:extLst>
                </p:cNvPr>
                <p:cNvSpPr>
                  <a:spLocks/>
                </p:cNvSpPr>
                <p:nvPr/>
              </p:nvSpPr>
              <p:spPr bwMode="gray">
                <a:xfrm>
                  <a:off x="571779"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23" name="Triangle_3">
                  <a:extLst>
                    <a:ext uri="{FF2B5EF4-FFF2-40B4-BE49-F238E27FC236}">
                      <a16:creationId xmlns:a16="http://schemas.microsoft.com/office/drawing/2014/main" id="{D54BB05B-1650-8D02-33B6-46255D8F47FA}"/>
                    </a:ext>
                  </a:extLst>
                </p:cNvPr>
                <p:cNvSpPr>
                  <a:spLocks/>
                </p:cNvSpPr>
                <p:nvPr/>
              </p:nvSpPr>
              <p:spPr bwMode="gray">
                <a:xfrm rot="5400000">
                  <a:off x="489042"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24" name="Triangle_4">
                  <a:extLst>
                    <a:ext uri="{FF2B5EF4-FFF2-40B4-BE49-F238E27FC236}">
                      <a16:creationId xmlns:a16="http://schemas.microsoft.com/office/drawing/2014/main" id="{FB31AB45-6084-8518-4339-97EE5B9F3A74}"/>
                    </a:ext>
                  </a:extLst>
                </p:cNvPr>
                <p:cNvSpPr>
                  <a:spLocks/>
                </p:cNvSpPr>
                <p:nvPr/>
              </p:nvSpPr>
              <p:spPr bwMode="gray">
                <a:xfrm rot="16200000">
                  <a:off x="654516"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77" name="Group 2276">
                <a:extLst>
                  <a:ext uri="{FF2B5EF4-FFF2-40B4-BE49-F238E27FC236}">
                    <a16:creationId xmlns:a16="http://schemas.microsoft.com/office/drawing/2014/main" id="{F6A64E3C-7600-A0F2-E922-4F0CA2543AC8}"/>
                  </a:ext>
                </a:extLst>
              </p:cNvPr>
              <p:cNvGrpSpPr>
                <a:grpSpLocks/>
              </p:cNvGrpSpPr>
              <p:nvPr/>
            </p:nvGrpSpPr>
            <p:grpSpPr bwMode="gray">
              <a:xfrm>
                <a:off x="700982" y="1623437"/>
                <a:ext cx="217142" cy="217142"/>
                <a:chOff x="902726" y="2088942"/>
                <a:chExt cx="330948" cy="330948"/>
              </a:xfrm>
              <a:grpFill/>
            </p:grpSpPr>
            <p:sp>
              <p:nvSpPr>
                <p:cNvPr id="2815" name="dfine_grid_single_shape_frame">
                  <a:extLst>
                    <a:ext uri="{FF2B5EF4-FFF2-40B4-BE49-F238E27FC236}">
                      <a16:creationId xmlns:a16="http://schemas.microsoft.com/office/drawing/2014/main" id="{DFAA567A-FADB-2E3E-1AEA-6088DAEDA139}"/>
                    </a:ext>
                  </a:extLst>
                </p:cNvPr>
                <p:cNvSpPr>
                  <a:spLocks/>
                </p:cNvSpPr>
                <p:nvPr>
                  <p:custDataLst>
                    <p:tags r:id="rId34"/>
                  </p:custDataLst>
                </p:nvPr>
              </p:nvSpPr>
              <p:spPr bwMode="gray">
                <a:xfrm>
                  <a:off x="902726"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16" name="Triangle_1">
                  <a:extLst>
                    <a:ext uri="{FF2B5EF4-FFF2-40B4-BE49-F238E27FC236}">
                      <a16:creationId xmlns:a16="http://schemas.microsoft.com/office/drawing/2014/main" id="{367AA7AC-E8E0-E7D5-C628-E092131C7A12}"/>
                    </a:ext>
                  </a:extLst>
                </p:cNvPr>
                <p:cNvSpPr>
                  <a:spLocks/>
                </p:cNvSpPr>
                <p:nvPr/>
              </p:nvSpPr>
              <p:spPr bwMode="gray">
                <a:xfrm rot="10800000">
                  <a:off x="902726"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17" name="Triangle_2">
                  <a:extLst>
                    <a:ext uri="{FF2B5EF4-FFF2-40B4-BE49-F238E27FC236}">
                      <a16:creationId xmlns:a16="http://schemas.microsoft.com/office/drawing/2014/main" id="{8DEFDA67-1898-4BAF-8A6B-847BC0C4AC45}"/>
                    </a:ext>
                  </a:extLst>
                </p:cNvPr>
                <p:cNvSpPr>
                  <a:spLocks/>
                </p:cNvSpPr>
                <p:nvPr/>
              </p:nvSpPr>
              <p:spPr bwMode="gray">
                <a:xfrm>
                  <a:off x="902726"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18" name="Triangle_3">
                  <a:extLst>
                    <a:ext uri="{FF2B5EF4-FFF2-40B4-BE49-F238E27FC236}">
                      <a16:creationId xmlns:a16="http://schemas.microsoft.com/office/drawing/2014/main" id="{7D620F7E-8E02-42FE-3176-613D00F8FEBD}"/>
                    </a:ext>
                  </a:extLst>
                </p:cNvPr>
                <p:cNvSpPr>
                  <a:spLocks/>
                </p:cNvSpPr>
                <p:nvPr/>
              </p:nvSpPr>
              <p:spPr bwMode="gray">
                <a:xfrm rot="5400000">
                  <a:off x="819989"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19" name="Triangle_4">
                  <a:extLst>
                    <a:ext uri="{FF2B5EF4-FFF2-40B4-BE49-F238E27FC236}">
                      <a16:creationId xmlns:a16="http://schemas.microsoft.com/office/drawing/2014/main" id="{D72AEDF1-88B2-555F-3E4F-925028791A83}"/>
                    </a:ext>
                  </a:extLst>
                </p:cNvPr>
                <p:cNvSpPr>
                  <a:spLocks/>
                </p:cNvSpPr>
                <p:nvPr/>
              </p:nvSpPr>
              <p:spPr bwMode="gray">
                <a:xfrm rot="16200000">
                  <a:off x="985463"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78" name="Group 2277">
                <a:extLst>
                  <a:ext uri="{FF2B5EF4-FFF2-40B4-BE49-F238E27FC236}">
                    <a16:creationId xmlns:a16="http://schemas.microsoft.com/office/drawing/2014/main" id="{B4916FFD-8212-685B-EE8F-51431426135C}"/>
                  </a:ext>
                </a:extLst>
              </p:cNvPr>
              <p:cNvGrpSpPr>
                <a:grpSpLocks/>
              </p:cNvGrpSpPr>
              <p:nvPr/>
            </p:nvGrpSpPr>
            <p:grpSpPr bwMode="gray">
              <a:xfrm>
                <a:off x="700982" y="1840578"/>
                <a:ext cx="217142" cy="217142"/>
                <a:chOff x="902726" y="2419889"/>
                <a:chExt cx="330948" cy="330948"/>
              </a:xfrm>
              <a:grpFill/>
            </p:grpSpPr>
            <p:sp>
              <p:nvSpPr>
                <p:cNvPr id="2810" name="dfine_grid_single_shape_frame">
                  <a:extLst>
                    <a:ext uri="{FF2B5EF4-FFF2-40B4-BE49-F238E27FC236}">
                      <a16:creationId xmlns:a16="http://schemas.microsoft.com/office/drawing/2014/main" id="{8C1A4E05-1965-4A67-06C6-A2A1491A72B8}"/>
                    </a:ext>
                  </a:extLst>
                </p:cNvPr>
                <p:cNvSpPr>
                  <a:spLocks/>
                </p:cNvSpPr>
                <p:nvPr>
                  <p:custDataLst>
                    <p:tags r:id="rId33"/>
                  </p:custDataLst>
                </p:nvPr>
              </p:nvSpPr>
              <p:spPr bwMode="gray">
                <a:xfrm>
                  <a:off x="902726"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11" name="Triangle_1">
                  <a:extLst>
                    <a:ext uri="{FF2B5EF4-FFF2-40B4-BE49-F238E27FC236}">
                      <a16:creationId xmlns:a16="http://schemas.microsoft.com/office/drawing/2014/main" id="{5BD1706E-C215-C465-D696-AC64D5C439D8}"/>
                    </a:ext>
                  </a:extLst>
                </p:cNvPr>
                <p:cNvSpPr>
                  <a:spLocks/>
                </p:cNvSpPr>
                <p:nvPr/>
              </p:nvSpPr>
              <p:spPr bwMode="gray">
                <a:xfrm rot="10800000">
                  <a:off x="902726"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12" name="Triangle_2">
                  <a:extLst>
                    <a:ext uri="{FF2B5EF4-FFF2-40B4-BE49-F238E27FC236}">
                      <a16:creationId xmlns:a16="http://schemas.microsoft.com/office/drawing/2014/main" id="{F01519D0-D824-8B1C-D9CD-43704403C752}"/>
                    </a:ext>
                  </a:extLst>
                </p:cNvPr>
                <p:cNvSpPr>
                  <a:spLocks/>
                </p:cNvSpPr>
                <p:nvPr/>
              </p:nvSpPr>
              <p:spPr bwMode="gray">
                <a:xfrm>
                  <a:off x="902726"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13" name="Triangle_3">
                  <a:extLst>
                    <a:ext uri="{FF2B5EF4-FFF2-40B4-BE49-F238E27FC236}">
                      <a16:creationId xmlns:a16="http://schemas.microsoft.com/office/drawing/2014/main" id="{751B4C51-2C59-5B38-38F7-003E2E4C2E09}"/>
                    </a:ext>
                  </a:extLst>
                </p:cNvPr>
                <p:cNvSpPr>
                  <a:spLocks/>
                </p:cNvSpPr>
                <p:nvPr/>
              </p:nvSpPr>
              <p:spPr bwMode="gray">
                <a:xfrm rot="5400000">
                  <a:off x="819989"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14" name="Triangle_4">
                  <a:extLst>
                    <a:ext uri="{FF2B5EF4-FFF2-40B4-BE49-F238E27FC236}">
                      <a16:creationId xmlns:a16="http://schemas.microsoft.com/office/drawing/2014/main" id="{BE06E08D-3D79-76A2-E046-F6BE822AC633}"/>
                    </a:ext>
                  </a:extLst>
                </p:cNvPr>
                <p:cNvSpPr>
                  <a:spLocks/>
                </p:cNvSpPr>
                <p:nvPr/>
              </p:nvSpPr>
              <p:spPr bwMode="gray">
                <a:xfrm rot="16200000">
                  <a:off x="98546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79" name="Group 2278">
                <a:extLst>
                  <a:ext uri="{FF2B5EF4-FFF2-40B4-BE49-F238E27FC236}">
                    <a16:creationId xmlns:a16="http://schemas.microsoft.com/office/drawing/2014/main" id="{4AB74DA0-29D1-D120-46DF-9383128B24AB}"/>
                  </a:ext>
                </a:extLst>
              </p:cNvPr>
              <p:cNvGrpSpPr>
                <a:grpSpLocks/>
              </p:cNvGrpSpPr>
              <p:nvPr/>
            </p:nvGrpSpPr>
            <p:grpSpPr bwMode="gray">
              <a:xfrm>
                <a:off x="700982" y="2057719"/>
                <a:ext cx="217142" cy="217142"/>
                <a:chOff x="902726" y="2750836"/>
                <a:chExt cx="330948" cy="330948"/>
              </a:xfrm>
              <a:grpFill/>
            </p:grpSpPr>
            <p:sp>
              <p:nvSpPr>
                <p:cNvPr id="2805" name="dfine_grid_single_shape_frame">
                  <a:extLst>
                    <a:ext uri="{FF2B5EF4-FFF2-40B4-BE49-F238E27FC236}">
                      <a16:creationId xmlns:a16="http://schemas.microsoft.com/office/drawing/2014/main" id="{CB9B1CF9-0DA8-BD7F-D6C1-40E7F1696A55}"/>
                    </a:ext>
                  </a:extLst>
                </p:cNvPr>
                <p:cNvSpPr>
                  <a:spLocks/>
                </p:cNvSpPr>
                <p:nvPr/>
              </p:nvSpPr>
              <p:spPr bwMode="gray">
                <a:xfrm>
                  <a:off x="902726"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06" name="Triangle_1">
                  <a:extLst>
                    <a:ext uri="{FF2B5EF4-FFF2-40B4-BE49-F238E27FC236}">
                      <a16:creationId xmlns:a16="http://schemas.microsoft.com/office/drawing/2014/main" id="{4B22EEFD-4B03-DD70-59EF-5A23BD42EC9A}"/>
                    </a:ext>
                  </a:extLst>
                </p:cNvPr>
                <p:cNvSpPr>
                  <a:spLocks/>
                </p:cNvSpPr>
                <p:nvPr/>
              </p:nvSpPr>
              <p:spPr bwMode="gray">
                <a:xfrm rot="10800000">
                  <a:off x="902726"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07" name="Triangle_2">
                  <a:extLst>
                    <a:ext uri="{FF2B5EF4-FFF2-40B4-BE49-F238E27FC236}">
                      <a16:creationId xmlns:a16="http://schemas.microsoft.com/office/drawing/2014/main" id="{8971A927-132D-36DC-8764-C13A4E3A7C4C}"/>
                    </a:ext>
                  </a:extLst>
                </p:cNvPr>
                <p:cNvSpPr>
                  <a:spLocks/>
                </p:cNvSpPr>
                <p:nvPr/>
              </p:nvSpPr>
              <p:spPr bwMode="gray">
                <a:xfrm>
                  <a:off x="902726"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08" name="Triangle_3">
                  <a:extLst>
                    <a:ext uri="{FF2B5EF4-FFF2-40B4-BE49-F238E27FC236}">
                      <a16:creationId xmlns:a16="http://schemas.microsoft.com/office/drawing/2014/main" id="{742D8CA7-A9D3-C0BB-7FCA-AAA5D1CFBEC3}"/>
                    </a:ext>
                  </a:extLst>
                </p:cNvPr>
                <p:cNvSpPr>
                  <a:spLocks/>
                </p:cNvSpPr>
                <p:nvPr/>
              </p:nvSpPr>
              <p:spPr bwMode="gray">
                <a:xfrm rot="5400000">
                  <a:off x="819989"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09" name="Triangle_4">
                  <a:extLst>
                    <a:ext uri="{FF2B5EF4-FFF2-40B4-BE49-F238E27FC236}">
                      <a16:creationId xmlns:a16="http://schemas.microsoft.com/office/drawing/2014/main" id="{FCFB240D-2C38-71CA-92A4-8E136A4C7B78}"/>
                    </a:ext>
                  </a:extLst>
                </p:cNvPr>
                <p:cNvSpPr>
                  <a:spLocks/>
                </p:cNvSpPr>
                <p:nvPr/>
              </p:nvSpPr>
              <p:spPr bwMode="gray">
                <a:xfrm rot="16200000">
                  <a:off x="98546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80" name="Group 2279">
                <a:extLst>
                  <a:ext uri="{FF2B5EF4-FFF2-40B4-BE49-F238E27FC236}">
                    <a16:creationId xmlns:a16="http://schemas.microsoft.com/office/drawing/2014/main" id="{6C51768C-8895-2322-21DD-D65B7AD886F1}"/>
                  </a:ext>
                </a:extLst>
              </p:cNvPr>
              <p:cNvGrpSpPr>
                <a:grpSpLocks/>
              </p:cNvGrpSpPr>
              <p:nvPr/>
            </p:nvGrpSpPr>
            <p:grpSpPr bwMode="gray">
              <a:xfrm>
                <a:off x="700982" y="2274860"/>
                <a:ext cx="217142" cy="217142"/>
                <a:chOff x="902726" y="3081783"/>
                <a:chExt cx="330948" cy="330948"/>
              </a:xfrm>
              <a:grpFill/>
            </p:grpSpPr>
            <p:sp>
              <p:nvSpPr>
                <p:cNvPr id="2800" name="dfine_grid_single_shape_frame">
                  <a:extLst>
                    <a:ext uri="{FF2B5EF4-FFF2-40B4-BE49-F238E27FC236}">
                      <a16:creationId xmlns:a16="http://schemas.microsoft.com/office/drawing/2014/main" id="{310445F7-4087-2778-165A-DC758D5FD5EF}"/>
                    </a:ext>
                  </a:extLst>
                </p:cNvPr>
                <p:cNvSpPr>
                  <a:spLocks/>
                </p:cNvSpPr>
                <p:nvPr>
                  <p:custDataLst>
                    <p:tags r:id="rId32"/>
                  </p:custDataLst>
                </p:nvPr>
              </p:nvSpPr>
              <p:spPr bwMode="gray">
                <a:xfrm>
                  <a:off x="902726"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01" name="Triangle_1">
                  <a:extLst>
                    <a:ext uri="{FF2B5EF4-FFF2-40B4-BE49-F238E27FC236}">
                      <a16:creationId xmlns:a16="http://schemas.microsoft.com/office/drawing/2014/main" id="{EF4D96AC-2C12-ED61-B535-3D10B8F05343}"/>
                    </a:ext>
                  </a:extLst>
                </p:cNvPr>
                <p:cNvSpPr>
                  <a:spLocks/>
                </p:cNvSpPr>
                <p:nvPr/>
              </p:nvSpPr>
              <p:spPr bwMode="gray">
                <a:xfrm rot="10800000">
                  <a:off x="902726"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02" name="Triangle_2">
                  <a:extLst>
                    <a:ext uri="{FF2B5EF4-FFF2-40B4-BE49-F238E27FC236}">
                      <a16:creationId xmlns:a16="http://schemas.microsoft.com/office/drawing/2014/main" id="{EDB92E93-0A49-DF32-6C67-1A9D9FA85E20}"/>
                    </a:ext>
                  </a:extLst>
                </p:cNvPr>
                <p:cNvSpPr>
                  <a:spLocks/>
                </p:cNvSpPr>
                <p:nvPr/>
              </p:nvSpPr>
              <p:spPr bwMode="gray">
                <a:xfrm>
                  <a:off x="902726"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03" name="Triangle_3">
                  <a:extLst>
                    <a:ext uri="{FF2B5EF4-FFF2-40B4-BE49-F238E27FC236}">
                      <a16:creationId xmlns:a16="http://schemas.microsoft.com/office/drawing/2014/main" id="{C4309325-1555-A930-6FEF-B9C4679AE32D}"/>
                    </a:ext>
                  </a:extLst>
                </p:cNvPr>
                <p:cNvSpPr>
                  <a:spLocks/>
                </p:cNvSpPr>
                <p:nvPr/>
              </p:nvSpPr>
              <p:spPr bwMode="gray">
                <a:xfrm rot="5400000">
                  <a:off x="819989"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804" name="Triangle_4">
                  <a:extLst>
                    <a:ext uri="{FF2B5EF4-FFF2-40B4-BE49-F238E27FC236}">
                      <a16:creationId xmlns:a16="http://schemas.microsoft.com/office/drawing/2014/main" id="{35F0E587-687F-2FF0-5F41-870DC3B29466}"/>
                    </a:ext>
                  </a:extLst>
                </p:cNvPr>
                <p:cNvSpPr>
                  <a:spLocks/>
                </p:cNvSpPr>
                <p:nvPr/>
              </p:nvSpPr>
              <p:spPr bwMode="gray">
                <a:xfrm rot="16200000">
                  <a:off x="985463" y="3164520"/>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81" name="Group 2280">
                <a:extLst>
                  <a:ext uri="{FF2B5EF4-FFF2-40B4-BE49-F238E27FC236}">
                    <a16:creationId xmlns:a16="http://schemas.microsoft.com/office/drawing/2014/main" id="{2DE7514D-BED1-ED1F-5A34-FCCD6BE8D9DB}"/>
                  </a:ext>
                </a:extLst>
              </p:cNvPr>
              <p:cNvGrpSpPr>
                <a:grpSpLocks/>
              </p:cNvGrpSpPr>
              <p:nvPr/>
            </p:nvGrpSpPr>
            <p:grpSpPr bwMode="gray">
              <a:xfrm>
                <a:off x="700982" y="2709142"/>
                <a:ext cx="217142" cy="217142"/>
                <a:chOff x="902726" y="3743677"/>
                <a:chExt cx="330948" cy="330948"/>
              </a:xfrm>
              <a:grpFill/>
            </p:grpSpPr>
            <p:sp>
              <p:nvSpPr>
                <p:cNvPr id="2795" name="dfine_grid_single_shape_frame">
                  <a:extLst>
                    <a:ext uri="{FF2B5EF4-FFF2-40B4-BE49-F238E27FC236}">
                      <a16:creationId xmlns:a16="http://schemas.microsoft.com/office/drawing/2014/main" id="{BC142192-E49C-01F9-8111-9BB2AA7F72AA}"/>
                    </a:ext>
                  </a:extLst>
                </p:cNvPr>
                <p:cNvSpPr>
                  <a:spLocks/>
                </p:cNvSpPr>
                <p:nvPr/>
              </p:nvSpPr>
              <p:spPr bwMode="gray">
                <a:xfrm>
                  <a:off x="902726"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96" name="Triangle_1">
                  <a:extLst>
                    <a:ext uri="{FF2B5EF4-FFF2-40B4-BE49-F238E27FC236}">
                      <a16:creationId xmlns:a16="http://schemas.microsoft.com/office/drawing/2014/main" id="{AAC3ADA4-BF96-F2FA-982C-8B9F0011A3A5}"/>
                    </a:ext>
                  </a:extLst>
                </p:cNvPr>
                <p:cNvSpPr>
                  <a:spLocks/>
                </p:cNvSpPr>
                <p:nvPr/>
              </p:nvSpPr>
              <p:spPr bwMode="gray">
                <a:xfrm rot="10800000">
                  <a:off x="902726"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97" name="Triangle_2">
                  <a:extLst>
                    <a:ext uri="{FF2B5EF4-FFF2-40B4-BE49-F238E27FC236}">
                      <a16:creationId xmlns:a16="http://schemas.microsoft.com/office/drawing/2014/main" id="{5C5950EC-C962-476E-041B-C392191FBDED}"/>
                    </a:ext>
                  </a:extLst>
                </p:cNvPr>
                <p:cNvSpPr>
                  <a:spLocks/>
                </p:cNvSpPr>
                <p:nvPr/>
              </p:nvSpPr>
              <p:spPr bwMode="gray">
                <a:xfrm>
                  <a:off x="902726"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98" name="Triangle_3">
                  <a:extLst>
                    <a:ext uri="{FF2B5EF4-FFF2-40B4-BE49-F238E27FC236}">
                      <a16:creationId xmlns:a16="http://schemas.microsoft.com/office/drawing/2014/main" id="{1E85A476-3A7C-AB9C-EDA7-B47FE2C88522}"/>
                    </a:ext>
                  </a:extLst>
                </p:cNvPr>
                <p:cNvSpPr>
                  <a:spLocks/>
                </p:cNvSpPr>
                <p:nvPr/>
              </p:nvSpPr>
              <p:spPr bwMode="gray">
                <a:xfrm rot="5400000">
                  <a:off x="819989"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99" name="Triangle_4">
                  <a:extLst>
                    <a:ext uri="{FF2B5EF4-FFF2-40B4-BE49-F238E27FC236}">
                      <a16:creationId xmlns:a16="http://schemas.microsoft.com/office/drawing/2014/main" id="{1EDE0DBB-0793-E161-661B-70048C6FFDBB}"/>
                    </a:ext>
                  </a:extLst>
                </p:cNvPr>
                <p:cNvSpPr>
                  <a:spLocks/>
                </p:cNvSpPr>
                <p:nvPr/>
              </p:nvSpPr>
              <p:spPr bwMode="gray">
                <a:xfrm rot="16200000">
                  <a:off x="985463" y="3826414"/>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82" name="Group 2281">
                <a:extLst>
                  <a:ext uri="{FF2B5EF4-FFF2-40B4-BE49-F238E27FC236}">
                    <a16:creationId xmlns:a16="http://schemas.microsoft.com/office/drawing/2014/main" id="{779BFAF8-6B75-FEF6-19AE-BD2D12D85AE1}"/>
                  </a:ext>
                </a:extLst>
              </p:cNvPr>
              <p:cNvGrpSpPr>
                <a:grpSpLocks/>
              </p:cNvGrpSpPr>
              <p:nvPr/>
            </p:nvGrpSpPr>
            <p:grpSpPr bwMode="gray">
              <a:xfrm>
                <a:off x="700982" y="2926283"/>
                <a:ext cx="217142" cy="217142"/>
                <a:chOff x="902726" y="4074624"/>
                <a:chExt cx="330948" cy="330948"/>
              </a:xfrm>
              <a:grpFill/>
            </p:grpSpPr>
            <p:sp>
              <p:nvSpPr>
                <p:cNvPr id="2790" name="dfine_grid_single_shape_frame">
                  <a:extLst>
                    <a:ext uri="{FF2B5EF4-FFF2-40B4-BE49-F238E27FC236}">
                      <a16:creationId xmlns:a16="http://schemas.microsoft.com/office/drawing/2014/main" id="{6C05B5A7-AE25-4EA3-302C-2A79842885EF}"/>
                    </a:ext>
                  </a:extLst>
                </p:cNvPr>
                <p:cNvSpPr>
                  <a:spLocks/>
                </p:cNvSpPr>
                <p:nvPr/>
              </p:nvSpPr>
              <p:spPr bwMode="gray">
                <a:xfrm>
                  <a:off x="902726"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91" name="Triangle_1">
                  <a:extLst>
                    <a:ext uri="{FF2B5EF4-FFF2-40B4-BE49-F238E27FC236}">
                      <a16:creationId xmlns:a16="http://schemas.microsoft.com/office/drawing/2014/main" id="{C114E65E-EA55-072B-81F5-F56D7A0E6EA2}"/>
                    </a:ext>
                  </a:extLst>
                </p:cNvPr>
                <p:cNvSpPr>
                  <a:spLocks/>
                </p:cNvSpPr>
                <p:nvPr/>
              </p:nvSpPr>
              <p:spPr bwMode="gray">
                <a:xfrm rot="10800000">
                  <a:off x="902726"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92" name="Triangle_2">
                  <a:extLst>
                    <a:ext uri="{FF2B5EF4-FFF2-40B4-BE49-F238E27FC236}">
                      <a16:creationId xmlns:a16="http://schemas.microsoft.com/office/drawing/2014/main" id="{4DE1A6F3-2FE3-49D5-2DEC-CE27069FE666}"/>
                    </a:ext>
                  </a:extLst>
                </p:cNvPr>
                <p:cNvSpPr>
                  <a:spLocks/>
                </p:cNvSpPr>
                <p:nvPr/>
              </p:nvSpPr>
              <p:spPr bwMode="gray">
                <a:xfrm>
                  <a:off x="902726"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93" name="Triangle_3">
                  <a:extLst>
                    <a:ext uri="{FF2B5EF4-FFF2-40B4-BE49-F238E27FC236}">
                      <a16:creationId xmlns:a16="http://schemas.microsoft.com/office/drawing/2014/main" id="{97E035B3-60C7-6F42-41D0-1E5360283012}"/>
                    </a:ext>
                  </a:extLst>
                </p:cNvPr>
                <p:cNvSpPr>
                  <a:spLocks/>
                </p:cNvSpPr>
                <p:nvPr/>
              </p:nvSpPr>
              <p:spPr bwMode="gray">
                <a:xfrm rot="5400000">
                  <a:off x="819989"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94" name="Triangle_4">
                  <a:extLst>
                    <a:ext uri="{FF2B5EF4-FFF2-40B4-BE49-F238E27FC236}">
                      <a16:creationId xmlns:a16="http://schemas.microsoft.com/office/drawing/2014/main" id="{704C6C2E-DFA1-55FD-CBB8-77B14321FD18}"/>
                    </a:ext>
                  </a:extLst>
                </p:cNvPr>
                <p:cNvSpPr>
                  <a:spLocks/>
                </p:cNvSpPr>
                <p:nvPr/>
              </p:nvSpPr>
              <p:spPr bwMode="gray">
                <a:xfrm rot="16200000">
                  <a:off x="98546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sp>
            <p:nvSpPr>
              <p:cNvPr id="2283" name="Triangle_2">
                <a:extLst>
                  <a:ext uri="{FF2B5EF4-FFF2-40B4-BE49-F238E27FC236}">
                    <a16:creationId xmlns:a16="http://schemas.microsoft.com/office/drawing/2014/main" id="{47A51E9A-CDE2-7CBB-2625-4FC4D8885B59}"/>
                  </a:ext>
                </a:extLst>
              </p:cNvPr>
              <p:cNvSpPr>
                <a:spLocks/>
              </p:cNvSpPr>
              <p:nvPr/>
            </p:nvSpPr>
            <p:spPr bwMode="gray">
              <a:xfrm>
                <a:off x="920750" y="2384013"/>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84" name="Triangle_2">
                <a:extLst>
                  <a:ext uri="{FF2B5EF4-FFF2-40B4-BE49-F238E27FC236}">
                    <a16:creationId xmlns:a16="http://schemas.microsoft.com/office/drawing/2014/main" id="{954537A0-3CA0-EDAD-222D-49078FC41393}"/>
                  </a:ext>
                </a:extLst>
              </p:cNvPr>
              <p:cNvSpPr>
                <a:spLocks/>
              </p:cNvSpPr>
              <p:nvPr/>
            </p:nvSpPr>
            <p:spPr bwMode="gray">
              <a:xfrm>
                <a:off x="700982" y="1949148"/>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85" name="Triangle_3">
                <a:extLst>
                  <a:ext uri="{FF2B5EF4-FFF2-40B4-BE49-F238E27FC236}">
                    <a16:creationId xmlns:a16="http://schemas.microsoft.com/office/drawing/2014/main" id="{8B7C41CA-71E2-1BEE-BC7A-CB4E72E96B19}"/>
                  </a:ext>
                </a:extLst>
              </p:cNvPr>
              <p:cNvSpPr>
                <a:spLocks/>
              </p:cNvSpPr>
              <p:nvPr/>
            </p:nvSpPr>
            <p:spPr bwMode="gray">
              <a:xfrm rot="10800000">
                <a:off x="266700" y="1623437"/>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86" name="Triangle_2">
                <a:extLst>
                  <a:ext uri="{FF2B5EF4-FFF2-40B4-BE49-F238E27FC236}">
                    <a16:creationId xmlns:a16="http://schemas.microsoft.com/office/drawing/2014/main" id="{4BF55260-A3F2-9F28-6225-D55E0F70A551}"/>
                  </a:ext>
                </a:extLst>
              </p:cNvPr>
              <p:cNvSpPr>
                <a:spLocks/>
              </p:cNvSpPr>
              <p:nvPr/>
            </p:nvSpPr>
            <p:spPr bwMode="gray">
              <a:xfrm>
                <a:off x="266700" y="1732007"/>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87" name="Triangle_3">
                <a:extLst>
                  <a:ext uri="{FF2B5EF4-FFF2-40B4-BE49-F238E27FC236}">
                    <a16:creationId xmlns:a16="http://schemas.microsoft.com/office/drawing/2014/main" id="{C858960A-5190-4F4D-0372-135F2463B43B}"/>
                  </a:ext>
                </a:extLst>
              </p:cNvPr>
              <p:cNvSpPr>
                <a:spLocks/>
              </p:cNvSpPr>
              <p:nvPr/>
            </p:nvSpPr>
            <p:spPr bwMode="gray">
              <a:xfrm rot="10800000">
                <a:off x="266700" y="1840578"/>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88" name="Triangle_1">
                <a:extLst>
                  <a:ext uri="{FF2B5EF4-FFF2-40B4-BE49-F238E27FC236}">
                    <a16:creationId xmlns:a16="http://schemas.microsoft.com/office/drawing/2014/main" id="{DCDED356-4C77-57FE-C3F8-1DF4776D339A}"/>
                  </a:ext>
                </a:extLst>
              </p:cNvPr>
              <p:cNvSpPr>
                <a:spLocks/>
              </p:cNvSpPr>
              <p:nvPr/>
            </p:nvSpPr>
            <p:spPr bwMode="gray">
              <a:xfrm rot="10800000">
                <a:off x="483841" y="2492001"/>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89" name="Triangle_2">
                <a:extLst>
                  <a:ext uri="{FF2B5EF4-FFF2-40B4-BE49-F238E27FC236}">
                    <a16:creationId xmlns:a16="http://schemas.microsoft.com/office/drawing/2014/main" id="{E1FB9114-EF12-655B-1FB9-D05A4B13AEDA}"/>
                  </a:ext>
                </a:extLst>
              </p:cNvPr>
              <p:cNvSpPr>
                <a:spLocks/>
              </p:cNvSpPr>
              <p:nvPr/>
            </p:nvSpPr>
            <p:spPr bwMode="gray">
              <a:xfrm>
                <a:off x="700982" y="2383431"/>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90" name="Triangle_2">
                <a:extLst>
                  <a:ext uri="{FF2B5EF4-FFF2-40B4-BE49-F238E27FC236}">
                    <a16:creationId xmlns:a16="http://schemas.microsoft.com/office/drawing/2014/main" id="{2820EF71-F355-CB1C-40CB-F9940FA89FFA}"/>
                  </a:ext>
                </a:extLst>
              </p:cNvPr>
              <p:cNvSpPr>
                <a:spLocks/>
              </p:cNvSpPr>
              <p:nvPr/>
            </p:nvSpPr>
            <p:spPr bwMode="gray">
              <a:xfrm>
                <a:off x="266700" y="2166289"/>
                <a:ext cx="217141" cy="108571"/>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nvGrpSpPr>
              <p:cNvPr id="2291" name="Group 2290">
                <a:extLst>
                  <a:ext uri="{FF2B5EF4-FFF2-40B4-BE49-F238E27FC236}">
                    <a16:creationId xmlns:a16="http://schemas.microsoft.com/office/drawing/2014/main" id="{4E5E219C-BB41-3892-7D91-1E21BDCC2DC8}"/>
                  </a:ext>
                </a:extLst>
              </p:cNvPr>
              <p:cNvGrpSpPr>
                <a:grpSpLocks/>
              </p:cNvGrpSpPr>
              <p:nvPr/>
            </p:nvGrpSpPr>
            <p:grpSpPr bwMode="gray">
              <a:xfrm>
                <a:off x="700982" y="3143425"/>
                <a:ext cx="217142" cy="217142"/>
                <a:chOff x="902726" y="2419889"/>
                <a:chExt cx="330948" cy="330948"/>
              </a:xfrm>
              <a:grpFill/>
            </p:grpSpPr>
            <p:sp>
              <p:nvSpPr>
                <p:cNvPr id="2785" name="dfine_grid_single_shape_frame">
                  <a:extLst>
                    <a:ext uri="{FF2B5EF4-FFF2-40B4-BE49-F238E27FC236}">
                      <a16:creationId xmlns:a16="http://schemas.microsoft.com/office/drawing/2014/main" id="{E28AB1ED-8EB5-016F-F81D-5A8EE025AB84}"/>
                    </a:ext>
                  </a:extLst>
                </p:cNvPr>
                <p:cNvSpPr>
                  <a:spLocks/>
                </p:cNvSpPr>
                <p:nvPr/>
              </p:nvSpPr>
              <p:spPr bwMode="gray">
                <a:xfrm>
                  <a:off x="902726"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86" name="Triangle_1">
                  <a:extLst>
                    <a:ext uri="{FF2B5EF4-FFF2-40B4-BE49-F238E27FC236}">
                      <a16:creationId xmlns:a16="http://schemas.microsoft.com/office/drawing/2014/main" id="{0D91E5F3-E72A-D268-BFB6-D8194548FE81}"/>
                    </a:ext>
                  </a:extLst>
                </p:cNvPr>
                <p:cNvSpPr>
                  <a:spLocks/>
                </p:cNvSpPr>
                <p:nvPr/>
              </p:nvSpPr>
              <p:spPr bwMode="gray">
                <a:xfrm rot="10800000">
                  <a:off x="902726"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87" name="Triangle_2">
                  <a:extLst>
                    <a:ext uri="{FF2B5EF4-FFF2-40B4-BE49-F238E27FC236}">
                      <a16:creationId xmlns:a16="http://schemas.microsoft.com/office/drawing/2014/main" id="{5815EF10-263C-2498-1D59-EB7AFC9DCB61}"/>
                    </a:ext>
                  </a:extLst>
                </p:cNvPr>
                <p:cNvSpPr>
                  <a:spLocks/>
                </p:cNvSpPr>
                <p:nvPr/>
              </p:nvSpPr>
              <p:spPr bwMode="gray">
                <a:xfrm>
                  <a:off x="902726"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88" name="Triangle_3">
                  <a:extLst>
                    <a:ext uri="{FF2B5EF4-FFF2-40B4-BE49-F238E27FC236}">
                      <a16:creationId xmlns:a16="http://schemas.microsoft.com/office/drawing/2014/main" id="{240FF312-B4DF-2EAC-1DA4-CA3CAC24596D}"/>
                    </a:ext>
                  </a:extLst>
                </p:cNvPr>
                <p:cNvSpPr>
                  <a:spLocks/>
                </p:cNvSpPr>
                <p:nvPr/>
              </p:nvSpPr>
              <p:spPr bwMode="gray">
                <a:xfrm rot="5400000">
                  <a:off x="819989"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89" name="Triangle_4">
                  <a:extLst>
                    <a:ext uri="{FF2B5EF4-FFF2-40B4-BE49-F238E27FC236}">
                      <a16:creationId xmlns:a16="http://schemas.microsoft.com/office/drawing/2014/main" id="{BEB17353-5AD8-519E-B70B-659A67FDD292}"/>
                    </a:ext>
                  </a:extLst>
                </p:cNvPr>
                <p:cNvSpPr>
                  <a:spLocks/>
                </p:cNvSpPr>
                <p:nvPr/>
              </p:nvSpPr>
              <p:spPr bwMode="gray">
                <a:xfrm rot="16200000">
                  <a:off x="98546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92" name="Group 2291">
                <a:extLst>
                  <a:ext uri="{FF2B5EF4-FFF2-40B4-BE49-F238E27FC236}">
                    <a16:creationId xmlns:a16="http://schemas.microsoft.com/office/drawing/2014/main" id="{7DD58E33-4231-B41F-FECF-0D422CB1F5DF}"/>
                  </a:ext>
                </a:extLst>
              </p:cNvPr>
              <p:cNvGrpSpPr>
                <a:grpSpLocks/>
              </p:cNvGrpSpPr>
              <p:nvPr/>
            </p:nvGrpSpPr>
            <p:grpSpPr bwMode="gray">
              <a:xfrm>
                <a:off x="700982" y="3360566"/>
                <a:ext cx="217142" cy="217142"/>
                <a:chOff x="902726" y="2750836"/>
                <a:chExt cx="330948" cy="330948"/>
              </a:xfrm>
              <a:grpFill/>
            </p:grpSpPr>
            <p:sp>
              <p:nvSpPr>
                <p:cNvPr id="2780" name="dfine_grid_single_shape_frame">
                  <a:extLst>
                    <a:ext uri="{FF2B5EF4-FFF2-40B4-BE49-F238E27FC236}">
                      <a16:creationId xmlns:a16="http://schemas.microsoft.com/office/drawing/2014/main" id="{9CCEE2AE-E920-9FB3-4F6C-4B6DC5F59C00}"/>
                    </a:ext>
                  </a:extLst>
                </p:cNvPr>
                <p:cNvSpPr>
                  <a:spLocks/>
                </p:cNvSpPr>
                <p:nvPr/>
              </p:nvSpPr>
              <p:spPr bwMode="gray">
                <a:xfrm>
                  <a:off x="902726"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81" name="Triangle_1">
                  <a:extLst>
                    <a:ext uri="{FF2B5EF4-FFF2-40B4-BE49-F238E27FC236}">
                      <a16:creationId xmlns:a16="http://schemas.microsoft.com/office/drawing/2014/main" id="{DDE90CA7-A861-AB71-3204-15A620C45AF0}"/>
                    </a:ext>
                  </a:extLst>
                </p:cNvPr>
                <p:cNvSpPr>
                  <a:spLocks/>
                </p:cNvSpPr>
                <p:nvPr/>
              </p:nvSpPr>
              <p:spPr bwMode="gray">
                <a:xfrm rot="10800000">
                  <a:off x="902726"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82" name="Triangle_2">
                  <a:extLst>
                    <a:ext uri="{FF2B5EF4-FFF2-40B4-BE49-F238E27FC236}">
                      <a16:creationId xmlns:a16="http://schemas.microsoft.com/office/drawing/2014/main" id="{15892472-40A7-1092-D761-2D784D62D5DF}"/>
                    </a:ext>
                  </a:extLst>
                </p:cNvPr>
                <p:cNvSpPr>
                  <a:spLocks/>
                </p:cNvSpPr>
                <p:nvPr/>
              </p:nvSpPr>
              <p:spPr bwMode="gray">
                <a:xfrm>
                  <a:off x="902726"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83" name="Triangle_3">
                  <a:extLst>
                    <a:ext uri="{FF2B5EF4-FFF2-40B4-BE49-F238E27FC236}">
                      <a16:creationId xmlns:a16="http://schemas.microsoft.com/office/drawing/2014/main" id="{62AD5F6B-827E-860B-E764-743EBFF04E17}"/>
                    </a:ext>
                  </a:extLst>
                </p:cNvPr>
                <p:cNvSpPr>
                  <a:spLocks/>
                </p:cNvSpPr>
                <p:nvPr/>
              </p:nvSpPr>
              <p:spPr bwMode="gray">
                <a:xfrm rot="5400000">
                  <a:off x="819989"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84" name="Triangle_4">
                  <a:extLst>
                    <a:ext uri="{FF2B5EF4-FFF2-40B4-BE49-F238E27FC236}">
                      <a16:creationId xmlns:a16="http://schemas.microsoft.com/office/drawing/2014/main" id="{80CA1ABA-1993-DCCB-6424-79670CA6C59B}"/>
                    </a:ext>
                  </a:extLst>
                </p:cNvPr>
                <p:cNvSpPr>
                  <a:spLocks/>
                </p:cNvSpPr>
                <p:nvPr/>
              </p:nvSpPr>
              <p:spPr bwMode="gray">
                <a:xfrm rot="16200000">
                  <a:off x="98546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93" name="Group 2292">
                <a:extLst>
                  <a:ext uri="{FF2B5EF4-FFF2-40B4-BE49-F238E27FC236}">
                    <a16:creationId xmlns:a16="http://schemas.microsoft.com/office/drawing/2014/main" id="{DB7C48AB-FCCB-821C-42FB-23B699C8D5DB}"/>
                  </a:ext>
                </a:extLst>
              </p:cNvPr>
              <p:cNvGrpSpPr>
                <a:grpSpLocks/>
              </p:cNvGrpSpPr>
              <p:nvPr/>
            </p:nvGrpSpPr>
            <p:grpSpPr bwMode="gray">
              <a:xfrm>
                <a:off x="700982" y="3577707"/>
                <a:ext cx="217142" cy="217142"/>
                <a:chOff x="902726" y="3081783"/>
                <a:chExt cx="330948" cy="330948"/>
              </a:xfrm>
              <a:grpFill/>
            </p:grpSpPr>
            <p:sp>
              <p:nvSpPr>
                <p:cNvPr id="2775" name="dfine_grid_single_shape_frame">
                  <a:extLst>
                    <a:ext uri="{FF2B5EF4-FFF2-40B4-BE49-F238E27FC236}">
                      <a16:creationId xmlns:a16="http://schemas.microsoft.com/office/drawing/2014/main" id="{197F40A2-073A-C914-B9DF-A1D70D5B2025}"/>
                    </a:ext>
                  </a:extLst>
                </p:cNvPr>
                <p:cNvSpPr>
                  <a:spLocks/>
                </p:cNvSpPr>
                <p:nvPr/>
              </p:nvSpPr>
              <p:spPr bwMode="gray">
                <a:xfrm>
                  <a:off x="902726"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76" name="Triangle_1">
                  <a:extLst>
                    <a:ext uri="{FF2B5EF4-FFF2-40B4-BE49-F238E27FC236}">
                      <a16:creationId xmlns:a16="http://schemas.microsoft.com/office/drawing/2014/main" id="{3ED0CA64-35DB-AB81-8F11-E19EB140231D}"/>
                    </a:ext>
                  </a:extLst>
                </p:cNvPr>
                <p:cNvSpPr>
                  <a:spLocks/>
                </p:cNvSpPr>
                <p:nvPr/>
              </p:nvSpPr>
              <p:spPr bwMode="gray">
                <a:xfrm rot="10800000">
                  <a:off x="902726"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77" name="Triangle_2">
                  <a:extLst>
                    <a:ext uri="{FF2B5EF4-FFF2-40B4-BE49-F238E27FC236}">
                      <a16:creationId xmlns:a16="http://schemas.microsoft.com/office/drawing/2014/main" id="{C3815D9D-ED7E-AD2A-7327-7FF9EAF330DD}"/>
                    </a:ext>
                  </a:extLst>
                </p:cNvPr>
                <p:cNvSpPr>
                  <a:spLocks/>
                </p:cNvSpPr>
                <p:nvPr/>
              </p:nvSpPr>
              <p:spPr bwMode="gray">
                <a:xfrm>
                  <a:off x="902726"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78" name="Triangle_3">
                  <a:extLst>
                    <a:ext uri="{FF2B5EF4-FFF2-40B4-BE49-F238E27FC236}">
                      <a16:creationId xmlns:a16="http://schemas.microsoft.com/office/drawing/2014/main" id="{AAE7628A-F0FD-7473-678D-3487BFF74240}"/>
                    </a:ext>
                  </a:extLst>
                </p:cNvPr>
                <p:cNvSpPr>
                  <a:spLocks/>
                </p:cNvSpPr>
                <p:nvPr/>
              </p:nvSpPr>
              <p:spPr bwMode="gray">
                <a:xfrm rot="5400000">
                  <a:off x="819989"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79" name="Triangle_4">
                  <a:extLst>
                    <a:ext uri="{FF2B5EF4-FFF2-40B4-BE49-F238E27FC236}">
                      <a16:creationId xmlns:a16="http://schemas.microsoft.com/office/drawing/2014/main" id="{73CE6E96-D0A1-C12F-D93F-C3E238C653A7}"/>
                    </a:ext>
                  </a:extLst>
                </p:cNvPr>
                <p:cNvSpPr>
                  <a:spLocks/>
                </p:cNvSpPr>
                <p:nvPr/>
              </p:nvSpPr>
              <p:spPr bwMode="gray">
                <a:xfrm rot="16200000">
                  <a:off x="98546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94" name="Group 2293">
                <a:extLst>
                  <a:ext uri="{FF2B5EF4-FFF2-40B4-BE49-F238E27FC236}">
                    <a16:creationId xmlns:a16="http://schemas.microsoft.com/office/drawing/2014/main" id="{77129736-CBC3-28D7-43AD-66BCEB6CC6EB}"/>
                  </a:ext>
                </a:extLst>
              </p:cNvPr>
              <p:cNvGrpSpPr>
                <a:grpSpLocks/>
              </p:cNvGrpSpPr>
              <p:nvPr/>
            </p:nvGrpSpPr>
            <p:grpSpPr bwMode="gray">
              <a:xfrm>
                <a:off x="700982" y="3794848"/>
                <a:ext cx="217142" cy="217142"/>
                <a:chOff x="902726" y="3412730"/>
                <a:chExt cx="330948" cy="330948"/>
              </a:xfrm>
              <a:grpFill/>
            </p:grpSpPr>
            <p:sp>
              <p:nvSpPr>
                <p:cNvPr id="2770" name="dfine_grid_single_shape_frame">
                  <a:extLst>
                    <a:ext uri="{FF2B5EF4-FFF2-40B4-BE49-F238E27FC236}">
                      <a16:creationId xmlns:a16="http://schemas.microsoft.com/office/drawing/2014/main" id="{CE2D4001-74CE-C459-896A-61EE2528DDE6}"/>
                    </a:ext>
                  </a:extLst>
                </p:cNvPr>
                <p:cNvSpPr>
                  <a:spLocks/>
                </p:cNvSpPr>
                <p:nvPr/>
              </p:nvSpPr>
              <p:spPr bwMode="gray">
                <a:xfrm>
                  <a:off x="902726"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71" name="Triangle_1">
                  <a:extLst>
                    <a:ext uri="{FF2B5EF4-FFF2-40B4-BE49-F238E27FC236}">
                      <a16:creationId xmlns:a16="http://schemas.microsoft.com/office/drawing/2014/main" id="{0B66C91E-8BE4-D638-C91D-460B9E2ED0C2}"/>
                    </a:ext>
                  </a:extLst>
                </p:cNvPr>
                <p:cNvSpPr>
                  <a:spLocks/>
                </p:cNvSpPr>
                <p:nvPr/>
              </p:nvSpPr>
              <p:spPr bwMode="gray">
                <a:xfrm rot="10800000">
                  <a:off x="902726"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72" name="Triangle_2">
                  <a:extLst>
                    <a:ext uri="{FF2B5EF4-FFF2-40B4-BE49-F238E27FC236}">
                      <a16:creationId xmlns:a16="http://schemas.microsoft.com/office/drawing/2014/main" id="{28C6E8F9-4621-ED0B-AFCB-08579C12F94F}"/>
                    </a:ext>
                  </a:extLst>
                </p:cNvPr>
                <p:cNvSpPr>
                  <a:spLocks/>
                </p:cNvSpPr>
                <p:nvPr/>
              </p:nvSpPr>
              <p:spPr bwMode="gray">
                <a:xfrm>
                  <a:off x="902726"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73" name="Triangle_3">
                  <a:extLst>
                    <a:ext uri="{FF2B5EF4-FFF2-40B4-BE49-F238E27FC236}">
                      <a16:creationId xmlns:a16="http://schemas.microsoft.com/office/drawing/2014/main" id="{91B70FF8-E03F-53BB-A015-0B2C7090BCC3}"/>
                    </a:ext>
                  </a:extLst>
                </p:cNvPr>
                <p:cNvSpPr>
                  <a:spLocks/>
                </p:cNvSpPr>
                <p:nvPr/>
              </p:nvSpPr>
              <p:spPr bwMode="gray">
                <a:xfrm rot="5400000">
                  <a:off x="819989"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74" name="Triangle_4">
                  <a:extLst>
                    <a:ext uri="{FF2B5EF4-FFF2-40B4-BE49-F238E27FC236}">
                      <a16:creationId xmlns:a16="http://schemas.microsoft.com/office/drawing/2014/main" id="{7F146C0F-B402-79A7-3523-C9266DA3298B}"/>
                    </a:ext>
                  </a:extLst>
                </p:cNvPr>
                <p:cNvSpPr>
                  <a:spLocks/>
                </p:cNvSpPr>
                <p:nvPr/>
              </p:nvSpPr>
              <p:spPr bwMode="gray">
                <a:xfrm rot="16200000">
                  <a:off x="98546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95" name="Group 2294">
                <a:extLst>
                  <a:ext uri="{FF2B5EF4-FFF2-40B4-BE49-F238E27FC236}">
                    <a16:creationId xmlns:a16="http://schemas.microsoft.com/office/drawing/2014/main" id="{80FB50B7-F827-BD1D-F3C1-EAD08FA2D60F}"/>
                  </a:ext>
                </a:extLst>
              </p:cNvPr>
              <p:cNvGrpSpPr>
                <a:grpSpLocks/>
              </p:cNvGrpSpPr>
              <p:nvPr/>
            </p:nvGrpSpPr>
            <p:grpSpPr bwMode="gray">
              <a:xfrm>
                <a:off x="700982" y="4011989"/>
                <a:ext cx="217142" cy="217142"/>
                <a:chOff x="902726" y="3743677"/>
                <a:chExt cx="330948" cy="330948"/>
              </a:xfrm>
              <a:grpFill/>
            </p:grpSpPr>
            <p:sp>
              <p:nvSpPr>
                <p:cNvPr id="2765" name="dfine_grid_single_shape_frame">
                  <a:extLst>
                    <a:ext uri="{FF2B5EF4-FFF2-40B4-BE49-F238E27FC236}">
                      <a16:creationId xmlns:a16="http://schemas.microsoft.com/office/drawing/2014/main" id="{F4EA491E-41B5-8DFD-2469-51BF2E904079}"/>
                    </a:ext>
                  </a:extLst>
                </p:cNvPr>
                <p:cNvSpPr>
                  <a:spLocks/>
                </p:cNvSpPr>
                <p:nvPr/>
              </p:nvSpPr>
              <p:spPr bwMode="gray">
                <a:xfrm>
                  <a:off x="902726"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66" name="Triangle_1">
                  <a:extLst>
                    <a:ext uri="{FF2B5EF4-FFF2-40B4-BE49-F238E27FC236}">
                      <a16:creationId xmlns:a16="http://schemas.microsoft.com/office/drawing/2014/main" id="{5353A349-0693-43F0-8CF1-CDCF39CFDD92}"/>
                    </a:ext>
                  </a:extLst>
                </p:cNvPr>
                <p:cNvSpPr>
                  <a:spLocks/>
                </p:cNvSpPr>
                <p:nvPr/>
              </p:nvSpPr>
              <p:spPr bwMode="gray">
                <a:xfrm rot="10800000">
                  <a:off x="902726"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67" name="Triangle_2">
                  <a:extLst>
                    <a:ext uri="{FF2B5EF4-FFF2-40B4-BE49-F238E27FC236}">
                      <a16:creationId xmlns:a16="http://schemas.microsoft.com/office/drawing/2014/main" id="{F7BB3E75-4E3D-B5DF-39C1-01DF056F17CB}"/>
                    </a:ext>
                  </a:extLst>
                </p:cNvPr>
                <p:cNvSpPr>
                  <a:spLocks/>
                </p:cNvSpPr>
                <p:nvPr/>
              </p:nvSpPr>
              <p:spPr bwMode="gray">
                <a:xfrm>
                  <a:off x="902726"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68" name="Triangle_3">
                  <a:extLst>
                    <a:ext uri="{FF2B5EF4-FFF2-40B4-BE49-F238E27FC236}">
                      <a16:creationId xmlns:a16="http://schemas.microsoft.com/office/drawing/2014/main" id="{A35D410D-43C7-087F-13E6-6BCD7D6A6FCD}"/>
                    </a:ext>
                  </a:extLst>
                </p:cNvPr>
                <p:cNvSpPr>
                  <a:spLocks/>
                </p:cNvSpPr>
                <p:nvPr/>
              </p:nvSpPr>
              <p:spPr bwMode="gray">
                <a:xfrm rot="5400000">
                  <a:off x="819989"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69" name="Triangle_4">
                  <a:extLst>
                    <a:ext uri="{FF2B5EF4-FFF2-40B4-BE49-F238E27FC236}">
                      <a16:creationId xmlns:a16="http://schemas.microsoft.com/office/drawing/2014/main" id="{3963202A-351C-E0C4-76DD-9EE5A2A2C4FA}"/>
                    </a:ext>
                  </a:extLst>
                </p:cNvPr>
                <p:cNvSpPr>
                  <a:spLocks/>
                </p:cNvSpPr>
                <p:nvPr/>
              </p:nvSpPr>
              <p:spPr bwMode="gray">
                <a:xfrm rot="16200000">
                  <a:off x="98546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96" name="Group 2295">
                <a:extLst>
                  <a:ext uri="{FF2B5EF4-FFF2-40B4-BE49-F238E27FC236}">
                    <a16:creationId xmlns:a16="http://schemas.microsoft.com/office/drawing/2014/main" id="{92E3A527-87E6-BCCD-F3AA-EB8671873281}"/>
                  </a:ext>
                </a:extLst>
              </p:cNvPr>
              <p:cNvGrpSpPr>
                <a:grpSpLocks/>
              </p:cNvGrpSpPr>
              <p:nvPr/>
            </p:nvGrpSpPr>
            <p:grpSpPr bwMode="gray">
              <a:xfrm>
                <a:off x="700982" y="4229130"/>
                <a:ext cx="217142" cy="217142"/>
                <a:chOff x="902726" y="4074624"/>
                <a:chExt cx="330948" cy="330948"/>
              </a:xfrm>
              <a:grpFill/>
            </p:grpSpPr>
            <p:sp>
              <p:nvSpPr>
                <p:cNvPr id="2760" name="dfine_grid_single_shape_frame">
                  <a:extLst>
                    <a:ext uri="{FF2B5EF4-FFF2-40B4-BE49-F238E27FC236}">
                      <a16:creationId xmlns:a16="http://schemas.microsoft.com/office/drawing/2014/main" id="{36FB0AAF-C6FE-9679-1264-ED7118DD1F2B}"/>
                    </a:ext>
                  </a:extLst>
                </p:cNvPr>
                <p:cNvSpPr>
                  <a:spLocks/>
                </p:cNvSpPr>
                <p:nvPr/>
              </p:nvSpPr>
              <p:spPr bwMode="gray">
                <a:xfrm>
                  <a:off x="902726"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61" name="Triangle_1">
                  <a:extLst>
                    <a:ext uri="{FF2B5EF4-FFF2-40B4-BE49-F238E27FC236}">
                      <a16:creationId xmlns:a16="http://schemas.microsoft.com/office/drawing/2014/main" id="{B3212C6C-45AE-8261-C420-581E5EBB3F99}"/>
                    </a:ext>
                  </a:extLst>
                </p:cNvPr>
                <p:cNvSpPr>
                  <a:spLocks/>
                </p:cNvSpPr>
                <p:nvPr/>
              </p:nvSpPr>
              <p:spPr bwMode="gray">
                <a:xfrm rot="10800000">
                  <a:off x="902726"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62" name="Triangle_2">
                  <a:extLst>
                    <a:ext uri="{FF2B5EF4-FFF2-40B4-BE49-F238E27FC236}">
                      <a16:creationId xmlns:a16="http://schemas.microsoft.com/office/drawing/2014/main" id="{AFA7DF52-5198-57E5-4088-708D5B8613BE}"/>
                    </a:ext>
                  </a:extLst>
                </p:cNvPr>
                <p:cNvSpPr>
                  <a:spLocks/>
                </p:cNvSpPr>
                <p:nvPr/>
              </p:nvSpPr>
              <p:spPr bwMode="gray">
                <a:xfrm>
                  <a:off x="902726"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63" name="Triangle_3">
                  <a:extLst>
                    <a:ext uri="{FF2B5EF4-FFF2-40B4-BE49-F238E27FC236}">
                      <a16:creationId xmlns:a16="http://schemas.microsoft.com/office/drawing/2014/main" id="{12B5DC58-9C02-D0E7-4F6B-8BA54B531C54}"/>
                    </a:ext>
                  </a:extLst>
                </p:cNvPr>
                <p:cNvSpPr>
                  <a:spLocks/>
                </p:cNvSpPr>
                <p:nvPr/>
              </p:nvSpPr>
              <p:spPr bwMode="gray">
                <a:xfrm rot="5400000">
                  <a:off x="819989"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64" name="Triangle_4">
                  <a:extLst>
                    <a:ext uri="{FF2B5EF4-FFF2-40B4-BE49-F238E27FC236}">
                      <a16:creationId xmlns:a16="http://schemas.microsoft.com/office/drawing/2014/main" id="{DE6BC689-2272-F57F-EE54-3068F957EDCC}"/>
                    </a:ext>
                  </a:extLst>
                </p:cNvPr>
                <p:cNvSpPr>
                  <a:spLocks/>
                </p:cNvSpPr>
                <p:nvPr/>
              </p:nvSpPr>
              <p:spPr bwMode="gray">
                <a:xfrm rot="16200000">
                  <a:off x="98546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97" name="Group 2296">
                <a:extLst>
                  <a:ext uri="{FF2B5EF4-FFF2-40B4-BE49-F238E27FC236}">
                    <a16:creationId xmlns:a16="http://schemas.microsoft.com/office/drawing/2014/main" id="{EE09A7C3-8757-89AF-665C-7C521A4EB1FB}"/>
                  </a:ext>
                </a:extLst>
              </p:cNvPr>
              <p:cNvGrpSpPr>
                <a:grpSpLocks/>
              </p:cNvGrpSpPr>
              <p:nvPr/>
            </p:nvGrpSpPr>
            <p:grpSpPr bwMode="gray">
              <a:xfrm>
                <a:off x="918123" y="3143425"/>
                <a:ext cx="217142" cy="217142"/>
                <a:chOff x="1233673" y="2419889"/>
                <a:chExt cx="330948" cy="330948"/>
              </a:xfrm>
              <a:grpFill/>
            </p:grpSpPr>
            <p:sp>
              <p:nvSpPr>
                <p:cNvPr id="2755" name="dfine_grid_single_shape_frame">
                  <a:extLst>
                    <a:ext uri="{FF2B5EF4-FFF2-40B4-BE49-F238E27FC236}">
                      <a16:creationId xmlns:a16="http://schemas.microsoft.com/office/drawing/2014/main" id="{44EBDB4F-AD1A-ECBA-63BE-A8252263B444}"/>
                    </a:ext>
                  </a:extLst>
                </p:cNvPr>
                <p:cNvSpPr>
                  <a:spLocks/>
                </p:cNvSpPr>
                <p:nvPr/>
              </p:nvSpPr>
              <p:spPr bwMode="gray">
                <a:xfrm>
                  <a:off x="1233673"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56" name="Triangle_1">
                  <a:extLst>
                    <a:ext uri="{FF2B5EF4-FFF2-40B4-BE49-F238E27FC236}">
                      <a16:creationId xmlns:a16="http://schemas.microsoft.com/office/drawing/2014/main" id="{4EC287B7-C133-D83B-9E9E-37B23178605F}"/>
                    </a:ext>
                  </a:extLst>
                </p:cNvPr>
                <p:cNvSpPr>
                  <a:spLocks/>
                </p:cNvSpPr>
                <p:nvPr/>
              </p:nvSpPr>
              <p:spPr bwMode="gray">
                <a:xfrm rot="10800000">
                  <a:off x="1233673"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57" name="Triangle_2">
                  <a:extLst>
                    <a:ext uri="{FF2B5EF4-FFF2-40B4-BE49-F238E27FC236}">
                      <a16:creationId xmlns:a16="http://schemas.microsoft.com/office/drawing/2014/main" id="{5D3569DB-887D-5E39-B184-FFD75BFE45C0}"/>
                    </a:ext>
                  </a:extLst>
                </p:cNvPr>
                <p:cNvSpPr>
                  <a:spLocks/>
                </p:cNvSpPr>
                <p:nvPr/>
              </p:nvSpPr>
              <p:spPr bwMode="gray">
                <a:xfrm>
                  <a:off x="1233673"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58" name="Triangle_3">
                  <a:extLst>
                    <a:ext uri="{FF2B5EF4-FFF2-40B4-BE49-F238E27FC236}">
                      <a16:creationId xmlns:a16="http://schemas.microsoft.com/office/drawing/2014/main" id="{48AF704D-1C4C-6EBA-6A4C-6972B8381ED6}"/>
                    </a:ext>
                  </a:extLst>
                </p:cNvPr>
                <p:cNvSpPr>
                  <a:spLocks/>
                </p:cNvSpPr>
                <p:nvPr/>
              </p:nvSpPr>
              <p:spPr bwMode="gray">
                <a:xfrm rot="5400000">
                  <a:off x="1150936"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59" name="Triangle_4">
                  <a:extLst>
                    <a:ext uri="{FF2B5EF4-FFF2-40B4-BE49-F238E27FC236}">
                      <a16:creationId xmlns:a16="http://schemas.microsoft.com/office/drawing/2014/main" id="{C4389D69-93FD-B200-5A4A-568B732AFE20}"/>
                    </a:ext>
                  </a:extLst>
                </p:cNvPr>
                <p:cNvSpPr>
                  <a:spLocks/>
                </p:cNvSpPr>
                <p:nvPr/>
              </p:nvSpPr>
              <p:spPr bwMode="gray">
                <a:xfrm rot="16200000">
                  <a:off x="1316410"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98" name="Group 2297">
                <a:extLst>
                  <a:ext uri="{FF2B5EF4-FFF2-40B4-BE49-F238E27FC236}">
                    <a16:creationId xmlns:a16="http://schemas.microsoft.com/office/drawing/2014/main" id="{6A0287D3-CA7B-CD9C-3F5C-414A533C1E7E}"/>
                  </a:ext>
                </a:extLst>
              </p:cNvPr>
              <p:cNvGrpSpPr>
                <a:grpSpLocks/>
              </p:cNvGrpSpPr>
              <p:nvPr/>
            </p:nvGrpSpPr>
            <p:grpSpPr bwMode="gray">
              <a:xfrm>
                <a:off x="918123" y="3360566"/>
                <a:ext cx="217142" cy="217142"/>
                <a:chOff x="1233673" y="2750836"/>
                <a:chExt cx="330948" cy="330948"/>
              </a:xfrm>
              <a:grpFill/>
            </p:grpSpPr>
            <p:sp>
              <p:nvSpPr>
                <p:cNvPr id="2750" name="dfine_grid_single_shape_frame">
                  <a:extLst>
                    <a:ext uri="{FF2B5EF4-FFF2-40B4-BE49-F238E27FC236}">
                      <a16:creationId xmlns:a16="http://schemas.microsoft.com/office/drawing/2014/main" id="{5DCB34AD-F4A0-2C69-B5C8-D1ED75384742}"/>
                    </a:ext>
                  </a:extLst>
                </p:cNvPr>
                <p:cNvSpPr>
                  <a:spLocks/>
                </p:cNvSpPr>
                <p:nvPr/>
              </p:nvSpPr>
              <p:spPr bwMode="gray">
                <a:xfrm>
                  <a:off x="1233673"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51" name="Triangle_1">
                  <a:extLst>
                    <a:ext uri="{FF2B5EF4-FFF2-40B4-BE49-F238E27FC236}">
                      <a16:creationId xmlns:a16="http://schemas.microsoft.com/office/drawing/2014/main" id="{5893F1F0-9273-B0F9-8FFD-64CB77408BC9}"/>
                    </a:ext>
                  </a:extLst>
                </p:cNvPr>
                <p:cNvSpPr>
                  <a:spLocks/>
                </p:cNvSpPr>
                <p:nvPr/>
              </p:nvSpPr>
              <p:spPr bwMode="gray">
                <a:xfrm rot="10800000">
                  <a:off x="1233673"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52" name="Triangle_2">
                  <a:extLst>
                    <a:ext uri="{FF2B5EF4-FFF2-40B4-BE49-F238E27FC236}">
                      <a16:creationId xmlns:a16="http://schemas.microsoft.com/office/drawing/2014/main" id="{BB7CC0EA-30C4-A411-9528-7151B426A45C}"/>
                    </a:ext>
                  </a:extLst>
                </p:cNvPr>
                <p:cNvSpPr>
                  <a:spLocks/>
                </p:cNvSpPr>
                <p:nvPr/>
              </p:nvSpPr>
              <p:spPr bwMode="gray">
                <a:xfrm>
                  <a:off x="1233673"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53" name="Triangle_3">
                  <a:extLst>
                    <a:ext uri="{FF2B5EF4-FFF2-40B4-BE49-F238E27FC236}">
                      <a16:creationId xmlns:a16="http://schemas.microsoft.com/office/drawing/2014/main" id="{4CCB0C1F-F391-2D1E-4ED1-036DE461D12E}"/>
                    </a:ext>
                  </a:extLst>
                </p:cNvPr>
                <p:cNvSpPr>
                  <a:spLocks/>
                </p:cNvSpPr>
                <p:nvPr/>
              </p:nvSpPr>
              <p:spPr bwMode="gray">
                <a:xfrm rot="5400000">
                  <a:off x="1150936"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54" name="Triangle_4">
                  <a:extLst>
                    <a:ext uri="{FF2B5EF4-FFF2-40B4-BE49-F238E27FC236}">
                      <a16:creationId xmlns:a16="http://schemas.microsoft.com/office/drawing/2014/main" id="{DC2599B7-D537-4DD1-B471-FD8415DFEF5A}"/>
                    </a:ext>
                  </a:extLst>
                </p:cNvPr>
                <p:cNvSpPr>
                  <a:spLocks/>
                </p:cNvSpPr>
                <p:nvPr/>
              </p:nvSpPr>
              <p:spPr bwMode="gray">
                <a:xfrm rot="16200000">
                  <a:off x="1316410"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299" name="Group 2298">
                <a:extLst>
                  <a:ext uri="{FF2B5EF4-FFF2-40B4-BE49-F238E27FC236}">
                    <a16:creationId xmlns:a16="http://schemas.microsoft.com/office/drawing/2014/main" id="{FFBCACDF-A8EF-6451-67F8-BF0EFA77AE4C}"/>
                  </a:ext>
                </a:extLst>
              </p:cNvPr>
              <p:cNvGrpSpPr>
                <a:grpSpLocks/>
              </p:cNvGrpSpPr>
              <p:nvPr/>
            </p:nvGrpSpPr>
            <p:grpSpPr bwMode="gray">
              <a:xfrm>
                <a:off x="918123" y="3577707"/>
                <a:ext cx="217142" cy="217142"/>
                <a:chOff x="1233673" y="3081783"/>
                <a:chExt cx="330948" cy="330948"/>
              </a:xfrm>
              <a:grpFill/>
            </p:grpSpPr>
            <p:sp>
              <p:nvSpPr>
                <p:cNvPr id="2745" name="dfine_grid_single_shape_frame">
                  <a:extLst>
                    <a:ext uri="{FF2B5EF4-FFF2-40B4-BE49-F238E27FC236}">
                      <a16:creationId xmlns:a16="http://schemas.microsoft.com/office/drawing/2014/main" id="{EBC49224-C4EC-86BB-98A3-4E0B5A232EB9}"/>
                    </a:ext>
                  </a:extLst>
                </p:cNvPr>
                <p:cNvSpPr>
                  <a:spLocks/>
                </p:cNvSpPr>
                <p:nvPr/>
              </p:nvSpPr>
              <p:spPr bwMode="gray">
                <a:xfrm>
                  <a:off x="1233673"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46" name="Triangle_1">
                  <a:extLst>
                    <a:ext uri="{FF2B5EF4-FFF2-40B4-BE49-F238E27FC236}">
                      <a16:creationId xmlns:a16="http://schemas.microsoft.com/office/drawing/2014/main" id="{6D2454D0-CF37-32CE-D823-F02DD5E3E87E}"/>
                    </a:ext>
                  </a:extLst>
                </p:cNvPr>
                <p:cNvSpPr>
                  <a:spLocks/>
                </p:cNvSpPr>
                <p:nvPr/>
              </p:nvSpPr>
              <p:spPr bwMode="gray">
                <a:xfrm rot="10800000">
                  <a:off x="1233673" y="3081783"/>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47" name="Triangle_2">
                  <a:extLst>
                    <a:ext uri="{FF2B5EF4-FFF2-40B4-BE49-F238E27FC236}">
                      <a16:creationId xmlns:a16="http://schemas.microsoft.com/office/drawing/2014/main" id="{F797F85D-BDE2-8E32-FD02-220CF3D254B2}"/>
                    </a:ext>
                  </a:extLst>
                </p:cNvPr>
                <p:cNvSpPr>
                  <a:spLocks/>
                </p:cNvSpPr>
                <p:nvPr/>
              </p:nvSpPr>
              <p:spPr bwMode="gray">
                <a:xfrm>
                  <a:off x="1233673"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48" name="Triangle_3">
                  <a:extLst>
                    <a:ext uri="{FF2B5EF4-FFF2-40B4-BE49-F238E27FC236}">
                      <a16:creationId xmlns:a16="http://schemas.microsoft.com/office/drawing/2014/main" id="{CC6750DC-EE1E-E6C6-67D4-805F8EA89F34}"/>
                    </a:ext>
                  </a:extLst>
                </p:cNvPr>
                <p:cNvSpPr>
                  <a:spLocks/>
                </p:cNvSpPr>
                <p:nvPr/>
              </p:nvSpPr>
              <p:spPr bwMode="gray">
                <a:xfrm rot="5400000">
                  <a:off x="1150936"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49" name="Triangle_4">
                  <a:extLst>
                    <a:ext uri="{FF2B5EF4-FFF2-40B4-BE49-F238E27FC236}">
                      <a16:creationId xmlns:a16="http://schemas.microsoft.com/office/drawing/2014/main" id="{A63416B1-27B9-599D-C46A-EF2D294915EA}"/>
                    </a:ext>
                  </a:extLst>
                </p:cNvPr>
                <p:cNvSpPr>
                  <a:spLocks/>
                </p:cNvSpPr>
                <p:nvPr/>
              </p:nvSpPr>
              <p:spPr bwMode="gray">
                <a:xfrm rot="16200000">
                  <a:off x="1316410"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00" name="Group 2299">
                <a:extLst>
                  <a:ext uri="{FF2B5EF4-FFF2-40B4-BE49-F238E27FC236}">
                    <a16:creationId xmlns:a16="http://schemas.microsoft.com/office/drawing/2014/main" id="{3AB2E450-2B7B-6E34-8A3B-8212F4C1E100}"/>
                  </a:ext>
                </a:extLst>
              </p:cNvPr>
              <p:cNvGrpSpPr>
                <a:grpSpLocks/>
              </p:cNvGrpSpPr>
              <p:nvPr/>
            </p:nvGrpSpPr>
            <p:grpSpPr bwMode="gray">
              <a:xfrm>
                <a:off x="918123" y="3794848"/>
                <a:ext cx="217142" cy="217142"/>
                <a:chOff x="1233673" y="3412730"/>
                <a:chExt cx="330948" cy="330948"/>
              </a:xfrm>
              <a:grpFill/>
            </p:grpSpPr>
            <p:sp>
              <p:nvSpPr>
                <p:cNvPr id="2740" name="dfine_grid_single_shape_frame">
                  <a:extLst>
                    <a:ext uri="{FF2B5EF4-FFF2-40B4-BE49-F238E27FC236}">
                      <a16:creationId xmlns:a16="http://schemas.microsoft.com/office/drawing/2014/main" id="{39C0D29C-8C6F-0BF4-7C59-00DCA4DC4171}"/>
                    </a:ext>
                  </a:extLst>
                </p:cNvPr>
                <p:cNvSpPr>
                  <a:spLocks/>
                </p:cNvSpPr>
                <p:nvPr/>
              </p:nvSpPr>
              <p:spPr bwMode="gray">
                <a:xfrm>
                  <a:off x="1233673"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41" name="Triangle_1">
                  <a:extLst>
                    <a:ext uri="{FF2B5EF4-FFF2-40B4-BE49-F238E27FC236}">
                      <a16:creationId xmlns:a16="http://schemas.microsoft.com/office/drawing/2014/main" id="{AEB2D565-9D4F-0087-4200-1DC495E1EC77}"/>
                    </a:ext>
                  </a:extLst>
                </p:cNvPr>
                <p:cNvSpPr>
                  <a:spLocks/>
                </p:cNvSpPr>
                <p:nvPr/>
              </p:nvSpPr>
              <p:spPr bwMode="gray">
                <a:xfrm rot="10800000">
                  <a:off x="1233673"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42" name="Triangle_2">
                  <a:extLst>
                    <a:ext uri="{FF2B5EF4-FFF2-40B4-BE49-F238E27FC236}">
                      <a16:creationId xmlns:a16="http://schemas.microsoft.com/office/drawing/2014/main" id="{5D28D6BA-6EC2-6AB0-FC65-3BF45B121CB5}"/>
                    </a:ext>
                  </a:extLst>
                </p:cNvPr>
                <p:cNvSpPr>
                  <a:spLocks/>
                </p:cNvSpPr>
                <p:nvPr/>
              </p:nvSpPr>
              <p:spPr bwMode="gray">
                <a:xfrm>
                  <a:off x="1233673"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43" name="Triangle_3">
                  <a:extLst>
                    <a:ext uri="{FF2B5EF4-FFF2-40B4-BE49-F238E27FC236}">
                      <a16:creationId xmlns:a16="http://schemas.microsoft.com/office/drawing/2014/main" id="{D110CB53-E417-2F15-ADFE-C464DF76410E}"/>
                    </a:ext>
                  </a:extLst>
                </p:cNvPr>
                <p:cNvSpPr>
                  <a:spLocks/>
                </p:cNvSpPr>
                <p:nvPr/>
              </p:nvSpPr>
              <p:spPr bwMode="gray">
                <a:xfrm rot="5400000">
                  <a:off x="1150936"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44" name="Triangle_4">
                  <a:extLst>
                    <a:ext uri="{FF2B5EF4-FFF2-40B4-BE49-F238E27FC236}">
                      <a16:creationId xmlns:a16="http://schemas.microsoft.com/office/drawing/2014/main" id="{B04BCA0E-04A0-0D3B-27F3-AE8692736E6F}"/>
                    </a:ext>
                  </a:extLst>
                </p:cNvPr>
                <p:cNvSpPr>
                  <a:spLocks/>
                </p:cNvSpPr>
                <p:nvPr/>
              </p:nvSpPr>
              <p:spPr bwMode="gray">
                <a:xfrm rot="16200000">
                  <a:off x="1316410"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01" name="Group 2300">
                <a:extLst>
                  <a:ext uri="{FF2B5EF4-FFF2-40B4-BE49-F238E27FC236}">
                    <a16:creationId xmlns:a16="http://schemas.microsoft.com/office/drawing/2014/main" id="{6FEA7A50-B788-D9CF-E63A-974C3D0A416D}"/>
                  </a:ext>
                </a:extLst>
              </p:cNvPr>
              <p:cNvGrpSpPr>
                <a:grpSpLocks/>
              </p:cNvGrpSpPr>
              <p:nvPr/>
            </p:nvGrpSpPr>
            <p:grpSpPr bwMode="gray">
              <a:xfrm>
                <a:off x="918123" y="4011989"/>
                <a:ext cx="217142" cy="217142"/>
                <a:chOff x="1233673" y="3743677"/>
                <a:chExt cx="330948" cy="330948"/>
              </a:xfrm>
              <a:grpFill/>
            </p:grpSpPr>
            <p:sp>
              <p:nvSpPr>
                <p:cNvPr id="2735" name="dfine_grid_single_shape_frame">
                  <a:extLst>
                    <a:ext uri="{FF2B5EF4-FFF2-40B4-BE49-F238E27FC236}">
                      <a16:creationId xmlns:a16="http://schemas.microsoft.com/office/drawing/2014/main" id="{E85A6E68-4B61-298F-6FE6-2614DF011552}"/>
                    </a:ext>
                  </a:extLst>
                </p:cNvPr>
                <p:cNvSpPr>
                  <a:spLocks/>
                </p:cNvSpPr>
                <p:nvPr/>
              </p:nvSpPr>
              <p:spPr bwMode="gray">
                <a:xfrm>
                  <a:off x="1233673"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36" name="Triangle_1">
                  <a:extLst>
                    <a:ext uri="{FF2B5EF4-FFF2-40B4-BE49-F238E27FC236}">
                      <a16:creationId xmlns:a16="http://schemas.microsoft.com/office/drawing/2014/main" id="{74E64EC6-58B7-01A3-B470-9901E8BBA572}"/>
                    </a:ext>
                  </a:extLst>
                </p:cNvPr>
                <p:cNvSpPr>
                  <a:spLocks/>
                </p:cNvSpPr>
                <p:nvPr/>
              </p:nvSpPr>
              <p:spPr bwMode="gray">
                <a:xfrm rot="10800000">
                  <a:off x="1233673"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37" name="Triangle_2">
                  <a:extLst>
                    <a:ext uri="{FF2B5EF4-FFF2-40B4-BE49-F238E27FC236}">
                      <a16:creationId xmlns:a16="http://schemas.microsoft.com/office/drawing/2014/main" id="{5468CD94-02EA-3A0B-5624-F10762B38CF3}"/>
                    </a:ext>
                  </a:extLst>
                </p:cNvPr>
                <p:cNvSpPr>
                  <a:spLocks/>
                </p:cNvSpPr>
                <p:nvPr/>
              </p:nvSpPr>
              <p:spPr bwMode="gray">
                <a:xfrm>
                  <a:off x="1233673"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38" name="Triangle_3">
                  <a:extLst>
                    <a:ext uri="{FF2B5EF4-FFF2-40B4-BE49-F238E27FC236}">
                      <a16:creationId xmlns:a16="http://schemas.microsoft.com/office/drawing/2014/main" id="{412F652D-2125-01E4-D305-EFEF0148349C}"/>
                    </a:ext>
                  </a:extLst>
                </p:cNvPr>
                <p:cNvSpPr>
                  <a:spLocks/>
                </p:cNvSpPr>
                <p:nvPr/>
              </p:nvSpPr>
              <p:spPr bwMode="gray">
                <a:xfrm rot="5400000">
                  <a:off x="1150936"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39" name="Triangle_4">
                  <a:extLst>
                    <a:ext uri="{FF2B5EF4-FFF2-40B4-BE49-F238E27FC236}">
                      <a16:creationId xmlns:a16="http://schemas.microsoft.com/office/drawing/2014/main" id="{2BC41B59-25B8-198A-06D9-8E053937A7AF}"/>
                    </a:ext>
                  </a:extLst>
                </p:cNvPr>
                <p:cNvSpPr>
                  <a:spLocks/>
                </p:cNvSpPr>
                <p:nvPr/>
              </p:nvSpPr>
              <p:spPr bwMode="gray">
                <a:xfrm rot="16200000">
                  <a:off x="1316410"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02" name="Group 2301">
                <a:extLst>
                  <a:ext uri="{FF2B5EF4-FFF2-40B4-BE49-F238E27FC236}">
                    <a16:creationId xmlns:a16="http://schemas.microsoft.com/office/drawing/2014/main" id="{D788DBBA-29E5-3B46-C7BE-3F8A9A3C2404}"/>
                  </a:ext>
                </a:extLst>
              </p:cNvPr>
              <p:cNvGrpSpPr>
                <a:grpSpLocks/>
              </p:cNvGrpSpPr>
              <p:nvPr/>
            </p:nvGrpSpPr>
            <p:grpSpPr bwMode="gray">
              <a:xfrm>
                <a:off x="918123" y="4229130"/>
                <a:ext cx="217142" cy="217142"/>
                <a:chOff x="1233673" y="4074624"/>
                <a:chExt cx="330948" cy="330948"/>
              </a:xfrm>
              <a:grpFill/>
            </p:grpSpPr>
            <p:sp>
              <p:nvSpPr>
                <p:cNvPr id="2730" name="dfine_grid_single_shape_frame">
                  <a:extLst>
                    <a:ext uri="{FF2B5EF4-FFF2-40B4-BE49-F238E27FC236}">
                      <a16:creationId xmlns:a16="http://schemas.microsoft.com/office/drawing/2014/main" id="{6BBA5207-7AF5-0988-403C-D04C0E3A184B}"/>
                    </a:ext>
                  </a:extLst>
                </p:cNvPr>
                <p:cNvSpPr>
                  <a:spLocks/>
                </p:cNvSpPr>
                <p:nvPr/>
              </p:nvSpPr>
              <p:spPr bwMode="gray">
                <a:xfrm>
                  <a:off x="1233673"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31" name="Triangle_1">
                  <a:extLst>
                    <a:ext uri="{FF2B5EF4-FFF2-40B4-BE49-F238E27FC236}">
                      <a16:creationId xmlns:a16="http://schemas.microsoft.com/office/drawing/2014/main" id="{5F0F5C61-6D5E-E811-66B7-813F05232D6F}"/>
                    </a:ext>
                  </a:extLst>
                </p:cNvPr>
                <p:cNvSpPr>
                  <a:spLocks/>
                </p:cNvSpPr>
                <p:nvPr/>
              </p:nvSpPr>
              <p:spPr bwMode="gray">
                <a:xfrm rot="10800000">
                  <a:off x="1233673"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32" name="Triangle_2">
                  <a:extLst>
                    <a:ext uri="{FF2B5EF4-FFF2-40B4-BE49-F238E27FC236}">
                      <a16:creationId xmlns:a16="http://schemas.microsoft.com/office/drawing/2014/main" id="{D3762CF0-42D9-F271-C686-76B834B5D27E}"/>
                    </a:ext>
                  </a:extLst>
                </p:cNvPr>
                <p:cNvSpPr>
                  <a:spLocks/>
                </p:cNvSpPr>
                <p:nvPr/>
              </p:nvSpPr>
              <p:spPr bwMode="gray">
                <a:xfrm>
                  <a:off x="1233673"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33" name="Triangle_3">
                  <a:extLst>
                    <a:ext uri="{FF2B5EF4-FFF2-40B4-BE49-F238E27FC236}">
                      <a16:creationId xmlns:a16="http://schemas.microsoft.com/office/drawing/2014/main" id="{B9561E3C-D097-BD3A-F509-3E947DD22E9F}"/>
                    </a:ext>
                  </a:extLst>
                </p:cNvPr>
                <p:cNvSpPr>
                  <a:spLocks/>
                </p:cNvSpPr>
                <p:nvPr/>
              </p:nvSpPr>
              <p:spPr bwMode="gray">
                <a:xfrm rot="5400000">
                  <a:off x="1150936"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34" name="Triangle_4">
                  <a:extLst>
                    <a:ext uri="{FF2B5EF4-FFF2-40B4-BE49-F238E27FC236}">
                      <a16:creationId xmlns:a16="http://schemas.microsoft.com/office/drawing/2014/main" id="{206DDD84-4A3A-34EB-3911-8ACC22CE8551}"/>
                    </a:ext>
                  </a:extLst>
                </p:cNvPr>
                <p:cNvSpPr>
                  <a:spLocks/>
                </p:cNvSpPr>
                <p:nvPr/>
              </p:nvSpPr>
              <p:spPr bwMode="gray">
                <a:xfrm rot="16200000">
                  <a:off x="1316410"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03" name="Group 2302">
                <a:extLst>
                  <a:ext uri="{FF2B5EF4-FFF2-40B4-BE49-F238E27FC236}">
                    <a16:creationId xmlns:a16="http://schemas.microsoft.com/office/drawing/2014/main" id="{80E1A784-64FA-7F85-A119-1749331F8D24}"/>
                  </a:ext>
                </a:extLst>
              </p:cNvPr>
              <p:cNvGrpSpPr>
                <a:grpSpLocks/>
              </p:cNvGrpSpPr>
              <p:nvPr/>
            </p:nvGrpSpPr>
            <p:grpSpPr bwMode="gray">
              <a:xfrm>
                <a:off x="1135264" y="1623437"/>
                <a:ext cx="217142" cy="217142"/>
                <a:chOff x="1564620" y="2088942"/>
                <a:chExt cx="330948" cy="330948"/>
              </a:xfrm>
              <a:grpFill/>
            </p:grpSpPr>
            <p:sp>
              <p:nvSpPr>
                <p:cNvPr id="2725" name="dfine_grid_single_shape_frame">
                  <a:extLst>
                    <a:ext uri="{FF2B5EF4-FFF2-40B4-BE49-F238E27FC236}">
                      <a16:creationId xmlns:a16="http://schemas.microsoft.com/office/drawing/2014/main" id="{EA339248-8958-4FAC-61C9-3A7F125C139B}"/>
                    </a:ext>
                  </a:extLst>
                </p:cNvPr>
                <p:cNvSpPr>
                  <a:spLocks/>
                </p:cNvSpPr>
                <p:nvPr/>
              </p:nvSpPr>
              <p:spPr bwMode="gray">
                <a:xfrm>
                  <a:off x="1564620"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26" name="Triangle_1">
                  <a:extLst>
                    <a:ext uri="{FF2B5EF4-FFF2-40B4-BE49-F238E27FC236}">
                      <a16:creationId xmlns:a16="http://schemas.microsoft.com/office/drawing/2014/main" id="{E20D63CB-76F2-44EB-C141-B94B99B5A140}"/>
                    </a:ext>
                  </a:extLst>
                </p:cNvPr>
                <p:cNvSpPr>
                  <a:spLocks/>
                </p:cNvSpPr>
                <p:nvPr/>
              </p:nvSpPr>
              <p:spPr bwMode="gray">
                <a:xfrm rot="10800000">
                  <a:off x="1564620"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27" name="Triangle_2">
                  <a:extLst>
                    <a:ext uri="{FF2B5EF4-FFF2-40B4-BE49-F238E27FC236}">
                      <a16:creationId xmlns:a16="http://schemas.microsoft.com/office/drawing/2014/main" id="{6018B9C0-BCE4-308E-1A29-CA5BA5E5A434}"/>
                    </a:ext>
                  </a:extLst>
                </p:cNvPr>
                <p:cNvSpPr>
                  <a:spLocks/>
                </p:cNvSpPr>
                <p:nvPr/>
              </p:nvSpPr>
              <p:spPr bwMode="gray">
                <a:xfrm>
                  <a:off x="1564620"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28" name="Triangle_3">
                  <a:extLst>
                    <a:ext uri="{FF2B5EF4-FFF2-40B4-BE49-F238E27FC236}">
                      <a16:creationId xmlns:a16="http://schemas.microsoft.com/office/drawing/2014/main" id="{45550D93-83DE-76C7-3CAB-F4930A2E8515}"/>
                    </a:ext>
                  </a:extLst>
                </p:cNvPr>
                <p:cNvSpPr>
                  <a:spLocks/>
                </p:cNvSpPr>
                <p:nvPr/>
              </p:nvSpPr>
              <p:spPr bwMode="gray">
                <a:xfrm rot="5400000">
                  <a:off x="1481883"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29" name="Triangle_4">
                  <a:extLst>
                    <a:ext uri="{FF2B5EF4-FFF2-40B4-BE49-F238E27FC236}">
                      <a16:creationId xmlns:a16="http://schemas.microsoft.com/office/drawing/2014/main" id="{8D969456-4923-630D-0122-C37A2DCBF1AC}"/>
                    </a:ext>
                  </a:extLst>
                </p:cNvPr>
                <p:cNvSpPr>
                  <a:spLocks/>
                </p:cNvSpPr>
                <p:nvPr/>
              </p:nvSpPr>
              <p:spPr bwMode="gray">
                <a:xfrm rot="16200000">
                  <a:off x="1647357"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04" name="Group 2303">
                <a:extLst>
                  <a:ext uri="{FF2B5EF4-FFF2-40B4-BE49-F238E27FC236}">
                    <a16:creationId xmlns:a16="http://schemas.microsoft.com/office/drawing/2014/main" id="{7EDB63CF-F151-8E25-9850-C1D7DF89F854}"/>
                  </a:ext>
                </a:extLst>
              </p:cNvPr>
              <p:cNvGrpSpPr>
                <a:grpSpLocks/>
              </p:cNvGrpSpPr>
              <p:nvPr/>
            </p:nvGrpSpPr>
            <p:grpSpPr bwMode="gray">
              <a:xfrm>
                <a:off x="1135264" y="1840578"/>
                <a:ext cx="217142" cy="217142"/>
                <a:chOff x="1564620" y="2419889"/>
                <a:chExt cx="330948" cy="330948"/>
              </a:xfrm>
              <a:grpFill/>
            </p:grpSpPr>
            <p:sp>
              <p:nvSpPr>
                <p:cNvPr id="2720" name="dfine_grid_single_shape_frame">
                  <a:extLst>
                    <a:ext uri="{FF2B5EF4-FFF2-40B4-BE49-F238E27FC236}">
                      <a16:creationId xmlns:a16="http://schemas.microsoft.com/office/drawing/2014/main" id="{24737B7A-1C94-FDAA-EB7B-2317CE8ED274}"/>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21" name="Triangle_1">
                  <a:extLst>
                    <a:ext uri="{FF2B5EF4-FFF2-40B4-BE49-F238E27FC236}">
                      <a16:creationId xmlns:a16="http://schemas.microsoft.com/office/drawing/2014/main" id="{F7C5F44E-F652-51D0-AAF2-3416C7AE551F}"/>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22" name="Triangle_2">
                  <a:extLst>
                    <a:ext uri="{FF2B5EF4-FFF2-40B4-BE49-F238E27FC236}">
                      <a16:creationId xmlns:a16="http://schemas.microsoft.com/office/drawing/2014/main" id="{8F11682F-5E81-A8D7-E0C2-667B33ADE3BF}"/>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23" name="Triangle_3">
                  <a:extLst>
                    <a:ext uri="{FF2B5EF4-FFF2-40B4-BE49-F238E27FC236}">
                      <a16:creationId xmlns:a16="http://schemas.microsoft.com/office/drawing/2014/main" id="{ECA4BA2A-8F20-71E8-9287-670D74902FF0}"/>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24" name="Triangle_4">
                  <a:extLst>
                    <a:ext uri="{FF2B5EF4-FFF2-40B4-BE49-F238E27FC236}">
                      <a16:creationId xmlns:a16="http://schemas.microsoft.com/office/drawing/2014/main" id="{9F1281EF-1978-FF7C-380F-3359A4FAC916}"/>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05" name="Group 2304">
                <a:extLst>
                  <a:ext uri="{FF2B5EF4-FFF2-40B4-BE49-F238E27FC236}">
                    <a16:creationId xmlns:a16="http://schemas.microsoft.com/office/drawing/2014/main" id="{C1DD55C7-DF65-57EA-EBAC-796FB9941283}"/>
                  </a:ext>
                </a:extLst>
              </p:cNvPr>
              <p:cNvGrpSpPr>
                <a:grpSpLocks/>
              </p:cNvGrpSpPr>
              <p:nvPr/>
            </p:nvGrpSpPr>
            <p:grpSpPr bwMode="gray">
              <a:xfrm>
                <a:off x="1135264" y="2057719"/>
                <a:ext cx="217142" cy="217142"/>
                <a:chOff x="1564620" y="2750836"/>
                <a:chExt cx="330948" cy="330948"/>
              </a:xfrm>
              <a:grpFill/>
            </p:grpSpPr>
            <p:sp>
              <p:nvSpPr>
                <p:cNvPr id="2715" name="dfine_grid_single_shape_frame">
                  <a:extLst>
                    <a:ext uri="{FF2B5EF4-FFF2-40B4-BE49-F238E27FC236}">
                      <a16:creationId xmlns:a16="http://schemas.microsoft.com/office/drawing/2014/main" id="{0416412F-33F3-A894-3975-232F7CBCB269}"/>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16" name="Triangle_1">
                  <a:extLst>
                    <a:ext uri="{FF2B5EF4-FFF2-40B4-BE49-F238E27FC236}">
                      <a16:creationId xmlns:a16="http://schemas.microsoft.com/office/drawing/2014/main" id="{65558B57-72A6-FACB-6473-F0AB242D9FBF}"/>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17" name="Triangle_2">
                  <a:extLst>
                    <a:ext uri="{FF2B5EF4-FFF2-40B4-BE49-F238E27FC236}">
                      <a16:creationId xmlns:a16="http://schemas.microsoft.com/office/drawing/2014/main" id="{7A464051-E0AE-6395-DCFC-683F717CA5F6}"/>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18" name="Triangle_3">
                  <a:extLst>
                    <a:ext uri="{FF2B5EF4-FFF2-40B4-BE49-F238E27FC236}">
                      <a16:creationId xmlns:a16="http://schemas.microsoft.com/office/drawing/2014/main" id="{E5EE22AF-A3AB-FEB9-802E-F0585D146B46}"/>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19" name="Triangle_4">
                  <a:extLst>
                    <a:ext uri="{FF2B5EF4-FFF2-40B4-BE49-F238E27FC236}">
                      <a16:creationId xmlns:a16="http://schemas.microsoft.com/office/drawing/2014/main" id="{2F7B1FD1-E618-92C7-A6F5-41C9B29226F7}"/>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06" name="Group 2305">
                <a:extLst>
                  <a:ext uri="{FF2B5EF4-FFF2-40B4-BE49-F238E27FC236}">
                    <a16:creationId xmlns:a16="http://schemas.microsoft.com/office/drawing/2014/main" id="{EB6B9885-0552-C7AC-0ACD-8A566F49D6B5}"/>
                  </a:ext>
                </a:extLst>
              </p:cNvPr>
              <p:cNvGrpSpPr>
                <a:grpSpLocks/>
              </p:cNvGrpSpPr>
              <p:nvPr/>
            </p:nvGrpSpPr>
            <p:grpSpPr bwMode="gray">
              <a:xfrm>
                <a:off x="1135264" y="2274860"/>
                <a:ext cx="217142" cy="217142"/>
                <a:chOff x="1564620" y="3081783"/>
                <a:chExt cx="330948" cy="330948"/>
              </a:xfrm>
              <a:grpFill/>
            </p:grpSpPr>
            <p:sp>
              <p:nvSpPr>
                <p:cNvPr id="2710" name="dfine_grid_single_shape_frame">
                  <a:extLst>
                    <a:ext uri="{FF2B5EF4-FFF2-40B4-BE49-F238E27FC236}">
                      <a16:creationId xmlns:a16="http://schemas.microsoft.com/office/drawing/2014/main" id="{26665C2C-8F13-38F1-B9A9-3B1984ED4FCF}"/>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11" name="Triangle_1">
                  <a:extLst>
                    <a:ext uri="{FF2B5EF4-FFF2-40B4-BE49-F238E27FC236}">
                      <a16:creationId xmlns:a16="http://schemas.microsoft.com/office/drawing/2014/main" id="{ED43E618-7B6F-5421-81D4-AC04A895ECF5}"/>
                    </a:ext>
                  </a:extLst>
                </p:cNvPr>
                <p:cNvSpPr>
                  <a:spLocks/>
                </p:cNvSpPr>
                <p:nvPr/>
              </p:nvSpPr>
              <p:spPr bwMode="gray">
                <a:xfrm rot="10800000">
                  <a:off x="1564620"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12" name="Triangle_2">
                  <a:extLst>
                    <a:ext uri="{FF2B5EF4-FFF2-40B4-BE49-F238E27FC236}">
                      <a16:creationId xmlns:a16="http://schemas.microsoft.com/office/drawing/2014/main" id="{0FBA620C-5E78-B8B5-339C-14DB795EC4BA}"/>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13" name="Triangle_3">
                  <a:extLst>
                    <a:ext uri="{FF2B5EF4-FFF2-40B4-BE49-F238E27FC236}">
                      <a16:creationId xmlns:a16="http://schemas.microsoft.com/office/drawing/2014/main" id="{BB7741CF-EBB1-97F9-CB12-506FBE7FF3C6}"/>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14" name="Triangle_4">
                  <a:extLst>
                    <a:ext uri="{FF2B5EF4-FFF2-40B4-BE49-F238E27FC236}">
                      <a16:creationId xmlns:a16="http://schemas.microsoft.com/office/drawing/2014/main" id="{0BCE4F2F-89A0-5002-0151-878EE22FBAAB}"/>
                    </a:ext>
                  </a:extLst>
                </p:cNvPr>
                <p:cNvSpPr>
                  <a:spLocks/>
                </p:cNvSpPr>
                <p:nvPr/>
              </p:nvSpPr>
              <p:spPr bwMode="gray">
                <a:xfrm rot="16200000">
                  <a:off x="1647357"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07" name="Group 2306">
                <a:extLst>
                  <a:ext uri="{FF2B5EF4-FFF2-40B4-BE49-F238E27FC236}">
                    <a16:creationId xmlns:a16="http://schemas.microsoft.com/office/drawing/2014/main" id="{3AAC5698-1680-21BF-F5BC-72912DDB2E7B}"/>
                  </a:ext>
                </a:extLst>
              </p:cNvPr>
              <p:cNvGrpSpPr>
                <a:grpSpLocks/>
              </p:cNvGrpSpPr>
              <p:nvPr/>
            </p:nvGrpSpPr>
            <p:grpSpPr bwMode="gray">
              <a:xfrm>
                <a:off x="1135264" y="2492001"/>
                <a:ext cx="217142" cy="217142"/>
                <a:chOff x="1564620" y="3412730"/>
                <a:chExt cx="330948" cy="330948"/>
              </a:xfrm>
              <a:grpFill/>
            </p:grpSpPr>
            <p:sp>
              <p:nvSpPr>
                <p:cNvPr id="2705" name="dfine_grid_single_shape_frame">
                  <a:extLst>
                    <a:ext uri="{FF2B5EF4-FFF2-40B4-BE49-F238E27FC236}">
                      <a16:creationId xmlns:a16="http://schemas.microsoft.com/office/drawing/2014/main" id="{716ADF04-59AF-F54D-0586-254801DB9246}"/>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06" name="Triangle_1">
                  <a:extLst>
                    <a:ext uri="{FF2B5EF4-FFF2-40B4-BE49-F238E27FC236}">
                      <a16:creationId xmlns:a16="http://schemas.microsoft.com/office/drawing/2014/main" id="{2501F67A-BF42-A83B-E4CF-2D2A7F369F84}"/>
                    </a:ext>
                  </a:extLst>
                </p:cNvPr>
                <p:cNvSpPr>
                  <a:spLocks/>
                </p:cNvSpPr>
                <p:nvPr/>
              </p:nvSpPr>
              <p:spPr bwMode="gray">
                <a:xfrm rot="10800000">
                  <a:off x="1564620"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07" name="Triangle_2">
                  <a:extLst>
                    <a:ext uri="{FF2B5EF4-FFF2-40B4-BE49-F238E27FC236}">
                      <a16:creationId xmlns:a16="http://schemas.microsoft.com/office/drawing/2014/main" id="{40E2E1C4-A959-B49C-4486-16B33B18750C}"/>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08" name="Triangle_3">
                  <a:extLst>
                    <a:ext uri="{FF2B5EF4-FFF2-40B4-BE49-F238E27FC236}">
                      <a16:creationId xmlns:a16="http://schemas.microsoft.com/office/drawing/2014/main" id="{D65279F9-DE67-AD61-11A5-4E4D6838F5BC}"/>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09" name="Triangle_4">
                  <a:extLst>
                    <a:ext uri="{FF2B5EF4-FFF2-40B4-BE49-F238E27FC236}">
                      <a16:creationId xmlns:a16="http://schemas.microsoft.com/office/drawing/2014/main" id="{079886D1-C1FE-6B3B-F568-5E028114C674}"/>
                    </a:ext>
                  </a:extLst>
                </p:cNvPr>
                <p:cNvSpPr>
                  <a:spLocks/>
                </p:cNvSpPr>
                <p:nvPr/>
              </p:nvSpPr>
              <p:spPr bwMode="gray">
                <a:xfrm rot="16200000">
                  <a:off x="1647357"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08" name="Group 2307">
                <a:extLst>
                  <a:ext uri="{FF2B5EF4-FFF2-40B4-BE49-F238E27FC236}">
                    <a16:creationId xmlns:a16="http://schemas.microsoft.com/office/drawing/2014/main" id="{5F9A94AB-0D1D-4F25-F8A6-0D4B1153993B}"/>
                  </a:ext>
                </a:extLst>
              </p:cNvPr>
              <p:cNvGrpSpPr>
                <a:grpSpLocks/>
              </p:cNvGrpSpPr>
              <p:nvPr/>
            </p:nvGrpSpPr>
            <p:grpSpPr bwMode="gray">
              <a:xfrm>
                <a:off x="1135264" y="2709142"/>
                <a:ext cx="217142" cy="217142"/>
                <a:chOff x="1564620" y="3743677"/>
                <a:chExt cx="330948" cy="330948"/>
              </a:xfrm>
              <a:grpFill/>
            </p:grpSpPr>
            <p:sp>
              <p:nvSpPr>
                <p:cNvPr id="2700" name="dfine_grid_single_shape_frame">
                  <a:extLst>
                    <a:ext uri="{FF2B5EF4-FFF2-40B4-BE49-F238E27FC236}">
                      <a16:creationId xmlns:a16="http://schemas.microsoft.com/office/drawing/2014/main" id="{875613AD-AD0A-1DD8-2F3D-32CC9997F7EB}"/>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01" name="Triangle_1">
                  <a:extLst>
                    <a:ext uri="{FF2B5EF4-FFF2-40B4-BE49-F238E27FC236}">
                      <a16:creationId xmlns:a16="http://schemas.microsoft.com/office/drawing/2014/main" id="{9FC68556-632A-729C-8C09-D569FFBA2069}"/>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02" name="Triangle_2">
                  <a:extLst>
                    <a:ext uri="{FF2B5EF4-FFF2-40B4-BE49-F238E27FC236}">
                      <a16:creationId xmlns:a16="http://schemas.microsoft.com/office/drawing/2014/main" id="{809EFCE0-C03F-4842-CBE8-1C3227C7C1D7}"/>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03" name="Triangle_3">
                  <a:extLst>
                    <a:ext uri="{FF2B5EF4-FFF2-40B4-BE49-F238E27FC236}">
                      <a16:creationId xmlns:a16="http://schemas.microsoft.com/office/drawing/2014/main" id="{5A2A0B3E-E080-4577-818A-45B1695AF181}"/>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704" name="Triangle_4">
                  <a:extLst>
                    <a:ext uri="{FF2B5EF4-FFF2-40B4-BE49-F238E27FC236}">
                      <a16:creationId xmlns:a16="http://schemas.microsoft.com/office/drawing/2014/main" id="{08578709-5705-BDE2-F04C-F79903085B99}"/>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09" name="Group 2308">
                <a:extLst>
                  <a:ext uri="{FF2B5EF4-FFF2-40B4-BE49-F238E27FC236}">
                    <a16:creationId xmlns:a16="http://schemas.microsoft.com/office/drawing/2014/main" id="{BA44835B-39EE-179C-93E7-BE6B13AAE9C0}"/>
                  </a:ext>
                </a:extLst>
              </p:cNvPr>
              <p:cNvGrpSpPr>
                <a:grpSpLocks/>
              </p:cNvGrpSpPr>
              <p:nvPr/>
            </p:nvGrpSpPr>
            <p:grpSpPr bwMode="gray">
              <a:xfrm>
                <a:off x="1135264" y="2926283"/>
                <a:ext cx="217142" cy="217142"/>
                <a:chOff x="1564620" y="4074624"/>
                <a:chExt cx="330948" cy="330948"/>
              </a:xfrm>
              <a:grpFill/>
            </p:grpSpPr>
            <p:sp>
              <p:nvSpPr>
                <p:cNvPr id="2695" name="dfine_grid_single_shape_frame">
                  <a:extLst>
                    <a:ext uri="{FF2B5EF4-FFF2-40B4-BE49-F238E27FC236}">
                      <a16:creationId xmlns:a16="http://schemas.microsoft.com/office/drawing/2014/main" id="{6C8DC055-5A8C-2FF7-06A0-C0418C033FBF}"/>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96" name="Triangle_1">
                  <a:extLst>
                    <a:ext uri="{FF2B5EF4-FFF2-40B4-BE49-F238E27FC236}">
                      <a16:creationId xmlns:a16="http://schemas.microsoft.com/office/drawing/2014/main" id="{F3A70EDD-5AB8-466F-44C4-DF68C5F6A314}"/>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97" name="Triangle_2">
                  <a:extLst>
                    <a:ext uri="{FF2B5EF4-FFF2-40B4-BE49-F238E27FC236}">
                      <a16:creationId xmlns:a16="http://schemas.microsoft.com/office/drawing/2014/main" id="{15A1911B-95A0-633E-224A-B945B6085468}"/>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98" name="Triangle_3">
                  <a:extLst>
                    <a:ext uri="{FF2B5EF4-FFF2-40B4-BE49-F238E27FC236}">
                      <a16:creationId xmlns:a16="http://schemas.microsoft.com/office/drawing/2014/main" id="{77A1A79B-771C-74DE-3231-AFB4D5F48582}"/>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99" name="Triangle_4">
                  <a:extLst>
                    <a:ext uri="{FF2B5EF4-FFF2-40B4-BE49-F238E27FC236}">
                      <a16:creationId xmlns:a16="http://schemas.microsoft.com/office/drawing/2014/main" id="{6C6DCC39-A626-7B5C-9A65-4629A171DB1A}"/>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10" name="Group 2309">
                <a:extLst>
                  <a:ext uri="{FF2B5EF4-FFF2-40B4-BE49-F238E27FC236}">
                    <a16:creationId xmlns:a16="http://schemas.microsoft.com/office/drawing/2014/main" id="{235DACC3-528A-A21E-A82E-CEB97FE6705F}"/>
                  </a:ext>
                </a:extLst>
              </p:cNvPr>
              <p:cNvGrpSpPr>
                <a:grpSpLocks/>
              </p:cNvGrpSpPr>
              <p:nvPr/>
            </p:nvGrpSpPr>
            <p:grpSpPr bwMode="gray">
              <a:xfrm>
                <a:off x="1135264" y="3143425"/>
                <a:ext cx="217142" cy="217142"/>
                <a:chOff x="1564620" y="2419889"/>
                <a:chExt cx="330948" cy="330948"/>
              </a:xfrm>
              <a:grpFill/>
            </p:grpSpPr>
            <p:sp>
              <p:nvSpPr>
                <p:cNvPr id="2690" name="dfine_grid_single_shape_frame">
                  <a:extLst>
                    <a:ext uri="{FF2B5EF4-FFF2-40B4-BE49-F238E27FC236}">
                      <a16:creationId xmlns:a16="http://schemas.microsoft.com/office/drawing/2014/main" id="{1D8AC0A9-3C86-A194-249D-DC1E3D2DDE3A}"/>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91" name="Triangle_1">
                  <a:extLst>
                    <a:ext uri="{FF2B5EF4-FFF2-40B4-BE49-F238E27FC236}">
                      <a16:creationId xmlns:a16="http://schemas.microsoft.com/office/drawing/2014/main" id="{99C72000-10B9-275D-BFFA-014AA38A4E3E}"/>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92" name="Triangle_2">
                  <a:extLst>
                    <a:ext uri="{FF2B5EF4-FFF2-40B4-BE49-F238E27FC236}">
                      <a16:creationId xmlns:a16="http://schemas.microsoft.com/office/drawing/2014/main" id="{E0F53383-938C-C98A-51C6-6152F643E2D9}"/>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93" name="Triangle_3">
                  <a:extLst>
                    <a:ext uri="{FF2B5EF4-FFF2-40B4-BE49-F238E27FC236}">
                      <a16:creationId xmlns:a16="http://schemas.microsoft.com/office/drawing/2014/main" id="{5207349B-273F-D42E-7B15-40F44852A496}"/>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94" name="Triangle_4">
                  <a:extLst>
                    <a:ext uri="{FF2B5EF4-FFF2-40B4-BE49-F238E27FC236}">
                      <a16:creationId xmlns:a16="http://schemas.microsoft.com/office/drawing/2014/main" id="{392051EE-266E-D35E-1EAE-55E93CD64E56}"/>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11" name="Group 2310">
                <a:extLst>
                  <a:ext uri="{FF2B5EF4-FFF2-40B4-BE49-F238E27FC236}">
                    <a16:creationId xmlns:a16="http://schemas.microsoft.com/office/drawing/2014/main" id="{E1C64F6C-D5A8-0B88-4E28-6F737993EC5C}"/>
                  </a:ext>
                </a:extLst>
              </p:cNvPr>
              <p:cNvGrpSpPr>
                <a:grpSpLocks/>
              </p:cNvGrpSpPr>
              <p:nvPr/>
            </p:nvGrpSpPr>
            <p:grpSpPr bwMode="gray">
              <a:xfrm>
                <a:off x="1135264" y="3360566"/>
                <a:ext cx="217142" cy="217142"/>
                <a:chOff x="1564620" y="2750836"/>
                <a:chExt cx="330948" cy="330948"/>
              </a:xfrm>
              <a:grpFill/>
            </p:grpSpPr>
            <p:sp>
              <p:nvSpPr>
                <p:cNvPr id="2685" name="dfine_grid_single_shape_frame">
                  <a:extLst>
                    <a:ext uri="{FF2B5EF4-FFF2-40B4-BE49-F238E27FC236}">
                      <a16:creationId xmlns:a16="http://schemas.microsoft.com/office/drawing/2014/main" id="{2AC12EC1-7E7B-8A2F-73A4-31C998C1BC20}"/>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86" name="Triangle_1">
                  <a:extLst>
                    <a:ext uri="{FF2B5EF4-FFF2-40B4-BE49-F238E27FC236}">
                      <a16:creationId xmlns:a16="http://schemas.microsoft.com/office/drawing/2014/main" id="{456347AC-8A05-D7E9-DFEE-21D038216CA5}"/>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87" name="Triangle_2">
                  <a:extLst>
                    <a:ext uri="{FF2B5EF4-FFF2-40B4-BE49-F238E27FC236}">
                      <a16:creationId xmlns:a16="http://schemas.microsoft.com/office/drawing/2014/main" id="{DE9B0CD3-9CFF-7D9A-20A9-8EF8D09D714E}"/>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88" name="Triangle_3">
                  <a:extLst>
                    <a:ext uri="{FF2B5EF4-FFF2-40B4-BE49-F238E27FC236}">
                      <a16:creationId xmlns:a16="http://schemas.microsoft.com/office/drawing/2014/main" id="{1A717C31-D210-0E77-2A3C-CC3643B50F4B}"/>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89" name="Triangle_4">
                  <a:extLst>
                    <a:ext uri="{FF2B5EF4-FFF2-40B4-BE49-F238E27FC236}">
                      <a16:creationId xmlns:a16="http://schemas.microsoft.com/office/drawing/2014/main" id="{6D39D7C2-7E11-2F42-546B-E017168D6805}"/>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12" name="Group 2311">
                <a:extLst>
                  <a:ext uri="{FF2B5EF4-FFF2-40B4-BE49-F238E27FC236}">
                    <a16:creationId xmlns:a16="http://schemas.microsoft.com/office/drawing/2014/main" id="{39B18DA2-33EC-30D1-3BFF-678DA6B3898A}"/>
                  </a:ext>
                </a:extLst>
              </p:cNvPr>
              <p:cNvGrpSpPr>
                <a:grpSpLocks/>
              </p:cNvGrpSpPr>
              <p:nvPr/>
            </p:nvGrpSpPr>
            <p:grpSpPr bwMode="gray">
              <a:xfrm>
                <a:off x="1135264" y="3577707"/>
                <a:ext cx="217142" cy="217142"/>
                <a:chOff x="1564620" y="3081783"/>
                <a:chExt cx="330948" cy="330948"/>
              </a:xfrm>
              <a:grpFill/>
            </p:grpSpPr>
            <p:sp>
              <p:nvSpPr>
                <p:cNvPr id="2680" name="dfine_grid_single_shape_frame">
                  <a:extLst>
                    <a:ext uri="{FF2B5EF4-FFF2-40B4-BE49-F238E27FC236}">
                      <a16:creationId xmlns:a16="http://schemas.microsoft.com/office/drawing/2014/main" id="{943E5702-C2CB-76B7-E71E-E0230D831D38}"/>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81" name="Triangle_1">
                  <a:extLst>
                    <a:ext uri="{FF2B5EF4-FFF2-40B4-BE49-F238E27FC236}">
                      <a16:creationId xmlns:a16="http://schemas.microsoft.com/office/drawing/2014/main" id="{E1FFCFDA-1415-6A19-AC5A-8518C85180FD}"/>
                    </a:ext>
                  </a:extLst>
                </p:cNvPr>
                <p:cNvSpPr>
                  <a:spLocks/>
                </p:cNvSpPr>
                <p:nvPr/>
              </p:nvSpPr>
              <p:spPr bwMode="gray">
                <a:xfrm rot="10800000">
                  <a:off x="1564620"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82" name="Triangle_2">
                  <a:extLst>
                    <a:ext uri="{FF2B5EF4-FFF2-40B4-BE49-F238E27FC236}">
                      <a16:creationId xmlns:a16="http://schemas.microsoft.com/office/drawing/2014/main" id="{971CD2ED-33E1-C715-C220-7026E0FDB8B2}"/>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83" name="Triangle_3">
                  <a:extLst>
                    <a:ext uri="{FF2B5EF4-FFF2-40B4-BE49-F238E27FC236}">
                      <a16:creationId xmlns:a16="http://schemas.microsoft.com/office/drawing/2014/main" id="{3F3581F0-858C-F1A0-FF08-7D03C619DB2E}"/>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84" name="Triangle_4">
                  <a:extLst>
                    <a:ext uri="{FF2B5EF4-FFF2-40B4-BE49-F238E27FC236}">
                      <a16:creationId xmlns:a16="http://schemas.microsoft.com/office/drawing/2014/main" id="{B0039041-7AC7-2482-082B-B4E224A846D0}"/>
                    </a:ext>
                  </a:extLst>
                </p:cNvPr>
                <p:cNvSpPr>
                  <a:spLocks/>
                </p:cNvSpPr>
                <p:nvPr/>
              </p:nvSpPr>
              <p:spPr bwMode="gray">
                <a:xfrm rot="16200000">
                  <a:off x="1647357"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13" name="Group 2312">
                <a:extLst>
                  <a:ext uri="{FF2B5EF4-FFF2-40B4-BE49-F238E27FC236}">
                    <a16:creationId xmlns:a16="http://schemas.microsoft.com/office/drawing/2014/main" id="{BB7A79BD-318E-73BF-7457-B3BC0351607C}"/>
                  </a:ext>
                </a:extLst>
              </p:cNvPr>
              <p:cNvGrpSpPr>
                <a:grpSpLocks/>
              </p:cNvGrpSpPr>
              <p:nvPr/>
            </p:nvGrpSpPr>
            <p:grpSpPr bwMode="gray">
              <a:xfrm>
                <a:off x="1135264" y="3794848"/>
                <a:ext cx="217142" cy="217142"/>
                <a:chOff x="1564620" y="3412730"/>
                <a:chExt cx="330948" cy="330948"/>
              </a:xfrm>
              <a:grpFill/>
            </p:grpSpPr>
            <p:sp>
              <p:nvSpPr>
                <p:cNvPr id="2675" name="dfine_grid_single_shape_frame">
                  <a:extLst>
                    <a:ext uri="{FF2B5EF4-FFF2-40B4-BE49-F238E27FC236}">
                      <a16:creationId xmlns:a16="http://schemas.microsoft.com/office/drawing/2014/main" id="{AF4B7BB5-6E78-1ED1-2FA0-10E023209D0B}"/>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76" name="Triangle_1">
                  <a:extLst>
                    <a:ext uri="{FF2B5EF4-FFF2-40B4-BE49-F238E27FC236}">
                      <a16:creationId xmlns:a16="http://schemas.microsoft.com/office/drawing/2014/main" id="{347883AA-37E0-1F17-7149-3DDA1D44E74A}"/>
                    </a:ext>
                  </a:extLst>
                </p:cNvPr>
                <p:cNvSpPr>
                  <a:spLocks/>
                </p:cNvSpPr>
                <p:nvPr/>
              </p:nvSpPr>
              <p:spPr bwMode="gray">
                <a:xfrm rot="10800000">
                  <a:off x="1564620"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77" name="Triangle_2">
                  <a:extLst>
                    <a:ext uri="{FF2B5EF4-FFF2-40B4-BE49-F238E27FC236}">
                      <a16:creationId xmlns:a16="http://schemas.microsoft.com/office/drawing/2014/main" id="{FE12CC5C-843B-5E8C-6A98-2AC6FD8E76C1}"/>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78" name="Triangle_3">
                  <a:extLst>
                    <a:ext uri="{FF2B5EF4-FFF2-40B4-BE49-F238E27FC236}">
                      <a16:creationId xmlns:a16="http://schemas.microsoft.com/office/drawing/2014/main" id="{58A1CDB7-9CB9-B2B5-B884-8CDBAF66191A}"/>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79" name="Triangle_4">
                  <a:extLst>
                    <a:ext uri="{FF2B5EF4-FFF2-40B4-BE49-F238E27FC236}">
                      <a16:creationId xmlns:a16="http://schemas.microsoft.com/office/drawing/2014/main" id="{1CFB34C0-3E9E-E96E-2065-47172E5205CF}"/>
                    </a:ext>
                  </a:extLst>
                </p:cNvPr>
                <p:cNvSpPr>
                  <a:spLocks/>
                </p:cNvSpPr>
                <p:nvPr/>
              </p:nvSpPr>
              <p:spPr bwMode="gray">
                <a:xfrm rot="16200000">
                  <a:off x="1647357"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14" name="Group 2313">
                <a:extLst>
                  <a:ext uri="{FF2B5EF4-FFF2-40B4-BE49-F238E27FC236}">
                    <a16:creationId xmlns:a16="http://schemas.microsoft.com/office/drawing/2014/main" id="{9491E07B-E067-2E71-CC84-B6DF94B915CA}"/>
                  </a:ext>
                </a:extLst>
              </p:cNvPr>
              <p:cNvGrpSpPr>
                <a:grpSpLocks/>
              </p:cNvGrpSpPr>
              <p:nvPr/>
            </p:nvGrpSpPr>
            <p:grpSpPr bwMode="gray">
              <a:xfrm>
                <a:off x="1135264" y="4011989"/>
                <a:ext cx="217142" cy="217142"/>
                <a:chOff x="1564620" y="3743677"/>
                <a:chExt cx="330948" cy="330948"/>
              </a:xfrm>
              <a:grpFill/>
            </p:grpSpPr>
            <p:sp>
              <p:nvSpPr>
                <p:cNvPr id="2670" name="dfine_grid_single_shape_frame">
                  <a:extLst>
                    <a:ext uri="{FF2B5EF4-FFF2-40B4-BE49-F238E27FC236}">
                      <a16:creationId xmlns:a16="http://schemas.microsoft.com/office/drawing/2014/main" id="{29402F23-1BC4-CA28-5FBB-4A0465AB54BD}"/>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71" name="Triangle_1">
                  <a:extLst>
                    <a:ext uri="{FF2B5EF4-FFF2-40B4-BE49-F238E27FC236}">
                      <a16:creationId xmlns:a16="http://schemas.microsoft.com/office/drawing/2014/main" id="{D0034305-58FE-7357-74A0-9F85B5A7F565}"/>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72" name="Triangle_2">
                  <a:extLst>
                    <a:ext uri="{FF2B5EF4-FFF2-40B4-BE49-F238E27FC236}">
                      <a16:creationId xmlns:a16="http://schemas.microsoft.com/office/drawing/2014/main" id="{E8A273DE-85A9-A2E8-26A9-6C40F19CE40B}"/>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73" name="Triangle_3">
                  <a:extLst>
                    <a:ext uri="{FF2B5EF4-FFF2-40B4-BE49-F238E27FC236}">
                      <a16:creationId xmlns:a16="http://schemas.microsoft.com/office/drawing/2014/main" id="{BBAC06D5-5348-6193-1D34-F49A9F032611}"/>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74" name="Triangle_4">
                  <a:extLst>
                    <a:ext uri="{FF2B5EF4-FFF2-40B4-BE49-F238E27FC236}">
                      <a16:creationId xmlns:a16="http://schemas.microsoft.com/office/drawing/2014/main" id="{E43FA9C6-2649-53F8-BF4F-426275E5044F}"/>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15" name="Group 2314">
                <a:extLst>
                  <a:ext uri="{FF2B5EF4-FFF2-40B4-BE49-F238E27FC236}">
                    <a16:creationId xmlns:a16="http://schemas.microsoft.com/office/drawing/2014/main" id="{22866A7A-B3D9-F131-A496-D8F8F528A55C}"/>
                  </a:ext>
                </a:extLst>
              </p:cNvPr>
              <p:cNvGrpSpPr>
                <a:grpSpLocks/>
              </p:cNvGrpSpPr>
              <p:nvPr/>
            </p:nvGrpSpPr>
            <p:grpSpPr bwMode="gray">
              <a:xfrm>
                <a:off x="1135264" y="4229130"/>
                <a:ext cx="217142" cy="217142"/>
                <a:chOff x="1564620" y="4074624"/>
                <a:chExt cx="330948" cy="330948"/>
              </a:xfrm>
              <a:grpFill/>
            </p:grpSpPr>
            <p:sp>
              <p:nvSpPr>
                <p:cNvPr id="2665" name="dfine_grid_single_shape_frame">
                  <a:extLst>
                    <a:ext uri="{FF2B5EF4-FFF2-40B4-BE49-F238E27FC236}">
                      <a16:creationId xmlns:a16="http://schemas.microsoft.com/office/drawing/2014/main" id="{360CA02B-7037-6C70-11EA-E5BAD492EAD4}"/>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66" name="Triangle_1">
                  <a:extLst>
                    <a:ext uri="{FF2B5EF4-FFF2-40B4-BE49-F238E27FC236}">
                      <a16:creationId xmlns:a16="http://schemas.microsoft.com/office/drawing/2014/main" id="{5E0435FD-3D69-593E-1834-A0AD4E919D3A}"/>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67" name="Triangle_2">
                  <a:extLst>
                    <a:ext uri="{FF2B5EF4-FFF2-40B4-BE49-F238E27FC236}">
                      <a16:creationId xmlns:a16="http://schemas.microsoft.com/office/drawing/2014/main" id="{E27A52A4-D8B2-3A48-1F93-144341EB7AB4}"/>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68" name="Triangle_3">
                  <a:extLst>
                    <a:ext uri="{FF2B5EF4-FFF2-40B4-BE49-F238E27FC236}">
                      <a16:creationId xmlns:a16="http://schemas.microsoft.com/office/drawing/2014/main" id="{D9BB6667-5C79-F724-A828-4CAB82A743A9}"/>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69" name="Triangle_4">
                  <a:extLst>
                    <a:ext uri="{FF2B5EF4-FFF2-40B4-BE49-F238E27FC236}">
                      <a16:creationId xmlns:a16="http://schemas.microsoft.com/office/drawing/2014/main" id="{5F8D4A57-33F2-BCD3-8679-181E56B397EA}"/>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16" name="Group 2315">
                <a:extLst>
                  <a:ext uri="{FF2B5EF4-FFF2-40B4-BE49-F238E27FC236}">
                    <a16:creationId xmlns:a16="http://schemas.microsoft.com/office/drawing/2014/main" id="{562E40A6-D958-77C6-DDF8-CD226D88B756}"/>
                  </a:ext>
                </a:extLst>
              </p:cNvPr>
              <p:cNvGrpSpPr>
                <a:grpSpLocks/>
              </p:cNvGrpSpPr>
              <p:nvPr/>
            </p:nvGrpSpPr>
            <p:grpSpPr bwMode="gray">
              <a:xfrm>
                <a:off x="700982" y="3794848"/>
                <a:ext cx="217142" cy="217142"/>
                <a:chOff x="902726" y="3412730"/>
                <a:chExt cx="330948" cy="330948"/>
              </a:xfrm>
              <a:grpFill/>
            </p:grpSpPr>
            <p:sp>
              <p:nvSpPr>
                <p:cNvPr id="2660" name="dfine_grid_single_shape_frame">
                  <a:extLst>
                    <a:ext uri="{FF2B5EF4-FFF2-40B4-BE49-F238E27FC236}">
                      <a16:creationId xmlns:a16="http://schemas.microsoft.com/office/drawing/2014/main" id="{339B478F-84F9-5F01-8E5D-ACAC46975E21}"/>
                    </a:ext>
                  </a:extLst>
                </p:cNvPr>
                <p:cNvSpPr>
                  <a:spLocks/>
                </p:cNvSpPr>
                <p:nvPr/>
              </p:nvSpPr>
              <p:spPr bwMode="gray">
                <a:xfrm>
                  <a:off x="902726"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61" name="Triangle_1">
                  <a:extLst>
                    <a:ext uri="{FF2B5EF4-FFF2-40B4-BE49-F238E27FC236}">
                      <a16:creationId xmlns:a16="http://schemas.microsoft.com/office/drawing/2014/main" id="{CF440994-EFD9-4693-7E93-7FF0CDF382EB}"/>
                    </a:ext>
                  </a:extLst>
                </p:cNvPr>
                <p:cNvSpPr>
                  <a:spLocks/>
                </p:cNvSpPr>
                <p:nvPr/>
              </p:nvSpPr>
              <p:spPr bwMode="gray">
                <a:xfrm rot="10800000">
                  <a:off x="902726"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62" name="Triangle_2">
                  <a:extLst>
                    <a:ext uri="{FF2B5EF4-FFF2-40B4-BE49-F238E27FC236}">
                      <a16:creationId xmlns:a16="http://schemas.microsoft.com/office/drawing/2014/main" id="{A2854D3E-45B9-C494-CE71-8CDDCCE34F22}"/>
                    </a:ext>
                  </a:extLst>
                </p:cNvPr>
                <p:cNvSpPr>
                  <a:spLocks/>
                </p:cNvSpPr>
                <p:nvPr/>
              </p:nvSpPr>
              <p:spPr bwMode="gray">
                <a:xfrm>
                  <a:off x="902726"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63" name="Triangle_3">
                  <a:extLst>
                    <a:ext uri="{FF2B5EF4-FFF2-40B4-BE49-F238E27FC236}">
                      <a16:creationId xmlns:a16="http://schemas.microsoft.com/office/drawing/2014/main" id="{25EA206A-DC9F-8303-FA5A-9BD24FF34D3D}"/>
                    </a:ext>
                  </a:extLst>
                </p:cNvPr>
                <p:cNvSpPr>
                  <a:spLocks/>
                </p:cNvSpPr>
                <p:nvPr/>
              </p:nvSpPr>
              <p:spPr bwMode="gray">
                <a:xfrm rot="5400000">
                  <a:off x="819989"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64" name="Triangle_4">
                  <a:extLst>
                    <a:ext uri="{FF2B5EF4-FFF2-40B4-BE49-F238E27FC236}">
                      <a16:creationId xmlns:a16="http://schemas.microsoft.com/office/drawing/2014/main" id="{3F804CCE-E26B-FE91-41A5-102661386BE6}"/>
                    </a:ext>
                  </a:extLst>
                </p:cNvPr>
                <p:cNvSpPr>
                  <a:spLocks/>
                </p:cNvSpPr>
                <p:nvPr/>
              </p:nvSpPr>
              <p:spPr bwMode="gray">
                <a:xfrm rot="16200000">
                  <a:off x="98546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17" name="Group 2316">
                <a:extLst>
                  <a:ext uri="{FF2B5EF4-FFF2-40B4-BE49-F238E27FC236}">
                    <a16:creationId xmlns:a16="http://schemas.microsoft.com/office/drawing/2014/main" id="{E60D80C3-3942-08F4-424A-08F7F6439D90}"/>
                  </a:ext>
                </a:extLst>
              </p:cNvPr>
              <p:cNvGrpSpPr>
                <a:grpSpLocks/>
              </p:cNvGrpSpPr>
              <p:nvPr/>
            </p:nvGrpSpPr>
            <p:grpSpPr bwMode="gray">
              <a:xfrm>
                <a:off x="266700" y="3143425"/>
                <a:ext cx="217142" cy="217142"/>
                <a:chOff x="240832" y="2419889"/>
                <a:chExt cx="330948" cy="330948"/>
              </a:xfrm>
              <a:grpFill/>
            </p:grpSpPr>
            <p:sp>
              <p:nvSpPr>
                <p:cNvPr id="2655" name="dfine_grid_single_shape_frame">
                  <a:extLst>
                    <a:ext uri="{FF2B5EF4-FFF2-40B4-BE49-F238E27FC236}">
                      <a16:creationId xmlns:a16="http://schemas.microsoft.com/office/drawing/2014/main" id="{9DD0333C-8506-6BB8-BEA9-FDA75111A195}"/>
                    </a:ext>
                  </a:extLst>
                </p:cNvPr>
                <p:cNvSpPr>
                  <a:spLocks/>
                </p:cNvSpPr>
                <p:nvPr>
                  <p:custDataLst>
                    <p:tags r:id="rId31"/>
                  </p:custDataLst>
                </p:nvPr>
              </p:nvSpPr>
              <p:spPr bwMode="gray">
                <a:xfrm>
                  <a:off x="240832"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56" name="Triangle_1">
                  <a:extLst>
                    <a:ext uri="{FF2B5EF4-FFF2-40B4-BE49-F238E27FC236}">
                      <a16:creationId xmlns:a16="http://schemas.microsoft.com/office/drawing/2014/main" id="{173683E2-2911-8D27-F98F-D6C2783A521F}"/>
                    </a:ext>
                  </a:extLst>
                </p:cNvPr>
                <p:cNvSpPr>
                  <a:spLocks/>
                </p:cNvSpPr>
                <p:nvPr/>
              </p:nvSpPr>
              <p:spPr bwMode="gray">
                <a:xfrm rot="10800000">
                  <a:off x="240832"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57" name="Triangle_2">
                  <a:extLst>
                    <a:ext uri="{FF2B5EF4-FFF2-40B4-BE49-F238E27FC236}">
                      <a16:creationId xmlns:a16="http://schemas.microsoft.com/office/drawing/2014/main" id="{B779A74D-FA9F-4563-D6AA-FC4CB69A5AD6}"/>
                    </a:ext>
                  </a:extLst>
                </p:cNvPr>
                <p:cNvSpPr>
                  <a:spLocks/>
                </p:cNvSpPr>
                <p:nvPr/>
              </p:nvSpPr>
              <p:spPr bwMode="gray">
                <a:xfrm>
                  <a:off x="240832"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58" name="Triangle_3">
                  <a:extLst>
                    <a:ext uri="{FF2B5EF4-FFF2-40B4-BE49-F238E27FC236}">
                      <a16:creationId xmlns:a16="http://schemas.microsoft.com/office/drawing/2014/main" id="{127C6AB6-B8EF-D9F8-487E-C015CEF7DC7D}"/>
                    </a:ext>
                  </a:extLst>
                </p:cNvPr>
                <p:cNvSpPr>
                  <a:spLocks/>
                </p:cNvSpPr>
                <p:nvPr/>
              </p:nvSpPr>
              <p:spPr bwMode="gray">
                <a:xfrm rot="5400000">
                  <a:off x="158095"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59" name="Triangle_4">
                  <a:extLst>
                    <a:ext uri="{FF2B5EF4-FFF2-40B4-BE49-F238E27FC236}">
                      <a16:creationId xmlns:a16="http://schemas.microsoft.com/office/drawing/2014/main" id="{9E69517F-1B70-4BC4-678A-56C3A125EEAC}"/>
                    </a:ext>
                  </a:extLst>
                </p:cNvPr>
                <p:cNvSpPr>
                  <a:spLocks/>
                </p:cNvSpPr>
                <p:nvPr/>
              </p:nvSpPr>
              <p:spPr bwMode="gray">
                <a:xfrm rot="16200000">
                  <a:off x="323569"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18" name="Group 2317">
                <a:extLst>
                  <a:ext uri="{FF2B5EF4-FFF2-40B4-BE49-F238E27FC236}">
                    <a16:creationId xmlns:a16="http://schemas.microsoft.com/office/drawing/2014/main" id="{A94C934D-201C-D72A-8A73-A2D79627564F}"/>
                  </a:ext>
                </a:extLst>
              </p:cNvPr>
              <p:cNvGrpSpPr>
                <a:grpSpLocks/>
              </p:cNvGrpSpPr>
              <p:nvPr/>
            </p:nvGrpSpPr>
            <p:grpSpPr bwMode="gray">
              <a:xfrm>
                <a:off x="266700" y="3360566"/>
                <a:ext cx="217142" cy="217142"/>
                <a:chOff x="240832" y="2750836"/>
                <a:chExt cx="330948" cy="330948"/>
              </a:xfrm>
              <a:grpFill/>
            </p:grpSpPr>
            <p:sp>
              <p:nvSpPr>
                <p:cNvPr id="2650" name="dfine_grid_single_shape_frame">
                  <a:extLst>
                    <a:ext uri="{FF2B5EF4-FFF2-40B4-BE49-F238E27FC236}">
                      <a16:creationId xmlns:a16="http://schemas.microsoft.com/office/drawing/2014/main" id="{A7903EE3-27F9-7353-AB6E-905DC98E5E9A}"/>
                    </a:ext>
                  </a:extLst>
                </p:cNvPr>
                <p:cNvSpPr>
                  <a:spLocks/>
                </p:cNvSpPr>
                <p:nvPr>
                  <p:custDataLst>
                    <p:tags r:id="rId30"/>
                  </p:custDataLst>
                </p:nvPr>
              </p:nvSpPr>
              <p:spPr bwMode="gray">
                <a:xfrm>
                  <a:off x="240832"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51" name="Triangle_1">
                  <a:extLst>
                    <a:ext uri="{FF2B5EF4-FFF2-40B4-BE49-F238E27FC236}">
                      <a16:creationId xmlns:a16="http://schemas.microsoft.com/office/drawing/2014/main" id="{03073EDB-EE42-5760-DB01-610D31752FD6}"/>
                    </a:ext>
                  </a:extLst>
                </p:cNvPr>
                <p:cNvSpPr>
                  <a:spLocks/>
                </p:cNvSpPr>
                <p:nvPr/>
              </p:nvSpPr>
              <p:spPr bwMode="gray">
                <a:xfrm rot="10800000">
                  <a:off x="240832"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52" name="Triangle_2">
                  <a:extLst>
                    <a:ext uri="{FF2B5EF4-FFF2-40B4-BE49-F238E27FC236}">
                      <a16:creationId xmlns:a16="http://schemas.microsoft.com/office/drawing/2014/main" id="{79A6E6D4-E534-CB0C-3A29-477B6A6981BA}"/>
                    </a:ext>
                  </a:extLst>
                </p:cNvPr>
                <p:cNvSpPr>
                  <a:spLocks/>
                </p:cNvSpPr>
                <p:nvPr/>
              </p:nvSpPr>
              <p:spPr bwMode="gray">
                <a:xfrm>
                  <a:off x="240832"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53" name="Triangle_3">
                  <a:extLst>
                    <a:ext uri="{FF2B5EF4-FFF2-40B4-BE49-F238E27FC236}">
                      <a16:creationId xmlns:a16="http://schemas.microsoft.com/office/drawing/2014/main" id="{E4CEECD0-E32B-E321-9889-7361199C2EFB}"/>
                    </a:ext>
                  </a:extLst>
                </p:cNvPr>
                <p:cNvSpPr>
                  <a:spLocks/>
                </p:cNvSpPr>
                <p:nvPr/>
              </p:nvSpPr>
              <p:spPr bwMode="gray">
                <a:xfrm rot="5400000">
                  <a:off x="158095"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54" name="Triangle_4">
                  <a:extLst>
                    <a:ext uri="{FF2B5EF4-FFF2-40B4-BE49-F238E27FC236}">
                      <a16:creationId xmlns:a16="http://schemas.microsoft.com/office/drawing/2014/main" id="{DA19BD5D-EBB9-B61B-1836-B73BEFEF4C6B}"/>
                    </a:ext>
                  </a:extLst>
                </p:cNvPr>
                <p:cNvSpPr>
                  <a:spLocks/>
                </p:cNvSpPr>
                <p:nvPr/>
              </p:nvSpPr>
              <p:spPr bwMode="gray">
                <a:xfrm rot="16200000">
                  <a:off x="323569" y="2833573"/>
                  <a:ext cx="330947"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19" name="Group 2318">
                <a:extLst>
                  <a:ext uri="{FF2B5EF4-FFF2-40B4-BE49-F238E27FC236}">
                    <a16:creationId xmlns:a16="http://schemas.microsoft.com/office/drawing/2014/main" id="{4B00090A-34E2-2250-7F96-E9ADC91D523E}"/>
                  </a:ext>
                </a:extLst>
              </p:cNvPr>
              <p:cNvGrpSpPr>
                <a:grpSpLocks/>
              </p:cNvGrpSpPr>
              <p:nvPr/>
            </p:nvGrpSpPr>
            <p:grpSpPr bwMode="gray">
              <a:xfrm>
                <a:off x="266700" y="3577707"/>
                <a:ext cx="217142" cy="217142"/>
                <a:chOff x="240832" y="3081783"/>
                <a:chExt cx="330948" cy="330948"/>
              </a:xfrm>
              <a:grpFill/>
            </p:grpSpPr>
            <p:sp>
              <p:nvSpPr>
                <p:cNvPr id="2645" name="dfine_grid_single_shape_frame">
                  <a:extLst>
                    <a:ext uri="{FF2B5EF4-FFF2-40B4-BE49-F238E27FC236}">
                      <a16:creationId xmlns:a16="http://schemas.microsoft.com/office/drawing/2014/main" id="{E4110E96-DF2E-0876-9BC8-A27F89CAAB7C}"/>
                    </a:ext>
                  </a:extLst>
                </p:cNvPr>
                <p:cNvSpPr>
                  <a:spLocks/>
                </p:cNvSpPr>
                <p:nvPr/>
              </p:nvSpPr>
              <p:spPr bwMode="gray">
                <a:xfrm>
                  <a:off x="240832"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46" name="Triangle_1">
                  <a:extLst>
                    <a:ext uri="{FF2B5EF4-FFF2-40B4-BE49-F238E27FC236}">
                      <a16:creationId xmlns:a16="http://schemas.microsoft.com/office/drawing/2014/main" id="{BAF4DEAD-C389-8C33-D66B-6B5FC803F62C}"/>
                    </a:ext>
                  </a:extLst>
                </p:cNvPr>
                <p:cNvSpPr>
                  <a:spLocks/>
                </p:cNvSpPr>
                <p:nvPr/>
              </p:nvSpPr>
              <p:spPr bwMode="gray">
                <a:xfrm rot="10800000">
                  <a:off x="240832"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47" name="Triangle_2">
                  <a:extLst>
                    <a:ext uri="{FF2B5EF4-FFF2-40B4-BE49-F238E27FC236}">
                      <a16:creationId xmlns:a16="http://schemas.microsoft.com/office/drawing/2014/main" id="{DB3EC430-88BD-25F6-8340-FD1F12392157}"/>
                    </a:ext>
                  </a:extLst>
                </p:cNvPr>
                <p:cNvSpPr>
                  <a:spLocks/>
                </p:cNvSpPr>
                <p:nvPr/>
              </p:nvSpPr>
              <p:spPr bwMode="gray">
                <a:xfrm>
                  <a:off x="240832"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48" name="Triangle_3">
                  <a:extLst>
                    <a:ext uri="{FF2B5EF4-FFF2-40B4-BE49-F238E27FC236}">
                      <a16:creationId xmlns:a16="http://schemas.microsoft.com/office/drawing/2014/main" id="{E15D2489-64D2-C8EA-6B6A-CCFC25514615}"/>
                    </a:ext>
                  </a:extLst>
                </p:cNvPr>
                <p:cNvSpPr>
                  <a:spLocks/>
                </p:cNvSpPr>
                <p:nvPr/>
              </p:nvSpPr>
              <p:spPr bwMode="gray">
                <a:xfrm rot="5400000">
                  <a:off x="158096" y="316452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49" name="Triangle_4">
                  <a:extLst>
                    <a:ext uri="{FF2B5EF4-FFF2-40B4-BE49-F238E27FC236}">
                      <a16:creationId xmlns:a16="http://schemas.microsoft.com/office/drawing/2014/main" id="{71F42B9C-F98F-5DB7-0565-1ADF8A89A89A}"/>
                    </a:ext>
                  </a:extLst>
                </p:cNvPr>
                <p:cNvSpPr>
                  <a:spLocks/>
                </p:cNvSpPr>
                <p:nvPr/>
              </p:nvSpPr>
              <p:spPr bwMode="gray">
                <a:xfrm rot="16200000">
                  <a:off x="323569"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20" name="Group 2319">
                <a:extLst>
                  <a:ext uri="{FF2B5EF4-FFF2-40B4-BE49-F238E27FC236}">
                    <a16:creationId xmlns:a16="http://schemas.microsoft.com/office/drawing/2014/main" id="{FE40112B-0CC2-2831-2017-73E010FA95D9}"/>
                  </a:ext>
                </a:extLst>
              </p:cNvPr>
              <p:cNvGrpSpPr>
                <a:grpSpLocks/>
              </p:cNvGrpSpPr>
              <p:nvPr/>
            </p:nvGrpSpPr>
            <p:grpSpPr bwMode="gray">
              <a:xfrm>
                <a:off x="266700" y="3794848"/>
                <a:ext cx="217142" cy="217142"/>
                <a:chOff x="240832" y="3412730"/>
                <a:chExt cx="330948" cy="330948"/>
              </a:xfrm>
              <a:grpFill/>
            </p:grpSpPr>
            <p:sp>
              <p:nvSpPr>
                <p:cNvPr id="2640" name="dfine_grid_single_shape_frame">
                  <a:extLst>
                    <a:ext uri="{FF2B5EF4-FFF2-40B4-BE49-F238E27FC236}">
                      <a16:creationId xmlns:a16="http://schemas.microsoft.com/office/drawing/2014/main" id="{7387B9E0-2E93-28C8-7213-B983704F5AC8}"/>
                    </a:ext>
                  </a:extLst>
                </p:cNvPr>
                <p:cNvSpPr>
                  <a:spLocks/>
                </p:cNvSpPr>
                <p:nvPr/>
              </p:nvSpPr>
              <p:spPr bwMode="gray">
                <a:xfrm>
                  <a:off x="240832"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41" name="Triangle_1">
                  <a:extLst>
                    <a:ext uri="{FF2B5EF4-FFF2-40B4-BE49-F238E27FC236}">
                      <a16:creationId xmlns:a16="http://schemas.microsoft.com/office/drawing/2014/main" id="{212E255B-DCA4-9937-F83F-AB38335384E1}"/>
                    </a:ext>
                  </a:extLst>
                </p:cNvPr>
                <p:cNvSpPr>
                  <a:spLocks/>
                </p:cNvSpPr>
                <p:nvPr/>
              </p:nvSpPr>
              <p:spPr bwMode="gray">
                <a:xfrm rot="10800000">
                  <a:off x="240832"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42" name="Triangle_2">
                  <a:extLst>
                    <a:ext uri="{FF2B5EF4-FFF2-40B4-BE49-F238E27FC236}">
                      <a16:creationId xmlns:a16="http://schemas.microsoft.com/office/drawing/2014/main" id="{51CD29EE-A0D4-BAF0-8766-2E9B76D03FAA}"/>
                    </a:ext>
                  </a:extLst>
                </p:cNvPr>
                <p:cNvSpPr>
                  <a:spLocks/>
                </p:cNvSpPr>
                <p:nvPr/>
              </p:nvSpPr>
              <p:spPr bwMode="gray">
                <a:xfrm>
                  <a:off x="240832"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43" name="Triangle_3">
                  <a:extLst>
                    <a:ext uri="{FF2B5EF4-FFF2-40B4-BE49-F238E27FC236}">
                      <a16:creationId xmlns:a16="http://schemas.microsoft.com/office/drawing/2014/main" id="{243E1EAC-E961-9392-0981-7937BF521608}"/>
                    </a:ext>
                  </a:extLst>
                </p:cNvPr>
                <p:cNvSpPr>
                  <a:spLocks/>
                </p:cNvSpPr>
                <p:nvPr/>
              </p:nvSpPr>
              <p:spPr bwMode="gray">
                <a:xfrm rot="5400000">
                  <a:off x="158095"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44" name="Triangle_4">
                  <a:extLst>
                    <a:ext uri="{FF2B5EF4-FFF2-40B4-BE49-F238E27FC236}">
                      <a16:creationId xmlns:a16="http://schemas.microsoft.com/office/drawing/2014/main" id="{581178D4-4C74-3C11-3794-DA761CBAAAE1}"/>
                    </a:ext>
                  </a:extLst>
                </p:cNvPr>
                <p:cNvSpPr>
                  <a:spLocks/>
                </p:cNvSpPr>
                <p:nvPr/>
              </p:nvSpPr>
              <p:spPr bwMode="gray">
                <a:xfrm rot="16200000">
                  <a:off x="323569"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21" name="Group 2320">
                <a:extLst>
                  <a:ext uri="{FF2B5EF4-FFF2-40B4-BE49-F238E27FC236}">
                    <a16:creationId xmlns:a16="http://schemas.microsoft.com/office/drawing/2014/main" id="{04307144-D37D-2DCD-CF37-457FDE6DA217}"/>
                  </a:ext>
                </a:extLst>
              </p:cNvPr>
              <p:cNvGrpSpPr>
                <a:grpSpLocks/>
              </p:cNvGrpSpPr>
              <p:nvPr/>
            </p:nvGrpSpPr>
            <p:grpSpPr bwMode="gray">
              <a:xfrm>
                <a:off x="266700" y="4011989"/>
                <a:ext cx="217142" cy="217142"/>
                <a:chOff x="240832" y="3743677"/>
                <a:chExt cx="330948" cy="330948"/>
              </a:xfrm>
              <a:grpFill/>
            </p:grpSpPr>
            <p:sp>
              <p:nvSpPr>
                <p:cNvPr id="2635" name="dfine_grid_single_shape_frame">
                  <a:extLst>
                    <a:ext uri="{FF2B5EF4-FFF2-40B4-BE49-F238E27FC236}">
                      <a16:creationId xmlns:a16="http://schemas.microsoft.com/office/drawing/2014/main" id="{AFA8A620-1CD9-7FC8-641D-4395C0B0A734}"/>
                    </a:ext>
                  </a:extLst>
                </p:cNvPr>
                <p:cNvSpPr>
                  <a:spLocks/>
                </p:cNvSpPr>
                <p:nvPr/>
              </p:nvSpPr>
              <p:spPr bwMode="gray">
                <a:xfrm>
                  <a:off x="240832"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36" name="Triangle_1">
                  <a:extLst>
                    <a:ext uri="{FF2B5EF4-FFF2-40B4-BE49-F238E27FC236}">
                      <a16:creationId xmlns:a16="http://schemas.microsoft.com/office/drawing/2014/main" id="{EE961BE9-D6AB-7608-FF01-9042CD0F569B}"/>
                    </a:ext>
                  </a:extLst>
                </p:cNvPr>
                <p:cNvSpPr>
                  <a:spLocks/>
                </p:cNvSpPr>
                <p:nvPr/>
              </p:nvSpPr>
              <p:spPr bwMode="gray">
                <a:xfrm rot="10800000">
                  <a:off x="240832"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37" name="Triangle_2">
                  <a:extLst>
                    <a:ext uri="{FF2B5EF4-FFF2-40B4-BE49-F238E27FC236}">
                      <a16:creationId xmlns:a16="http://schemas.microsoft.com/office/drawing/2014/main" id="{53D0197A-0AFB-C5AD-6FAA-86C6FE80D449}"/>
                    </a:ext>
                  </a:extLst>
                </p:cNvPr>
                <p:cNvSpPr>
                  <a:spLocks/>
                </p:cNvSpPr>
                <p:nvPr/>
              </p:nvSpPr>
              <p:spPr bwMode="gray">
                <a:xfrm>
                  <a:off x="240832"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38" name="Triangle_3">
                  <a:extLst>
                    <a:ext uri="{FF2B5EF4-FFF2-40B4-BE49-F238E27FC236}">
                      <a16:creationId xmlns:a16="http://schemas.microsoft.com/office/drawing/2014/main" id="{8CFE2245-1A5E-C0AF-926A-4EFF3FC98F9C}"/>
                    </a:ext>
                  </a:extLst>
                </p:cNvPr>
                <p:cNvSpPr>
                  <a:spLocks/>
                </p:cNvSpPr>
                <p:nvPr/>
              </p:nvSpPr>
              <p:spPr bwMode="gray">
                <a:xfrm rot="5400000">
                  <a:off x="158095"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39" name="Triangle_4">
                  <a:extLst>
                    <a:ext uri="{FF2B5EF4-FFF2-40B4-BE49-F238E27FC236}">
                      <a16:creationId xmlns:a16="http://schemas.microsoft.com/office/drawing/2014/main" id="{580EFB67-DDEA-5E4C-3E9F-94B57B941A3A}"/>
                    </a:ext>
                  </a:extLst>
                </p:cNvPr>
                <p:cNvSpPr>
                  <a:spLocks/>
                </p:cNvSpPr>
                <p:nvPr/>
              </p:nvSpPr>
              <p:spPr bwMode="gray">
                <a:xfrm rot="16200000">
                  <a:off x="323569"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22" name="Group 2321">
                <a:extLst>
                  <a:ext uri="{FF2B5EF4-FFF2-40B4-BE49-F238E27FC236}">
                    <a16:creationId xmlns:a16="http://schemas.microsoft.com/office/drawing/2014/main" id="{84FAFBD6-5511-CB15-85EC-58C14F166575}"/>
                  </a:ext>
                </a:extLst>
              </p:cNvPr>
              <p:cNvGrpSpPr>
                <a:grpSpLocks/>
              </p:cNvGrpSpPr>
              <p:nvPr/>
            </p:nvGrpSpPr>
            <p:grpSpPr bwMode="gray">
              <a:xfrm>
                <a:off x="266700" y="4229130"/>
                <a:ext cx="217142" cy="217142"/>
                <a:chOff x="240832" y="4074624"/>
                <a:chExt cx="330948" cy="330948"/>
              </a:xfrm>
              <a:grpFill/>
            </p:grpSpPr>
            <p:sp>
              <p:nvSpPr>
                <p:cNvPr id="2630" name="dfine_grid_single_shape_frame">
                  <a:extLst>
                    <a:ext uri="{FF2B5EF4-FFF2-40B4-BE49-F238E27FC236}">
                      <a16:creationId xmlns:a16="http://schemas.microsoft.com/office/drawing/2014/main" id="{B543DB63-D557-A442-CBB4-E27CF37FBC31}"/>
                    </a:ext>
                  </a:extLst>
                </p:cNvPr>
                <p:cNvSpPr>
                  <a:spLocks/>
                </p:cNvSpPr>
                <p:nvPr/>
              </p:nvSpPr>
              <p:spPr bwMode="gray">
                <a:xfrm>
                  <a:off x="240832"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31" name="Triangle_1">
                  <a:extLst>
                    <a:ext uri="{FF2B5EF4-FFF2-40B4-BE49-F238E27FC236}">
                      <a16:creationId xmlns:a16="http://schemas.microsoft.com/office/drawing/2014/main" id="{0D32A96E-2801-B94D-4E83-A93B1871EF0C}"/>
                    </a:ext>
                  </a:extLst>
                </p:cNvPr>
                <p:cNvSpPr>
                  <a:spLocks/>
                </p:cNvSpPr>
                <p:nvPr/>
              </p:nvSpPr>
              <p:spPr bwMode="gray">
                <a:xfrm rot="10800000">
                  <a:off x="240832"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32" name="Triangle_2">
                  <a:extLst>
                    <a:ext uri="{FF2B5EF4-FFF2-40B4-BE49-F238E27FC236}">
                      <a16:creationId xmlns:a16="http://schemas.microsoft.com/office/drawing/2014/main" id="{74ECEB7F-804C-7B46-F9AC-6F76D51141AE}"/>
                    </a:ext>
                  </a:extLst>
                </p:cNvPr>
                <p:cNvSpPr>
                  <a:spLocks/>
                </p:cNvSpPr>
                <p:nvPr/>
              </p:nvSpPr>
              <p:spPr bwMode="gray">
                <a:xfrm>
                  <a:off x="240832"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33" name="Triangle_3">
                  <a:extLst>
                    <a:ext uri="{FF2B5EF4-FFF2-40B4-BE49-F238E27FC236}">
                      <a16:creationId xmlns:a16="http://schemas.microsoft.com/office/drawing/2014/main" id="{4D73986F-37F6-3833-3BA9-807705922A7A}"/>
                    </a:ext>
                  </a:extLst>
                </p:cNvPr>
                <p:cNvSpPr>
                  <a:spLocks/>
                </p:cNvSpPr>
                <p:nvPr/>
              </p:nvSpPr>
              <p:spPr bwMode="gray">
                <a:xfrm rot="5400000">
                  <a:off x="158095"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34" name="Triangle_4">
                  <a:extLst>
                    <a:ext uri="{FF2B5EF4-FFF2-40B4-BE49-F238E27FC236}">
                      <a16:creationId xmlns:a16="http://schemas.microsoft.com/office/drawing/2014/main" id="{28C23268-8E47-929A-0ADF-216DDB5CBD35}"/>
                    </a:ext>
                  </a:extLst>
                </p:cNvPr>
                <p:cNvSpPr>
                  <a:spLocks/>
                </p:cNvSpPr>
                <p:nvPr/>
              </p:nvSpPr>
              <p:spPr bwMode="gray">
                <a:xfrm rot="16200000">
                  <a:off x="323569"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23" name="Group 2322">
                <a:extLst>
                  <a:ext uri="{FF2B5EF4-FFF2-40B4-BE49-F238E27FC236}">
                    <a16:creationId xmlns:a16="http://schemas.microsoft.com/office/drawing/2014/main" id="{307773D4-F7B4-2184-6D25-F9BBD63EF392}"/>
                  </a:ext>
                </a:extLst>
              </p:cNvPr>
              <p:cNvGrpSpPr>
                <a:grpSpLocks/>
              </p:cNvGrpSpPr>
              <p:nvPr/>
            </p:nvGrpSpPr>
            <p:grpSpPr bwMode="gray">
              <a:xfrm>
                <a:off x="483841" y="3143425"/>
                <a:ext cx="217142" cy="217142"/>
                <a:chOff x="571779" y="2419889"/>
                <a:chExt cx="330948" cy="330948"/>
              </a:xfrm>
              <a:grpFill/>
            </p:grpSpPr>
            <p:sp>
              <p:nvSpPr>
                <p:cNvPr id="2625" name="dfine_grid_single_shape_frame">
                  <a:extLst>
                    <a:ext uri="{FF2B5EF4-FFF2-40B4-BE49-F238E27FC236}">
                      <a16:creationId xmlns:a16="http://schemas.microsoft.com/office/drawing/2014/main" id="{2D751861-0377-C0BB-F8DD-872EBB183524}"/>
                    </a:ext>
                  </a:extLst>
                </p:cNvPr>
                <p:cNvSpPr>
                  <a:spLocks/>
                </p:cNvSpPr>
                <p:nvPr/>
              </p:nvSpPr>
              <p:spPr bwMode="gray">
                <a:xfrm>
                  <a:off x="571779"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26" name="Triangle_1">
                  <a:extLst>
                    <a:ext uri="{FF2B5EF4-FFF2-40B4-BE49-F238E27FC236}">
                      <a16:creationId xmlns:a16="http://schemas.microsoft.com/office/drawing/2014/main" id="{04C7FBE3-4BC3-5784-A8C4-AE031901E3CB}"/>
                    </a:ext>
                  </a:extLst>
                </p:cNvPr>
                <p:cNvSpPr>
                  <a:spLocks/>
                </p:cNvSpPr>
                <p:nvPr/>
              </p:nvSpPr>
              <p:spPr bwMode="gray">
                <a:xfrm rot="10800000">
                  <a:off x="571779"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27" name="Triangle_2">
                  <a:extLst>
                    <a:ext uri="{FF2B5EF4-FFF2-40B4-BE49-F238E27FC236}">
                      <a16:creationId xmlns:a16="http://schemas.microsoft.com/office/drawing/2014/main" id="{8572CBD3-BA0E-67E5-9894-6B6713D478A1}"/>
                    </a:ext>
                  </a:extLst>
                </p:cNvPr>
                <p:cNvSpPr>
                  <a:spLocks/>
                </p:cNvSpPr>
                <p:nvPr/>
              </p:nvSpPr>
              <p:spPr bwMode="gray">
                <a:xfrm>
                  <a:off x="571779"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28" name="Triangle_3">
                  <a:extLst>
                    <a:ext uri="{FF2B5EF4-FFF2-40B4-BE49-F238E27FC236}">
                      <a16:creationId xmlns:a16="http://schemas.microsoft.com/office/drawing/2014/main" id="{1E0F6FDA-88CC-1BDA-5C0A-EC41F408E8DC}"/>
                    </a:ext>
                  </a:extLst>
                </p:cNvPr>
                <p:cNvSpPr>
                  <a:spLocks/>
                </p:cNvSpPr>
                <p:nvPr/>
              </p:nvSpPr>
              <p:spPr bwMode="gray">
                <a:xfrm rot="5400000">
                  <a:off x="489042"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29" name="Triangle_4">
                  <a:extLst>
                    <a:ext uri="{FF2B5EF4-FFF2-40B4-BE49-F238E27FC236}">
                      <a16:creationId xmlns:a16="http://schemas.microsoft.com/office/drawing/2014/main" id="{54ED2770-CAE6-494B-8FCC-8B84EA6F3659}"/>
                    </a:ext>
                  </a:extLst>
                </p:cNvPr>
                <p:cNvSpPr>
                  <a:spLocks/>
                </p:cNvSpPr>
                <p:nvPr/>
              </p:nvSpPr>
              <p:spPr bwMode="gray">
                <a:xfrm rot="16200000">
                  <a:off x="654516"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24" name="Group 2323">
                <a:extLst>
                  <a:ext uri="{FF2B5EF4-FFF2-40B4-BE49-F238E27FC236}">
                    <a16:creationId xmlns:a16="http://schemas.microsoft.com/office/drawing/2014/main" id="{E159617E-C704-3A67-B4F4-3038B9054A6A}"/>
                  </a:ext>
                </a:extLst>
              </p:cNvPr>
              <p:cNvGrpSpPr>
                <a:grpSpLocks/>
              </p:cNvGrpSpPr>
              <p:nvPr/>
            </p:nvGrpSpPr>
            <p:grpSpPr bwMode="gray">
              <a:xfrm>
                <a:off x="483841" y="3360566"/>
                <a:ext cx="217142" cy="217142"/>
                <a:chOff x="571779" y="2750836"/>
                <a:chExt cx="330948" cy="330948"/>
              </a:xfrm>
              <a:grpFill/>
            </p:grpSpPr>
            <p:sp>
              <p:nvSpPr>
                <p:cNvPr id="2620" name="dfine_grid_single_shape_frame">
                  <a:extLst>
                    <a:ext uri="{FF2B5EF4-FFF2-40B4-BE49-F238E27FC236}">
                      <a16:creationId xmlns:a16="http://schemas.microsoft.com/office/drawing/2014/main" id="{B8703623-2977-52E4-3E36-6B2A72088B4C}"/>
                    </a:ext>
                  </a:extLst>
                </p:cNvPr>
                <p:cNvSpPr>
                  <a:spLocks/>
                </p:cNvSpPr>
                <p:nvPr/>
              </p:nvSpPr>
              <p:spPr bwMode="gray">
                <a:xfrm>
                  <a:off x="571779"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21" name="Triangle_1">
                  <a:extLst>
                    <a:ext uri="{FF2B5EF4-FFF2-40B4-BE49-F238E27FC236}">
                      <a16:creationId xmlns:a16="http://schemas.microsoft.com/office/drawing/2014/main" id="{3CDFE85A-B9B4-CD9E-2BF3-8DBFD2405840}"/>
                    </a:ext>
                  </a:extLst>
                </p:cNvPr>
                <p:cNvSpPr>
                  <a:spLocks/>
                </p:cNvSpPr>
                <p:nvPr/>
              </p:nvSpPr>
              <p:spPr bwMode="gray">
                <a:xfrm rot="10800000">
                  <a:off x="571779"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22" name="Triangle_2">
                  <a:extLst>
                    <a:ext uri="{FF2B5EF4-FFF2-40B4-BE49-F238E27FC236}">
                      <a16:creationId xmlns:a16="http://schemas.microsoft.com/office/drawing/2014/main" id="{B00A632B-3762-EE8A-1F44-717952F18A54}"/>
                    </a:ext>
                  </a:extLst>
                </p:cNvPr>
                <p:cNvSpPr>
                  <a:spLocks/>
                </p:cNvSpPr>
                <p:nvPr/>
              </p:nvSpPr>
              <p:spPr bwMode="gray">
                <a:xfrm>
                  <a:off x="571779"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23" name="Triangle_3">
                  <a:extLst>
                    <a:ext uri="{FF2B5EF4-FFF2-40B4-BE49-F238E27FC236}">
                      <a16:creationId xmlns:a16="http://schemas.microsoft.com/office/drawing/2014/main" id="{8FA8826D-55C6-0D30-A9AA-5A1851A99CB5}"/>
                    </a:ext>
                  </a:extLst>
                </p:cNvPr>
                <p:cNvSpPr>
                  <a:spLocks/>
                </p:cNvSpPr>
                <p:nvPr/>
              </p:nvSpPr>
              <p:spPr bwMode="gray">
                <a:xfrm rot="5400000">
                  <a:off x="489042"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24" name="Triangle_4">
                  <a:extLst>
                    <a:ext uri="{FF2B5EF4-FFF2-40B4-BE49-F238E27FC236}">
                      <a16:creationId xmlns:a16="http://schemas.microsoft.com/office/drawing/2014/main" id="{5844EDCE-BEAD-D2DC-CB7E-D34AFA4DA2A6}"/>
                    </a:ext>
                  </a:extLst>
                </p:cNvPr>
                <p:cNvSpPr>
                  <a:spLocks/>
                </p:cNvSpPr>
                <p:nvPr/>
              </p:nvSpPr>
              <p:spPr bwMode="gray">
                <a:xfrm rot="16200000">
                  <a:off x="654516"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25" name="Group 2324">
                <a:extLst>
                  <a:ext uri="{FF2B5EF4-FFF2-40B4-BE49-F238E27FC236}">
                    <a16:creationId xmlns:a16="http://schemas.microsoft.com/office/drawing/2014/main" id="{D6BA0EC0-6863-5220-A5DC-5258E9BE1494}"/>
                  </a:ext>
                </a:extLst>
              </p:cNvPr>
              <p:cNvGrpSpPr>
                <a:grpSpLocks/>
              </p:cNvGrpSpPr>
              <p:nvPr/>
            </p:nvGrpSpPr>
            <p:grpSpPr bwMode="gray">
              <a:xfrm>
                <a:off x="483841" y="3577707"/>
                <a:ext cx="217142" cy="217142"/>
                <a:chOff x="571779" y="3081783"/>
                <a:chExt cx="330948" cy="330948"/>
              </a:xfrm>
              <a:grpFill/>
            </p:grpSpPr>
            <p:sp>
              <p:nvSpPr>
                <p:cNvPr id="2615" name="dfine_grid_single_shape_frame">
                  <a:extLst>
                    <a:ext uri="{FF2B5EF4-FFF2-40B4-BE49-F238E27FC236}">
                      <a16:creationId xmlns:a16="http://schemas.microsoft.com/office/drawing/2014/main" id="{ABCA8946-A3AD-A63D-4E4D-FDC5A933104F}"/>
                    </a:ext>
                  </a:extLst>
                </p:cNvPr>
                <p:cNvSpPr>
                  <a:spLocks/>
                </p:cNvSpPr>
                <p:nvPr/>
              </p:nvSpPr>
              <p:spPr bwMode="gray">
                <a:xfrm>
                  <a:off x="571779"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16" name="Triangle_1">
                  <a:extLst>
                    <a:ext uri="{FF2B5EF4-FFF2-40B4-BE49-F238E27FC236}">
                      <a16:creationId xmlns:a16="http://schemas.microsoft.com/office/drawing/2014/main" id="{636BD7C5-428A-1A9A-FD41-34E7C12C2655}"/>
                    </a:ext>
                  </a:extLst>
                </p:cNvPr>
                <p:cNvSpPr>
                  <a:spLocks/>
                </p:cNvSpPr>
                <p:nvPr/>
              </p:nvSpPr>
              <p:spPr bwMode="gray">
                <a:xfrm rot="10800000">
                  <a:off x="571779"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17" name="Triangle_2">
                  <a:extLst>
                    <a:ext uri="{FF2B5EF4-FFF2-40B4-BE49-F238E27FC236}">
                      <a16:creationId xmlns:a16="http://schemas.microsoft.com/office/drawing/2014/main" id="{28899F3E-8D98-0166-5F1A-21968431D25F}"/>
                    </a:ext>
                  </a:extLst>
                </p:cNvPr>
                <p:cNvSpPr>
                  <a:spLocks/>
                </p:cNvSpPr>
                <p:nvPr/>
              </p:nvSpPr>
              <p:spPr bwMode="gray">
                <a:xfrm>
                  <a:off x="571779"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18" name="Triangle_3">
                  <a:extLst>
                    <a:ext uri="{FF2B5EF4-FFF2-40B4-BE49-F238E27FC236}">
                      <a16:creationId xmlns:a16="http://schemas.microsoft.com/office/drawing/2014/main" id="{886F4D38-0E7B-362A-470A-FEA53E69933B}"/>
                    </a:ext>
                  </a:extLst>
                </p:cNvPr>
                <p:cNvSpPr>
                  <a:spLocks/>
                </p:cNvSpPr>
                <p:nvPr/>
              </p:nvSpPr>
              <p:spPr bwMode="gray">
                <a:xfrm rot="5400000">
                  <a:off x="489042"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19" name="Triangle_4">
                  <a:extLst>
                    <a:ext uri="{FF2B5EF4-FFF2-40B4-BE49-F238E27FC236}">
                      <a16:creationId xmlns:a16="http://schemas.microsoft.com/office/drawing/2014/main" id="{F31C0681-844B-ECA4-DF18-5F657CF9935F}"/>
                    </a:ext>
                  </a:extLst>
                </p:cNvPr>
                <p:cNvSpPr>
                  <a:spLocks/>
                </p:cNvSpPr>
                <p:nvPr/>
              </p:nvSpPr>
              <p:spPr bwMode="gray">
                <a:xfrm rot="16200000">
                  <a:off x="654516"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26" name="Group 2325">
                <a:extLst>
                  <a:ext uri="{FF2B5EF4-FFF2-40B4-BE49-F238E27FC236}">
                    <a16:creationId xmlns:a16="http://schemas.microsoft.com/office/drawing/2014/main" id="{E651275C-3341-EAAF-B26B-A93BEDCE68B0}"/>
                  </a:ext>
                </a:extLst>
              </p:cNvPr>
              <p:cNvGrpSpPr>
                <a:grpSpLocks/>
              </p:cNvGrpSpPr>
              <p:nvPr/>
            </p:nvGrpSpPr>
            <p:grpSpPr bwMode="gray">
              <a:xfrm>
                <a:off x="483841" y="3794848"/>
                <a:ext cx="217142" cy="217142"/>
                <a:chOff x="571779" y="3412730"/>
                <a:chExt cx="330948" cy="330948"/>
              </a:xfrm>
              <a:grpFill/>
            </p:grpSpPr>
            <p:sp>
              <p:nvSpPr>
                <p:cNvPr id="2610" name="dfine_grid_single_shape_frame">
                  <a:extLst>
                    <a:ext uri="{FF2B5EF4-FFF2-40B4-BE49-F238E27FC236}">
                      <a16:creationId xmlns:a16="http://schemas.microsoft.com/office/drawing/2014/main" id="{DD4672CC-699E-BCA5-32C1-F725894A9565}"/>
                    </a:ext>
                  </a:extLst>
                </p:cNvPr>
                <p:cNvSpPr>
                  <a:spLocks/>
                </p:cNvSpPr>
                <p:nvPr>
                  <p:custDataLst>
                    <p:tags r:id="rId29"/>
                  </p:custDataLst>
                </p:nvPr>
              </p:nvSpPr>
              <p:spPr bwMode="gray">
                <a:xfrm>
                  <a:off x="571779"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11" name="Triangle_1">
                  <a:extLst>
                    <a:ext uri="{FF2B5EF4-FFF2-40B4-BE49-F238E27FC236}">
                      <a16:creationId xmlns:a16="http://schemas.microsoft.com/office/drawing/2014/main" id="{940CBB48-E423-E180-7FF9-F02077941929}"/>
                    </a:ext>
                  </a:extLst>
                </p:cNvPr>
                <p:cNvSpPr>
                  <a:spLocks/>
                </p:cNvSpPr>
                <p:nvPr/>
              </p:nvSpPr>
              <p:spPr bwMode="gray">
                <a:xfrm rot="10800000">
                  <a:off x="571779"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12" name="Triangle_2">
                  <a:extLst>
                    <a:ext uri="{FF2B5EF4-FFF2-40B4-BE49-F238E27FC236}">
                      <a16:creationId xmlns:a16="http://schemas.microsoft.com/office/drawing/2014/main" id="{379E012B-507D-F707-F106-B7305C2E0D31}"/>
                    </a:ext>
                  </a:extLst>
                </p:cNvPr>
                <p:cNvSpPr>
                  <a:spLocks/>
                </p:cNvSpPr>
                <p:nvPr/>
              </p:nvSpPr>
              <p:spPr bwMode="gray">
                <a:xfrm>
                  <a:off x="571779"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13" name="Triangle_3">
                  <a:extLst>
                    <a:ext uri="{FF2B5EF4-FFF2-40B4-BE49-F238E27FC236}">
                      <a16:creationId xmlns:a16="http://schemas.microsoft.com/office/drawing/2014/main" id="{D190F77D-11DF-02F2-98B7-968FB85AB877}"/>
                    </a:ext>
                  </a:extLst>
                </p:cNvPr>
                <p:cNvSpPr>
                  <a:spLocks/>
                </p:cNvSpPr>
                <p:nvPr/>
              </p:nvSpPr>
              <p:spPr bwMode="gray">
                <a:xfrm rot="5400000">
                  <a:off x="489042"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14" name="Triangle_4">
                  <a:extLst>
                    <a:ext uri="{FF2B5EF4-FFF2-40B4-BE49-F238E27FC236}">
                      <a16:creationId xmlns:a16="http://schemas.microsoft.com/office/drawing/2014/main" id="{B880812D-7CBF-61D3-6133-E1181D6DB03B}"/>
                    </a:ext>
                  </a:extLst>
                </p:cNvPr>
                <p:cNvSpPr>
                  <a:spLocks/>
                </p:cNvSpPr>
                <p:nvPr/>
              </p:nvSpPr>
              <p:spPr bwMode="gray">
                <a:xfrm rot="16200000">
                  <a:off x="654516"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27" name="Group 2326">
                <a:extLst>
                  <a:ext uri="{FF2B5EF4-FFF2-40B4-BE49-F238E27FC236}">
                    <a16:creationId xmlns:a16="http://schemas.microsoft.com/office/drawing/2014/main" id="{5C8FF709-1A76-5036-08E4-D9E993CC0A98}"/>
                  </a:ext>
                </a:extLst>
              </p:cNvPr>
              <p:cNvGrpSpPr>
                <a:grpSpLocks/>
              </p:cNvGrpSpPr>
              <p:nvPr/>
            </p:nvGrpSpPr>
            <p:grpSpPr bwMode="gray">
              <a:xfrm>
                <a:off x="483841" y="4011989"/>
                <a:ext cx="217142" cy="217142"/>
                <a:chOff x="571779" y="3743677"/>
                <a:chExt cx="330948" cy="330948"/>
              </a:xfrm>
              <a:grpFill/>
            </p:grpSpPr>
            <p:sp>
              <p:nvSpPr>
                <p:cNvPr id="2605" name="dfine_grid_single_shape_frame">
                  <a:extLst>
                    <a:ext uri="{FF2B5EF4-FFF2-40B4-BE49-F238E27FC236}">
                      <a16:creationId xmlns:a16="http://schemas.microsoft.com/office/drawing/2014/main" id="{EA0C07BD-2C78-0455-1EE7-BE6A6D6DA3B1}"/>
                    </a:ext>
                  </a:extLst>
                </p:cNvPr>
                <p:cNvSpPr>
                  <a:spLocks/>
                </p:cNvSpPr>
                <p:nvPr/>
              </p:nvSpPr>
              <p:spPr bwMode="gray">
                <a:xfrm>
                  <a:off x="571779"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06" name="Triangle_1">
                  <a:extLst>
                    <a:ext uri="{FF2B5EF4-FFF2-40B4-BE49-F238E27FC236}">
                      <a16:creationId xmlns:a16="http://schemas.microsoft.com/office/drawing/2014/main" id="{4ADC1CA8-92F8-85B5-2A46-32F9807E2515}"/>
                    </a:ext>
                  </a:extLst>
                </p:cNvPr>
                <p:cNvSpPr>
                  <a:spLocks/>
                </p:cNvSpPr>
                <p:nvPr/>
              </p:nvSpPr>
              <p:spPr bwMode="gray">
                <a:xfrm rot="10800000">
                  <a:off x="571779"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07" name="Triangle_2">
                  <a:extLst>
                    <a:ext uri="{FF2B5EF4-FFF2-40B4-BE49-F238E27FC236}">
                      <a16:creationId xmlns:a16="http://schemas.microsoft.com/office/drawing/2014/main" id="{D0952979-E901-D9A1-5F02-139C4409BD75}"/>
                    </a:ext>
                  </a:extLst>
                </p:cNvPr>
                <p:cNvSpPr>
                  <a:spLocks/>
                </p:cNvSpPr>
                <p:nvPr/>
              </p:nvSpPr>
              <p:spPr bwMode="gray">
                <a:xfrm>
                  <a:off x="571779"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08" name="Triangle_3">
                  <a:extLst>
                    <a:ext uri="{FF2B5EF4-FFF2-40B4-BE49-F238E27FC236}">
                      <a16:creationId xmlns:a16="http://schemas.microsoft.com/office/drawing/2014/main" id="{6C6A488A-F403-18D3-39CC-8A7C62BBC383}"/>
                    </a:ext>
                  </a:extLst>
                </p:cNvPr>
                <p:cNvSpPr>
                  <a:spLocks/>
                </p:cNvSpPr>
                <p:nvPr/>
              </p:nvSpPr>
              <p:spPr bwMode="gray">
                <a:xfrm rot="5400000">
                  <a:off x="489042"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09" name="Triangle_4">
                  <a:extLst>
                    <a:ext uri="{FF2B5EF4-FFF2-40B4-BE49-F238E27FC236}">
                      <a16:creationId xmlns:a16="http://schemas.microsoft.com/office/drawing/2014/main" id="{26403F2F-02F1-3DEB-50AE-E60F37498577}"/>
                    </a:ext>
                  </a:extLst>
                </p:cNvPr>
                <p:cNvSpPr>
                  <a:spLocks/>
                </p:cNvSpPr>
                <p:nvPr/>
              </p:nvSpPr>
              <p:spPr bwMode="gray">
                <a:xfrm rot="16200000">
                  <a:off x="654516"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28" name="Group 2327">
                <a:extLst>
                  <a:ext uri="{FF2B5EF4-FFF2-40B4-BE49-F238E27FC236}">
                    <a16:creationId xmlns:a16="http://schemas.microsoft.com/office/drawing/2014/main" id="{C8A20091-E2AF-9284-433C-45372DC5D826}"/>
                  </a:ext>
                </a:extLst>
              </p:cNvPr>
              <p:cNvGrpSpPr>
                <a:grpSpLocks/>
              </p:cNvGrpSpPr>
              <p:nvPr/>
            </p:nvGrpSpPr>
            <p:grpSpPr bwMode="gray">
              <a:xfrm>
                <a:off x="483841" y="4229130"/>
                <a:ext cx="217142" cy="217142"/>
                <a:chOff x="571779" y="4074624"/>
                <a:chExt cx="330948" cy="330948"/>
              </a:xfrm>
              <a:grpFill/>
            </p:grpSpPr>
            <p:sp>
              <p:nvSpPr>
                <p:cNvPr id="2600" name="dfine_grid_single_shape_frame">
                  <a:extLst>
                    <a:ext uri="{FF2B5EF4-FFF2-40B4-BE49-F238E27FC236}">
                      <a16:creationId xmlns:a16="http://schemas.microsoft.com/office/drawing/2014/main" id="{63B446F8-999F-B516-D78E-42A06677226E}"/>
                    </a:ext>
                  </a:extLst>
                </p:cNvPr>
                <p:cNvSpPr>
                  <a:spLocks/>
                </p:cNvSpPr>
                <p:nvPr/>
              </p:nvSpPr>
              <p:spPr bwMode="gray">
                <a:xfrm>
                  <a:off x="571779"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01" name="Triangle_1">
                  <a:extLst>
                    <a:ext uri="{FF2B5EF4-FFF2-40B4-BE49-F238E27FC236}">
                      <a16:creationId xmlns:a16="http://schemas.microsoft.com/office/drawing/2014/main" id="{10C898D2-4692-5242-907A-3F2C0051043E}"/>
                    </a:ext>
                  </a:extLst>
                </p:cNvPr>
                <p:cNvSpPr>
                  <a:spLocks/>
                </p:cNvSpPr>
                <p:nvPr/>
              </p:nvSpPr>
              <p:spPr bwMode="gray">
                <a:xfrm rot="10800000">
                  <a:off x="571779"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02" name="Triangle_2">
                  <a:extLst>
                    <a:ext uri="{FF2B5EF4-FFF2-40B4-BE49-F238E27FC236}">
                      <a16:creationId xmlns:a16="http://schemas.microsoft.com/office/drawing/2014/main" id="{D7C8BC9D-CC0D-5D6C-3A00-7BE7437C5013}"/>
                    </a:ext>
                  </a:extLst>
                </p:cNvPr>
                <p:cNvSpPr>
                  <a:spLocks/>
                </p:cNvSpPr>
                <p:nvPr/>
              </p:nvSpPr>
              <p:spPr bwMode="gray">
                <a:xfrm>
                  <a:off x="571779"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03" name="Triangle_3">
                  <a:extLst>
                    <a:ext uri="{FF2B5EF4-FFF2-40B4-BE49-F238E27FC236}">
                      <a16:creationId xmlns:a16="http://schemas.microsoft.com/office/drawing/2014/main" id="{6366125B-5C78-FD83-ABD1-A1A2EC737D81}"/>
                    </a:ext>
                  </a:extLst>
                </p:cNvPr>
                <p:cNvSpPr>
                  <a:spLocks/>
                </p:cNvSpPr>
                <p:nvPr/>
              </p:nvSpPr>
              <p:spPr bwMode="gray">
                <a:xfrm rot="5400000">
                  <a:off x="489042"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604" name="Triangle_4">
                  <a:extLst>
                    <a:ext uri="{FF2B5EF4-FFF2-40B4-BE49-F238E27FC236}">
                      <a16:creationId xmlns:a16="http://schemas.microsoft.com/office/drawing/2014/main" id="{A3E80375-6BBE-DE2A-6D72-DEFEEFAD3457}"/>
                    </a:ext>
                  </a:extLst>
                </p:cNvPr>
                <p:cNvSpPr>
                  <a:spLocks/>
                </p:cNvSpPr>
                <p:nvPr/>
              </p:nvSpPr>
              <p:spPr bwMode="gray">
                <a:xfrm rot="16200000">
                  <a:off x="654516"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29" name="Group 2328">
                <a:extLst>
                  <a:ext uri="{FF2B5EF4-FFF2-40B4-BE49-F238E27FC236}">
                    <a16:creationId xmlns:a16="http://schemas.microsoft.com/office/drawing/2014/main" id="{52765C99-11A4-9928-40A3-E19E1F14C2D9}"/>
                  </a:ext>
                </a:extLst>
              </p:cNvPr>
              <p:cNvGrpSpPr>
                <a:grpSpLocks/>
              </p:cNvGrpSpPr>
              <p:nvPr/>
            </p:nvGrpSpPr>
            <p:grpSpPr bwMode="gray">
              <a:xfrm>
                <a:off x="700982" y="3143425"/>
                <a:ext cx="217142" cy="217142"/>
                <a:chOff x="902726" y="2419889"/>
                <a:chExt cx="330948" cy="330948"/>
              </a:xfrm>
              <a:grpFill/>
            </p:grpSpPr>
            <p:sp>
              <p:nvSpPr>
                <p:cNvPr id="2595" name="dfine_grid_single_shape_frame">
                  <a:extLst>
                    <a:ext uri="{FF2B5EF4-FFF2-40B4-BE49-F238E27FC236}">
                      <a16:creationId xmlns:a16="http://schemas.microsoft.com/office/drawing/2014/main" id="{BB215836-6A4B-9B12-0304-F110993BC07D}"/>
                    </a:ext>
                  </a:extLst>
                </p:cNvPr>
                <p:cNvSpPr>
                  <a:spLocks/>
                </p:cNvSpPr>
                <p:nvPr>
                  <p:custDataLst>
                    <p:tags r:id="rId28"/>
                  </p:custDataLst>
                </p:nvPr>
              </p:nvSpPr>
              <p:spPr bwMode="gray">
                <a:xfrm>
                  <a:off x="902726"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96" name="Triangle_1">
                  <a:extLst>
                    <a:ext uri="{FF2B5EF4-FFF2-40B4-BE49-F238E27FC236}">
                      <a16:creationId xmlns:a16="http://schemas.microsoft.com/office/drawing/2014/main" id="{4534EEDF-7E51-8A15-1DCA-91B8C8D96337}"/>
                    </a:ext>
                  </a:extLst>
                </p:cNvPr>
                <p:cNvSpPr>
                  <a:spLocks/>
                </p:cNvSpPr>
                <p:nvPr/>
              </p:nvSpPr>
              <p:spPr bwMode="gray">
                <a:xfrm rot="10800000">
                  <a:off x="902726"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97" name="Triangle_2">
                  <a:extLst>
                    <a:ext uri="{FF2B5EF4-FFF2-40B4-BE49-F238E27FC236}">
                      <a16:creationId xmlns:a16="http://schemas.microsoft.com/office/drawing/2014/main" id="{1E1F8CE3-D3F8-BAD9-B7C7-022E95D5B045}"/>
                    </a:ext>
                  </a:extLst>
                </p:cNvPr>
                <p:cNvSpPr>
                  <a:spLocks/>
                </p:cNvSpPr>
                <p:nvPr/>
              </p:nvSpPr>
              <p:spPr bwMode="gray">
                <a:xfrm>
                  <a:off x="902726"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98" name="Triangle_3">
                  <a:extLst>
                    <a:ext uri="{FF2B5EF4-FFF2-40B4-BE49-F238E27FC236}">
                      <a16:creationId xmlns:a16="http://schemas.microsoft.com/office/drawing/2014/main" id="{12237AE4-DA9C-1E0A-9307-0F09AB79C8CC}"/>
                    </a:ext>
                  </a:extLst>
                </p:cNvPr>
                <p:cNvSpPr>
                  <a:spLocks/>
                </p:cNvSpPr>
                <p:nvPr/>
              </p:nvSpPr>
              <p:spPr bwMode="gray">
                <a:xfrm rot="5400000">
                  <a:off x="819989"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99" name="Triangle_4">
                  <a:extLst>
                    <a:ext uri="{FF2B5EF4-FFF2-40B4-BE49-F238E27FC236}">
                      <a16:creationId xmlns:a16="http://schemas.microsoft.com/office/drawing/2014/main" id="{0DDC312B-78DA-0ADD-84B2-873FE2D1BCCB}"/>
                    </a:ext>
                  </a:extLst>
                </p:cNvPr>
                <p:cNvSpPr>
                  <a:spLocks/>
                </p:cNvSpPr>
                <p:nvPr/>
              </p:nvSpPr>
              <p:spPr bwMode="gray">
                <a:xfrm rot="16200000">
                  <a:off x="98546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30" name="Group 2329">
                <a:extLst>
                  <a:ext uri="{FF2B5EF4-FFF2-40B4-BE49-F238E27FC236}">
                    <a16:creationId xmlns:a16="http://schemas.microsoft.com/office/drawing/2014/main" id="{98AE1481-2EC3-69E8-2A41-DFB5F4CA26D3}"/>
                  </a:ext>
                </a:extLst>
              </p:cNvPr>
              <p:cNvGrpSpPr>
                <a:grpSpLocks/>
              </p:cNvGrpSpPr>
              <p:nvPr/>
            </p:nvGrpSpPr>
            <p:grpSpPr bwMode="gray">
              <a:xfrm>
                <a:off x="700982" y="3360566"/>
                <a:ext cx="217142" cy="217142"/>
                <a:chOff x="902726" y="2750836"/>
                <a:chExt cx="330948" cy="330948"/>
              </a:xfrm>
              <a:grpFill/>
            </p:grpSpPr>
            <p:sp>
              <p:nvSpPr>
                <p:cNvPr id="2590" name="dfine_grid_single_shape_frame">
                  <a:extLst>
                    <a:ext uri="{FF2B5EF4-FFF2-40B4-BE49-F238E27FC236}">
                      <a16:creationId xmlns:a16="http://schemas.microsoft.com/office/drawing/2014/main" id="{395FF0C9-37A8-BF5B-F9C1-330060757C9C}"/>
                    </a:ext>
                  </a:extLst>
                </p:cNvPr>
                <p:cNvSpPr>
                  <a:spLocks/>
                </p:cNvSpPr>
                <p:nvPr/>
              </p:nvSpPr>
              <p:spPr bwMode="gray">
                <a:xfrm>
                  <a:off x="902726"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91" name="Triangle_1">
                  <a:extLst>
                    <a:ext uri="{FF2B5EF4-FFF2-40B4-BE49-F238E27FC236}">
                      <a16:creationId xmlns:a16="http://schemas.microsoft.com/office/drawing/2014/main" id="{42A2170C-91C1-3A62-9734-316BF47DCC0A}"/>
                    </a:ext>
                  </a:extLst>
                </p:cNvPr>
                <p:cNvSpPr>
                  <a:spLocks/>
                </p:cNvSpPr>
                <p:nvPr/>
              </p:nvSpPr>
              <p:spPr bwMode="gray">
                <a:xfrm rot="10800000">
                  <a:off x="902726"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92" name="Triangle_2">
                  <a:extLst>
                    <a:ext uri="{FF2B5EF4-FFF2-40B4-BE49-F238E27FC236}">
                      <a16:creationId xmlns:a16="http://schemas.microsoft.com/office/drawing/2014/main" id="{BD186F77-B53A-1255-DCC9-56B8BCFD04AD}"/>
                    </a:ext>
                  </a:extLst>
                </p:cNvPr>
                <p:cNvSpPr>
                  <a:spLocks/>
                </p:cNvSpPr>
                <p:nvPr/>
              </p:nvSpPr>
              <p:spPr bwMode="gray">
                <a:xfrm>
                  <a:off x="902726"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93" name="Triangle_3">
                  <a:extLst>
                    <a:ext uri="{FF2B5EF4-FFF2-40B4-BE49-F238E27FC236}">
                      <a16:creationId xmlns:a16="http://schemas.microsoft.com/office/drawing/2014/main" id="{8B60BC35-CA4E-4DCB-171E-0F83A84EDE63}"/>
                    </a:ext>
                  </a:extLst>
                </p:cNvPr>
                <p:cNvSpPr>
                  <a:spLocks/>
                </p:cNvSpPr>
                <p:nvPr/>
              </p:nvSpPr>
              <p:spPr bwMode="gray">
                <a:xfrm rot="5400000">
                  <a:off x="819989"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94" name="Triangle_4">
                  <a:extLst>
                    <a:ext uri="{FF2B5EF4-FFF2-40B4-BE49-F238E27FC236}">
                      <a16:creationId xmlns:a16="http://schemas.microsoft.com/office/drawing/2014/main" id="{954EA268-3A71-CBCE-0805-9D5529586DC5}"/>
                    </a:ext>
                  </a:extLst>
                </p:cNvPr>
                <p:cNvSpPr>
                  <a:spLocks/>
                </p:cNvSpPr>
                <p:nvPr/>
              </p:nvSpPr>
              <p:spPr bwMode="gray">
                <a:xfrm rot="16200000">
                  <a:off x="98546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31" name="Group 2330">
                <a:extLst>
                  <a:ext uri="{FF2B5EF4-FFF2-40B4-BE49-F238E27FC236}">
                    <a16:creationId xmlns:a16="http://schemas.microsoft.com/office/drawing/2014/main" id="{161DE090-E200-F90F-7309-EADBF026803C}"/>
                  </a:ext>
                </a:extLst>
              </p:cNvPr>
              <p:cNvGrpSpPr>
                <a:grpSpLocks/>
              </p:cNvGrpSpPr>
              <p:nvPr/>
            </p:nvGrpSpPr>
            <p:grpSpPr bwMode="gray">
              <a:xfrm>
                <a:off x="700982" y="3577707"/>
                <a:ext cx="217142" cy="217142"/>
                <a:chOff x="902726" y="3081783"/>
                <a:chExt cx="330948" cy="330948"/>
              </a:xfrm>
              <a:grpFill/>
            </p:grpSpPr>
            <p:sp>
              <p:nvSpPr>
                <p:cNvPr id="2585" name="dfine_grid_single_shape_frame">
                  <a:extLst>
                    <a:ext uri="{FF2B5EF4-FFF2-40B4-BE49-F238E27FC236}">
                      <a16:creationId xmlns:a16="http://schemas.microsoft.com/office/drawing/2014/main" id="{CA4961F8-57ED-DE72-CF52-D61ADF6E95CE}"/>
                    </a:ext>
                  </a:extLst>
                </p:cNvPr>
                <p:cNvSpPr>
                  <a:spLocks/>
                </p:cNvSpPr>
                <p:nvPr>
                  <p:custDataLst>
                    <p:tags r:id="rId27"/>
                  </p:custDataLst>
                </p:nvPr>
              </p:nvSpPr>
              <p:spPr bwMode="gray">
                <a:xfrm>
                  <a:off x="902726"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86" name="Triangle_1">
                  <a:extLst>
                    <a:ext uri="{FF2B5EF4-FFF2-40B4-BE49-F238E27FC236}">
                      <a16:creationId xmlns:a16="http://schemas.microsoft.com/office/drawing/2014/main" id="{5529E5CA-427D-9FDA-CAC0-26C2C9F13B26}"/>
                    </a:ext>
                  </a:extLst>
                </p:cNvPr>
                <p:cNvSpPr>
                  <a:spLocks/>
                </p:cNvSpPr>
                <p:nvPr/>
              </p:nvSpPr>
              <p:spPr bwMode="gray">
                <a:xfrm rot="10800000">
                  <a:off x="902726"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87" name="Triangle_2">
                  <a:extLst>
                    <a:ext uri="{FF2B5EF4-FFF2-40B4-BE49-F238E27FC236}">
                      <a16:creationId xmlns:a16="http://schemas.microsoft.com/office/drawing/2014/main" id="{F1C27E7A-0114-445F-697D-150258007F6D}"/>
                    </a:ext>
                  </a:extLst>
                </p:cNvPr>
                <p:cNvSpPr>
                  <a:spLocks/>
                </p:cNvSpPr>
                <p:nvPr/>
              </p:nvSpPr>
              <p:spPr bwMode="gray">
                <a:xfrm>
                  <a:off x="902726"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88" name="Triangle_3">
                  <a:extLst>
                    <a:ext uri="{FF2B5EF4-FFF2-40B4-BE49-F238E27FC236}">
                      <a16:creationId xmlns:a16="http://schemas.microsoft.com/office/drawing/2014/main" id="{52C283E4-C1AD-074F-D7F7-73B3E6A6D10E}"/>
                    </a:ext>
                  </a:extLst>
                </p:cNvPr>
                <p:cNvSpPr>
                  <a:spLocks/>
                </p:cNvSpPr>
                <p:nvPr/>
              </p:nvSpPr>
              <p:spPr bwMode="gray">
                <a:xfrm rot="5400000">
                  <a:off x="819989"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89" name="Triangle_4">
                  <a:extLst>
                    <a:ext uri="{FF2B5EF4-FFF2-40B4-BE49-F238E27FC236}">
                      <a16:creationId xmlns:a16="http://schemas.microsoft.com/office/drawing/2014/main" id="{88B7E16B-D94D-3724-027A-FB789DCCAA80}"/>
                    </a:ext>
                  </a:extLst>
                </p:cNvPr>
                <p:cNvSpPr>
                  <a:spLocks/>
                </p:cNvSpPr>
                <p:nvPr/>
              </p:nvSpPr>
              <p:spPr bwMode="gray">
                <a:xfrm rot="16200000">
                  <a:off x="98546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32" name="Group 2331">
                <a:extLst>
                  <a:ext uri="{FF2B5EF4-FFF2-40B4-BE49-F238E27FC236}">
                    <a16:creationId xmlns:a16="http://schemas.microsoft.com/office/drawing/2014/main" id="{34CDF2BA-7D8E-ADB4-6158-9242584A2AEC}"/>
                  </a:ext>
                </a:extLst>
              </p:cNvPr>
              <p:cNvGrpSpPr>
                <a:grpSpLocks/>
              </p:cNvGrpSpPr>
              <p:nvPr/>
            </p:nvGrpSpPr>
            <p:grpSpPr bwMode="gray">
              <a:xfrm>
                <a:off x="700982" y="4011989"/>
                <a:ext cx="217142" cy="217142"/>
                <a:chOff x="902726" y="3743677"/>
                <a:chExt cx="330948" cy="330948"/>
              </a:xfrm>
              <a:grpFill/>
            </p:grpSpPr>
            <p:sp>
              <p:nvSpPr>
                <p:cNvPr id="2580" name="dfine_grid_single_shape_frame">
                  <a:extLst>
                    <a:ext uri="{FF2B5EF4-FFF2-40B4-BE49-F238E27FC236}">
                      <a16:creationId xmlns:a16="http://schemas.microsoft.com/office/drawing/2014/main" id="{ECA96A24-96E2-968B-575C-0BF545181099}"/>
                    </a:ext>
                  </a:extLst>
                </p:cNvPr>
                <p:cNvSpPr>
                  <a:spLocks/>
                </p:cNvSpPr>
                <p:nvPr/>
              </p:nvSpPr>
              <p:spPr bwMode="gray">
                <a:xfrm>
                  <a:off x="902726"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81" name="Triangle_1">
                  <a:extLst>
                    <a:ext uri="{FF2B5EF4-FFF2-40B4-BE49-F238E27FC236}">
                      <a16:creationId xmlns:a16="http://schemas.microsoft.com/office/drawing/2014/main" id="{849AA33F-CEE8-88C5-9EFF-97EB92265A5C}"/>
                    </a:ext>
                  </a:extLst>
                </p:cNvPr>
                <p:cNvSpPr>
                  <a:spLocks/>
                </p:cNvSpPr>
                <p:nvPr/>
              </p:nvSpPr>
              <p:spPr bwMode="gray">
                <a:xfrm rot="10800000">
                  <a:off x="902726"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82" name="Triangle_2">
                  <a:extLst>
                    <a:ext uri="{FF2B5EF4-FFF2-40B4-BE49-F238E27FC236}">
                      <a16:creationId xmlns:a16="http://schemas.microsoft.com/office/drawing/2014/main" id="{5438F50F-1054-8993-16A9-C21B39AE35B9}"/>
                    </a:ext>
                  </a:extLst>
                </p:cNvPr>
                <p:cNvSpPr>
                  <a:spLocks/>
                </p:cNvSpPr>
                <p:nvPr/>
              </p:nvSpPr>
              <p:spPr bwMode="gray">
                <a:xfrm>
                  <a:off x="902726"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83" name="Triangle_3">
                  <a:extLst>
                    <a:ext uri="{FF2B5EF4-FFF2-40B4-BE49-F238E27FC236}">
                      <a16:creationId xmlns:a16="http://schemas.microsoft.com/office/drawing/2014/main" id="{8D8752E7-9E7A-103F-E653-2C858FFC7044}"/>
                    </a:ext>
                  </a:extLst>
                </p:cNvPr>
                <p:cNvSpPr>
                  <a:spLocks/>
                </p:cNvSpPr>
                <p:nvPr/>
              </p:nvSpPr>
              <p:spPr bwMode="gray">
                <a:xfrm rot="5400000">
                  <a:off x="819989"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84" name="Triangle_4">
                  <a:extLst>
                    <a:ext uri="{FF2B5EF4-FFF2-40B4-BE49-F238E27FC236}">
                      <a16:creationId xmlns:a16="http://schemas.microsoft.com/office/drawing/2014/main" id="{A22BB105-8AAB-87EA-3C67-55B946ED77F1}"/>
                    </a:ext>
                  </a:extLst>
                </p:cNvPr>
                <p:cNvSpPr>
                  <a:spLocks/>
                </p:cNvSpPr>
                <p:nvPr/>
              </p:nvSpPr>
              <p:spPr bwMode="gray">
                <a:xfrm rot="16200000">
                  <a:off x="98546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33" name="Group 2332">
                <a:extLst>
                  <a:ext uri="{FF2B5EF4-FFF2-40B4-BE49-F238E27FC236}">
                    <a16:creationId xmlns:a16="http://schemas.microsoft.com/office/drawing/2014/main" id="{A4AF1636-5FC5-9E33-A8A5-814D54475274}"/>
                  </a:ext>
                </a:extLst>
              </p:cNvPr>
              <p:cNvGrpSpPr>
                <a:grpSpLocks/>
              </p:cNvGrpSpPr>
              <p:nvPr/>
            </p:nvGrpSpPr>
            <p:grpSpPr bwMode="gray">
              <a:xfrm>
                <a:off x="700982" y="4229130"/>
                <a:ext cx="217142" cy="217142"/>
                <a:chOff x="902726" y="4074624"/>
                <a:chExt cx="330948" cy="330948"/>
              </a:xfrm>
              <a:grpFill/>
            </p:grpSpPr>
            <p:sp>
              <p:nvSpPr>
                <p:cNvPr id="2575" name="dfine_grid_single_shape_frame">
                  <a:extLst>
                    <a:ext uri="{FF2B5EF4-FFF2-40B4-BE49-F238E27FC236}">
                      <a16:creationId xmlns:a16="http://schemas.microsoft.com/office/drawing/2014/main" id="{6950B951-592E-6F00-7A40-F07BF073239A}"/>
                    </a:ext>
                  </a:extLst>
                </p:cNvPr>
                <p:cNvSpPr>
                  <a:spLocks/>
                </p:cNvSpPr>
                <p:nvPr/>
              </p:nvSpPr>
              <p:spPr bwMode="gray">
                <a:xfrm>
                  <a:off x="902726"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76" name="Triangle_1">
                  <a:extLst>
                    <a:ext uri="{FF2B5EF4-FFF2-40B4-BE49-F238E27FC236}">
                      <a16:creationId xmlns:a16="http://schemas.microsoft.com/office/drawing/2014/main" id="{B2043562-6E0A-EBF9-370D-93FB14154E02}"/>
                    </a:ext>
                  </a:extLst>
                </p:cNvPr>
                <p:cNvSpPr>
                  <a:spLocks/>
                </p:cNvSpPr>
                <p:nvPr/>
              </p:nvSpPr>
              <p:spPr bwMode="gray">
                <a:xfrm rot="10800000">
                  <a:off x="902726"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77" name="Triangle_2">
                  <a:extLst>
                    <a:ext uri="{FF2B5EF4-FFF2-40B4-BE49-F238E27FC236}">
                      <a16:creationId xmlns:a16="http://schemas.microsoft.com/office/drawing/2014/main" id="{C8E182E6-73B3-6B8B-EB59-289EC18EEC25}"/>
                    </a:ext>
                  </a:extLst>
                </p:cNvPr>
                <p:cNvSpPr>
                  <a:spLocks/>
                </p:cNvSpPr>
                <p:nvPr/>
              </p:nvSpPr>
              <p:spPr bwMode="gray">
                <a:xfrm>
                  <a:off x="902726"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78" name="Triangle_3">
                  <a:extLst>
                    <a:ext uri="{FF2B5EF4-FFF2-40B4-BE49-F238E27FC236}">
                      <a16:creationId xmlns:a16="http://schemas.microsoft.com/office/drawing/2014/main" id="{D1C2593A-D01C-1E78-1AF3-0C162DAE5322}"/>
                    </a:ext>
                  </a:extLst>
                </p:cNvPr>
                <p:cNvSpPr>
                  <a:spLocks/>
                </p:cNvSpPr>
                <p:nvPr/>
              </p:nvSpPr>
              <p:spPr bwMode="gray">
                <a:xfrm rot="5400000">
                  <a:off x="819989"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79" name="Triangle_4">
                  <a:extLst>
                    <a:ext uri="{FF2B5EF4-FFF2-40B4-BE49-F238E27FC236}">
                      <a16:creationId xmlns:a16="http://schemas.microsoft.com/office/drawing/2014/main" id="{7BCF08DA-45B7-5E7B-CA35-5792ABF7333D}"/>
                    </a:ext>
                  </a:extLst>
                </p:cNvPr>
                <p:cNvSpPr>
                  <a:spLocks/>
                </p:cNvSpPr>
                <p:nvPr/>
              </p:nvSpPr>
              <p:spPr bwMode="gray">
                <a:xfrm rot="16200000">
                  <a:off x="98546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sp>
            <p:nvSpPr>
              <p:cNvPr id="2334" name="Triangle_2">
                <a:extLst>
                  <a:ext uri="{FF2B5EF4-FFF2-40B4-BE49-F238E27FC236}">
                    <a16:creationId xmlns:a16="http://schemas.microsoft.com/office/drawing/2014/main" id="{EE09125F-D4B7-DB99-401C-7375E11AFB00}"/>
                  </a:ext>
                </a:extLst>
              </p:cNvPr>
              <p:cNvSpPr>
                <a:spLocks/>
              </p:cNvSpPr>
              <p:nvPr/>
            </p:nvSpPr>
            <p:spPr bwMode="gray">
              <a:xfrm>
                <a:off x="920750" y="3686859"/>
                <a:ext cx="217141" cy="108570"/>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35" name="Triangle_2">
                <a:extLst>
                  <a:ext uri="{FF2B5EF4-FFF2-40B4-BE49-F238E27FC236}">
                    <a16:creationId xmlns:a16="http://schemas.microsoft.com/office/drawing/2014/main" id="{B7FAD93D-B2FC-4E8F-D8C4-9E1080C7B007}"/>
                  </a:ext>
                </a:extLst>
              </p:cNvPr>
              <p:cNvSpPr>
                <a:spLocks/>
              </p:cNvSpPr>
              <p:nvPr/>
            </p:nvSpPr>
            <p:spPr bwMode="gray">
              <a:xfrm>
                <a:off x="700982" y="3251995"/>
                <a:ext cx="217141" cy="108570"/>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36" name="Triangle_3">
                <a:extLst>
                  <a:ext uri="{FF2B5EF4-FFF2-40B4-BE49-F238E27FC236}">
                    <a16:creationId xmlns:a16="http://schemas.microsoft.com/office/drawing/2014/main" id="{2A4446E2-6009-0354-DF01-694CC4DFC1F1}"/>
                  </a:ext>
                </a:extLst>
              </p:cNvPr>
              <p:cNvSpPr>
                <a:spLocks/>
              </p:cNvSpPr>
              <p:nvPr/>
            </p:nvSpPr>
            <p:spPr bwMode="gray">
              <a:xfrm rot="10800000">
                <a:off x="266700" y="3143425"/>
                <a:ext cx="217141" cy="108570"/>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37" name="Triangle_1">
                <a:extLst>
                  <a:ext uri="{FF2B5EF4-FFF2-40B4-BE49-F238E27FC236}">
                    <a16:creationId xmlns:a16="http://schemas.microsoft.com/office/drawing/2014/main" id="{CD74C02E-6C6F-9404-A184-3B92EBA65ED7}"/>
                  </a:ext>
                </a:extLst>
              </p:cNvPr>
              <p:cNvSpPr>
                <a:spLocks/>
              </p:cNvSpPr>
              <p:nvPr/>
            </p:nvSpPr>
            <p:spPr bwMode="gray">
              <a:xfrm rot="10800000">
                <a:off x="483841" y="3794848"/>
                <a:ext cx="217141" cy="108570"/>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38" name="Triangle_2">
                <a:extLst>
                  <a:ext uri="{FF2B5EF4-FFF2-40B4-BE49-F238E27FC236}">
                    <a16:creationId xmlns:a16="http://schemas.microsoft.com/office/drawing/2014/main" id="{97A19AF9-03F4-8653-45C6-4118B209BBE8}"/>
                  </a:ext>
                </a:extLst>
              </p:cNvPr>
              <p:cNvSpPr>
                <a:spLocks/>
              </p:cNvSpPr>
              <p:nvPr/>
            </p:nvSpPr>
            <p:spPr bwMode="gray">
              <a:xfrm>
                <a:off x="700982" y="3686277"/>
                <a:ext cx="217141" cy="108570"/>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39" name="Triangle_2">
                <a:extLst>
                  <a:ext uri="{FF2B5EF4-FFF2-40B4-BE49-F238E27FC236}">
                    <a16:creationId xmlns:a16="http://schemas.microsoft.com/office/drawing/2014/main" id="{4867A049-83DE-1396-F003-9BD7216E3493}"/>
                  </a:ext>
                </a:extLst>
              </p:cNvPr>
              <p:cNvSpPr>
                <a:spLocks/>
              </p:cNvSpPr>
              <p:nvPr/>
            </p:nvSpPr>
            <p:spPr bwMode="gray">
              <a:xfrm>
                <a:off x="266700" y="3469136"/>
                <a:ext cx="217141" cy="108570"/>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nvGrpSpPr>
              <p:cNvPr id="2340" name="Group 2339">
                <a:extLst>
                  <a:ext uri="{FF2B5EF4-FFF2-40B4-BE49-F238E27FC236}">
                    <a16:creationId xmlns:a16="http://schemas.microsoft.com/office/drawing/2014/main" id="{72527554-7238-38C9-4365-0B57AA5AD929}"/>
                  </a:ext>
                </a:extLst>
              </p:cNvPr>
              <p:cNvGrpSpPr>
                <a:grpSpLocks/>
              </p:cNvGrpSpPr>
              <p:nvPr/>
            </p:nvGrpSpPr>
            <p:grpSpPr bwMode="gray">
              <a:xfrm>
                <a:off x="1352406" y="1623437"/>
                <a:ext cx="217142" cy="217142"/>
                <a:chOff x="1564620" y="2088942"/>
                <a:chExt cx="330948" cy="330948"/>
              </a:xfrm>
              <a:grpFill/>
            </p:grpSpPr>
            <p:sp>
              <p:nvSpPr>
                <p:cNvPr id="2570" name="dfine_grid_single_shape_frame">
                  <a:extLst>
                    <a:ext uri="{FF2B5EF4-FFF2-40B4-BE49-F238E27FC236}">
                      <a16:creationId xmlns:a16="http://schemas.microsoft.com/office/drawing/2014/main" id="{1B474C44-94CB-B6F8-B3F2-3D86211102FE}"/>
                    </a:ext>
                  </a:extLst>
                </p:cNvPr>
                <p:cNvSpPr>
                  <a:spLocks/>
                </p:cNvSpPr>
                <p:nvPr/>
              </p:nvSpPr>
              <p:spPr bwMode="gray">
                <a:xfrm>
                  <a:off x="1564620"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71" name="Triangle_1">
                  <a:extLst>
                    <a:ext uri="{FF2B5EF4-FFF2-40B4-BE49-F238E27FC236}">
                      <a16:creationId xmlns:a16="http://schemas.microsoft.com/office/drawing/2014/main" id="{849AA203-0ACE-D823-09F0-9B4D62E7CEF6}"/>
                    </a:ext>
                  </a:extLst>
                </p:cNvPr>
                <p:cNvSpPr>
                  <a:spLocks/>
                </p:cNvSpPr>
                <p:nvPr/>
              </p:nvSpPr>
              <p:spPr bwMode="gray">
                <a:xfrm rot="10800000">
                  <a:off x="1564620"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72" name="Triangle_2">
                  <a:extLst>
                    <a:ext uri="{FF2B5EF4-FFF2-40B4-BE49-F238E27FC236}">
                      <a16:creationId xmlns:a16="http://schemas.microsoft.com/office/drawing/2014/main" id="{9D59FD4C-2C52-D019-38DC-22EF8BB2BC7B}"/>
                    </a:ext>
                  </a:extLst>
                </p:cNvPr>
                <p:cNvSpPr>
                  <a:spLocks/>
                </p:cNvSpPr>
                <p:nvPr/>
              </p:nvSpPr>
              <p:spPr bwMode="gray">
                <a:xfrm>
                  <a:off x="1564620"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73" name="Triangle_3">
                  <a:extLst>
                    <a:ext uri="{FF2B5EF4-FFF2-40B4-BE49-F238E27FC236}">
                      <a16:creationId xmlns:a16="http://schemas.microsoft.com/office/drawing/2014/main" id="{3E2227AE-D1F2-C251-41D6-2ECE086090D2}"/>
                    </a:ext>
                  </a:extLst>
                </p:cNvPr>
                <p:cNvSpPr>
                  <a:spLocks/>
                </p:cNvSpPr>
                <p:nvPr/>
              </p:nvSpPr>
              <p:spPr bwMode="gray">
                <a:xfrm rot="5400000">
                  <a:off x="1481883"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74" name="Triangle_4">
                  <a:extLst>
                    <a:ext uri="{FF2B5EF4-FFF2-40B4-BE49-F238E27FC236}">
                      <a16:creationId xmlns:a16="http://schemas.microsoft.com/office/drawing/2014/main" id="{0266F11D-5F45-FC17-60D3-4A9DEEDE6C80}"/>
                    </a:ext>
                  </a:extLst>
                </p:cNvPr>
                <p:cNvSpPr>
                  <a:spLocks/>
                </p:cNvSpPr>
                <p:nvPr/>
              </p:nvSpPr>
              <p:spPr bwMode="gray">
                <a:xfrm rot="16200000">
                  <a:off x="1647357"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41" name="Group 2340">
                <a:extLst>
                  <a:ext uri="{FF2B5EF4-FFF2-40B4-BE49-F238E27FC236}">
                    <a16:creationId xmlns:a16="http://schemas.microsoft.com/office/drawing/2014/main" id="{324E6667-B121-AA9C-67D2-E8C55C8E84B6}"/>
                  </a:ext>
                </a:extLst>
              </p:cNvPr>
              <p:cNvGrpSpPr>
                <a:grpSpLocks/>
              </p:cNvGrpSpPr>
              <p:nvPr/>
            </p:nvGrpSpPr>
            <p:grpSpPr bwMode="gray">
              <a:xfrm>
                <a:off x="1352406" y="1840578"/>
                <a:ext cx="217142" cy="217142"/>
                <a:chOff x="1564620" y="2419889"/>
                <a:chExt cx="330948" cy="330948"/>
              </a:xfrm>
              <a:grpFill/>
            </p:grpSpPr>
            <p:sp>
              <p:nvSpPr>
                <p:cNvPr id="2565" name="dfine_grid_single_shape_frame">
                  <a:extLst>
                    <a:ext uri="{FF2B5EF4-FFF2-40B4-BE49-F238E27FC236}">
                      <a16:creationId xmlns:a16="http://schemas.microsoft.com/office/drawing/2014/main" id="{27F6B7E2-FDFA-7E2F-4E60-16E707ECB289}"/>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66" name="Triangle_1">
                  <a:extLst>
                    <a:ext uri="{FF2B5EF4-FFF2-40B4-BE49-F238E27FC236}">
                      <a16:creationId xmlns:a16="http://schemas.microsoft.com/office/drawing/2014/main" id="{77E0534B-4EFA-39C7-0A4F-B865A20C9ABE}"/>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67" name="Triangle_2">
                  <a:extLst>
                    <a:ext uri="{FF2B5EF4-FFF2-40B4-BE49-F238E27FC236}">
                      <a16:creationId xmlns:a16="http://schemas.microsoft.com/office/drawing/2014/main" id="{0BFF4131-2AFF-D9AC-7815-A38559DED3D2}"/>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68" name="Triangle_3">
                  <a:extLst>
                    <a:ext uri="{FF2B5EF4-FFF2-40B4-BE49-F238E27FC236}">
                      <a16:creationId xmlns:a16="http://schemas.microsoft.com/office/drawing/2014/main" id="{A3BC379E-5FB2-9174-4C84-20C02177C887}"/>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69" name="Triangle_4">
                  <a:extLst>
                    <a:ext uri="{FF2B5EF4-FFF2-40B4-BE49-F238E27FC236}">
                      <a16:creationId xmlns:a16="http://schemas.microsoft.com/office/drawing/2014/main" id="{8DBBCC5A-9F9B-98A8-FAEF-F702998296DB}"/>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42" name="Group 2341">
                <a:extLst>
                  <a:ext uri="{FF2B5EF4-FFF2-40B4-BE49-F238E27FC236}">
                    <a16:creationId xmlns:a16="http://schemas.microsoft.com/office/drawing/2014/main" id="{7E6898B7-5701-1D01-BBCA-43493128B9D7}"/>
                  </a:ext>
                </a:extLst>
              </p:cNvPr>
              <p:cNvGrpSpPr>
                <a:grpSpLocks/>
              </p:cNvGrpSpPr>
              <p:nvPr/>
            </p:nvGrpSpPr>
            <p:grpSpPr bwMode="gray">
              <a:xfrm>
                <a:off x="1352406" y="2057719"/>
                <a:ext cx="217142" cy="217142"/>
                <a:chOff x="1564620" y="2750836"/>
                <a:chExt cx="330948" cy="330948"/>
              </a:xfrm>
              <a:grpFill/>
            </p:grpSpPr>
            <p:sp>
              <p:nvSpPr>
                <p:cNvPr id="2560" name="dfine_grid_single_shape_frame">
                  <a:extLst>
                    <a:ext uri="{FF2B5EF4-FFF2-40B4-BE49-F238E27FC236}">
                      <a16:creationId xmlns:a16="http://schemas.microsoft.com/office/drawing/2014/main" id="{0321CAC7-778A-F301-5D5D-21404B5A203A}"/>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61" name="Triangle_1">
                  <a:extLst>
                    <a:ext uri="{FF2B5EF4-FFF2-40B4-BE49-F238E27FC236}">
                      <a16:creationId xmlns:a16="http://schemas.microsoft.com/office/drawing/2014/main" id="{9E002083-1A7E-DA0B-F1CA-AB418E690A61}"/>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62" name="Triangle_2">
                  <a:extLst>
                    <a:ext uri="{FF2B5EF4-FFF2-40B4-BE49-F238E27FC236}">
                      <a16:creationId xmlns:a16="http://schemas.microsoft.com/office/drawing/2014/main" id="{10D9EA03-3FCE-AEC9-FD52-48E0D4B5CC5F}"/>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63" name="Triangle_3">
                  <a:extLst>
                    <a:ext uri="{FF2B5EF4-FFF2-40B4-BE49-F238E27FC236}">
                      <a16:creationId xmlns:a16="http://schemas.microsoft.com/office/drawing/2014/main" id="{5641DC0C-14C4-D016-F480-11458A694C41}"/>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64" name="Triangle_4">
                  <a:extLst>
                    <a:ext uri="{FF2B5EF4-FFF2-40B4-BE49-F238E27FC236}">
                      <a16:creationId xmlns:a16="http://schemas.microsoft.com/office/drawing/2014/main" id="{140428AE-AC3B-B0C8-06D3-CF149CD4EAB7}"/>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43" name="Group 2342">
                <a:extLst>
                  <a:ext uri="{FF2B5EF4-FFF2-40B4-BE49-F238E27FC236}">
                    <a16:creationId xmlns:a16="http://schemas.microsoft.com/office/drawing/2014/main" id="{2AA62131-96CE-612B-37A6-C84DACDD744E}"/>
                  </a:ext>
                </a:extLst>
              </p:cNvPr>
              <p:cNvGrpSpPr>
                <a:grpSpLocks/>
              </p:cNvGrpSpPr>
              <p:nvPr/>
            </p:nvGrpSpPr>
            <p:grpSpPr bwMode="gray">
              <a:xfrm>
                <a:off x="1352406" y="2274860"/>
                <a:ext cx="217142" cy="217142"/>
                <a:chOff x="1564620" y="3081783"/>
                <a:chExt cx="330948" cy="330948"/>
              </a:xfrm>
              <a:grpFill/>
            </p:grpSpPr>
            <p:sp>
              <p:nvSpPr>
                <p:cNvPr id="2555" name="dfine_grid_single_shape_frame">
                  <a:extLst>
                    <a:ext uri="{FF2B5EF4-FFF2-40B4-BE49-F238E27FC236}">
                      <a16:creationId xmlns:a16="http://schemas.microsoft.com/office/drawing/2014/main" id="{494EFB02-0841-73CD-3658-145B7837D3CC}"/>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56" name="Triangle_1">
                  <a:extLst>
                    <a:ext uri="{FF2B5EF4-FFF2-40B4-BE49-F238E27FC236}">
                      <a16:creationId xmlns:a16="http://schemas.microsoft.com/office/drawing/2014/main" id="{E22A136D-0C4F-DFD8-21B1-0590A3E62A44}"/>
                    </a:ext>
                  </a:extLst>
                </p:cNvPr>
                <p:cNvSpPr>
                  <a:spLocks/>
                </p:cNvSpPr>
                <p:nvPr/>
              </p:nvSpPr>
              <p:spPr bwMode="gray">
                <a:xfrm rot="10800000">
                  <a:off x="1564620"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57" name="Triangle_2">
                  <a:extLst>
                    <a:ext uri="{FF2B5EF4-FFF2-40B4-BE49-F238E27FC236}">
                      <a16:creationId xmlns:a16="http://schemas.microsoft.com/office/drawing/2014/main" id="{279E2898-6349-C1D1-24D3-5FB79F1618C4}"/>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58" name="Triangle_3">
                  <a:extLst>
                    <a:ext uri="{FF2B5EF4-FFF2-40B4-BE49-F238E27FC236}">
                      <a16:creationId xmlns:a16="http://schemas.microsoft.com/office/drawing/2014/main" id="{8D24F483-6B9B-11F8-4DC4-05D77C5EE7AD}"/>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59" name="Triangle_4">
                  <a:extLst>
                    <a:ext uri="{FF2B5EF4-FFF2-40B4-BE49-F238E27FC236}">
                      <a16:creationId xmlns:a16="http://schemas.microsoft.com/office/drawing/2014/main" id="{5BB2A7C6-36DA-AE5E-07F9-4C59747DB176}"/>
                    </a:ext>
                  </a:extLst>
                </p:cNvPr>
                <p:cNvSpPr>
                  <a:spLocks/>
                </p:cNvSpPr>
                <p:nvPr/>
              </p:nvSpPr>
              <p:spPr bwMode="gray">
                <a:xfrm rot="16200000">
                  <a:off x="1647357"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44" name="Group 2343">
                <a:extLst>
                  <a:ext uri="{FF2B5EF4-FFF2-40B4-BE49-F238E27FC236}">
                    <a16:creationId xmlns:a16="http://schemas.microsoft.com/office/drawing/2014/main" id="{1DC95883-E4AA-6D3D-779D-AA651FD1F625}"/>
                  </a:ext>
                </a:extLst>
              </p:cNvPr>
              <p:cNvGrpSpPr>
                <a:grpSpLocks/>
              </p:cNvGrpSpPr>
              <p:nvPr/>
            </p:nvGrpSpPr>
            <p:grpSpPr bwMode="gray">
              <a:xfrm>
                <a:off x="1352406" y="2492001"/>
                <a:ext cx="217142" cy="217142"/>
                <a:chOff x="1564620" y="3412730"/>
                <a:chExt cx="330948" cy="330948"/>
              </a:xfrm>
              <a:grpFill/>
            </p:grpSpPr>
            <p:sp>
              <p:nvSpPr>
                <p:cNvPr id="2550" name="dfine_grid_single_shape_frame">
                  <a:extLst>
                    <a:ext uri="{FF2B5EF4-FFF2-40B4-BE49-F238E27FC236}">
                      <a16:creationId xmlns:a16="http://schemas.microsoft.com/office/drawing/2014/main" id="{534F9566-C9D0-8BE0-B83D-266EC5B4F5A8}"/>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51" name="Triangle_1">
                  <a:extLst>
                    <a:ext uri="{FF2B5EF4-FFF2-40B4-BE49-F238E27FC236}">
                      <a16:creationId xmlns:a16="http://schemas.microsoft.com/office/drawing/2014/main" id="{7A21248F-8E6A-E506-AA1F-2752E1DD59BC}"/>
                    </a:ext>
                  </a:extLst>
                </p:cNvPr>
                <p:cNvSpPr>
                  <a:spLocks/>
                </p:cNvSpPr>
                <p:nvPr/>
              </p:nvSpPr>
              <p:spPr bwMode="gray">
                <a:xfrm rot="10800000">
                  <a:off x="1564620"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52" name="Triangle_2">
                  <a:extLst>
                    <a:ext uri="{FF2B5EF4-FFF2-40B4-BE49-F238E27FC236}">
                      <a16:creationId xmlns:a16="http://schemas.microsoft.com/office/drawing/2014/main" id="{E49E9024-13B4-1055-81EB-3307DF3D7719}"/>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53" name="Triangle_3">
                  <a:extLst>
                    <a:ext uri="{FF2B5EF4-FFF2-40B4-BE49-F238E27FC236}">
                      <a16:creationId xmlns:a16="http://schemas.microsoft.com/office/drawing/2014/main" id="{2F7AE92B-9212-79B0-F598-EB9BEFC85310}"/>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54" name="Triangle_4">
                  <a:extLst>
                    <a:ext uri="{FF2B5EF4-FFF2-40B4-BE49-F238E27FC236}">
                      <a16:creationId xmlns:a16="http://schemas.microsoft.com/office/drawing/2014/main" id="{E2D910DC-4009-371F-57E4-975FD40B5DAC}"/>
                    </a:ext>
                  </a:extLst>
                </p:cNvPr>
                <p:cNvSpPr>
                  <a:spLocks/>
                </p:cNvSpPr>
                <p:nvPr/>
              </p:nvSpPr>
              <p:spPr bwMode="gray">
                <a:xfrm rot="16200000">
                  <a:off x="1647357"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45" name="Group 2344">
                <a:extLst>
                  <a:ext uri="{FF2B5EF4-FFF2-40B4-BE49-F238E27FC236}">
                    <a16:creationId xmlns:a16="http://schemas.microsoft.com/office/drawing/2014/main" id="{4F2F9A42-DD1F-8C16-893D-E60445181F60}"/>
                  </a:ext>
                </a:extLst>
              </p:cNvPr>
              <p:cNvGrpSpPr>
                <a:grpSpLocks/>
              </p:cNvGrpSpPr>
              <p:nvPr/>
            </p:nvGrpSpPr>
            <p:grpSpPr bwMode="gray">
              <a:xfrm>
                <a:off x="1352406" y="2709142"/>
                <a:ext cx="217142" cy="217142"/>
                <a:chOff x="1564620" y="3743677"/>
                <a:chExt cx="330948" cy="330948"/>
              </a:xfrm>
              <a:grpFill/>
            </p:grpSpPr>
            <p:sp>
              <p:nvSpPr>
                <p:cNvPr id="2545" name="dfine_grid_single_shape_frame">
                  <a:extLst>
                    <a:ext uri="{FF2B5EF4-FFF2-40B4-BE49-F238E27FC236}">
                      <a16:creationId xmlns:a16="http://schemas.microsoft.com/office/drawing/2014/main" id="{0FCDD598-66E5-F70E-0ED6-6A4A797F7253}"/>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46" name="Triangle_1">
                  <a:extLst>
                    <a:ext uri="{FF2B5EF4-FFF2-40B4-BE49-F238E27FC236}">
                      <a16:creationId xmlns:a16="http://schemas.microsoft.com/office/drawing/2014/main" id="{72FC5187-658B-6817-6FBA-180EB9C0C0D6}"/>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47" name="Triangle_2">
                  <a:extLst>
                    <a:ext uri="{FF2B5EF4-FFF2-40B4-BE49-F238E27FC236}">
                      <a16:creationId xmlns:a16="http://schemas.microsoft.com/office/drawing/2014/main" id="{B28C294A-BCB2-ADF5-7640-B8868DAC6016}"/>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48" name="Triangle_3">
                  <a:extLst>
                    <a:ext uri="{FF2B5EF4-FFF2-40B4-BE49-F238E27FC236}">
                      <a16:creationId xmlns:a16="http://schemas.microsoft.com/office/drawing/2014/main" id="{1470F73B-131E-A0FF-A42C-3E7DE0B74D2D}"/>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49" name="Triangle_4">
                  <a:extLst>
                    <a:ext uri="{FF2B5EF4-FFF2-40B4-BE49-F238E27FC236}">
                      <a16:creationId xmlns:a16="http://schemas.microsoft.com/office/drawing/2014/main" id="{3C5D0EC1-A6D5-3213-0FE2-3D23E95177C8}"/>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46" name="Group 2345">
                <a:extLst>
                  <a:ext uri="{FF2B5EF4-FFF2-40B4-BE49-F238E27FC236}">
                    <a16:creationId xmlns:a16="http://schemas.microsoft.com/office/drawing/2014/main" id="{46D97284-52D6-E0B7-A7A2-DE5D35D84455}"/>
                  </a:ext>
                </a:extLst>
              </p:cNvPr>
              <p:cNvGrpSpPr>
                <a:grpSpLocks/>
              </p:cNvGrpSpPr>
              <p:nvPr/>
            </p:nvGrpSpPr>
            <p:grpSpPr bwMode="gray">
              <a:xfrm>
                <a:off x="1352406" y="2926283"/>
                <a:ext cx="217142" cy="217142"/>
                <a:chOff x="1564620" y="4074624"/>
                <a:chExt cx="330948" cy="330948"/>
              </a:xfrm>
              <a:grpFill/>
            </p:grpSpPr>
            <p:sp>
              <p:nvSpPr>
                <p:cNvPr id="2540" name="dfine_grid_single_shape_frame">
                  <a:extLst>
                    <a:ext uri="{FF2B5EF4-FFF2-40B4-BE49-F238E27FC236}">
                      <a16:creationId xmlns:a16="http://schemas.microsoft.com/office/drawing/2014/main" id="{E24BBC90-F07C-4C38-80A6-8BFDC6200BA1}"/>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41" name="Triangle_1">
                  <a:extLst>
                    <a:ext uri="{FF2B5EF4-FFF2-40B4-BE49-F238E27FC236}">
                      <a16:creationId xmlns:a16="http://schemas.microsoft.com/office/drawing/2014/main" id="{0BC6F918-FB7C-ED58-7C20-538C2C84231A}"/>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42" name="Triangle_2">
                  <a:extLst>
                    <a:ext uri="{FF2B5EF4-FFF2-40B4-BE49-F238E27FC236}">
                      <a16:creationId xmlns:a16="http://schemas.microsoft.com/office/drawing/2014/main" id="{F3A215BB-8C90-A11B-7335-2BA01876AAAD}"/>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43" name="Triangle_3">
                  <a:extLst>
                    <a:ext uri="{FF2B5EF4-FFF2-40B4-BE49-F238E27FC236}">
                      <a16:creationId xmlns:a16="http://schemas.microsoft.com/office/drawing/2014/main" id="{7D9E9436-1E9C-16B2-6AC4-FD1F10B9AE8D}"/>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44" name="Triangle_4">
                  <a:extLst>
                    <a:ext uri="{FF2B5EF4-FFF2-40B4-BE49-F238E27FC236}">
                      <a16:creationId xmlns:a16="http://schemas.microsoft.com/office/drawing/2014/main" id="{F93702AA-A5EA-4FCC-694E-7C62F545508D}"/>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47" name="Group 2346">
                <a:extLst>
                  <a:ext uri="{FF2B5EF4-FFF2-40B4-BE49-F238E27FC236}">
                    <a16:creationId xmlns:a16="http://schemas.microsoft.com/office/drawing/2014/main" id="{0EE1AC9E-1196-B047-09A2-86E699D82F37}"/>
                  </a:ext>
                </a:extLst>
              </p:cNvPr>
              <p:cNvGrpSpPr>
                <a:grpSpLocks/>
              </p:cNvGrpSpPr>
              <p:nvPr/>
            </p:nvGrpSpPr>
            <p:grpSpPr bwMode="gray">
              <a:xfrm>
                <a:off x="1352406" y="3143425"/>
                <a:ext cx="217142" cy="217142"/>
                <a:chOff x="1564620" y="2419889"/>
                <a:chExt cx="330948" cy="330948"/>
              </a:xfrm>
              <a:grpFill/>
            </p:grpSpPr>
            <p:sp>
              <p:nvSpPr>
                <p:cNvPr id="2535" name="dfine_grid_single_shape_frame">
                  <a:extLst>
                    <a:ext uri="{FF2B5EF4-FFF2-40B4-BE49-F238E27FC236}">
                      <a16:creationId xmlns:a16="http://schemas.microsoft.com/office/drawing/2014/main" id="{2CAEFB5D-B2C7-773D-E01F-4926E985072D}"/>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36" name="Triangle_1">
                  <a:extLst>
                    <a:ext uri="{FF2B5EF4-FFF2-40B4-BE49-F238E27FC236}">
                      <a16:creationId xmlns:a16="http://schemas.microsoft.com/office/drawing/2014/main" id="{66B0A32A-C865-9916-4DDF-469BA089BBF5}"/>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37" name="Triangle_2">
                  <a:extLst>
                    <a:ext uri="{FF2B5EF4-FFF2-40B4-BE49-F238E27FC236}">
                      <a16:creationId xmlns:a16="http://schemas.microsoft.com/office/drawing/2014/main" id="{7C21D93A-CCB2-8D33-817F-8C63207AD1FD}"/>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38" name="Triangle_3">
                  <a:extLst>
                    <a:ext uri="{FF2B5EF4-FFF2-40B4-BE49-F238E27FC236}">
                      <a16:creationId xmlns:a16="http://schemas.microsoft.com/office/drawing/2014/main" id="{9584E73B-F45D-A366-1CA2-8E827B9B2D77}"/>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39" name="Triangle_4">
                  <a:extLst>
                    <a:ext uri="{FF2B5EF4-FFF2-40B4-BE49-F238E27FC236}">
                      <a16:creationId xmlns:a16="http://schemas.microsoft.com/office/drawing/2014/main" id="{24882F8D-AEBE-E917-F2F8-4BDD1CE87EB3}"/>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48" name="Group 2347">
                <a:extLst>
                  <a:ext uri="{FF2B5EF4-FFF2-40B4-BE49-F238E27FC236}">
                    <a16:creationId xmlns:a16="http://schemas.microsoft.com/office/drawing/2014/main" id="{468CA4F6-6040-0E2C-2FC3-9D38089C4B12}"/>
                  </a:ext>
                </a:extLst>
              </p:cNvPr>
              <p:cNvGrpSpPr>
                <a:grpSpLocks/>
              </p:cNvGrpSpPr>
              <p:nvPr/>
            </p:nvGrpSpPr>
            <p:grpSpPr bwMode="gray">
              <a:xfrm>
                <a:off x="1352406" y="3360566"/>
                <a:ext cx="217142" cy="217142"/>
                <a:chOff x="1564620" y="2750836"/>
                <a:chExt cx="330948" cy="330948"/>
              </a:xfrm>
              <a:grpFill/>
            </p:grpSpPr>
            <p:sp>
              <p:nvSpPr>
                <p:cNvPr id="2530" name="dfine_grid_single_shape_frame">
                  <a:extLst>
                    <a:ext uri="{FF2B5EF4-FFF2-40B4-BE49-F238E27FC236}">
                      <a16:creationId xmlns:a16="http://schemas.microsoft.com/office/drawing/2014/main" id="{E5AAD5BC-00D3-3EFC-9201-39F5295FAC68}"/>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31" name="Triangle_1">
                  <a:extLst>
                    <a:ext uri="{FF2B5EF4-FFF2-40B4-BE49-F238E27FC236}">
                      <a16:creationId xmlns:a16="http://schemas.microsoft.com/office/drawing/2014/main" id="{04A5C822-7CDC-2691-1726-539FFD7AA934}"/>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32" name="Triangle_2">
                  <a:extLst>
                    <a:ext uri="{FF2B5EF4-FFF2-40B4-BE49-F238E27FC236}">
                      <a16:creationId xmlns:a16="http://schemas.microsoft.com/office/drawing/2014/main" id="{9AFFEA02-98D5-1F12-F6E1-3404D97B4FE3}"/>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33" name="Triangle_3">
                  <a:extLst>
                    <a:ext uri="{FF2B5EF4-FFF2-40B4-BE49-F238E27FC236}">
                      <a16:creationId xmlns:a16="http://schemas.microsoft.com/office/drawing/2014/main" id="{17580940-1AFD-AA48-1984-99B2CBD9FE0C}"/>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34" name="Triangle_4">
                  <a:extLst>
                    <a:ext uri="{FF2B5EF4-FFF2-40B4-BE49-F238E27FC236}">
                      <a16:creationId xmlns:a16="http://schemas.microsoft.com/office/drawing/2014/main" id="{C2747DDF-8FE9-2792-9DA2-F46E53AF59CA}"/>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49" name="Group 2348">
                <a:extLst>
                  <a:ext uri="{FF2B5EF4-FFF2-40B4-BE49-F238E27FC236}">
                    <a16:creationId xmlns:a16="http://schemas.microsoft.com/office/drawing/2014/main" id="{D1E45A4C-84B1-E88A-2127-DDCD8E793A6D}"/>
                  </a:ext>
                </a:extLst>
              </p:cNvPr>
              <p:cNvGrpSpPr>
                <a:grpSpLocks/>
              </p:cNvGrpSpPr>
              <p:nvPr/>
            </p:nvGrpSpPr>
            <p:grpSpPr bwMode="gray">
              <a:xfrm>
                <a:off x="1352406" y="3577707"/>
                <a:ext cx="217142" cy="217142"/>
                <a:chOff x="1564620" y="3081783"/>
                <a:chExt cx="330948" cy="330948"/>
              </a:xfrm>
              <a:grpFill/>
            </p:grpSpPr>
            <p:sp>
              <p:nvSpPr>
                <p:cNvPr id="2525" name="dfine_grid_single_shape_frame">
                  <a:extLst>
                    <a:ext uri="{FF2B5EF4-FFF2-40B4-BE49-F238E27FC236}">
                      <a16:creationId xmlns:a16="http://schemas.microsoft.com/office/drawing/2014/main" id="{3834851F-9C0C-3931-ED89-B989BD183A6C}"/>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26" name="Triangle_1">
                  <a:extLst>
                    <a:ext uri="{FF2B5EF4-FFF2-40B4-BE49-F238E27FC236}">
                      <a16:creationId xmlns:a16="http://schemas.microsoft.com/office/drawing/2014/main" id="{9F605EA0-6724-3C6C-E6BC-5930A7700EC1}"/>
                    </a:ext>
                  </a:extLst>
                </p:cNvPr>
                <p:cNvSpPr>
                  <a:spLocks/>
                </p:cNvSpPr>
                <p:nvPr/>
              </p:nvSpPr>
              <p:spPr bwMode="gray">
                <a:xfrm rot="10800000">
                  <a:off x="1564620"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27" name="Triangle_2">
                  <a:extLst>
                    <a:ext uri="{FF2B5EF4-FFF2-40B4-BE49-F238E27FC236}">
                      <a16:creationId xmlns:a16="http://schemas.microsoft.com/office/drawing/2014/main" id="{B2C599B9-AE99-9680-D0E1-46A80D89868F}"/>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28" name="Triangle_3">
                  <a:extLst>
                    <a:ext uri="{FF2B5EF4-FFF2-40B4-BE49-F238E27FC236}">
                      <a16:creationId xmlns:a16="http://schemas.microsoft.com/office/drawing/2014/main" id="{1AA01725-4874-6BFD-6D13-49043E02454A}"/>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29" name="Triangle_4">
                  <a:extLst>
                    <a:ext uri="{FF2B5EF4-FFF2-40B4-BE49-F238E27FC236}">
                      <a16:creationId xmlns:a16="http://schemas.microsoft.com/office/drawing/2014/main" id="{F2792D1B-7E9D-0027-1C40-20CAFD649C14}"/>
                    </a:ext>
                  </a:extLst>
                </p:cNvPr>
                <p:cNvSpPr>
                  <a:spLocks/>
                </p:cNvSpPr>
                <p:nvPr/>
              </p:nvSpPr>
              <p:spPr bwMode="gray">
                <a:xfrm rot="16200000">
                  <a:off x="1647357"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50" name="Group 2349">
                <a:extLst>
                  <a:ext uri="{FF2B5EF4-FFF2-40B4-BE49-F238E27FC236}">
                    <a16:creationId xmlns:a16="http://schemas.microsoft.com/office/drawing/2014/main" id="{5CAA9672-311B-2E37-9140-62BF70ED04B8}"/>
                  </a:ext>
                </a:extLst>
              </p:cNvPr>
              <p:cNvGrpSpPr>
                <a:grpSpLocks/>
              </p:cNvGrpSpPr>
              <p:nvPr/>
            </p:nvGrpSpPr>
            <p:grpSpPr bwMode="gray">
              <a:xfrm>
                <a:off x="1352406" y="3794848"/>
                <a:ext cx="217142" cy="217142"/>
                <a:chOff x="1564620" y="3412730"/>
                <a:chExt cx="330948" cy="330948"/>
              </a:xfrm>
              <a:grpFill/>
            </p:grpSpPr>
            <p:sp>
              <p:nvSpPr>
                <p:cNvPr id="2520" name="dfine_grid_single_shape_frame">
                  <a:extLst>
                    <a:ext uri="{FF2B5EF4-FFF2-40B4-BE49-F238E27FC236}">
                      <a16:creationId xmlns:a16="http://schemas.microsoft.com/office/drawing/2014/main" id="{0B0EEA59-3DDB-E9C0-8FBF-1CD733BCB319}"/>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21" name="Triangle_1">
                  <a:extLst>
                    <a:ext uri="{FF2B5EF4-FFF2-40B4-BE49-F238E27FC236}">
                      <a16:creationId xmlns:a16="http://schemas.microsoft.com/office/drawing/2014/main" id="{CBC8CBB1-BE72-11E1-C9C6-29623D246664}"/>
                    </a:ext>
                  </a:extLst>
                </p:cNvPr>
                <p:cNvSpPr>
                  <a:spLocks/>
                </p:cNvSpPr>
                <p:nvPr/>
              </p:nvSpPr>
              <p:spPr bwMode="gray">
                <a:xfrm rot="10800000">
                  <a:off x="1564620"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22" name="Triangle_2">
                  <a:extLst>
                    <a:ext uri="{FF2B5EF4-FFF2-40B4-BE49-F238E27FC236}">
                      <a16:creationId xmlns:a16="http://schemas.microsoft.com/office/drawing/2014/main" id="{109358C6-E7FE-ACDA-61B8-6F126848A393}"/>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23" name="Triangle_3">
                  <a:extLst>
                    <a:ext uri="{FF2B5EF4-FFF2-40B4-BE49-F238E27FC236}">
                      <a16:creationId xmlns:a16="http://schemas.microsoft.com/office/drawing/2014/main" id="{201E2B0E-4178-F69A-6755-9A4BC827B23B}"/>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24" name="Triangle_4">
                  <a:extLst>
                    <a:ext uri="{FF2B5EF4-FFF2-40B4-BE49-F238E27FC236}">
                      <a16:creationId xmlns:a16="http://schemas.microsoft.com/office/drawing/2014/main" id="{433F5D83-FF59-B3F7-9966-186376E2C2A3}"/>
                    </a:ext>
                  </a:extLst>
                </p:cNvPr>
                <p:cNvSpPr>
                  <a:spLocks/>
                </p:cNvSpPr>
                <p:nvPr/>
              </p:nvSpPr>
              <p:spPr bwMode="gray">
                <a:xfrm rot="16200000">
                  <a:off x="1647357"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51" name="Group 2350">
                <a:extLst>
                  <a:ext uri="{FF2B5EF4-FFF2-40B4-BE49-F238E27FC236}">
                    <a16:creationId xmlns:a16="http://schemas.microsoft.com/office/drawing/2014/main" id="{0FDBC266-5F3F-18BE-F801-8E5E0251DAA9}"/>
                  </a:ext>
                </a:extLst>
              </p:cNvPr>
              <p:cNvGrpSpPr>
                <a:grpSpLocks/>
              </p:cNvGrpSpPr>
              <p:nvPr/>
            </p:nvGrpSpPr>
            <p:grpSpPr bwMode="gray">
              <a:xfrm>
                <a:off x="1352406" y="4011989"/>
                <a:ext cx="217142" cy="217142"/>
                <a:chOff x="1564620" y="3743677"/>
                <a:chExt cx="330948" cy="330948"/>
              </a:xfrm>
              <a:grpFill/>
            </p:grpSpPr>
            <p:sp>
              <p:nvSpPr>
                <p:cNvPr id="2515" name="dfine_grid_single_shape_frame">
                  <a:extLst>
                    <a:ext uri="{FF2B5EF4-FFF2-40B4-BE49-F238E27FC236}">
                      <a16:creationId xmlns:a16="http://schemas.microsoft.com/office/drawing/2014/main" id="{A4C7B862-6180-A271-8960-25194B230837}"/>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16" name="Triangle_1">
                  <a:extLst>
                    <a:ext uri="{FF2B5EF4-FFF2-40B4-BE49-F238E27FC236}">
                      <a16:creationId xmlns:a16="http://schemas.microsoft.com/office/drawing/2014/main" id="{FA6C8F83-C5C2-A1BB-93C5-9D4E78860BC6}"/>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17" name="Triangle_2">
                  <a:extLst>
                    <a:ext uri="{FF2B5EF4-FFF2-40B4-BE49-F238E27FC236}">
                      <a16:creationId xmlns:a16="http://schemas.microsoft.com/office/drawing/2014/main" id="{5A909165-5366-A86D-C7C2-5DC08486ED80}"/>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18" name="Triangle_3">
                  <a:extLst>
                    <a:ext uri="{FF2B5EF4-FFF2-40B4-BE49-F238E27FC236}">
                      <a16:creationId xmlns:a16="http://schemas.microsoft.com/office/drawing/2014/main" id="{8E341003-1AFB-A468-3BB4-D0DE818ABDD9}"/>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19" name="Triangle_4">
                  <a:extLst>
                    <a:ext uri="{FF2B5EF4-FFF2-40B4-BE49-F238E27FC236}">
                      <a16:creationId xmlns:a16="http://schemas.microsoft.com/office/drawing/2014/main" id="{E795CD8D-7260-0210-4BCD-13D8A2B2845A}"/>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52" name="Group 2351">
                <a:extLst>
                  <a:ext uri="{FF2B5EF4-FFF2-40B4-BE49-F238E27FC236}">
                    <a16:creationId xmlns:a16="http://schemas.microsoft.com/office/drawing/2014/main" id="{5E51483F-2DB1-98C0-B662-FC62A3E56D90}"/>
                  </a:ext>
                </a:extLst>
              </p:cNvPr>
              <p:cNvGrpSpPr>
                <a:grpSpLocks/>
              </p:cNvGrpSpPr>
              <p:nvPr/>
            </p:nvGrpSpPr>
            <p:grpSpPr bwMode="gray">
              <a:xfrm>
                <a:off x="1352406" y="4229130"/>
                <a:ext cx="217142" cy="217142"/>
                <a:chOff x="1564620" y="4074624"/>
                <a:chExt cx="330948" cy="330948"/>
              </a:xfrm>
              <a:grpFill/>
            </p:grpSpPr>
            <p:sp>
              <p:nvSpPr>
                <p:cNvPr id="2510" name="dfine_grid_single_shape_frame">
                  <a:extLst>
                    <a:ext uri="{FF2B5EF4-FFF2-40B4-BE49-F238E27FC236}">
                      <a16:creationId xmlns:a16="http://schemas.microsoft.com/office/drawing/2014/main" id="{D0C0DCC8-C74E-71CF-5E34-F1306D2967DF}"/>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11" name="Triangle_1">
                  <a:extLst>
                    <a:ext uri="{FF2B5EF4-FFF2-40B4-BE49-F238E27FC236}">
                      <a16:creationId xmlns:a16="http://schemas.microsoft.com/office/drawing/2014/main" id="{BE98474A-8029-7B3E-8314-6A69F0E46156}"/>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12" name="Triangle_2">
                  <a:extLst>
                    <a:ext uri="{FF2B5EF4-FFF2-40B4-BE49-F238E27FC236}">
                      <a16:creationId xmlns:a16="http://schemas.microsoft.com/office/drawing/2014/main" id="{186A9DAD-BD32-6E4F-5615-C2E9A49460C0}"/>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13" name="Triangle_3">
                  <a:extLst>
                    <a:ext uri="{FF2B5EF4-FFF2-40B4-BE49-F238E27FC236}">
                      <a16:creationId xmlns:a16="http://schemas.microsoft.com/office/drawing/2014/main" id="{110B361C-D595-352A-74FD-D0D7C4D294FA}"/>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14" name="Triangle_4">
                  <a:extLst>
                    <a:ext uri="{FF2B5EF4-FFF2-40B4-BE49-F238E27FC236}">
                      <a16:creationId xmlns:a16="http://schemas.microsoft.com/office/drawing/2014/main" id="{3B849381-5DA6-6B96-CDDD-D5CA181EE988}"/>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53" name="Group 2352">
                <a:extLst>
                  <a:ext uri="{FF2B5EF4-FFF2-40B4-BE49-F238E27FC236}">
                    <a16:creationId xmlns:a16="http://schemas.microsoft.com/office/drawing/2014/main" id="{561D7FFC-4A6E-919E-AEEF-FB6FB6C59A79}"/>
                  </a:ext>
                </a:extLst>
              </p:cNvPr>
              <p:cNvGrpSpPr>
                <a:grpSpLocks/>
              </p:cNvGrpSpPr>
              <p:nvPr/>
            </p:nvGrpSpPr>
            <p:grpSpPr bwMode="gray">
              <a:xfrm>
                <a:off x="1569548" y="1623437"/>
                <a:ext cx="217142" cy="217142"/>
                <a:chOff x="1564620" y="2088942"/>
                <a:chExt cx="330948" cy="330948"/>
              </a:xfrm>
              <a:grpFill/>
            </p:grpSpPr>
            <p:sp>
              <p:nvSpPr>
                <p:cNvPr id="2505" name="dfine_grid_single_shape_frame">
                  <a:extLst>
                    <a:ext uri="{FF2B5EF4-FFF2-40B4-BE49-F238E27FC236}">
                      <a16:creationId xmlns:a16="http://schemas.microsoft.com/office/drawing/2014/main" id="{FCE0AF56-8EA0-DA3E-C326-A5263C7D1A90}"/>
                    </a:ext>
                  </a:extLst>
                </p:cNvPr>
                <p:cNvSpPr>
                  <a:spLocks/>
                </p:cNvSpPr>
                <p:nvPr/>
              </p:nvSpPr>
              <p:spPr bwMode="gray">
                <a:xfrm>
                  <a:off x="1564620"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06" name="Triangle_1">
                  <a:extLst>
                    <a:ext uri="{FF2B5EF4-FFF2-40B4-BE49-F238E27FC236}">
                      <a16:creationId xmlns:a16="http://schemas.microsoft.com/office/drawing/2014/main" id="{A344E34E-0F97-5410-3921-80B5BFFAA168}"/>
                    </a:ext>
                  </a:extLst>
                </p:cNvPr>
                <p:cNvSpPr>
                  <a:spLocks/>
                </p:cNvSpPr>
                <p:nvPr/>
              </p:nvSpPr>
              <p:spPr bwMode="gray">
                <a:xfrm rot="10800000">
                  <a:off x="1564620"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07" name="Triangle_2">
                  <a:extLst>
                    <a:ext uri="{FF2B5EF4-FFF2-40B4-BE49-F238E27FC236}">
                      <a16:creationId xmlns:a16="http://schemas.microsoft.com/office/drawing/2014/main" id="{EEEDDC16-612F-012C-2772-7190A4BF7310}"/>
                    </a:ext>
                  </a:extLst>
                </p:cNvPr>
                <p:cNvSpPr>
                  <a:spLocks/>
                </p:cNvSpPr>
                <p:nvPr/>
              </p:nvSpPr>
              <p:spPr bwMode="gray">
                <a:xfrm>
                  <a:off x="1564620"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08" name="Triangle_3">
                  <a:extLst>
                    <a:ext uri="{FF2B5EF4-FFF2-40B4-BE49-F238E27FC236}">
                      <a16:creationId xmlns:a16="http://schemas.microsoft.com/office/drawing/2014/main" id="{20A87C63-DAEF-CC86-A60E-FC4D9C19C167}"/>
                    </a:ext>
                  </a:extLst>
                </p:cNvPr>
                <p:cNvSpPr>
                  <a:spLocks/>
                </p:cNvSpPr>
                <p:nvPr/>
              </p:nvSpPr>
              <p:spPr bwMode="gray">
                <a:xfrm rot="5400000">
                  <a:off x="1481883"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09" name="Triangle_4">
                  <a:extLst>
                    <a:ext uri="{FF2B5EF4-FFF2-40B4-BE49-F238E27FC236}">
                      <a16:creationId xmlns:a16="http://schemas.microsoft.com/office/drawing/2014/main" id="{6E4C2349-3221-D9B7-3940-1DF2D0999872}"/>
                    </a:ext>
                  </a:extLst>
                </p:cNvPr>
                <p:cNvSpPr>
                  <a:spLocks/>
                </p:cNvSpPr>
                <p:nvPr/>
              </p:nvSpPr>
              <p:spPr bwMode="gray">
                <a:xfrm rot="16200000">
                  <a:off x="1647357"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54" name="Group 2353">
                <a:extLst>
                  <a:ext uri="{FF2B5EF4-FFF2-40B4-BE49-F238E27FC236}">
                    <a16:creationId xmlns:a16="http://schemas.microsoft.com/office/drawing/2014/main" id="{E0F32F47-01EB-4E9A-B9C8-1F700DC79E7C}"/>
                  </a:ext>
                </a:extLst>
              </p:cNvPr>
              <p:cNvGrpSpPr>
                <a:grpSpLocks/>
              </p:cNvGrpSpPr>
              <p:nvPr/>
            </p:nvGrpSpPr>
            <p:grpSpPr bwMode="gray">
              <a:xfrm>
                <a:off x="1569548" y="1840578"/>
                <a:ext cx="217142" cy="217142"/>
                <a:chOff x="1564620" y="2419889"/>
                <a:chExt cx="330948" cy="330948"/>
              </a:xfrm>
              <a:grpFill/>
            </p:grpSpPr>
            <p:sp>
              <p:nvSpPr>
                <p:cNvPr id="2500" name="dfine_grid_single_shape_frame">
                  <a:extLst>
                    <a:ext uri="{FF2B5EF4-FFF2-40B4-BE49-F238E27FC236}">
                      <a16:creationId xmlns:a16="http://schemas.microsoft.com/office/drawing/2014/main" id="{BA57BD5D-E55A-365F-163E-B9951A86D61C}"/>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01" name="Triangle_1">
                  <a:extLst>
                    <a:ext uri="{FF2B5EF4-FFF2-40B4-BE49-F238E27FC236}">
                      <a16:creationId xmlns:a16="http://schemas.microsoft.com/office/drawing/2014/main" id="{97ACAFFE-902D-37B2-8343-3C986B6EAA40}"/>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02" name="Triangle_2">
                  <a:extLst>
                    <a:ext uri="{FF2B5EF4-FFF2-40B4-BE49-F238E27FC236}">
                      <a16:creationId xmlns:a16="http://schemas.microsoft.com/office/drawing/2014/main" id="{F984285C-F0DA-73E6-1B11-C72FE2ECE0EB}"/>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03" name="Triangle_3">
                  <a:extLst>
                    <a:ext uri="{FF2B5EF4-FFF2-40B4-BE49-F238E27FC236}">
                      <a16:creationId xmlns:a16="http://schemas.microsoft.com/office/drawing/2014/main" id="{413AC8FF-6C59-4F76-464F-355381C39B58}"/>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504" name="Triangle_4">
                  <a:extLst>
                    <a:ext uri="{FF2B5EF4-FFF2-40B4-BE49-F238E27FC236}">
                      <a16:creationId xmlns:a16="http://schemas.microsoft.com/office/drawing/2014/main" id="{F0CFF97A-430D-275B-4DB2-D9B595801E2D}"/>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55" name="Group 2354">
                <a:extLst>
                  <a:ext uri="{FF2B5EF4-FFF2-40B4-BE49-F238E27FC236}">
                    <a16:creationId xmlns:a16="http://schemas.microsoft.com/office/drawing/2014/main" id="{3CE28861-3EEC-035A-2038-8BC0697BE1AC}"/>
                  </a:ext>
                </a:extLst>
              </p:cNvPr>
              <p:cNvGrpSpPr>
                <a:grpSpLocks/>
              </p:cNvGrpSpPr>
              <p:nvPr/>
            </p:nvGrpSpPr>
            <p:grpSpPr bwMode="gray">
              <a:xfrm>
                <a:off x="1569548" y="2057719"/>
                <a:ext cx="217142" cy="217142"/>
                <a:chOff x="1564620" y="2750836"/>
                <a:chExt cx="330948" cy="330948"/>
              </a:xfrm>
              <a:grpFill/>
            </p:grpSpPr>
            <p:sp>
              <p:nvSpPr>
                <p:cNvPr id="2495" name="dfine_grid_single_shape_frame">
                  <a:extLst>
                    <a:ext uri="{FF2B5EF4-FFF2-40B4-BE49-F238E27FC236}">
                      <a16:creationId xmlns:a16="http://schemas.microsoft.com/office/drawing/2014/main" id="{E9093AC4-6053-BC06-A674-6101F9BA9D20}"/>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96" name="Triangle_1">
                  <a:extLst>
                    <a:ext uri="{FF2B5EF4-FFF2-40B4-BE49-F238E27FC236}">
                      <a16:creationId xmlns:a16="http://schemas.microsoft.com/office/drawing/2014/main" id="{A420FF7B-5219-4D4D-7124-8FD7616CB5D7}"/>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97" name="Triangle_2">
                  <a:extLst>
                    <a:ext uri="{FF2B5EF4-FFF2-40B4-BE49-F238E27FC236}">
                      <a16:creationId xmlns:a16="http://schemas.microsoft.com/office/drawing/2014/main" id="{F514FA55-2926-EBCF-0C1B-F1AF4B1F9E14}"/>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98" name="Triangle_3">
                  <a:extLst>
                    <a:ext uri="{FF2B5EF4-FFF2-40B4-BE49-F238E27FC236}">
                      <a16:creationId xmlns:a16="http://schemas.microsoft.com/office/drawing/2014/main" id="{488C0B4B-B46E-F907-7A9B-27F21E1945BC}"/>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99" name="Triangle_4">
                  <a:extLst>
                    <a:ext uri="{FF2B5EF4-FFF2-40B4-BE49-F238E27FC236}">
                      <a16:creationId xmlns:a16="http://schemas.microsoft.com/office/drawing/2014/main" id="{93C2076C-E4FD-CEB5-3609-43D3AF8F3FD0}"/>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56" name="Group 2355">
                <a:extLst>
                  <a:ext uri="{FF2B5EF4-FFF2-40B4-BE49-F238E27FC236}">
                    <a16:creationId xmlns:a16="http://schemas.microsoft.com/office/drawing/2014/main" id="{39344B08-746C-DD95-C2C3-6CA0665CC711}"/>
                  </a:ext>
                </a:extLst>
              </p:cNvPr>
              <p:cNvGrpSpPr>
                <a:grpSpLocks/>
              </p:cNvGrpSpPr>
              <p:nvPr/>
            </p:nvGrpSpPr>
            <p:grpSpPr bwMode="gray">
              <a:xfrm>
                <a:off x="1569548" y="2274860"/>
                <a:ext cx="217142" cy="217142"/>
                <a:chOff x="1564620" y="3081783"/>
                <a:chExt cx="330948" cy="330948"/>
              </a:xfrm>
              <a:grpFill/>
            </p:grpSpPr>
            <p:sp>
              <p:nvSpPr>
                <p:cNvPr id="2490" name="dfine_grid_single_shape_frame">
                  <a:extLst>
                    <a:ext uri="{FF2B5EF4-FFF2-40B4-BE49-F238E27FC236}">
                      <a16:creationId xmlns:a16="http://schemas.microsoft.com/office/drawing/2014/main" id="{9BD73F3D-D43A-DA39-11FB-2E1EB0D1B98C}"/>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91" name="Triangle_1">
                  <a:extLst>
                    <a:ext uri="{FF2B5EF4-FFF2-40B4-BE49-F238E27FC236}">
                      <a16:creationId xmlns:a16="http://schemas.microsoft.com/office/drawing/2014/main" id="{26FB88A5-9F5E-F771-C89D-2141744CE011}"/>
                    </a:ext>
                  </a:extLst>
                </p:cNvPr>
                <p:cNvSpPr>
                  <a:spLocks/>
                </p:cNvSpPr>
                <p:nvPr/>
              </p:nvSpPr>
              <p:spPr bwMode="gray">
                <a:xfrm rot="10800000">
                  <a:off x="1564620"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92" name="Triangle_2">
                  <a:extLst>
                    <a:ext uri="{FF2B5EF4-FFF2-40B4-BE49-F238E27FC236}">
                      <a16:creationId xmlns:a16="http://schemas.microsoft.com/office/drawing/2014/main" id="{B0DEB618-B1A8-D437-0C58-B32625BA7E56}"/>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93" name="Triangle_3">
                  <a:extLst>
                    <a:ext uri="{FF2B5EF4-FFF2-40B4-BE49-F238E27FC236}">
                      <a16:creationId xmlns:a16="http://schemas.microsoft.com/office/drawing/2014/main" id="{2F469F5E-4514-A4CF-22C2-18938DAF8DC4}"/>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94" name="Triangle_4">
                  <a:extLst>
                    <a:ext uri="{FF2B5EF4-FFF2-40B4-BE49-F238E27FC236}">
                      <a16:creationId xmlns:a16="http://schemas.microsoft.com/office/drawing/2014/main" id="{AC4261CF-4E1E-1928-2831-EF2D88C21CAC}"/>
                    </a:ext>
                  </a:extLst>
                </p:cNvPr>
                <p:cNvSpPr>
                  <a:spLocks/>
                </p:cNvSpPr>
                <p:nvPr/>
              </p:nvSpPr>
              <p:spPr bwMode="gray">
                <a:xfrm rot="16200000">
                  <a:off x="1647357"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57" name="Group 2356">
                <a:extLst>
                  <a:ext uri="{FF2B5EF4-FFF2-40B4-BE49-F238E27FC236}">
                    <a16:creationId xmlns:a16="http://schemas.microsoft.com/office/drawing/2014/main" id="{8FC48F2A-73EA-012A-DED5-E3905BF0DD6B}"/>
                  </a:ext>
                </a:extLst>
              </p:cNvPr>
              <p:cNvGrpSpPr>
                <a:grpSpLocks/>
              </p:cNvGrpSpPr>
              <p:nvPr/>
            </p:nvGrpSpPr>
            <p:grpSpPr bwMode="gray">
              <a:xfrm>
                <a:off x="1569548" y="2492001"/>
                <a:ext cx="217142" cy="217142"/>
                <a:chOff x="1564620" y="3412730"/>
                <a:chExt cx="330948" cy="330948"/>
              </a:xfrm>
              <a:grpFill/>
            </p:grpSpPr>
            <p:sp>
              <p:nvSpPr>
                <p:cNvPr id="2485" name="dfine_grid_single_shape_frame">
                  <a:extLst>
                    <a:ext uri="{FF2B5EF4-FFF2-40B4-BE49-F238E27FC236}">
                      <a16:creationId xmlns:a16="http://schemas.microsoft.com/office/drawing/2014/main" id="{4066CD57-CF8D-972A-B692-DAAE0D40EF16}"/>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86" name="Triangle_1">
                  <a:extLst>
                    <a:ext uri="{FF2B5EF4-FFF2-40B4-BE49-F238E27FC236}">
                      <a16:creationId xmlns:a16="http://schemas.microsoft.com/office/drawing/2014/main" id="{33EFE1CA-EA04-9650-A04A-CF1C31F885B3}"/>
                    </a:ext>
                  </a:extLst>
                </p:cNvPr>
                <p:cNvSpPr>
                  <a:spLocks/>
                </p:cNvSpPr>
                <p:nvPr/>
              </p:nvSpPr>
              <p:spPr bwMode="gray">
                <a:xfrm rot="10800000">
                  <a:off x="1564620"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87" name="Triangle_2">
                  <a:extLst>
                    <a:ext uri="{FF2B5EF4-FFF2-40B4-BE49-F238E27FC236}">
                      <a16:creationId xmlns:a16="http://schemas.microsoft.com/office/drawing/2014/main" id="{CF0C59C0-A68A-3613-5534-645065398AC5}"/>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88" name="Triangle_3">
                  <a:extLst>
                    <a:ext uri="{FF2B5EF4-FFF2-40B4-BE49-F238E27FC236}">
                      <a16:creationId xmlns:a16="http://schemas.microsoft.com/office/drawing/2014/main" id="{0B2AF9F1-1B3F-2094-FCA3-A6227B16AEF9}"/>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89" name="Triangle_4">
                  <a:extLst>
                    <a:ext uri="{FF2B5EF4-FFF2-40B4-BE49-F238E27FC236}">
                      <a16:creationId xmlns:a16="http://schemas.microsoft.com/office/drawing/2014/main" id="{69B8D29F-2B48-533D-50A2-FE57DA8711E4}"/>
                    </a:ext>
                  </a:extLst>
                </p:cNvPr>
                <p:cNvSpPr>
                  <a:spLocks/>
                </p:cNvSpPr>
                <p:nvPr/>
              </p:nvSpPr>
              <p:spPr bwMode="gray">
                <a:xfrm rot="16200000">
                  <a:off x="1647357"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58" name="Group 2357">
                <a:extLst>
                  <a:ext uri="{FF2B5EF4-FFF2-40B4-BE49-F238E27FC236}">
                    <a16:creationId xmlns:a16="http://schemas.microsoft.com/office/drawing/2014/main" id="{2B6C5E0E-CBCD-46D4-0298-9FB96C0933B6}"/>
                  </a:ext>
                </a:extLst>
              </p:cNvPr>
              <p:cNvGrpSpPr>
                <a:grpSpLocks/>
              </p:cNvGrpSpPr>
              <p:nvPr/>
            </p:nvGrpSpPr>
            <p:grpSpPr bwMode="gray">
              <a:xfrm>
                <a:off x="1569548" y="2709142"/>
                <a:ext cx="217142" cy="217142"/>
                <a:chOff x="1564620" y="3743677"/>
                <a:chExt cx="330948" cy="330948"/>
              </a:xfrm>
              <a:grpFill/>
            </p:grpSpPr>
            <p:sp>
              <p:nvSpPr>
                <p:cNvPr id="2480" name="dfine_grid_single_shape_frame">
                  <a:extLst>
                    <a:ext uri="{FF2B5EF4-FFF2-40B4-BE49-F238E27FC236}">
                      <a16:creationId xmlns:a16="http://schemas.microsoft.com/office/drawing/2014/main" id="{E9566E8D-A822-F51C-9AAD-2B408A7A1A72}"/>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81" name="Triangle_1">
                  <a:extLst>
                    <a:ext uri="{FF2B5EF4-FFF2-40B4-BE49-F238E27FC236}">
                      <a16:creationId xmlns:a16="http://schemas.microsoft.com/office/drawing/2014/main" id="{86001EE3-D690-9C88-B264-10BB450BAD07}"/>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82" name="Triangle_2">
                  <a:extLst>
                    <a:ext uri="{FF2B5EF4-FFF2-40B4-BE49-F238E27FC236}">
                      <a16:creationId xmlns:a16="http://schemas.microsoft.com/office/drawing/2014/main" id="{A31AD8D5-7984-DA4A-B6C7-967180289260}"/>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83" name="Triangle_3">
                  <a:extLst>
                    <a:ext uri="{FF2B5EF4-FFF2-40B4-BE49-F238E27FC236}">
                      <a16:creationId xmlns:a16="http://schemas.microsoft.com/office/drawing/2014/main" id="{EBA2F49A-7616-12CA-A4BA-D46D91BEABD9}"/>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84" name="Triangle_4">
                  <a:extLst>
                    <a:ext uri="{FF2B5EF4-FFF2-40B4-BE49-F238E27FC236}">
                      <a16:creationId xmlns:a16="http://schemas.microsoft.com/office/drawing/2014/main" id="{CBFA4708-04E1-5DC5-0A1A-182B1CE571F6}"/>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59" name="Group 2358">
                <a:extLst>
                  <a:ext uri="{FF2B5EF4-FFF2-40B4-BE49-F238E27FC236}">
                    <a16:creationId xmlns:a16="http://schemas.microsoft.com/office/drawing/2014/main" id="{407CEBDF-BA71-6F7B-2C16-98A3CBB0067C}"/>
                  </a:ext>
                </a:extLst>
              </p:cNvPr>
              <p:cNvGrpSpPr>
                <a:grpSpLocks/>
              </p:cNvGrpSpPr>
              <p:nvPr/>
            </p:nvGrpSpPr>
            <p:grpSpPr bwMode="gray">
              <a:xfrm>
                <a:off x="1569548" y="2926283"/>
                <a:ext cx="217142" cy="217142"/>
                <a:chOff x="1564620" y="4074624"/>
                <a:chExt cx="330948" cy="330948"/>
              </a:xfrm>
              <a:grpFill/>
            </p:grpSpPr>
            <p:sp>
              <p:nvSpPr>
                <p:cNvPr id="2475" name="dfine_grid_single_shape_frame">
                  <a:extLst>
                    <a:ext uri="{FF2B5EF4-FFF2-40B4-BE49-F238E27FC236}">
                      <a16:creationId xmlns:a16="http://schemas.microsoft.com/office/drawing/2014/main" id="{23E97613-9710-8EFD-40C3-27B644087447}"/>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76" name="Triangle_1">
                  <a:extLst>
                    <a:ext uri="{FF2B5EF4-FFF2-40B4-BE49-F238E27FC236}">
                      <a16:creationId xmlns:a16="http://schemas.microsoft.com/office/drawing/2014/main" id="{D1DFFB17-E3AA-A299-E975-21C84CF446F0}"/>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77" name="Triangle_2">
                  <a:extLst>
                    <a:ext uri="{FF2B5EF4-FFF2-40B4-BE49-F238E27FC236}">
                      <a16:creationId xmlns:a16="http://schemas.microsoft.com/office/drawing/2014/main" id="{21D24CCD-689D-7374-9A9A-3868D3AAD8B8}"/>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78" name="Triangle_3">
                  <a:extLst>
                    <a:ext uri="{FF2B5EF4-FFF2-40B4-BE49-F238E27FC236}">
                      <a16:creationId xmlns:a16="http://schemas.microsoft.com/office/drawing/2014/main" id="{6123DF53-579B-6DDC-D9BC-19E636DE36ED}"/>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79" name="Triangle_4">
                  <a:extLst>
                    <a:ext uri="{FF2B5EF4-FFF2-40B4-BE49-F238E27FC236}">
                      <a16:creationId xmlns:a16="http://schemas.microsoft.com/office/drawing/2014/main" id="{0E15A6FD-690A-A7DD-A7BC-512DA10F3450}"/>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60" name="Group 2359">
                <a:extLst>
                  <a:ext uri="{FF2B5EF4-FFF2-40B4-BE49-F238E27FC236}">
                    <a16:creationId xmlns:a16="http://schemas.microsoft.com/office/drawing/2014/main" id="{968EB461-CFF1-0704-C0BC-AC228B573CCE}"/>
                  </a:ext>
                </a:extLst>
              </p:cNvPr>
              <p:cNvGrpSpPr>
                <a:grpSpLocks/>
              </p:cNvGrpSpPr>
              <p:nvPr/>
            </p:nvGrpSpPr>
            <p:grpSpPr bwMode="gray">
              <a:xfrm>
                <a:off x="1569548" y="3143425"/>
                <a:ext cx="217142" cy="217142"/>
                <a:chOff x="1564620" y="2419889"/>
                <a:chExt cx="330948" cy="330948"/>
              </a:xfrm>
              <a:grpFill/>
            </p:grpSpPr>
            <p:sp>
              <p:nvSpPr>
                <p:cNvPr id="2470" name="dfine_grid_single_shape_frame">
                  <a:extLst>
                    <a:ext uri="{FF2B5EF4-FFF2-40B4-BE49-F238E27FC236}">
                      <a16:creationId xmlns:a16="http://schemas.microsoft.com/office/drawing/2014/main" id="{F4127479-160B-1C1E-54BF-5E131A601CEE}"/>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71" name="Triangle_1">
                  <a:extLst>
                    <a:ext uri="{FF2B5EF4-FFF2-40B4-BE49-F238E27FC236}">
                      <a16:creationId xmlns:a16="http://schemas.microsoft.com/office/drawing/2014/main" id="{BFFB1204-7A69-5AF6-5CE4-3CF77DC68A1F}"/>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72" name="Triangle_2">
                  <a:extLst>
                    <a:ext uri="{FF2B5EF4-FFF2-40B4-BE49-F238E27FC236}">
                      <a16:creationId xmlns:a16="http://schemas.microsoft.com/office/drawing/2014/main" id="{59B9BF5C-46FA-39DE-837C-0409BF499956}"/>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73" name="Triangle_3">
                  <a:extLst>
                    <a:ext uri="{FF2B5EF4-FFF2-40B4-BE49-F238E27FC236}">
                      <a16:creationId xmlns:a16="http://schemas.microsoft.com/office/drawing/2014/main" id="{EF6CF170-B4AE-1BDC-25E1-1903D2316A63}"/>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74" name="Triangle_4">
                  <a:extLst>
                    <a:ext uri="{FF2B5EF4-FFF2-40B4-BE49-F238E27FC236}">
                      <a16:creationId xmlns:a16="http://schemas.microsoft.com/office/drawing/2014/main" id="{28C5AE7D-5C32-1A2A-1C85-0C71F1306BC2}"/>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61" name="Group 2360">
                <a:extLst>
                  <a:ext uri="{FF2B5EF4-FFF2-40B4-BE49-F238E27FC236}">
                    <a16:creationId xmlns:a16="http://schemas.microsoft.com/office/drawing/2014/main" id="{49B00D84-C852-1B8F-B4B8-12AB8FD40CA1}"/>
                  </a:ext>
                </a:extLst>
              </p:cNvPr>
              <p:cNvGrpSpPr>
                <a:grpSpLocks/>
              </p:cNvGrpSpPr>
              <p:nvPr/>
            </p:nvGrpSpPr>
            <p:grpSpPr bwMode="gray">
              <a:xfrm>
                <a:off x="1569548" y="3360566"/>
                <a:ext cx="217142" cy="217142"/>
                <a:chOff x="1564620" y="2750836"/>
                <a:chExt cx="330948" cy="330948"/>
              </a:xfrm>
              <a:grpFill/>
            </p:grpSpPr>
            <p:sp>
              <p:nvSpPr>
                <p:cNvPr id="2465" name="dfine_grid_single_shape_frame">
                  <a:extLst>
                    <a:ext uri="{FF2B5EF4-FFF2-40B4-BE49-F238E27FC236}">
                      <a16:creationId xmlns:a16="http://schemas.microsoft.com/office/drawing/2014/main" id="{0354AF5C-BC8F-89A3-2E6F-ABBD3705A28A}"/>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66" name="Triangle_1">
                  <a:extLst>
                    <a:ext uri="{FF2B5EF4-FFF2-40B4-BE49-F238E27FC236}">
                      <a16:creationId xmlns:a16="http://schemas.microsoft.com/office/drawing/2014/main" id="{F3FB547B-A834-D15D-9A01-5999E789FD3B}"/>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67" name="Triangle_2">
                  <a:extLst>
                    <a:ext uri="{FF2B5EF4-FFF2-40B4-BE49-F238E27FC236}">
                      <a16:creationId xmlns:a16="http://schemas.microsoft.com/office/drawing/2014/main" id="{8EBAAA1F-19E9-38B2-CB40-21D50EB6A21F}"/>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68" name="Triangle_3">
                  <a:extLst>
                    <a:ext uri="{FF2B5EF4-FFF2-40B4-BE49-F238E27FC236}">
                      <a16:creationId xmlns:a16="http://schemas.microsoft.com/office/drawing/2014/main" id="{43E04A97-DDAB-3C46-6E3F-25F32206602E}"/>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69" name="Triangle_4">
                  <a:extLst>
                    <a:ext uri="{FF2B5EF4-FFF2-40B4-BE49-F238E27FC236}">
                      <a16:creationId xmlns:a16="http://schemas.microsoft.com/office/drawing/2014/main" id="{45B36C86-CA4F-C02D-E62E-CB5959AE1510}"/>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62" name="Group 2361">
                <a:extLst>
                  <a:ext uri="{FF2B5EF4-FFF2-40B4-BE49-F238E27FC236}">
                    <a16:creationId xmlns:a16="http://schemas.microsoft.com/office/drawing/2014/main" id="{2E471FDE-D9E1-DE98-0B3B-B384FA2B6F69}"/>
                  </a:ext>
                </a:extLst>
              </p:cNvPr>
              <p:cNvGrpSpPr>
                <a:grpSpLocks/>
              </p:cNvGrpSpPr>
              <p:nvPr/>
            </p:nvGrpSpPr>
            <p:grpSpPr bwMode="gray">
              <a:xfrm>
                <a:off x="1569548" y="3577707"/>
                <a:ext cx="217142" cy="217142"/>
                <a:chOff x="1564620" y="3081783"/>
                <a:chExt cx="330948" cy="330948"/>
              </a:xfrm>
              <a:grpFill/>
            </p:grpSpPr>
            <p:sp>
              <p:nvSpPr>
                <p:cNvPr id="2460" name="dfine_grid_single_shape_frame">
                  <a:extLst>
                    <a:ext uri="{FF2B5EF4-FFF2-40B4-BE49-F238E27FC236}">
                      <a16:creationId xmlns:a16="http://schemas.microsoft.com/office/drawing/2014/main" id="{3B5F01E8-8EA4-CA04-0C0A-DF412897478B}"/>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61" name="Triangle_1">
                  <a:extLst>
                    <a:ext uri="{FF2B5EF4-FFF2-40B4-BE49-F238E27FC236}">
                      <a16:creationId xmlns:a16="http://schemas.microsoft.com/office/drawing/2014/main" id="{0C6D8B5E-363C-34FA-7E8D-AA5E39D4C0B4}"/>
                    </a:ext>
                  </a:extLst>
                </p:cNvPr>
                <p:cNvSpPr>
                  <a:spLocks/>
                </p:cNvSpPr>
                <p:nvPr/>
              </p:nvSpPr>
              <p:spPr bwMode="gray">
                <a:xfrm rot="10800000">
                  <a:off x="1564620"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62" name="Triangle_2">
                  <a:extLst>
                    <a:ext uri="{FF2B5EF4-FFF2-40B4-BE49-F238E27FC236}">
                      <a16:creationId xmlns:a16="http://schemas.microsoft.com/office/drawing/2014/main" id="{28C3FE3D-0686-6354-D613-2A587E0C224F}"/>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63" name="Triangle_3">
                  <a:extLst>
                    <a:ext uri="{FF2B5EF4-FFF2-40B4-BE49-F238E27FC236}">
                      <a16:creationId xmlns:a16="http://schemas.microsoft.com/office/drawing/2014/main" id="{63C5132A-8F8A-05ED-D172-471D6D26AABD}"/>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64" name="Triangle_4">
                  <a:extLst>
                    <a:ext uri="{FF2B5EF4-FFF2-40B4-BE49-F238E27FC236}">
                      <a16:creationId xmlns:a16="http://schemas.microsoft.com/office/drawing/2014/main" id="{E785BAC9-C9DC-2372-439F-344290F52F5E}"/>
                    </a:ext>
                  </a:extLst>
                </p:cNvPr>
                <p:cNvSpPr>
                  <a:spLocks/>
                </p:cNvSpPr>
                <p:nvPr/>
              </p:nvSpPr>
              <p:spPr bwMode="gray">
                <a:xfrm rot="16200000">
                  <a:off x="1647357"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63" name="Group 2362">
                <a:extLst>
                  <a:ext uri="{FF2B5EF4-FFF2-40B4-BE49-F238E27FC236}">
                    <a16:creationId xmlns:a16="http://schemas.microsoft.com/office/drawing/2014/main" id="{1D5C6CDC-716F-59B0-79F1-51FB8A40F3D4}"/>
                  </a:ext>
                </a:extLst>
              </p:cNvPr>
              <p:cNvGrpSpPr>
                <a:grpSpLocks/>
              </p:cNvGrpSpPr>
              <p:nvPr/>
            </p:nvGrpSpPr>
            <p:grpSpPr bwMode="gray">
              <a:xfrm>
                <a:off x="1569548" y="3794848"/>
                <a:ext cx="217142" cy="217142"/>
                <a:chOff x="1564620" y="3412730"/>
                <a:chExt cx="330948" cy="330948"/>
              </a:xfrm>
              <a:grpFill/>
            </p:grpSpPr>
            <p:sp>
              <p:nvSpPr>
                <p:cNvPr id="2455" name="dfine_grid_single_shape_frame">
                  <a:extLst>
                    <a:ext uri="{FF2B5EF4-FFF2-40B4-BE49-F238E27FC236}">
                      <a16:creationId xmlns:a16="http://schemas.microsoft.com/office/drawing/2014/main" id="{D85215C4-7662-4DC3-15DE-7A36632F96EA}"/>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56" name="Triangle_1">
                  <a:extLst>
                    <a:ext uri="{FF2B5EF4-FFF2-40B4-BE49-F238E27FC236}">
                      <a16:creationId xmlns:a16="http://schemas.microsoft.com/office/drawing/2014/main" id="{8C4D18E2-676E-DB5B-49DB-D846544D612F}"/>
                    </a:ext>
                  </a:extLst>
                </p:cNvPr>
                <p:cNvSpPr>
                  <a:spLocks/>
                </p:cNvSpPr>
                <p:nvPr/>
              </p:nvSpPr>
              <p:spPr bwMode="gray">
                <a:xfrm rot="10800000">
                  <a:off x="1564620"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57" name="Triangle_2">
                  <a:extLst>
                    <a:ext uri="{FF2B5EF4-FFF2-40B4-BE49-F238E27FC236}">
                      <a16:creationId xmlns:a16="http://schemas.microsoft.com/office/drawing/2014/main" id="{91DF8FCB-30A5-F6AB-6083-31A846A01A1E}"/>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58" name="Triangle_3">
                  <a:extLst>
                    <a:ext uri="{FF2B5EF4-FFF2-40B4-BE49-F238E27FC236}">
                      <a16:creationId xmlns:a16="http://schemas.microsoft.com/office/drawing/2014/main" id="{13C151C4-3AAC-E966-2622-9D1C8E4819D0}"/>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59" name="Triangle_4">
                  <a:extLst>
                    <a:ext uri="{FF2B5EF4-FFF2-40B4-BE49-F238E27FC236}">
                      <a16:creationId xmlns:a16="http://schemas.microsoft.com/office/drawing/2014/main" id="{D3CB00DB-5346-A25C-2B73-4C6D62C48355}"/>
                    </a:ext>
                  </a:extLst>
                </p:cNvPr>
                <p:cNvSpPr>
                  <a:spLocks/>
                </p:cNvSpPr>
                <p:nvPr/>
              </p:nvSpPr>
              <p:spPr bwMode="gray">
                <a:xfrm rot="16200000">
                  <a:off x="1647357"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64" name="Group 2363">
                <a:extLst>
                  <a:ext uri="{FF2B5EF4-FFF2-40B4-BE49-F238E27FC236}">
                    <a16:creationId xmlns:a16="http://schemas.microsoft.com/office/drawing/2014/main" id="{9A64E65D-DF8E-5B58-B259-144BA968052F}"/>
                  </a:ext>
                </a:extLst>
              </p:cNvPr>
              <p:cNvGrpSpPr>
                <a:grpSpLocks/>
              </p:cNvGrpSpPr>
              <p:nvPr/>
            </p:nvGrpSpPr>
            <p:grpSpPr bwMode="gray">
              <a:xfrm>
                <a:off x="1569548" y="4011989"/>
                <a:ext cx="217142" cy="217142"/>
                <a:chOff x="1564620" y="3743677"/>
                <a:chExt cx="330948" cy="330948"/>
              </a:xfrm>
              <a:grpFill/>
            </p:grpSpPr>
            <p:sp>
              <p:nvSpPr>
                <p:cNvPr id="2450" name="dfine_grid_single_shape_frame">
                  <a:extLst>
                    <a:ext uri="{FF2B5EF4-FFF2-40B4-BE49-F238E27FC236}">
                      <a16:creationId xmlns:a16="http://schemas.microsoft.com/office/drawing/2014/main" id="{1ECEF0FA-4DBC-70FA-81B6-C88CE3A91B69}"/>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51" name="Triangle_1">
                  <a:extLst>
                    <a:ext uri="{FF2B5EF4-FFF2-40B4-BE49-F238E27FC236}">
                      <a16:creationId xmlns:a16="http://schemas.microsoft.com/office/drawing/2014/main" id="{1A5D0091-0B8C-366B-8D4C-13A6A631ED59}"/>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52" name="Triangle_2">
                  <a:extLst>
                    <a:ext uri="{FF2B5EF4-FFF2-40B4-BE49-F238E27FC236}">
                      <a16:creationId xmlns:a16="http://schemas.microsoft.com/office/drawing/2014/main" id="{D7EF5F28-4F0E-4EA2-4042-A27FCA8A6F37}"/>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53" name="Triangle_3">
                  <a:extLst>
                    <a:ext uri="{FF2B5EF4-FFF2-40B4-BE49-F238E27FC236}">
                      <a16:creationId xmlns:a16="http://schemas.microsoft.com/office/drawing/2014/main" id="{1DD58D2F-8840-1C27-AFD6-05ACCB2E626E}"/>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54" name="Triangle_4">
                  <a:extLst>
                    <a:ext uri="{FF2B5EF4-FFF2-40B4-BE49-F238E27FC236}">
                      <a16:creationId xmlns:a16="http://schemas.microsoft.com/office/drawing/2014/main" id="{27C459F1-9726-A22F-F145-6E1D80410AE5}"/>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65" name="Group 2364">
                <a:extLst>
                  <a:ext uri="{FF2B5EF4-FFF2-40B4-BE49-F238E27FC236}">
                    <a16:creationId xmlns:a16="http://schemas.microsoft.com/office/drawing/2014/main" id="{7454A1D1-48C5-E65A-3F81-4E30994D802A}"/>
                  </a:ext>
                </a:extLst>
              </p:cNvPr>
              <p:cNvGrpSpPr>
                <a:grpSpLocks/>
              </p:cNvGrpSpPr>
              <p:nvPr/>
            </p:nvGrpSpPr>
            <p:grpSpPr bwMode="gray">
              <a:xfrm>
                <a:off x="1569548" y="4229130"/>
                <a:ext cx="217142" cy="217142"/>
                <a:chOff x="1564620" y="4074624"/>
                <a:chExt cx="330948" cy="330948"/>
              </a:xfrm>
              <a:grpFill/>
            </p:grpSpPr>
            <p:sp>
              <p:nvSpPr>
                <p:cNvPr id="2445" name="dfine_grid_single_shape_frame">
                  <a:extLst>
                    <a:ext uri="{FF2B5EF4-FFF2-40B4-BE49-F238E27FC236}">
                      <a16:creationId xmlns:a16="http://schemas.microsoft.com/office/drawing/2014/main" id="{DA3A51C1-1E3C-1E53-482F-97E953CE09EF}"/>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46" name="Triangle_1">
                  <a:extLst>
                    <a:ext uri="{FF2B5EF4-FFF2-40B4-BE49-F238E27FC236}">
                      <a16:creationId xmlns:a16="http://schemas.microsoft.com/office/drawing/2014/main" id="{ACCC5C6C-06B8-6514-5FDB-C821B1F3BAFD}"/>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47" name="Triangle_2">
                  <a:extLst>
                    <a:ext uri="{FF2B5EF4-FFF2-40B4-BE49-F238E27FC236}">
                      <a16:creationId xmlns:a16="http://schemas.microsoft.com/office/drawing/2014/main" id="{D4F3217A-908F-777A-D30A-F823A6936D16}"/>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48" name="Triangle_3">
                  <a:extLst>
                    <a:ext uri="{FF2B5EF4-FFF2-40B4-BE49-F238E27FC236}">
                      <a16:creationId xmlns:a16="http://schemas.microsoft.com/office/drawing/2014/main" id="{3EAA6D4B-F7F5-67D4-4EE9-CB525812C2A6}"/>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49" name="Triangle_4">
                  <a:extLst>
                    <a:ext uri="{FF2B5EF4-FFF2-40B4-BE49-F238E27FC236}">
                      <a16:creationId xmlns:a16="http://schemas.microsoft.com/office/drawing/2014/main" id="{1C325884-6092-B9A7-09F0-638C0A914568}"/>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66" name="Group 2365">
                <a:extLst>
                  <a:ext uri="{FF2B5EF4-FFF2-40B4-BE49-F238E27FC236}">
                    <a16:creationId xmlns:a16="http://schemas.microsoft.com/office/drawing/2014/main" id="{FEFCC3FF-7B62-2DC3-1707-B79F44EF468B}"/>
                  </a:ext>
                </a:extLst>
              </p:cNvPr>
              <p:cNvGrpSpPr>
                <a:grpSpLocks/>
              </p:cNvGrpSpPr>
              <p:nvPr/>
            </p:nvGrpSpPr>
            <p:grpSpPr bwMode="gray">
              <a:xfrm>
                <a:off x="1786689" y="1623437"/>
                <a:ext cx="217142" cy="217142"/>
                <a:chOff x="1564620" y="2088942"/>
                <a:chExt cx="330948" cy="330948"/>
              </a:xfrm>
              <a:grpFill/>
            </p:grpSpPr>
            <p:sp>
              <p:nvSpPr>
                <p:cNvPr id="2440" name="dfine_grid_single_shape_frame">
                  <a:extLst>
                    <a:ext uri="{FF2B5EF4-FFF2-40B4-BE49-F238E27FC236}">
                      <a16:creationId xmlns:a16="http://schemas.microsoft.com/office/drawing/2014/main" id="{076E7E0F-E9BC-C960-2F14-3CE9696B62E2}"/>
                    </a:ext>
                  </a:extLst>
                </p:cNvPr>
                <p:cNvSpPr>
                  <a:spLocks/>
                </p:cNvSpPr>
                <p:nvPr/>
              </p:nvSpPr>
              <p:spPr bwMode="gray">
                <a:xfrm>
                  <a:off x="1564620" y="2088942"/>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41" name="Triangle_1">
                  <a:extLst>
                    <a:ext uri="{FF2B5EF4-FFF2-40B4-BE49-F238E27FC236}">
                      <a16:creationId xmlns:a16="http://schemas.microsoft.com/office/drawing/2014/main" id="{1FC89075-FFFC-5CD9-01DC-A70FEB9F8E77}"/>
                    </a:ext>
                  </a:extLst>
                </p:cNvPr>
                <p:cNvSpPr>
                  <a:spLocks/>
                </p:cNvSpPr>
                <p:nvPr/>
              </p:nvSpPr>
              <p:spPr bwMode="gray">
                <a:xfrm rot="10800000">
                  <a:off x="1564620" y="2088942"/>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42" name="Triangle_2">
                  <a:extLst>
                    <a:ext uri="{FF2B5EF4-FFF2-40B4-BE49-F238E27FC236}">
                      <a16:creationId xmlns:a16="http://schemas.microsoft.com/office/drawing/2014/main" id="{2925038B-EE61-CC5C-990D-128C40A15B11}"/>
                    </a:ext>
                  </a:extLst>
                </p:cNvPr>
                <p:cNvSpPr>
                  <a:spLocks/>
                </p:cNvSpPr>
                <p:nvPr/>
              </p:nvSpPr>
              <p:spPr bwMode="gray">
                <a:xfrm>
                  <a:off x="1564620" y="225441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43" name="Triangle_3">
                  <a:extLst>
                    <a:ext uri="{FF2B5EF4-FFF2-40B4-BE49-F238E27FC236}">
                      <a16:creationId xmlns:a16="http://schemas.microsoft.com/office/drawing/2014/main" id="{32892CBC-7EC3-E36A-C3BD-7382E15CBAC8}"/>
                    </a:ext>
                  </a:extLst>
                </p:cNvPr>
                <p:cNvSpPr>
                  <a:spLocks/>
                </p:cNvSpPr>
                <p:nvPr/>
              </p:nvSpPr>
              <p:spPr bwMode="gray">
                <a:xfrm rot="5400000">
                  <a:off x="1481883"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44" name="Triangle_4">
                  <a:extLst>
                    <a:ext uri="{FF2B5EF4-FFF2-40B4-BE49-F238E27FC236}">
                      <a16:creationId xmlns:a16="http://schemas.microsoft.com/office/drawing/2014/main" id="{0DD05690-EBDE-DC2E-88E2-760F118B8AE9}"/>
                    </a:ext>
                  </a:extLst>
                </p:cNvPr>
                <p:cNvSpPr>
                  <a:spLocks/>
                </p:cNvSpPr>
                <p:nvPr/>
              </p:nvSpPr>
              <p:spPr bwMode="gray">
                <a:xfrm rot="16200000">
                  <a:off x="1647357" y="217167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67" name="Group 2366">
                <a:extLst>
                  <a:ext uri="{FF2B5EF4-FFF2-40B4-BE49-F238E27FC236}">
                    <a16:creationId xmlns:a16="http://schemas.microsoft.com/office/drawing/2014/main" id="{BCCE8C8B-E505-792E-8DA7-FE31FF87D41A}"/>
                  </a:ext>
                </a:extLst>
              </p:cNvPr>
              <p:cNvGrpSpPr>
                <a:grpSpLocks/>
              </p:cNvGrpSpPr>
              <p:nvPr/>
            </p:nvGrpSpPr>
            <p:grpSpPr bwMode="gray">
              <a:xfrm>
                <a:off x="1786689" y="1840578"/>
                <a:ext cx="217142" cy="217142"/>
                <a:chOff x="1564620" y="2419889"/>
                <a:chExt cx="330948" cy="330948"/>
              </a:xfrm>
              <a:grpFill/>
            </p:grpSpPr>
            <p:sp>
              <p:nvSpPr>
                <p:cNvPr id="2435" name="dfine_grid_single_shape_frame">
                  <a:extLst>
                    <a:ext uri="{FF2B5EF4-FFF2-40B4-BE49-F238E27FC236}">
                      <a16:creationId xmlns:a16="http://schemas.microsoft.com/office/drawing/2014/main" id="{00D30DD8-3CAE-2C24-EF4B-2E22F01155DF}"/>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36" name="Triangle_1">
                  <a:extLst>
                    <a:ext uri="{FF2B5EF4-FFF2-40B4-BE49-F238E27FC236}">
                      <a16:creationId xmlns:a16="http://schemas.microsoft.com/office/drawing/2014/main" id="{3682758C-7704-124B-2C0A-FE9003335BE0}"/>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37" name="Triangle_2">
                  <a:extLst>
                    <a:ext uri="{FF2B5EF4-FFF2-40B4-BE49-F238E27FC236}">
                      <a16:creationId xmlns:a16="http://schemas.microsoft.com/office/drawing/2014/main" id="{C31E0EAA-656D-EA47-1723-94F2DF7A4640}"/>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38" name="Triangle_3">
                  <a:extLst>
                    <a:ext uri="{FF2B5EF4-FFF2-40B4-BE49-F238E27FC236}">
                      <a16:creationId xmlns:a16="http://schemas.microsoft.com/office/drawing/2014/main" id="{9C197331-F138-CF10-9740-C6282F5F9861}"/>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39" name="Triangle_4">
                  <a:extLst>
                    <a:ext uri="{FF2B5EF4-FFF2-40B4-BE49-F238E27FC236}">
                      <a16:creationId xmlns:a16="http://schemas.microsoft.com/office/drawing/2014/main" id="{BC39BB03-9F89-836D-C937-17D95F3435A3}"/>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68" name="Group 2367">
                <a:extLst>
                  <a:ext uri="{FF2B5EF4-FFF2-40B4-BE49-F238E27FC236}">
                    <a16:creationId xmlns:a16="http://schemas.microsoft.com/office/drawing/2014/main" id="{BFDE53F1-2CF0-0C0B-3472-A4F5C5815BB3}"/>
                  </a:ext>
                </a:extLst>
              </p:cNvPr>
              <p:cNvGrpSpPr>
                <a:grpSpLocks/>
              </p:cNvGrpSpPr>
              <p:nvPr/>
            </p:nvGrpSpPr>
            <p:grpSpPr bwMode="gray">
              <a:xfrm>
                <a:off x="1786689" y="2057719"/>
                <a:ext cx="217142" cy="217142"/>
                <a:chOff x="1564620" y="2750836"/>
                <a:chExt cx="330948" cy="330948"/>
              </a:xfrm>
              <a:grpFill/>
            </p:grpSpPr>
            <p:sp>
              <p:nvSpPr>
                <p:cNvPr id="2430" name="dfine_grid_single_shape_frame">
                  <a:extLst>
                    <a:ext uri="{FF2B5EF4-FFF2-40B4-BE49-F238E27FC236}">
                      <a16:creationId xmlns:a16="http://schemas.microsoft.com/office/drawing/2014/main" id="{38416A97-75B2-6932-9C3A-CB16F262EE58}"/>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31" name="Triangle_1">
                  <a:extLst>
                    <a:ext uri="{FF2B5EF4-FFF2-40B4-BE49-F238E27FC236}">
                      <a16:creationId xmlns:a16="http://schemas.microsoft.com/office/drawing/2014/main" id="{D5300EAB-B332-177C-16F9-D361F7B79338}"/>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32" name="Triangle_2">
                  <a:extLst>
                    <a:ext uri="{FF2B5EF4-FFF2-40B4-BE49-F238E27FC236}">
                      <a16:creationId xmlns:a16="http://schemas.microsoft.com/office/drawing/2014/main" id="{6B69B956-462C-99A2-E218-BD284D56B20E}"/>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33" name="Triangle_3">
                  <a:extLst>
                    <a:ext uri="{FF2B5EF4-FFF2-40B4-BE49-F238E27FC236}">
                      <a16:creationId xmlns:a16="http://schemas.microsoft.com/office/drawing/2014/main" id="{B378D04D-705B-E71E-6993-3C069E032517}"/>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34" name="Triangle_4">
                  <a:extLst>
                    <a:ext uri="{FF2B5EF4-FFF2-40B4-BE49-F238E27FC236}">
                      <a16:creationId xmlns:a16="http://schemas.microsoft.com/office/drawing/2014/main" id="{C2602D45-F1DD-7195-A93B-A16F1ADFBF6F}"/>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69" name="Group 2368">
                <a:extLst>
                  <a:ext uri="{FF2B5EF4-FFF2-40B4-BE49-F238E27FC236}">
                    <a16:creationId xmlns:a16="http://schemas.microsoft.com/office/drawing/2014/main" id="{3D8023F9-4629-219F-56C6-2E4DE86B89CB}"/>
                  </a:ext>
                </a:extLst>
              </p:cNvPr>
              <p:cNvGrpSpPr>
                <a:grpSpLocks/>
              </p:cNvGrpSpPr>
              <p:nvPr/>
            </p:nvGrpSpPr>
            <p:grpSpPr bwMode="gray">
              <a:xfrm>
                <a:off x="1786689" y="2274860"/>
                <a:ext cx="217142" cy="217142"/>
                <a:chOff x="1564620" y="3081783"/>
                <a:chExt cx="330948" cy="330948"/>
              </a:xfrm>
              <a:grpFill/>
            </p:grpSpPr>
            <p:sp>
              <p:nvSpPr>
                <p:cNvPr id="2425" name="dfine_grid_single_shape_frame">
                  <a:extLst>
                    <a:ext uri="{FF2B5EF4-FFF2-40B4-BE49-F238E27FC236}">
                      <a16:creationId xmlns:a16="http://schemas.microsoft.com/office/drawing/2014/main" id="{8789528F-5DBE-5942-1DD7-37C76A535BE8}"/>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26" name="Triangle_1">
                  <a:extLst>
                    <a:ext uri="{FF2B5EF4-FFF2-40B4-BE49-F238E27FC236}">
                      <a16:creationId xmlns:a16="http://schemas.microsoft.com/office/drawing/2014/main" id="{9CE291D9-D9CF-E60B-A961-0FF8F1A862BF}"/>
                    </a:ext>
                  </a:extLst>
                </p:cNvPr>
                <p:cNvSpPr>
                  <a:spLocks/>
                </p:cNvSpPr>
                <p:nvPr/>
              </p:nvSpPr>
              <p:spPr bwMode="gray">
                <a:xfrm rot="10800000">
                  <a:off x="1564620"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27" name="Triangle_2">
                  <a:extLst>
                    <a:ext uri="{FF2B5EF4-FFF2-40B4-BE49-F238E27FC236}">
                      <a16:creationId xmlns:a16="http://schemas.microsoft.com/office/drawing/2014/main" id="{5A6942FB-D7CA-28E4-CA0B-B770EEA5BA6E}"/>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28" name="Triangle_3">
                  <a:extLst>
                    <a:ext uri="{FF2B5EF4-FFF2-40B4-BE49-F238E27FC236}">
                      <a16:creationId xmlns:a16="http://schemas.microsoft.com/office/drawing/2014/main" id="{B12449AD-6A03-455C-7215-5B91D3059E26}"/>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29" name="Triangle_4">
                  <a:extLst>
                    <a:ext uri="{FF2B5EF4-FFF2-40B4-BE49-F238E27FC236}">
                      <a16:creationId xmlns:a16="http://schemas.microsoft.com/office/drawing/2014/main" id="{B23A8837-90D9-1BBE-10D0-1018D1C08909}"/>
                    </a:ext>
                  </a:extLst>
                </p:cNvPr>
                <p:cNvSpPr>
                  <a:spLocks/>
                </p:cNvSpPr>
                <p:nvPr/>
              </p:nvSpPr>
              <p:spPr bwMode="gray">
                <a:xfrm rot="16200000">
                  <a:off x="1647357"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70" name="Group 2369">
                <a:extLst>
                  <a:ext uri="{FF2B5EF4-FFF2-40B4-BE49-F238E27FC236}">
                    <a16:creationId xmlns:a16="http://schemas.microsoft.com/office/drawing/2014/main" id="{3D206D29-EA34-3E8F-ED73-DFBF77143518}"/>
                  </a:ext>
                </a:extLst>
              </p:cNvPr>
              <p:cNvGrpSpPr>
                <a:grpSpLocks/>
              </p:cNvGrpSpPr>
              <p:nvPr/>
            </p:nvGrpSpPr>
            <p:grpSpPr bwMode="gray">
              <a:xfrm>
                <a:off x="1786689" y="2492001"/>
                <a:ext cx="217142" cy="217142"/>
                <a:chOff x="1564620" y="3412730"/>
                <a:chExt cx="330948" cy="330948"/>
              </a:xfrm>
              <a:grpFill/>
            </p:grpSpPr>
            <p:sp>
              <p:nvSpPr>
                <p:cNvPr id="2420" name="dfine_grid_single_shape_frame">
                  <a:extLst>
                    <a:ext uri="{FF2B5EF4-FFF2-40B4-BE49-F238E27FC236}">
                      <a16:creationId xmlns:a16="http://schemas.microsoft.com/office/drawing/2014/main" id="{8B8AE9C0-F331-9A3E-A308-ECB2B1A3D093}"/>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21" name="Triangle_1">
                  <a:extLst>
                    <a:ext uri="{FF2B5EF4-FFF2-40B4-BE49-F238E27FC236}">
                      <a16:creationId xmlns:a16="http://schemas.microsoft.com/office/drawing/2014/main" id="{F0A4BB45-95D0-2017-B987-74D211428370}"/>
                    </a:ext>
                  </a:extLst>
                </p:cNvPr>
                <p:cNvSpPr>
                  <a:spLocks/>
                </p:cNvSpPr>
                <p:nvPr/>
              </p:nvSpPr>
              <p:spPr bwMode="gray">
                <a:xfrm rot="10800000">
                  <a:off x="1564620"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22" name="Triangle_2">
                  <a:extLst>
                    <a:ext uri="{FF2B5EF4-FFF2-40B4-BE49-F238E27FC236}">
                      <a16:creationId xmlns:a16="http://schemas.microsoft.com/office/drawing/2014/main" id="{E87E4212-1CA9-618B-D3C0-F9C4CA50DAB5}"/>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23" name="Triangle_3">
                  <a:extLst>
                    <a:ext uri="{FF2B5EF4-FFF2-40B4-BE49-F238E27FC236}">
                      <a16:creationId xmlns:a16="http://schemas.microsoft.com/office/drawing/2014/main" id="{F51D610B-A7A5-45EB-7B6B-4EC0DAABD256}"/>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24" name="Triangle_4">
                  <a:extLst>
                    <a:ext uri="{FF2B5EF4-FFF2-40B4-BE49-F238E27FC236}">
                      <a16:creationId xmlns:a16="http://schemas.microsoft.com/office/drawing/2014/main" id="{DA0F015C-C952-A14B-34F7-01FFE47F4FF8}"/>
                    </a:ext>
                  </a:extLst>
                </p:cNvPr>
                <p:cNvSpPr>
                  <a:spLocks/>
                </p:cNvSpPr>
                <p:nvPr/>
              </p:nvSpPr>
              <p:spPr bwMode="gray">
                <a:xfrm rot="16200000">
                  <a:off x="1647357"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71" name="Group 2370">
                <a:extLst>
                  <a:ext uri="{FF2B5EF4-FFF2-40B4-BE49-F238E27FC236}">
                    <a16:creationId xmlns:a16="http://schemas.microsoft.com/office/drawing/2014/main" id="{7ADAF011-86B2-B0B4-0AF3-E4F25939F554}"/>
                  </a:ext>
                </a:extLst>
              </p:cNvPr>
              <p:cNvGrpSpPr>
                <a:grpSpLocks/>
              </p:cNvGrpSpPr>
              <p:nvPr/>
            </p:nvGrpSpPr>
            <p:grpSpPr bwMode="gray">
              <a:xfrm>
                <a:off x="1786689" y="2709142"/>
                <a:ext cx="217142" cy="217142"/>
                <a:chOff x="1564620" y="3743677"/>
                <a:chExt cx="330948" cy="330948"/>
              </a:xfrm>
              <a:grpFill/>
            </p:grpSpPr>
            <p:sp>
              <p:nvSpPr>
                <p:cNvPr id="2415" name="dfine_grid_single_shape_frame">
                  <a:extLst>
                    <a:ext uri="{FF2B5EF4-FFF2-40B4-BE49-F238E27FC236}">
                      <a16:creationId xmlns:a16="http://schemas.microsoft.com/office/drawing/2014/main" id="{7CC9EEBC-E490-3114-20B4-D855EF3DA78E}"/>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16" name="Triangle_1">
                  <a:extLst>
                    <a:ext uri="{FF2B5EF4-FFF2-40B4-BE49-F238E27FC236}">
                      <a16:creationId xmlns:a16="http://schemas.microsoft.com/office/drawing/2014/main" id="{17BAFC95-BAF4-E89B-D259-D5D939C21A30}"/>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17" name="Triangle_2">
                  <a:extLst>
                    <a:ext uri="{FF2B5EF4-FFF2-40B4-BE49-F238E27FC236}">
                      <a16:creationId xmlns:a16="http://schemas.microsoft.com/office/drawing/2014/main" id="{BB245C51-EC8E-5CCB-6B29-0FB8ECEDF909}"/>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18" name="Triangle_3">
                  <a:extLst>
                    <a:ext uri="{FF2B5EF4-FFF2-40B4-BE49-F238E27FC236}">
                      <a16:creationId xmlns:a16="http://schemas.microsoft.com/office/drawing/2014/main" id="{BD09D593-159B-E153-C856-2B6EF177A362}"/>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19" name="Triangle_4">
                  <a:extLst>
                    <a:ext uri="{FF2B5EF4-FFF2-40B4-BE49-F238E27FC236}">
                      <a16:creationId xmlns:a16="http://schemas.microsoft.com/office/drawing/2014/main" id="{7716F122-0943-E69B-4403-B246FD1F8D7D}"/>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72" name="Group 2371">
                <a:extLst>
                  <a:ext uri="{FF2B5EF4-FFF2-40B4-BE49-F238E27FC236}">
                    <a16:creationId xmlns:a16="http://schemas.microsoft.com/office/drawing/2014/main" id="{2FA90E9C-A87A-AE3A-7341-C43F2A5572B5}"/>
                  </a:ext>
                </a:extLst>
              </p:cNvPr>
              <p:cNvGrpSpPr>
                <a:grpSpLocks/>
              </p:cNvGrpSpPr>
              <p:nvPr/>
            </p:nvGrpSpPr>
            <p:grpSpPr bwMode="gray">
              <a:xfrm>
                <a:off x="1786689" y="2926283"/>
                <a:ext cx="217142" cy="217142"/>
                <a:chOff x="1564620" y="4074624"/>
                <a:chExt cx="330948" cy="330948"/>
              </a:xfrm>
              <a:grpFill/>
            </p:grpSpPr>
            <p:sp>
              <p:nvSpPr>
                <p:cNvPr id="2410" name="dfine_grid_single_shape_frame">
                  <a:extLst>
                    <a:ext uri="{FF2B5EF4-FFF2-40B4-BE49-F238E27FC236}">
                      <a16:creationId xmlns:a16="http://schemas.microsoft.com/office/drawing/2014/main" id="{3E50C4F4-1EF4-60AA-9E95-83497C150420}"/>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11" name="Triangle_1">
                  <a:extLst>
                    <a:ext uri="{FF2B5EF4-FFF2-40B4-BE49-F238E27FC236}">
                      <a16:creationId xmlns:a16="http://schemas.microsoft.com/office/drawing/2014/main" id="{763569D0-7B76-9078-605F-11A4949F1F59}"/>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12" name="Triangle_2">
                  <a:extLst>
                    <a:ext uri="{FF2B5EF4-FFF2-40B4-BE49-F238E27FC236}">
                      <a16:creationId xmlns:a16="http://schemas.microsoft.com/office/drawing/2014/main" id="{55B4AB4A-E34A-C721-EA38-46A3D3228568}"/>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13" name="Triangle_3">
                  <a:extLst>
                    <a:ext uri="{FF2B5EF4-FFF2-40B4-BE49-F238E27FC236}">
                      <a16:creationId xmlns:a16="http://schemas.microsoft.com/office/drawing/2014/main" id="{A5DBFBB8-CE3A-8F05-8ECA-BCDD4C150FA3}"/>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14" name="Triangle_4">
                  <a:extLst>
                    <a:ext uri="{FF2B5EF4-FFF2-40B4-BE49-F238E27FC236}">
                      <a16:creationId xmlns:a16="http://schemas.microsoft.com/office/drawing/2014/main" id="{3AFD93D3-BE58-485E-E59E-501EE332BB62}"/>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73" name="Group 2372">
                <a:extLst>
                  <a:ext uri="{FF2B5EF4-FFF2-40B4-BE49-F238E27FC236}">
                    <a16:creationId xmlns:a16="http://schemas.microsoft.com/office/drawing/2014/main" id="{F857FBFB-F910-4DCD-DC7B-52B3604258D4}"/>
                  </a:ext>
                </a:extLst>
              </p:cNvPr>
              <p:cNvGrpSpPr>
                <a:grpSpLocks/>
              </p:cNvGrpSpPr>
              <p:nvPr/>
            </p:nvGrpSpPr>
            <p:grpSpPr bwMode="gray">
              <a:xfrm>
                <a:off x="1786689" y="3143425"/>
                <a:ext cx="217142" cy="217142"/>
                <a:chOff x="1564620" y="2419889"/>
                <a:chExt cx="330948" cy="330948"/>
              </a:xfrm>
              <a:grpFill/>
            </p:grpSpPr>
            <p:sp>
              <p:nvSpPr>
                <p:cNvPr id="2405" name="dfine_grid_single_shape_frame">
                  <a:extLst>
                    <a:ext uri="{FF2B5EF4-FFF2-40B4-BE49-F238E27FC236}">
                      <a16:creationId xmlns:a16="http://schemas.microsoft.com/office/drawing/2014/main" id="{8786AEC0-4B41-0383-6089-7C0BB1C0D726}"/>
                    </a:ext>
                  </a:extLst>
                </p:cNvPr>
                <p:cNvSpPr>
                  <a:spLocks/>
                </p:cNvSpPr>
                <p:nvPr/>
              </p:nvSpPr>
              <p:spPr bwMode="gray">
                <a:xfrm>
                  <a:off x="1564620" y="2419889"/>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06" name="Triangle_1">
                  <a:extLst>
                    <a:ext uri="{FF2B5EF4-FFF2-40B4-BE49-F238E27FC236}">
                      <a16:creationId xmlns:a16="http://schemas.microsoft.com/office/drawing/2014/main" id="{029AEB9B-849A-8F69-DA15-DF84CC4C48CB}"/>
                    </a:ext>
                  </a:extLst>
                </p:cNvPr>
                <p:cNvSpPr>
                  <a:spLocks/>
                </p:cNvSpPr>
                <p:nvPr/>
              </p:nvSpPr>
              <p:spPr bwMode="gray">
                <a:xfrm rot="10800000">
                  <a:off x="1564620" y="2419889"/>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07" name="Triangle_2">
                  <a:extLst>
                    <a:ext uri="{FF2B5EF4-FFF2-40B4-BE49-F238E27FC236}">
                      <a16:creationId xmlns:a16="http://schemas.microsoft.com/office/drawing/2014/main" id="{7CCD809B-267E-EA01-D1A7-7519653BF7AB}"/>
                    </a:ext>
                  </a:extLst>
                </p:cNvPr>
                <p:cNvSpPr>
                  <a:spLocks/>
                </p:cNvSpPr>
                <p:nvPr/>
              </p:nvSpPr>
              <p:spPr bwMode="gray">
                <a:xfrm>
                  <a:off x="1564620" y="258536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08" name="Triangle_3">
                  <a:extLst>
                    <a:ext uri="{FF2B5EF4-FFF2-40B4-BE49-F238E27FC236}">
                      <a16:creationId xmlns:a16="http://schemas.microsoft.com/office/drawing/2014/main" id="{7618B546-239F-4B37-1BAD-5D4D264D11E4}"/>
                    </a:ext>
                  </a:extLst>
                </p:cNvPr>
                <p:cNvSpPr>
                  <a:spLocks/>
                </p:cNvSpPr>
                <p:nvPr/>
              </p:nvSpPr>
              <p:spPr bwMode="gray">
                <a:xfrm rot="5400000">
                  <a:off x="1481883"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09" name="Triangle_4">
                  <a:extLst>
                    <a:ext uri="{FF2B5EF4-FFF2-40B4-BE49-F238E27FC236}">
                      <a16:creationId xmlns:a16="http://schemas.microsoft.com/office/drawing/2014/main" id="{B16673A3-5BC9-4064-EBCF-690CE957E2BA}"/>
                    </a:ext>
                  </a:extLst>
                </p:cNvPr>
                <p:cNvSpPr>
                  <a:spLocks/>
                </p:cNvSpPr>
                <p:nvPr/>
              </p:nvSpPr>
              <p:spPr bwMode="gray">
                <a:xfrm rot="16200000">
                  <a:off x="1647357" y="250262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74" name="Group 2373">
                <a:extLst>
                  <a:ext uri="{FF2B5EF4-FFF2-40B4-BE49-F238E27FC236}">
                    <a16:creationId xmlns:a16="http://schemas.microsoft.com/office/drawing/2014/main" id="{BE9F8677-661E-D010-D0FD-324E6C22A489}"/>
                  </a:ext>
                </a:extLst>
              </p:cNvPr>
              <p:cNvGrpSpPr>
                <a:grpSpLocks/>
              </p:cNvGrpSpPr>
              <p:nvPr/>
            </p:nvGrpSpPr>
            <p:grpSpPr bwMode="gray">
              <a:xfrm>
                <a:off x="1786689" y="3360566"/>
                <a:ext cx="217142" cy="217142"/>
                <a:chOff x="1564620" y="2750836"/>
                <a:chExt cx="330948" cy="330948"/>
              </a:xfrm>
              <a:grpFill/>
            </p:grpSpPr>
            <p:sp>
              <p:nvSpPr>
                <p:cNvPr id="2400" name="dfine_grid_single_shape_frame">
                  <a:extLst>
                    <a:ext uri="{FF2B5EF4-FFF2-40B4-BE49-F238E27FC236}">
                      <a16:creationId xmlns:a16="http://schemas.microsoft.com/office/drawing/2014/main" id="{B8F85525-399C-CA64-9716-1CA807C01309}"/>
                    </a:ext>
                  </a:extLst>
                </p:cNvPr>
                <p:cNvSpPr>
                  <a:spLocks/>
                </p:cNvSpPr>
                <p:nvPr/>
              </p:nvSpPr>
              <p:spPr bwMode="gray">
                <a:xfrm>
                  <a:off x="1564620" y="2750836"/>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01" name="Triangle_1">
                  <a:extLst>
                    <a:ext uri="{FF2B5EF4-FFF2-40B4-BE49-F238E27FC236}">
                      <a16:creationId xmlns:a16="http://schemas.microsoft.com/office/drawing/2014/main" id="{C73FCDCF-E455-E699-0664-D1E14D8FAA1C}"/>
                    </a:ext>
                  </a:extLst>
                </p:cNvPr>
                <p:cNvSpPr>
                  <a:spLocks/>
                </p:cNvSpPr>
                <p:nvPr/>
              </p:nvSpPr>
              <p:spPr bwMode="gray">
                <a:xfrm rot="10800000">
                  <a:off x="1564620" y="2750836"/>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02" name="Triangle_2">
                  <a:extLst>
                    <a:ext uri="{FF2B5EF4-FFF2-40B4-BE49-F238E27FC236}">
                      <a16:creationId xmlns:a16="http://schemas.microsoft.com/office/drawing/2014/main" id="{72754E01-4EC8-97D3-0BE0-DEE753D625D5}"/>
                    </a:ext>
                  </a:extLst>
                </p:cNvPr>
                <p:cNvSpPr>
                  <a:spLocks/>
                </p:cNvSpPr>
                <p:nvPr/>
              </p:nvSpPr>
              <p:spPr bwMode="gray">
                <a:xfrm>
                  <a:off x="1564620" y="291631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03" name="Triangle_3">
                  <a:extLst>
                    <a:ext uri="{FF2B5EF4-FFF2-40B4-BE49-F238E27FC236}">
                      <a16:creationId xmlns:a16="http://schemas.microsoft.com/office/drawing/2014/main" id="{680D79F4-39CA-97AC-C462-28DB5FEE3FCC}"/>
                    </a:ext>
                  </a:extLst>
                </p:cNvPr>
                <p:cNvSpPr>
                  <a:spLocks/>
                </p:cNvSpPr>
                <p:nvPr/>
              </p:nvSpPr>
              <p:spPr bwMode="gray">
                <a:xfrm rot="5400000">
                  <a:off x="1481883"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404" name="Triangle_4">
                  <a:extLst>
                    <a:ext uri="{FF2B5EF4-FFF2-40B4-BE49-F238E27FC236}">
                      <a16:creationId xmlns:a16="http://schemas.microsoft.com/office/drawing/2014/main" id="{254D5BEC-0EA7-9AC3-E602-01112072E1B2}"/>
                    </a:ext>
                  </a:extLst>
                </p:cNvPr>
                <p:cNvSpPr>
                  <a:spLocks/>
                </p:cNvSpPr>
                <p:nvPr/>
              </p:nvSpPr>
              <p:spPr bwMode="gray">
                <a:xfrm rot="16200000">
                  <a:off x="1647357" y="283357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75" name="Group 2374">
                <a:extLst>
                  <a:ext uri="{FF2B5EF4-FFF2-40B4-BE49-F238E27FC236}">
                    <a16:creationId xmlns:a16="http://schemas.microsoft.com/office/drawing/2014/main" id="{3EAB2837-1004-323A-C976-F8CFBABA5D89}"/>
                  </a:ext>
                </a:extLst>
              </p:cNvPr>
              <p:cNvGrpSpPr>
                <a:grpSpLocks/>
              </p:cNvGrpSpPr>
              <p:nvPr/>
            </p:nvGrpSpPr>
            <p:grpSpPr bwMode="gray">
              <a:xfrm>
                <a:off x="1786689" y="3577707"/>
                <a:ext cx="217142" cy="217142"/>
                <a:chOff x="1564620" y="3081783"/>
                <a:chExt cx="330948" cy="330948"/>
              </a:xfrm>
              <a:grpFill/>
            </p:grpSpPr>
            <p:sp>
              <p:nvSpPr>
                <p:cNvPr id="2395" name="dfine_grid_single_shape_frame">
                  <a:extLst>
                    <a:ext uri="{FF2B5EF4-FFF2-40B4-BE49-F238E27FC236}">
                      <a16:creationId xmlns:a16="http://schemas.microsoft.com/office/drawing/2014/main" id="{34F80E47-1CE7-0481-7DC6-CA5ACCF4B3DD}"/>
                    </a:ext>
                  </a:extLst>
                </p:cNvPr>
                <p:cNvSpPr>
                  <a:spLocks/>
                </p:cNvSpPr>
                <p:nvPr/>
              </p:nvSpPr>
              <p:spPr bwMode="gray">
                <a:xfrm>
                  <a:off x="1564620" y="3081783"/>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96" name="Triangle_1">
                  <a:extLst>
                    <a:ext uri="{FF2B5EF4-FFF2-40B4-BE49-F238E27FC236}">
                      <a16:creationId xmlns:a16="http://schemas.microsoft.com/office/drawing/2014/main" id="{57D07847-2CF8-A11B-9D39-2A995D40DF32}"/>
                    </a:ext>
                  </a:extLst>
                </p:cNvPr>
                <p:cNvSpPr>
                  <a:spLocks/>
                </p:cNvSpPr>
                <p:nvPr/>
              </p:nvSpPr>
              <p:spPr bwMode="gray">
                <a:xfrm rot="10800000">
                  <a:off x="1564620" y="3081783"/>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97" name="Triangle_2">
                  <a:extLst>
                    <a:ext uri="{FF2B5EF4-FFF2-40B4-BE49-F238E27FC236}">
                      <a16:creationId xmlns:a16="http://schemas.microsoft.com/office/drawing/2014/main" id="{1D7AF16B-DC7D-EB67-56B8-6A6C70DC016F}"/>
                    </a:ext>
                  </a:extLst>
                </p:cNvPr>
                <p:cNvSpPr>
                  <a:spLocks/>
                </p:cNvSpPr>
                <p:nvPr/>
              </p:nvSpPr>
              <p:spPr bwMode="gray">
                <a:xfrm>
                  <a:off x="1564620" y="324725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98" name="Triangle_3">
                  <a:extLst>
                    <a:ext uri="{FF2B5EF4-FFF2-40B4-BE49-F238E27FC236}">
                      <a16:creationId xmlns:a16="http://schemas.microsoft.com/office/drawing/2014/main" id="{C5C4669A-3DAA-8B25-17FF-62E95037F797}"/>
                    </a:ext>
                  </a:extLst>
                </p:cNvPr>
                <p:cNvSpPr>
                  <a:spLocks/>
                </p:cNvSpPr>
                <p:nvPr/>
              </p:nvSpPr>
              <p:spPr bwMode="gray">
                <a:xfrm rot="5400000">
                  <a:off x="1481883"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99" name="Triangle_4">
                  <a:extLst>
                    <a:ext uri="{FF2B5EF4-FFF2-40B4-BE49-F238E27FC236}">
                      <a16:creationId xmlns:a16="http://schemas.microsoft.com/office/drawing/2014/main" id="{0C67CD1D-1413-CC08-0127-E5ECC52D97D1}"/>
                    </a:ext>
                  </a:extLst>
                </p:cNvPr>
                <p:cNvSpPr>
                  <a:spLocks/>
                </p:cNvSpPr>
                <p:nvPr/>
              </p:nvSpPr>
              <p:spPr bwMode="gray">
                <a:xfrm rot="16200000">
                  <a:off x="1647357" y="316452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76" name="Group 2375">
                <a:extLst>
                  <a:ext uri="{FF2B5EF4-FFF2-40B4-BE49-F238E27FC236}">
                    <a16:creationId xmlns:a16="http://schemas.microsoft.com/office/drawing/2014/main" id="{5C406101-CF33-D5D9-40A2-1B100076785F}"/>
                  </a:ext>
                </a:extLst>
              </p:cNvPr>
              <p:cNvGrpSpPr>
                <a:grpSpLocks/>
              </p:cNvGrpSpPr>
              <p:nvPr/>
            </p:nvGrpSpPr>
            <p:grpSpPr bwMode="gray">
              <a:xfrm>
                <a:off x="1786689" y="3794848"/>
                <a:ext cx="217142" cy="217142"/>
                <a:chOff x="1564620" y="3412730"/>
                <a:chExt cx="330948" cy="330948"/>
              </a:xfrm>
              <a:grpFill/>
            </p:grpSpPr>
            <p:sp>
              <p:nvSpPr>
                <p:cNvPr id="2390" name="dfine_grid_single_shape_frame">
                  <a:extLst>
                    <a:ext uri="{FF2B5EF4-FFF2-40B4-BE49-F238E27FC236}">
                      <a16:creationId xmlns:a16="http://schemas.microsoft.com/office/drawing/2014/main" id="{67CBBD02-ECC2-9B7D-5339-0B23A2A182C0}"/>
                    </a:ext>
                  </a:extLst>
                </p:cNvPr>
                <p:cNvSpPr>
                  <a:spLocks/>
                </p:cNvSpPr>
                <p:nvPr/>
              </p:nvSpPr>
              <p:spPr bwMode="gray">
                <a:xfrm>
                  <a:off x="1564620" y="3412730"/>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91" name="Triangle_1">
                  <a:extLst>
                    <a:ext uri="{FF2B5EF4-FFF2-40B4-BE49-F238E27FC236}">
                      <a16:creationId xmlns:a16="http://schemas.microsoft.com/office/drawing/2014/main" id="{CE033725-9711-465D-5F20-95D74EBF38BF}"/>
                    </a:ext>
                  </a:extLst>
                </p:cNvPr>
                <p:cNvSpPr>
                  <a:spLocks/>
                </p:cNvSpPr>
                <p:nvPr/>
              </p:nvSpPr>
              <p:spPr bwMode="gray">
                <a:xfrm rot="10800000">
                  <a:off x="1564620" y="3412730"/>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92" name="Triangle_2">
                  <a:extLst>
                    <a:ext uri="{FF2B5EF4-FFF2-40B4-BE49-F238E27FC236}">
                      <a16:creationId xmlns:a16="http://schemas.microsoft.com/office/drawing/2014/main" id="{34EAC0D8-8C1C-3755-83F5-7B18BD42715E}"/>
                    </a:ext>
                  </a:extLst>
                </p:cNvPr>
                <p:cNvSpPr>
                  <a:spLocks/>
                </p:cNvSpPr>
                <p:nvPr/>
              </p:nvSpPr>
              <p:spPr bwMode="gray">
                <a:xfrm>
                  <a:off x="1564620" y="357820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93" name="Triangle_3">
                  <a:extLst>
                    <a:ext uri="{FF2B5EF4-FFF2-40B4-BE49-F238E27FC236}">
                      <a16:creationId xmlns:a16="http://schemas.microsoft.com/office/drawing/2014/main" id="{0640D47C-572B-7D2B-EFA8-F9B7D568A36C}"/>
                    </a:ext>
                  </a:extLst>
                </p:cNvPr>
                <p:cNvSpPr>
                  <a:spLocks/>
                </p:cNvSpPr>
                <p:nvPr/>
              </p:nvSpPr>
              <p:spPr bwMode="gray">
                <a:xfrm rot="5400000">
                  <a:off x="1481883"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94" name="Triangle_4">
                  <a:extLst>
                    <a:ext uri="{FF2B5EF4-FFF2-40B4-BE49-F238E27FC236}">
                      <a16:creationId xmlns:a16="http://schemas.microsoft.com/office/drawing/2014/main" id="{B8F52CA5-0779-DC44-0BF0-E934F98B9B2A}"/>
                    </a:ext>
                  </a:extLst>
                </p:cNvPr>
                <p:cNvSpPr>
                  <a:spLocks/>
                </p:cNvSpPr>
                <p:nvPr/>
              </p:nvSpPr>
              <p:spPr bwMode="gray">
                <a:xfrm rot="16200000">
                  <a:off x="1647357" y="349546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77" name="Group 2376">
                <a:extLst>
                  <a:ext uri="{FF2B5EF4-FFF2-40B4-BE49-F238E27FC236}">
                    <a16:creationId xmlns:a16="http://schemas.microsoft.com/office/drawing/2014/main" id="{960B006F-353A-9085-9763-6F93B443CE76}"/>
                  </a:ext>
                </a:extLst>
              </p:cNvPr>
              <p:cNvGrpSpPr>
                <a:grpSpLocks/>
              </p:cNvGrpSpPr>
              <p:nvPr/>
            </p:nvGrpSpPr>
            <p:grpSpPr bwMode="gray">
              <a:xfrm>
                <a:off x="1786689" y="4011989"/>
                <a:ext cx="217142" cy="217142"/>
                <a:chOff x="1564620" y="3743677"/>
                <a:chExt cx="330948" cy="330948"/>
              </a:xfrm>
              <a:grpFill/>
            </p:grpSpPr>
            <p:sp>
              <p:nvSpPr>
                <p:cNvPr id="2385" name="dfine_grid_single_shape_frame">
                  <a:extLst>
                    <a:ext uri="{FF2B5EF4-FFF2-40B4-BE49-F238E27FC236}">
                      <a16:creationId xmlns:a16="http://schemas.microsoft.com/office/drawing/2014/main" id="{E7F376B8-978F-5A24-E5FA-9FBFDAFAB086}"/>
                    </a:ext>
                  </a:extLst>
                </p:cNvPr>
                <p:cNvSpPr>
                  <a:spLocks/>
                </p:cNvSpPr>
                <p:nvPr/>
              </p:nvSpPr>
              <p:spPr bwMode="gray">
                <a:xfrm>
                  <a:off x="1564620" y="3743677"/>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86" name="Triangle_1">
                  <a:extLst>
                    <a:ext uri="{FF2B5EF4-FFF2-40B4-BE49-F238E27FC236}">
                      <a16:creationId xmlns:a16="http://schemas.microsoft.com/office/drawing/2014/main" id="{3E8D2F58-EEF8-DCAD-03EE-12879D80F6A4}"/>
                    </a:ext>
                  </a:extLst>
                </p:cNvPr>
                <p:cNvSpPr>
                  <a:spLocks/>
                </p:cNvSpPr>
                <p:nvPr/>
              </p:nvSpPr>
              <p:spPr bwMode="gray">
                <a:xfrm rot="10800000">
                  <a:off x="1564620" y="3743677"/>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87" name="Triangle_2">
                  <a:extLst>
                    <a:ext uri="{FF2B5EF4-FFF2-40B4-BE49-F238E27FC236}">
                      <a16:creationId xmlns:a16="http://schemas.microsoft.com/office/drawing/2014/main" id="{8FA25A2A-815F-D176-B377-1F6E48B51356}"/>
                    </a:ext>
                  </a:extLst>
                </p:cNvPr>
                <p:cNvSpPr>
                  <a:spLocks/>
                </p:cNvSpPr>
                <p:nvPr/>
              </p:nvSpPr>
              <p:spPr bwMode="gray">
                <a:xfrm>
                  <a:off x="1564620" y="390915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88" name="Triangle_3">
                  <a:extLst>
                    <a:ext uri="{FF2B5EF4-FFF2-40B4-BE49-F238E27FC236}">
                      <a16:creationId xmlns:a16="http://schemas.microsoft.com/office/drawing/2014/main" id="{EF407AF2-4F13-BBEC-322F-81DF7E489567}"/>
                    </a:ext>
                  </a:extLst>
                </p:cNvPr>
                <p:cNvSpPr>
                  <a:spLocks/>
                </p:cNvSpPr>
                <p:nvPr/>
              </p:nvSpPr>
              <p:spPr bwMode="gray">
                <a:xfrm rot="5400000">
                  <a:off x="1481883"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89" name="Triangle_4">
                  <a:extLst>
                    <a:ext uri="{FF2B5EF4-FFF2-40B4-BE49-F238E27FC236}">
                      <a16:creationId xmlns:a16="http://schemas.microsoft.com/office/drawing/2014/main" id="{8EDE9EAF-14E8-29E1-6ED8-73FBD1D58A52}"/>
                    </a:ext>
                  </a:extLst>
                </p:cNvPr>
                <p:cNvSpPr>
                  <a:spLocks/>
                </p:cNvSpPr>
                <p:nvPr/>
              </p:nvSpPr>
              <p:spPr bwMode="gray">
                <a:xfrm rot="16200000">
                  <a:off x="1647357" y="382641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2378" name="Group 2377">
                <a:extLst>
                  <a:ext uri="{FF2B5EF4-FFF2-40B4-BE49-F238E27FC236}">
                    <a16:creationId xmlns:a16="http://schemas.microsoft.com/office/drawing/2014/main" id="{A77DF34C-6F7A-E697-21DE-6257CBDB9F95}"/>
                  </a:ext>
                </a:extLst>
              </p:cNvPr>
              <p:cNvGrpSpPr>
                <a:grpSpLocks/>
              </p:cNvGrpSpPr>
              <p:nvPr/>
            </p:nvGrpSpPr>
            <p:grpSpPr bwMode="gray">
              <a:xfrm>
                <a:off x="1786689" y="4229130"/>
                <a:ext cx="217142" cy="217142"/>
                <a:chOff x="1564620" y="4074624"/>
                <a:chExt cx="330948" cy="330948"/>
              </a:xfrm>
              <a:grpFill/>
            </p:grpSpPr>
            <p:sp>
              <p:nvSpPr>
                <p:cNvPr id="2380" name="dfine_grid_single_shape_frame">
                  <a:extLst>
                    <a:ext uri="{FF2B5EF4-FFF2-40B4-BE49-F238E27FC236}">
                      <a16:creationId xmlns:a16="http://schemas.microsoft.com/office/drawing/2014/main" id="{821E4992-3DE0-D0FE-6C3F-569A14CCA123}"/>
                    </a:ext>
                  </a:extLst>
                </p:cNvPr>
                <p:cNvSpPr>
                  <a:spLocks/>
                </p:cNvSpPr>
                <p:nvPr/>
              </p:nvSpPr>
              <p:spPr bwMode="gray">
                <a:xfrm>
                  <a:off x="1564620" y="4074624"/>
                  <a:ext cx="330947" cy="33094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81" name="Triangle_1">
                  <a:extLst>
                    <a:ext uri="{FF2B5EF4-FFF2-40B4-BE49-F238E27FC236}">
                      <a16:creationId xmlns:a16="http://schemas.microsoft.com/office/drawing/2014/main" id="{3E9ACAC1-B405-8D2C-EDDD-29F9BC4625C9}"/>
                    </a:ext>
                  </a:extLst>
                </p:cNvPr>
                <p:cNvSpPr>
                  <a:spLocks/>
                </p:cNvSpPr>
                <p:nvPr/>
              </p:nvSpPr>
              <p:spPr bwMode="gray">
                <a:xfrm rot="10800000">
                  <a:off x="1564620" y="4074624"/>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82" name="Triangle_2">
                  <a:extLst>
                    <a:ext uri="{FF2B5EF4-FFF2-40B4-BE49-F238E27FC236}">
                      <a16:creationId xmlns:a16="http://schemas.microsoft.com/office/drawing/2014/main" id="{F3176335-394F-A8B7-1344-419950237D91}"/>
                    </a:ext>
                  </a:extLst>
                </p:cNvPr>
                <p:cNvSpPr>
                  <a:spLocks/>
                </p:cNvSpPr>
                <p:nvPr/>
              </p:nvSpPr>
              <p:spPr bwMode="gray">
                <a:xfrm>
                  <a:off x="1564620" y="4240098"/>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83" name="Triangle_3">
                  <a:extLst>
                    <a:ext uri="{FF2B5EF4-FFF2-40B4-BE49-F238E27FC236}">
                      <a16:creationId xmlns:a16="http://schemas.microsoft.com/office/drawing/2014/main" id="{22C08513-C5FF-4A8D-5034-3B968DB3D7A7}"/>
                    </a:ext>
                  </a:extLst>
                </p:cNvPr>
                <p:cNvSpPr>
                  <a:spLocks/>
                </p:cNvSpPr>
                <p:nvPr/>
              </p:nvSpPr>
              <p:spPr bwMode="gray">
                <a:xfrm rot="5400000">
                  <a:off x="1481883"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384" name="Triangle_4">
                  <a:extLst>
                    <a:ext uri="{FF2B5EF4-FFF2-40B4-BE49-F238E27FC236}">
                      <a16:creationId xmlns:a16="http://schemas.microsoft.com/office/drawing/2014/main" id="{4BDCBDC7-E08F-4078-0858-90A32A5820D5}"/>
                    </a:ext>
                  </a:extLst>
                </p:cNvPr>
                <p:cNvSpPr>
                  <a:spLocks/>
                </p:cNvSpPr>
                <p:nvPr/>
              </p:nvSpPr>
              <p:spPr bwMode="gray">
                <a:xfrm rot="16200000">
                  <a:off x="1647357" y="4157361"/>
                  <a:ext cx="330947"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sp>
            <p:nvSpPr>
              <p:cNvPr id="2379" name="Rectangle 2378">
                <a:extLst>
                  <a:ext uri="{FF2B5EF4-FFF2-40B4-BE49-F238E27FC236}">
                    <a16:creationId xmlns:a16="http://schemas.microsoft.com/office/drawing/2014/main" id="{F7455E26-77EA-FF29-3E17-BE2EF241D3FD}"/>
                  </a:ext>
                </a:extLst>
              </p:cNvPr>
              <p:cNvSpPr>
                <a:spLocks/>
              </p:cNvSpPr>
              <p:nvPr/>
            </p:nvSpPr>
            <p:spPr bwMode="gray">
              <a:xfrm>
                <a:off x="1109744" y="1585436"/>
                <a:ext cx="1291037" cy="290847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sp>
          <p:nvSpPr>
            <p:cNvPr id="1529" name="Rectangle 1528">
              <a:extLst>
                <a:ext uri="{FF2B5EF4-FFF2-40B4-BE49-F238E27FC236}">
                  <a16:creationId xmlns:a16="http://schemas.microsoft.com/office/drawing/2014/main" id="{A2471517-B91A-D905-AE1E-B86AA2EB121D}"/>
                </a:ext>
              </a:extLst>
            </p:cNvPr>
            <p:cNvSpPr/>
            <p:nvPr>
              <p:custDataLst>
                <p:tags r:id="rId12"/>
              </p:custDataLst>
            </p:nvPr>
          </p:nvSpPr>
          <p:spPr bwMode="gray">
            <a:xfrm>
              <a:off x="2422850" y="1660550"/>
              <a:ext cx="1628843" cy="2908473"/>
            </a:xfrm>
            <a:prstGeom prst="rect">
              <a:avLst/>
            </a:prstGeom>
            <a:gradFill flip="none" rotWithShape="1">
              <a:gsLst>
                <a:gs pos="0">
                  <a:schemeClr val="bg1">
                    <a:alpha val="0"/>
                  </a:schemeClr>
                </a:gs>
                <a:gs pos="63300">
                  <a:schemeClr val="bg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nvGrpSpPr>
            <p:cNvPr id="1530" name="Group 1529">
              <a:extLst>
                <a:ext uri="{FF2B5EF4-FFF2-40B4-BE49-F238E27FC236}">
                  <a16:creationId xmlns:a16="http://schemas.microsoft.com/office/drawing/2014/main" id="{BA3C642E-21E2-5A65-9803-CFBEDF01F9BF}"/>
                </a:ext>
              </a:extLst>
            </p:cNvPr>
            <p:cNvGrpSpPr/>
            <p:nvPr/>
          </p:nvGrpSpPr>
          <p:grpSpPr>
            <a:xfrm>
              <a:off x="266400" y="1698551"/>
              <a:ext cx="1737431" cy="2822844"/>
              <a:chOff x="266400" y="1698551"/>
              <a:chExt cx="1737431" cy="2822844"/>
            </a:xfrm>
          </p:grpSpPr>
          <p:sp>
            <p:nvSpPr>
              <p:cNvPr id="1531" name="Rectangle 1530">
                <a:extLst>
                  <a:ext uri="{FF2B5EF4-FFF2-40B4-BE49-F238E27FC236}">
                    <a16:creationId xmlns:a16="http://schemas.microsoft.com/office/drawing/2014/main" id="{50DC736E-1D4C-B8AB-F600-C63BF29A8A80}"/>
                  </a:ext>
                </a:extLst>
              </p:cNvPr>
              <p:cNvSpPr/>
              <p:nvPr/>
            </p:nvSpPr>
            <p:spPr bwMode="gray">
              <a:xfrm>
                <a:off x="266400" y="2727799"/>
                <a:ext cx="1088117" cy="225961"/>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grpSp>
            <p:nvGrpSpPr>
              <p:cNvPr id="1532" name="Group 1531">
                <a:extLst>
                  <a:ext uri="{FF2B5EF4-FFF2-40B4-BE49-F238E27FC236}">
                    <a16:creationId xmlns:a16="http://schemas.microsoft.com/office/drawing/2014/main" id="{7BDF4716-8844-BC63-21EE-E02913F26CFB}"/>
                  </a:ext>
                </a:extLst>
              </p:cNvPr>
              <p:cNvGrpSpPr/>
              <p:nvPr/>
            </p:nvGrpSpPr>
            <p:grpSpPr bwMode="gray">
              <a:xfrm>
                <a:off x="700982" y="1698551"/>
                <a:ext cx="217142" cy="217142"/>
                <a:chOff x="902726" y="2088942"/>
                <a:chExt cx="330948" cy="330948"/>
              </a:xfrm>
              <a:solidFill>
                <a:schemeClr val="bg1"/>
              </a:solidFill>
            </p:grpSpPr>
            <p:sp>
              <p:nvSpPr>
                <p:cNvPr id="2243" name="dfine_grid_single_shape_frame">
                  <a:extLst>
                    <a:ext uri="{FF2B5EF4-FFF2-40B4-BE49-F238E27FC236}">
                      <a16:creationId xmlns:a16="http://schemas.microsoft.com/office/drawing/2014/main" id="{55537E32-3080-9B15-0C69-2AF28C2B349A}"/>
                    </a:ext>
                  </a:extLst>
                </p:cNvPr>
                <p:cNvSpPr/>
                <p:nvPr>
                  <p:custDataLst>
                    <p:tags r:id="rId26"/>
                  </p:custDataLst>
                </p:nvPr>
              </p:nvSpPr>
              <p:spPr bwMode="gray">
                <a:xfrm>
                  <a:off x="902726" y="2088942"/>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44" name="Triangle_1">
                  <a:extLst>
                    <a:ext uri="{FF2B5EF4-FFF2-40B4-BE49-F238E27FC236}">
                      <a16:creationId xmlns:a16="http://schemas.microsoft.com/office/drawing/2014/main" id="{9411EAC1-5E33-21D3-0C56-801C3E1DDA4D}"/>
                    </a:ext>
                  </a:extLst>
                </p:cNvPr>
                <p:cNvSpPr/>
                <p:nvPr/>
              </p:nvSpPr>
              <p:spPr bwMode="gray">
                <a:xfrm rot="10800000">
                  <a:off x="902726" y="2088942"/>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45" name="Triangle_2">
                  <a:extLst>
                    <a:ext uri="{FF2B5EF4-FFF2-40B4-BE49-F238E27FC236}">
                      <a16:creationId xmlns:a16="http://schemas.microsoft.com/office/drawing/2014/main" id="{1DD70809-A9ED-FF7D-B499-C692E334F561}"/>
                    </a:ext>
                  </a:extLst>
                </p:cNvPr>
                <p:cNvSpPr/>
                <p:nvPr/>
              </p:nvSpPr>
              <p:spPr bwMode="gray">
                <a:xfrm>
                  <a:off x="902726" y="2254416"/>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46" name="Triangle_3">
                  <a:extLst>
                    <a:ext uri="{FF2B5EF4-FFF2-40B4-BE49-F238E27FC236}">
                      <a16:creationId xmlns:a16="http://schemas.microsoft.com/office/drawing/2014/main" id="{C64B185A-0BDD-825B-2247-EF36DEA7FFD1}"/>
                    </a:ext>
                  </a:extLst>
                </p:cNvPr>
                <p:cNvSpPr/>
                <p:nvPr/>
              </p:nvSpPr>
              <p:spPr bwMode="gray">
                <a:xfrm rot="5400000">
                  <a:off x="819990" y="217168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47" name="Triangle_4">
                  <a:extLst>
                    <a:ext uri="{FF2B5EF4-FFF2-40B4-BE49-F238E27FC236}">
                      <a16:creationId xmlns:a16="http://schemas.microsoft.com/office/drawing/2014/main" id="{75E47B16-60A2-491B-30CE-7DD23E68DF51}"/>
                    </a:ext>
                  </a:extLst>
                </p:cNvPr>
                <p:cNvSpPr/>
                <p:nvPr/>
              </p:nvSpPr>
              <p:spPr bwMode="gray">
                <a:xfrm rot="16200000">
                  <a:off x="985464" y="217168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33" name="Group 1532">
                <a:extLst>
                  <a:ext uri="{FF2B5EF4-FFF2-40B4-BE49-F238E27FC236}">
                    <a16:creationId xmlns:a16="http://schemas.microsoft.com/office/drawing/2014/main" id="{4BE581E3-66B3-D5D7-E259-EB890FCE19FC}"/>
                  </a:ext>
                </a:extLst>
              </p:cNvPr>
              <p:cNvGrpSpPr/>
              <p:nvPr/>
            </p:nvGrpSpPr>
            <p:grpSpPr bwMode="gray">
              <a:xfrm>
                <a:off x="700982" y="1915692"/>
                <a:ext cx="217142" cy="217142"/>
                <a:chOff x="902726" y="2419889"/>
                <a:chExt cx="330948" cy="330948"/>
              </a:xfrm>
              <a:solidFill>
                <a:schemeClr val="bg1"/>
              </a:solidFill>
            </p:grpSpPr>
            <p:sp>
              <p:nvSpPr>
                <p:cNvPr id="2238" name="dfine_grid_single_shape_frame">
                  <a:extLst>
                    <a:ext uri="{FF2B5EF4-FFF2-40B4-BE49-F238E27FC236}">
                      <a16:creationId xmlns:a16="http://schemas.microsoft.com/office/drawing/2014/main" id="{1A569118-5FCF-C634-89D6-9D188D5FB2A7}"/>
                    </a:ext>
                  </a:extLst>
                </p:cNvPr>
                <p:cNvSpPr/>
                <p:nvPr/>
              </p:nvSpPr>
              <p:spPr bwMode="gray">
                <a:xfrm>
                  <a:off x="902726" y="2419889"/>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39" name="Triangle_1">
                  <a:extLst>
                    <a:ext uri="{FF2B5EF4-FFF2-40B4-BE49-F238E27FC236}">
                      <a16:creationId xmlns:a16="http://schemas.microsoft.com/office/drawing/2014/main" id="{2911F5C9-8E49-CAC9-82A4-74C75E0913F1}"/>
                    </a:ext>
                  </a:extLst>
                </p:cNvPr>
                <p:cNvSpPr/>
                <p:nvPr/>
              </p:nvSpPr>
              <p:spPr bwMode="gray">
                <a:xfrm rot="10800000">
                  <a:off x="902726" y="2419889"/>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40" name="Triangle_2">
                  <a:extLst>
                    <a:ext uri="{FF2B5EF4-FFF2-40B4-BE49-F238E27FC236}">
                      <a16:creationId xmlns:a16="http://schemas.microsoft.com/office/drawing/2014/main" id="{870CF3DC-C1AA-9B9F-72C9-B7836EFE9862}"/>
                    </a:ext>
                  </a:extLst>
                </p:cNvPr>
                <p:cNvSpPr/>
                <p:nvPr/>
              </p:nvSpPr>
              <p:spPr bwMode="gray">
                <a:xfrm>
                  <a:off x="902726" y="2585363"/>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41" name="Triangle_3">
                  <a:extLst>
                    <a:ext uri="{FF2B5EF4-FFF2-40B4-BE49-F238E27FC236}">
                      <a16:creationId xmlns:a16="http://schemas.microsoft.com/office/drawing/2014/main" id="{60B0C19A-78D6-F2F8-8FBB-404C692D49AE}"/>
                    </a:ext>
                  </a:extLst>
                </p:cNvPr>
                <p:cNvSpPr/>
                <p:nvPr/>
              </p:nvSpPr>
              <p:spPr bwMode="gray">
                <a:xfrm rot="5400000">
                  <a:off x="819990" y="250262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42" name="Triangle_4">
                  <a:extLst>
                    <a:ext uri="{FF2B5EF4-FFF2-40B4-BE49-F238E27FC236}">
                      <a16:creationId xmlns:a16="http://schemas.microsoft.com/office/drawing/2014/main" id="{CB2D1243-FD73-A562-C57E-0813A0B9E4E6}"/>
                    </a:ext>
                  </a:extLst>
                </p:cNvPr>
                <p:cNvSpPr/>
                <p:nvPr/>
              </p:nvSpPr>
              <p:spPr bwMode="gray">
                <a:xfrm rot="16200000">
                  <a:off x="985464" y="250262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34" name="Group 1533">
                <a:extLst>
                  <a:ext uri="{FF2B5EF4-FFF2-40B4-BE49-F238E27FC236}">
                    <a16:creationId xmlns:a16="http://schemas.microsoft.com/office/drawing/2014/main" id="{E4F1A6F3-8593-5D46-D19B-E5B985098C0C}"/>
                  </a:ext>
                </a:extLst>
              </p:cNvPr>
              <p:cNvGrpSpPr/>
              <p:nvPr/>
            </p:nvGrpSpPr>
            <p:grpSpPr bwMode="gray">
              <a:xfrm>
                <a:off x="700982" y="2132833"/>
                <a:ext cx="217142" cy="217142"/>
                <a:chOff x="902726" y="2750836"/>
                <a:chExt cx="330948" cy="330948"/>
              </a:xfrm>
              <a:solidFill>
                <a:schemeClr val="bg1"/>
              </a:solidFill>
            </p:grpSpPr>
            <p:sp>
              <p:nvSpPr>
                <p:cNvPr id="2233" name="dfine_grid_single_shape_frame">
                  <a:extLst>
                    <a:ext uri="{FF2B5EF4-FFF2-40B4-BE49-F238E27FC236}">
                      <a16:creationId xmlns:a16="http://schemas.microsoft.com/office/drawing/2014/main" id="{469A427C-C21A-5FEA-1B94-E2526E7C2FEB}"/>
                    </a:ext>
                  </a:extLst>
                </p:cNvPr>
                <p:cNvSpPr/>
                <p:nvPr/>
              </p:nvSpPr>
              <p:spPr bwMode="gray">
                <a:xfrm>
                  <a:off x="902726" y="2750836"/>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34" name="Triangle_1">
                  <a:extLst>
                    <a:ext uri="{FF2B5EF4-FFF2-40B4-BE49-F238E27FC236}">
                      <a16:creationId xmlns:a16="http://schemas.microsoft.com/office/drawing/2014/main" id="{4BDAA3B4-0A6A-6E31-F09C-FAE9931771CE}"/>
                    </a:ext>
                  </a:extLst>
                </p:cNvPr>
                <p:cNvSpPr/>
                <p:nvPr/>
              </p:nvSpPr>
              <p:spPr bwMode="gray">
                <a:xfrm rot="10800000">
                  <a:off x="902726" y="2750836"/>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35" name="Triangle_2">
                  <a:extLst>
                    <a:ext uri="{FF2B5EF4-FFF2-40B4-BE49-F238E27FC236}">
                      <a16:creationId xmlns:a16="http://schemas.microsoft.com/office/drawing/2014/main" id="{4DBA7CCE-D420-CA8E-F39A-F7C10BEAFD9F}"/>
                    </a:ext>
                  </a:extLst>
                </p:cNvPr>
                <p:cNvSpPr/>
                <p:nvPr/>
              </p:nvSpPr>
              <p:spPr bwMode="gray">
                <a:xfrm>
                  <a:off x="902726" y="291631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36" name="Triangle_3">
                  <a:extLst>
                    <a:ext uri="{FF2B5EF4-FFF2-40B4-BE49-F238E27FC236}">
                      <a16:creationId xmlns:a16="http://schemas.microsoft.com/office/drawing/2014/main" id="{6F45454C-DCA0-26C5-F7A3-25A6DAFB1020}"/>
                    </a:ext>
                  </a:extLst>
                </p:cNvPr>
                <p:cNvSpPr/>
                <p:nvPr/>
              </p:nvSpPr>
              <p:spPr bwMode="gray">
                <a:xfrm rot="5400000">
                  <a:off x="819990" y="283357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37" name="Triangle_4">
                  <a:extLst>
                    <a:ext uri="{FF2B5EF4-FFF2-40B4-BE49-F238E27FC236}">
                      <a16:creationId xmlns:a16="http://schemas.microsoft.com/office/drawing/2014/main" id="{AB0EE1EE-BAFA-406C-5057-E8DDBD30B9A9}"/>
                    </a:ext>
                  </a:extLst>
                </p:cNvPr>
                <p:cNvSpPr/>
                <p:nvPr/>
              </p:nvSpPr>
              <p:spPr bwMode="gray">
                <a:xfrm rot="16200000">
                  <a:off x="985464" y="283357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35" name="Group 1534">
                <a:extLst>
                  <a:ext uri="{FF2B5EF4-FFF2-40B4-BE49-F238E27FC236}">
                    <a16:creationId xmlns:a16="http://schemas.microsoft.com/office/drawing/2014/main" id="{F84240B8-D741-4058-CF9E-AF385FE57E68}"/>
                  </a:ext>
                </a:extLst>
              </p:cNvPr>
              <p:cNvGrpSpPr/>
              <p:nvPr/>
            </p:nvGrpSpPr>
            <p:grpSpPr bwMode="gray">
              <a:xfrm>
                <a:off x="700982" y="2349974"/>
                <a:ext cx="217142" cy="217142"/>
                <a:chOff x="902726" y="3081783"/>
                <a:chExt cx="330948" cy="330948"/>
              </a:xfrm>
              <a:solidFill>
                <a:schemeClr val="bg1"/>
              </a:solidFill>
            </p:grpSpPr>
            <p:sp>
              <p:nvSpPr>
                <p:cNvPr id="2228" name="dfine_grid_single_shape_frame">
                  <a:extLst>
                    <a:ext uri="{FF2B5EF4-FFF2-40B4-BE49-F238E27FC236}">
                      <a16:creationId xmlns:a16="http://schemas.microsoft.com/office/drawing/2014/main" id="{ABB7A783-84D4-68D6-1BF1-E434F12F30F1}"/>
                    </a:ext>
                  </a:extLst>
                </p:cNvPr>
                <p:cNvSpPr/>
                <p:nvPr/>
              </p:nvSpPr>
              <p:spPr bwMode="gray">
                <a:xfrm>
                  <a:off x="902726" y="3081783"/>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29" name="Triangle_1">
                  <a:extLst>
                    <a:ext uri="{FF2B5EF4-FFF2-40B4-BE49-F238E27FC236}">
                      <a16:creationId xmlns:a16="http://schemas.microsoft.com/office/drawing/2014/main" id="{73E9CE25-9BAA-EF65-57C6-A2FB29A0996D}"/>
                    </a:ext>
                  </a:extLst>
                </p:cNvPr>
                <p:cNvSpPr/>
                <p:nvPr/>
              </p:nvSpPr>
              <p:spPr bwMode="gray">
                <a:xfrm rot="10800000">
                  <a:off x="902726" y="3081783"/>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30" name="Triangle_2">
                  <a:extLst>
                    <a:ext uri="{FF2B5EF4-FFF2-40B4-BE49-F238E27FC236}">
                      <a16:creationId xmlns:a16="http://schemas.microsoft.com/office/drawing/2014/main" id="{107E5CF2-C0D8-7FD6-3C58-D713811B4071}"/>
                    </a:ext>
                  </a:extLst>
                </p:cNvPr>
                <p:cNvSpPr/>
                <p:nvPr/>
              </p:nvSpPr>
              <p:spPr bwMode="gray">
                <a:xfrm>
                  <a:off x="902726" y="324725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31" name="Triangle_3">
                  <a:extLst>
                    <a:ext uri="{FF2B5EF4-FFF2-40B4-BE49-F238E27FC236}">
                      <a16:creationId xmlns:a16="http://schemas.microsoft.com/office/drawing/2014/main" id="{D607905B-D641-4961-6C48-94C2DD72E9A0}"/>
                    </a:ext>
                  </a:extLst>
                </p:cNvPr>
                <p:cNvSpPr/>
                <p:nvPr/>
              </p:nvSpPr>
              <p:spPr bwMode="gray">
                <a:xfrm rot="5400000">
                  <a:off x="819990" y="316452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32" name="Triangle_4">
                  <a:extLst>
                    <a:ext uri="{FF2B5EF4-FFF2-40B4-BE49-F238E27FC236}">
                      <a16:creationId xmlns:a16="http://schemas.microsoft.com/office/drawing/2014/main" id="{7332C840-5F15-1DC9-4900-F356A9247CEF}"/>
                    </a:ext>
                  </a:extLst>
                </p:cNvPr>
                <p:cNvSpPr/>
                <p:nvPr/>
              </p:nvSpPr>
              <p:spPr bwMode="gray">
                <a:xfrm rot="16200000">
                  <a:off x="985464" y="316452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36" name="Group 1535">
                <a:extLst>
                  <a:ext uri="{FF2B5EF4-FFF2-40B4-BE49-F238E27FC236}">
                    <a16:creationId xmlns:a16="http://schemas.microsoft.com/office/drawing/2014/main" id="{30FA61B8-FF1D-0F9F-2E72-FBCCB1965C4C}"/>
                  </a:ext>
                </a:extLst>
              </p:cNvPr>
              <p:cNvGrpSpPr/>
              <p:nvPr/>
            </p:nvGrpSpPr>
            <p:grpSpPr bwMode="gray">
              <a:xfrm>
                <a:off x="700982" y="2567115"/>
                <a:ext cx="217142" cy="217142"/>
                <a:chOff x="902726" y="3412730"/>
                <a:chExt cx="330948" cy="330948"/>
              </a:xfrm>
              <a:solidFill>
                <a:schemeClr val="bg1"/>
              </a:solidFill>
            </p:grpSpPr>
            <p:sp>
              <p:nvSpPr>
                <p:cNvPr id="2223" name="dfine_grid_single_shape_frame">
                  <a:extLst>
                    <a:ext uri="{FF2B5EF4-FFF2-40B4-BE49-F238E27FC236}">
                      <a16:creationId xmlns:a16="http://schemas.microsoft.com/office/drawing/2014/main" id="{6B927CA8-29AD-F49C-4E25-3423AF7BE3C3}"/>
                    </a:ext>
                  </a:extLst>
                </p:cNvPr>
                <p:cNvSpPr/>
                <p:nvPr/>
              </p:nvSpPr>
              <p:spPr bwMode="gray">
                <a:xfrm>
                  <a:off x="902726" y="3412730"/>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24" name="Triangle_1">
                  <a:extLst>
                    <a:ext uri="{FF2B5EF4-FFF2-40B4-BE49-F238E27FC236}">
                      <a16:creationId xmlns:a16="http://schemas.microsoft.com/office/drawing/2014/main" id="{5BC67BC3-01FA-05E0-A869-D57FA32D51E6}"/>
                    </a:ext>
                  </a:extLst>
                </p:cNvPr>
                <p:cNvSpPr/>
                <p:nvPr/>
              </p:nvSpPr>
              <p:spPr bwMode="gray">
                <a:xfrm rot="10800000">
                  <a:off x="902726" y="341273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25" name="Triangle_2">
                  <a:extLst>
                    <a:ext uri="{FF2B5EF4-FFF2-40B4-BE49-F238E27FC236}">
                      <a16:creationId xmlns:a16="http://schemas.microsoft.com/office/drawing/2014/main" id="{219185DE-FB75-F82A-151A-BA007CE870D7}"/>
                    </a:ext>
                  </a:extLst>
                </p:cNvPr>
                <p:cNvSpPr/>
                <p:nvPr/>
              </p:nvSpPr>
              <p:spPr bwMode="gray">
                <a:xfrm>
                  <a:off x="902726" y="357820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26" name="Triangle_3">
                  <a:extLst>
                    <a:ext uri="{FF2B5EF4-FFF2-40B4-BE49-F238E27FC236}">
                      <a16:creationId xmlns:a16="http://schemas.microsoft.com/office/drawing/2014/main" id="{23690480-F539-4122-11C7-F228EC9ECBB2}"/>
                    </a:ext>
                  </a:extLst>
                </p:cNvPr>
                <p:cNvSpPr/>
                <p:nvPr/>
              </p:nvSpPr>
              <p:spPr bwMode="gray">
                <a:xfrm rot="5400000">
                  <a:off x="819990" y="3495468"/>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27" name="Triangle_4">
                  <a:extLst>
                    <a:ext uri="{FF2B5EF4-FFF2-40B4-BE49-F238E27FC236}">
                      <a16:creationId xmlns:a16="http://schemas.microsoft.com/office/drawing/2014/main" id="{24489B3B-7628-9177-AAE4-169AB7F67990}"/>
                    </a:ext>
                  </a:extLst>
                </p:cNvPr>
                <p:cNvSpPr/>
                <p:nvPr/>
              </p:nvSpPr>
              <p:spPr bwMode="gray">
                <a:xfrm rot="16200000">
                  <a:off x="985464" y="3495468"/>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37" name="Group 1536">
                <a:extLst>
                  <a:ext uri="{FF2B5EF4-FFF2-40B4-BE49-F238E27FC236}">
                    <a16:creationId xmlns:a16="http://schemas.microsoft.com/office/drawing/2014/main" id="{6A990352-E855-FF44-84AA-9DC666D10C75}"/>
                  </a:ext>
                </a:extLst>
              </p:cNvPr>
              <p:cNvGrpSpPr/>
              <p:nvPr/>
            </p:nvGrpSpPr>
            <p:grpSpPr bwMode="gray">
              <a:xfrm>
                <a:off x="700982" y="2784256"/>
                <a:ext cx="217142" cy="217142"/>
                <a:chOff x="902726" y="3743677"/>
                <a:chExt cx="330948" cy="330948"/>
              </a:xfrm>
              <a:solidFill>
                <a:schemeClr val="bg1"/>
              </a:solidFill>
            </p:grpSpPr>
            <p:sp>
              <p:nvSpPr>
                <p:cNvPr id="2218" name="dfine_grid_single_shape_frame">
                  <a:extLst>
                    <a:ext uri="{FF2B5EF4-FFF2-40B4-BE49-F238E27FC236}">
                      <a16:creationId xmlns:a16="http://schemas.microsoft.com/office/drawing/2014/main" id="{8EAC0420-BDFF-A52A-B046-45B968C40520}"/>
                    </a:ext>
                  </a:extLst>
                </p:cNvPr>
                <p:cNvSpPr/>
                <p:nvPr/>
              </p:nvSpPr>
              <p:spPr bwMode="gray">
                <a:xfrm>
                  <a:off x="902726" y="3743677"/>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19" name="Triangle_1">
                  <a:extLst>
                    <a:ext uri="{FF2B5EF4-FFF2-40B4-BE49-F238E27FC236}">
                      <a16:creationId xmlns:a16="http://schemas.microsoft.com/office/drawing/2014/main" id="{7A8C76C2-2B10-E3A4-043E-512008722F12}"/>
                    </a:ext>
                  </a:extLst>
                </p:cNvPr>
                <p:cNvSpPr/>
                <p:nvPr/>
              </p:nvSpPr>
              <p:spPr bwMode="gray">
                <a:xfrm rot="10800000">
                  <a:off x="902726" y="374367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20" name="Triangle_2">
                  <a:extLst>
                    <a:ext uri="{FF2B5EF4-FFF2-40B4-BE49-F238E27FC236}">
                      <a16:creationId xmlns:a16="http://schemas.microsoft.com/office/drawing/2014/main" id="{31560D4A-7B74-F761-7258-0248056C3F6C}"/>
                    </a:ext>
                  </a:extLst>
                </p:cNvPr>
                <p:cNvSpPr/>
                <p:nvPr/>
              </p:nvSpPr>
              <p:spPr bwMode="gray">
                <a:xfrm>
                  <a:off x="902726" y="390915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21" name="Triangle_3">
                  <a:extLst>
                    <a:ext uri="{FF2B5EF4-FFF2-40B4-BE49-F238E27FC236}">
                      <a16:creationId xmlns:a16="http://schemas.microsoft.com/office/drawing/2014/main" id="{28888D0C-A19B-D091-6304-A49F513FD4E3}"/>
                    </a:ext>
                  </a:extLst>
                </p:cNvPr>
                <p:cNvSpPr/>
                <p:nvPr/>
              </p:nvSpPr>
              <p:spPr bwMode="gray">
                <a:xfrm rot="5400000">
                  <a:off x="819990" y="3826415"/>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22" name="Triangle_4">
                  <a:extLst>
                    <a:ext uri="{FF2B5EF4-FFF2-40B4-BE49-F238E27FC236}">
                      <a16:creationId xmlns:a16="http://schemas.microsoft.com/office/drawing/2014/main" id="{74C375DB-ECB2-5CBF-224B-F290B5FEAC55}"/>
                    </a:ext>
                  </a:extLst>
                </p:cNvPr>
                <p:cNvSpPr/>
                <p:nvPr/>
              </p:nvSpPr>
              <p:spPr bwMode="gray">
                <a:xfrm rot="16200000">
                  <a:off x="985464" y="3826415"/>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38" name="Group 1537">
                <a:extLst>
                  <a:ext uri="{FF2B5EF4-FFF2-40B4-BE49-F238E27FC236}">
                    <a16:creationId xmlns:a16="http://schemas.microsoft.com/office/drawing/2014/main" id="{28CCD316-74EA-4530-C66E-270C71F81552}"/>
                  </a:ext>
                </a:extLst>
              </p:cNvPr>
              <p:cNvGrpSpPr/>
              <p:nvPr/>
            </p:nvGrpSpPr>
            <p:grpSpPr bwMode="gray">
              <a:xfrm>
                <a:off x="700982" y="3001397"/>
                <a:ext cx="217142" cy="217142"/>
                <a:chOff x="902726" y="4074624"/>
                <a:chExt cx="330948" cy="330948"/>
              </a:xfrm>
              <a:solidFill>
                <a:schemeClr val="bg1"/>
              </a:solidFill>
            </p:grpSpPr>
            <p:sp>
              <p:nvSpPr>
                <p:cNvPr id="2213" name="dfine_grid_single_shape_frame">
                  <a:extLst>
                    <a:ext uri="{FF2B5EF4-FFF2-40B4-BE49-F238E27FC236}">
                      <a16:creationId xmlns:a16="http://schemas.microsoft.com/office/drawing/2014/main" id="{46DA8EC8-5936-09FA-B3DE-73A5AD357440}"/>
                    </a:ext>
                  </a:extLst>
                </p:cNvPr>
                <p:cNvSpPr/>
                <p:nvPr/>
              </p:nvSpPr>
              <p:spPr bwMode="gray">
                <a:xfrm>
                  <a:off x="902726" y="4074624"/>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14" name="Triangle_1">
                  <a:extLst>
                    <a:ext uri="{FF2B5EF4-FFF2-40B4-BE49-F238E27FC236}">
                      <a16:creationId xmlns:a16="http://schemas.microsoft.com/office/drawing/2014/main" id="{44F7E5B2-91A4-47F0-200F-6EB41D09C9DA}"/>
                    </a:ext>
                  </a:extLst>
                </p:cNvPr>
                <p:cNvSpPr/>
                <p:nvPr/>
              </p:nvSpPr>
              <p:spPr bwMode="gray">
                <a:xfrm rot="10800000">
                  <a:off x="902726" y="407462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15" name="Triangle_2">
                  <a:extLst>
                    <a:ext uri="{FF2B5EF4-FFF2-40B4-BE49-F238E27FC236}">
                      <a16:creationId xmlns:a16="http://schemas.microsoft.com/office/drawing/2014/main" id="{2AC98EE2-2609-0AD3-0C86-684CDD20DF3A}"/>
                    </a:ext>
                  </a:extLst>
                </p:cNvPr>
                <p:cNvSpPr/>
                <p:nvPr/>
              </p:nvSpPr>
              <p:spPr bwMode="gray">
                <a:xfrm>
                  <a:off x="902726" y="4240098"/>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16" name="Triangle_3">
                  <a:extLst>
                    <a:ext uri="{FF2B5EF4-FFF2-40B4-BE49-F238E27FC236}">
                      <a16:creationId xmlns:a16="http://schemas.microsoft.com/office/drawing/2014/main" id="{1435F702-7B04-EE48-30D4-AE527792084D}"/>
                    </a:ext>
                  </a:extLst>
                </p:cNvPr>
                <p:cNvSpPr/>
                <p:nvPr/>
              </p:nvSpPr>
              <p:spPr bwMode="gray">
                <a:xfrm rot="5400000">
                  <a:off x="819990" y="4157362"/>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17" name="Triangle_4">
                  <a:extLst>
                    <a:ext uri="{FF2B5EF4-FFF2-40B4-BE49-F238E27FC236}">
                      <a16:creationId xmlns:a16="http://schemas.microsoft.com/office/drawing/2014/main" id="{D14FB8AF-5CE6-D834-BE0E-1258E16560DF}"/>
                    </a:ext>
                  </a:extLst>
                </p:cNvPr>
                <p:cNvSpPr/>
                <p:nvPr/>
              </p:nvSpPr>
              <p:spPr bwMode="gray">
                <a:xfrm rot="16200000">
                  <a:off x="985464" y="4157362"/>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39" name="Group 1538">
                <a:extLst>
                  <a:ext uri="{FF2B5EF4-FFF2-40B4-BE49-F238E27FC236}">
                    <a16:creationId xmlns:a16="http://schemas.microsoft.com/office/drawing/2014/main" id="{476F7023-77DE-D5CD-4B85-074A5E43969B}"/>
                  </a:ext>
                </a:extLst>
              </p:cNvPr>
              <p:cNvGrpSpPr/>
              <p:nvPr/>
            </p:nvGrpSpPr>
            <p:grpSpPr bwMode="gray">
              <a:xfrm>
                <a:off x="918123" y="1698551"/>
                <a:ext cx="217142" cy="217142"/>
                <a:chOff x="1233673" y="2088942"/>
                <a:chExt cx="330948" cy="330948"/>
              </a:xfrm>
              <a:solidFill>
                <a:schemeClr val="bg1"/>
              </a:solidFill>
            </p:grpSpPr>
            <p:sp>
              <p:nvSpPr>
                <p:cNvPr id="2208" name="dfine_grid_single_shape_frame">
                  <a:extLst>
                    <a:ext uri="{FF2B5EF4-FFF2-40B4-BE49-F238E27FC236}">
                      <a16:creationId xmlns:a16="http://schemas.microsoft.com/office/drawing/2014/main" id="{3752DE9A-F8E1-79BC-7153-755F79065838}"/>
                    </a:ext>
                  </a:extLst>
                </p:cNvPr>
                <p:cNvSpPr/>
                <p:nvPr/>
              </p:nvSpPr>
              <p:spPr bwMode="gray">
                <a:xfrm>
                  <a:off x="1233673" y="2088942"/>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09" name="Triangle_1">
                  <a:extLst>
                    <a:ext uri="{FF2B5EF4-FFF2-40B4-BE49-F238E27FC236}">
                      <a16:creationId xmlns:a16="http://schemas.microsoft.com/office/drawing/2014/main" id="{41830DE6-B682-AC3F-D4C6-A6656684F1D2}"/>
                    </a:ext>
                  </a:extLst>
                </p:cNvPr>
                <p:cNvSpPr/>
                <p:nvPr/>
              </p:nvSpPr>
              <p:spPr bwMode="gray">
                <a:xfrm rot="10800000">
                  <a:off x="1233673" y="2088942"/>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2210" name="Triangle_2">
                  <a:extLst>
                    <a:ext uri="{FF2B5EF4-FFF2-40B4-BE49-F238E27FC236}">
                      <a16:creationId xmlns:a16="http://schemas.microsoft.com/office/drawing/2014/main" id="{0CE79BF7-AD7D-DA61-0C13-7C6C453602E1}"/>
                    </a:ext>
                  </a:extLst>
                </p:cNvPr>
                <p:cNvSpPr/>
                <p:nvPr/>
              </p:nvSpPr>
              <p:spPr bwMode="gray">
                <a:xfrm>
                  <a:off x="1233673" y="2254416"/>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2211" name="Triangle_3">
                  <a:extLst>
                    <a:ext uri="{FF2B5EF4-FFF2-40B4-BE49-F238E27FC236}">
                      <a16:creationId xmlns:a16="http://schemas.microsoft.com/office/drawing/2014/main" id="{FA71BB01-E3F0-0E1D-6EA6-E272216C506C}"/>
                    </a:ext>
                  </a:extLst>
                </p:cNvPr>
                <p:cNvSpPr/>
                <p:nvPr/>
              </p:nvSpPr>
              <p:spPr bwMode="gray">
                <a:xfrm rot="5400000">
                  <a:off x="1150937" y="217168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12" name="Triangle_4">
                  <a:extLst>
                    <a:ext uri="{FF2B5EF4-FFF2-40B4-BE49-F238E27FC236}">
                      <a16:creationId xmlns:a16="http://schemas.microsoft.com/office/drawing/2014/main" id="{DE49127B-D67A-DC6F-1200-67268558EB85}"/>
                    </a:ext>
                  </a:extLst>
                </p:cNvPr>
                <p:cNvSpPr/>
                <p:nvPr/>
              </p:nvSpPr>
              <p:spPr bwMode="gray">
                <a:xfrm rot="16200000">
                  <a:off x="1316411" y="217168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grpSp>
          <p:grpSp>
            <p:nvGrpSpPr>
              <p:cNvPr id="1540" name="Group 1539">
                <a:extLst>
                  <a:ext uri="{FF2B5EF4-FFF2-40B4-BE49-F238E27FC236}">
                    <a16:creationId xmlns:a16="http://schemas.microsoft.com/office/drawing/2014/main" id="{60847A58-265A-97FE-C43E-4ACC5BD363AB}"/>
                  </a:ext>
                </a:extLst>
              </p:cNvPr>
              <p:cNvGrpSpPr/>
              <p:nvPr/>
            </p:nvGrpSpPr>
            <p:grpSpPr bwMode="gray">
              <a:xfrm>
                <a:off x="918123" y="1915692"/>
                <a:ext cx="217142" cy="217142"/>
                <a:chOff x="1233673" y="2419889"/>
                <a:chExt cx="330948" cy="330948"/>
              </a:xfrm>
              <a:solidFill>
                <a:schemeClr val="bg1"/>
              </a:solidFill>
            </p:grpSpPr>
            <p:sp>
              <p:nvSpPr>
                <p:cNvPr id="2203" name="dfine_grid_single_shape_frame">
                  <a:extLst>
                    <a:ext uri="{FF2B5EF4-FFF2-40B4-BE49-F238E27FC236}">
                      <a16:creationId xmlns:a16="http://schemas.microsoft.com/office/drawing/2014/main" id="{8586AABA-1FA2-0F15-2909-34D285A7BD54}"/>
                    </a:ext>
                  </a:extLst>
                </p:cNvPr>
                <p:cNvSpPr/>
                <p:nvPr/>
              </p:nvSpPr>
              <p:spPr bwMode="gray">
                <a:xfrm>
                  <a:off x="1233673" y="2419889"/>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04" name="Triangle_1">
                  <a:extLst>
                    <a:ext uri="{FF2B5EF4-FFF2-40B4-BE49-F238E27FC236}">
                      <a16:creationId xmlns:a16="http://schemas.microsoft.com/office/drawing/2014/main" id="{B85D9616-0AEE-F75D-8595-BDE3A9939F3D}"/>
                    </a:ext>
                  </a:extLst>
                </p:cNvPr>
                <p:cNvSpPr/>
                <p:nvPr/>
              </p:nvSpPr>
              <p:spPr bwMode="gray">
                <a:xfrm rot="10800000">
                  <a:off x="1233673" y="2419889"/>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2205" name="Triangle_2">
                  <a:extLst>
                    <a:ext uri="{FF2B5EF4-FFF2-40B4-BE49-F238E27FC236}">
                      <a16:creationId xmlns:a16="http://schemas.microsoft.com/office/drawing/2014/main" id="{C8EAA252-A40D-1A8F-C8EB-6A414D3BFAEB}"/>
                    </a:ext>
                  </a:extLst>
                </p:cNvPr>
                <p:cNvSpPr/>
                <p:nvPr/>
              </p:nvSpPr>
              <p:spPr bwMode="gray">
                <a:xfrm>
                  <a:off x="1233673" y="2585363"/>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06" name="Triangle_3">
                  <a:extLst>
                    <a:ext uri="{FF2B5EF4-FFF2-40B4-BE49-F238E27FC236}">
                      <a16:creationId xmlns:a16="http://schemas.microsoft.com/office/drawing/2014/main" id="{927A6DA0-DAA0-7ED5-59C2-6C854C6993C3}"/>
                    </a:ext>
                  </a:extLst>
                </p:cNvPr>
                <p:cNvSpPr/>
                <p:nvPr/>
              </p:nvSpPr>
              <p:spPr bwMode="gray">
                <a:xfrm rot="5400000">
                  <a:off x="1150937" y="250262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2207" name="Triangle_4">
                  <a:extLst>
                    <a:ext uri="{FF2B5EF4-FFF2-40B4-BE49-F238E27FC236}">
                      <a16:creationId xmlns:a16="http://schemas.microsoft.com/office/drawing/2014/main" id="{E6C5099A-9532-6DA0-CE8F-68666DFC091A}"/>
                    </a:ext>
                  </a:extLst>
                </p:cNvPr>
                <p:cNvSpPr/>
                <p:nvPr/>
              </p:nvSpPr>
              <p:spPr bwMode="gray">
                <a:xfrm rot="16200000">
                  <a:off x="1316411" y="250262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41" name="Group 1540">
                <a:extLst>
                  <a:ext uri="{FF2B5EF4-FFF2-40B4-BE49-F238E27FC236}">
                    <a16:creationId xmlns:a16="http://schemas.microsoft.com/office/drawing/2014/main" id="{5CF046D9-9956-BB7B-43BE-CD5B4EBDE752}"/>
                  </a:ext>
                </a:extLst>
              </p:cNvPr>
              <p:cNvGrpSpPr/>
              <p:nvPr/>
            </p:nvGrpSpPr>
            <p:grpSpPr bwMode="gray">
              <a:xfrm>
                <a:off x="918123" y="2132833"/>
                <a:ext cx="217142" cy="217142"/>
                <a:chOff x="1233673" y="2750836"/>
                <a:chExt cx="330948" cy="330948"/>
              </a:xfrm>
              <a:solidFill>
                <a:schemeClr val="bg1"/>
              </a:solidFill>
            </p:grpSpPr>
            <p:sp>
              <p:nvSpPr>
                <p:cNvPr id="2198" name="dfine_grid_single_shape_frame">
                  <a:extLst>
                    <a:ext uri="{FF2B5EF4-FFF2-40B4-BE49-F238E27FC236}">
                      <a16:creationId xmlns:a16="http://schemas.microsoft.com/office/drawing/2014/main" id="{E4581C4F-7D13-CDC5-C32A-67682E491647}"/>
                    </a:ext>
                  </a:extLst>
                </p:cNvPr>
                <p:cNvSpPr/>
                <p:nvPr/>
              </p:nvSpPr>
              <p:spPr bwMode="gray">
                <a:xfrm>
                  <a:off x="1233673" y="2750836"/>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99" name="Triangle_1">
                  <a:extLst>
                    <a:ext uri="{FF2B5EF4-FFF2-40B4-BE49-F238E27FC236}">
                      <a16:creationId xmlns:a16="http://schemas.microsoft.com/office/drawing/2014/main" id="{13EFDDFA-4A6E-ABD5-0C80-76CA128527F8}"/>
                    </a:ext>
                  </a:extLst>
                </p:cNvPr>
                <p:cNvSpPr/>
                <p:nvPr/>
              </p:nvSpPr>
              <p:spPr bwMode="gray">
                <a:xfrm rot="10800000">
                  <a:off x="1233673" y="2750836"/>
                  <a:ext cx="330946"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00" name="Triangle_2">
                  <a:extLst>
                    <a:ext uri="{FF2B5EF4-FFF2-40B4-BE49-F238E27FC236}">
                      <a16:creationId xmlns:a16="http://schemas.microsoft.com/office/drawing/2014/main" id="{F6217F37-BC56-E4C3-D656-AAF2A7F62882}"/>
                    </a:ext>
                  </a:extLst>
                </p:cNvPr>
                <p:cNvSpPr/>
                <p:nvPr/>
              </p:nvSpPr>
              <p:spPr bwMode="gray">
                <a:xfrm>
                  <a:off x="1233673" y="291631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01" name="Triangle_3">
                  <a:extLst>
                    <a:ext uri="{FF2B5EF4-FFF2-40B4-BE49-F238E27FC236}">
                      <a16:creationId xmlns:a16="http://schemas.microsoft.com/office/drawing/2014/main" id="{232AE406-E691-06BE-B5D2-8BBBDD95BCE4}"/>
                    </a:ext>
                  </a:extLst>
                </p:cNvPr>
                <p:cNvSpPr/>
                <p:nvPr/>
              </p:nvSpPr>
              <p:spPr bwMode="gray">
                <a:xfrm rot="5400000">
                  <a:off x="1150937" y="283357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202" name="Triangle_4">
                  <a:extLst>
                    <a:ext uri="{FF2B5EF4-FFF2-40B4-BE49-F238E27FC236}">
                      <a16:creationId xmlns:a16="http://schemas.microsoft.com/office/drawing/2014/main" id="{06257250-1CC0-DD04-91B7-BD8CD4E11DB0}"/>
                    </a:ext>
                  </a:extLst>
                </p:cNvPr>
                <p:cNvSpPr/>
                <p:nvPr/>
              </p:nvSpPr>
              <p:spPr bwMode="gray">
                <a:xfrm rot="16200000">
                  <a:off x="1316411" y="283357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42" name="Group 1541">
                <a:extLst>
                  <a:ext uri="{FF2B5EF4-FFF2-40B4-BE49-F238E27FC236}">
                    <a16:creationId xmlns:a16="http://schemas.microsoft.com/office/drawing/2014/main" id="{FD45DAEF-B8BE-2327-1DBD-3B261603D4F5}"/>
                  </a:ext>
                </a:extLst>
              </p:cNvPr>
              <p:cNvGrpSpPr/>
              <p:nvPr/>
            </p:nvGrpSpPr>
            <p:grpSpPr bwMode="gray">
              <a:xfrm>
                <a:off x="918123" y="2349974"/>
                <a:ext cx="217142" cy="217142"/>
                <a:chOff x="1233673" y="3081783"/>
                <a:chExt cx="330948" cy="330948"/>
              </a:xfrm>
              <a:solidFill>
                <a:schemeClr val="bg1"/>
              </a:solidFill>
            </p:grpSpPr>
            <p:sp>
              <p:nvSpPr>
                <p:cNvPr id="2193" name="dfine_grid_single_shape_frame">
                  <a:extLst>
                    <a:ext uri="{FF2B5EF4-FFF2-40B4-BE49-F238E27FC236}">
                      <a16:creationId xmlns:a16="http://schemas.microsoft.com/office/drawing/2014/main" id="{D0A88FD4-037C-D968-9C0A-6AF75CBB6DFF}"/>
                    </a:ext>
                  </a:extLst>
                </p:cNvPr>
                <p:cNvSpPr/>
                <p:nvPr/>
              </p:nvSpPr>
              <p:spPr bwMode="gray">
                <a:xfrm>
                  <a:off x="1233673" y="3081783"/>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94" name="Triangle_1">
                  <a:extLst>
                    <a:ext uri="{FF2B5EF4-FFF2-40B4-BE49-F238E27FC236}">
                      <a16:creationId xmlns:a16="http://schemas.microsoft.com/office/drawing/2014/main" id="{B761FD6C-BEF3-4866-4C91-436B7D3C3618}"/>
                    </a:ext>
                  </a:extLst>
                </p:cNvPr>
                <p:cNvSpPr/>
                <p:nvPr/>
              </p:nvSpPr>
              <p:spPr bwMode="gray">
                <a:xfrm rot="10800000">
                  <a:off x="1233673" y="3081783"/>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95" name="Triangle_2">
                  <a:extLst>
                    <a:ext uri="{FF2B5EF4-FFF2-40B4-BE49-F238E27FC236}">
                      <a16:creationId xmlns:a16="http://schemas.microsoft.com/office/drawing/2014/main" id="{2F456723-5091-8A7A-A38D-3A105BFF63E4}"/>
                    </a:ext>
                  </a:extLst>
                </p:cNvPr>
                <p:cNvSpPr/>
                <p:nvPr/>
              </p:nvSpPr>
              <p:spPr bwMode="gray">
                <a:xfrm>
                  <a:off x="1233673" y="324725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96" name="Triangle_3">
                  <a:extLst>
                    <a:ext uri="{FF2B5EF4-FFF2-40B4-BE49-F238E27FC236}">
                      <a16:creationId xmlns:a16="http://schemas.microsoft.com/office/drawing/2014/main" id="{421A3A60-E83B-7255-DD52-85B8715871E1}"/>
                    </a:ext>
                  </a:extLst>
                </p:cNvPr>
                <p:cNvSpPr/>
                <p:nvPr/>
              </p:nvSpPr>
              <p:spPr bwMode="gray">
                <a:xfrm rot="5400000">
                  <a:off x="1150937" y="316452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97" name="Triangle_4">
                  <a:extLst>
                    <a:ext uri="{FF2B5EF4-FFF2-40B4-BE49-F238E27FC236}">
                      <a16:creationId xmlns:a16="http://schemas.microsoft.com/office/drawing/2014/main" id="{2E86021C-75DE-35EE-06D4-17A4067638A4}"/>
                    </a:ext>
                  </a:extLst>
                </p:cNvPr>
                <p:cNvSpPr/>
                <p:nvPr/>
              </p:nvSpPr>
              <p:spPr bwMode="gray">
                <a:xfrm rot="16200000">
                  <a:off x="1316411" y="316452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43" name="Group 1542">
                <a:extLst>
                  <a:ext uri="{FF2B5EF4-FFF2-40B4-BE49-F238E27FC236}">
                    <a16:creationId xmlns:a16="http://schemas.microsoft.com/office/drawing/2014/main" id="{F6D105CB-F136-3643-4828-48D592BC6F18}"/>
                  </a:ext>
                </a:extLst>
              </p:cNvPr>
              <p:cNvGrpSpPr/>
              <p:nvPr/>
            </p:nvGrpSpPr>
            <p:grpSpPr bwMode="gray">
              <a:xfrm>
                <a:off x="918123" y="2567115"/>
                <a:ext cx="217142" cy="217142"/>
                <a:chOff x="1233673" y="3412730"/>
                <a:chExt cx="330948" cy="330948"/>
              </a:xfrm>
              <a:solidFill>
                <a:schemeClr val="bg1"/>
              </a:solidFill>
            </p:grpSpPr>
            <p:sp>
              <p:nvSpPr>
                <p:cNvPr id="2188" name="dfine_grid_single_shape_frame">
                  <a:extLst>
                    <a:ext uri="{FF2B5EF4-FFF2-40B4-BE49-F238E27FC236}">
                      <a16:creationId xmlns:a16="http://schemas.microsoft.com/office/drawing/2014/main" id="{5ABB19CA-1523-1DFA-A523-60381BF227B2}"/>
                    </a:ext>
                  </a:extLst>
                </p:cNvPr>
                <p:cNvSpPr/>
                <p:nvPr/>
              </p:nvSpPr>
              <p:spPr bwMode="gray">
                <a:xfrm>
                  <a:off x="1233673" y="3412730"/>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89" name="Triangle_1">
                  <a:extLst>
                    <a:ext uri="{FF2B5EF4-FFF2-40B4-BE49-F238E27FC236}">
                      <a16:creationId xmlns:a16="http://schemas.microsoft.com/office/drawing/2014/main" id="{389E6997-6610-115C-B622-65B89E81E4CB}"/>
                    </a:ext>
                  </a:extLst>
                </p:cNvPr>
                <p:cNvSpPr/>
                <p:nvPr/>
              </p:nvSpPr>
              <p:spPr bwMode="gray">
                <a:xfrm rot="10800000">
                  <a:off x="1233673" y="341273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90" name="Triangle_2">
                  <a:extLst>
                    <a:ext uri="{FF2B5EF4-FFF2-40B4-BE49-F238E27FC236}">
                      <a16:creationId xmlns:a16="http://schemas.microsoft.com/office/drawing/2014/main" id="{9665F3CD-CA51-CBA1-8AE1-65B9F43F8CC3}"/>
                    </a:ext>
                  </a:extLst>
                </p:cNvPr>
                <p:cNvSpPr/>
                <p:nvPr/>
              </p:nvSpPr>
              <p:spPr bwMode="gray">
                <a:xfrm>
                  <a:off x="1233673" y="357820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91" name="Triangle_3">
                  <a:extLst>
                    <a:ext uri="{FF2B5EF4-FFF2-40B4-BE49-F238E27FC236}">
                      <a16:creationId xmlns:a16="http://schemas.microsoft.com/office/drawing/2014/main" id="{C2FEA392-E93F-0556-835E-91BE563FFC3C}"/>
                    </a:ext>
                  </a:extLst>
                </p:cNvPr>
                <p:cNvSpPr/>
                <p:nvPr/>
              </p:nvSpPr>
              <p:spPr bwMode="gray">
                <a:xfrm rot="5400000">
                  <a:off x="1150937" y="3495468"/>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92" name="Triangle_4">
                  <a:extLst>
                    <a:ext uri="{FF2B5EF4-FFF2-40B4-BE49-F238E27FC236}">
                      <a16:creationId xmlns:a16="http://schemas.microsoft.com/office/drawing/2014/main" id="{4CE5C4AE-539D-A0A8-7FC3-9A9CAE51091E}"/>
                    </a:ext>
                  </a:extLst>
                </p:cNvPr>
                <p:cNvSpPr/>
                <p:nvPr/>
              </p:nvSpPr>
              <p:spPr bwMode="gray">
                <a:xfrm rot="16200000">
                  <a:off x="1316411" y="3495468"/>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44" name="Group 1543">
                <a:extLst>
                  <a:ext uri="{FF2B5EF4-FFF2-40B4-BE49-F238E27FC236}">
                    <a16:creationId xmlns:a16="http://schemas.microsoft.com/office/drawing/2014/main" id="{330E9B69-C323-3982-9B64-1AEC82B19848}"/>
                  </a:ext>
                </a:extLst>
              </p:cNvPr>
              <p:cNvGrpSpPr/>
              <p:nvPr/>
            </p:nvGrpSpPr>
            <p:grpSpPr bwMode="gray">
              <a:xfrm>
                <a:off x="918123" y="2784256"/>
                <a:ext cx="217142" cy="217142"/>
                <a:chOff x="1233673" y="3743677"/>
                <a:chExt cx="330948" cy="330948"/>
              </a:xfrm>
              <a:solidFill>
                <a:schemeClr val="bg1"/>
              </a:solidFill>
            </p:grpSpPr>
            <p:sp>
              <p:nvSpPr>
                <p:cNvPr id="2183" name="dfine_grid_single_shape_frame">
                  <a:extLst>
                    <a:ext uri="{FF2B5EF4-FFF2-40B4-BE49-F238E27FC236}">
                      <a16:creationId xmlns:a16="http://schemas.microsoft.com/office/drawing/2014/main" id="{BC309257-5EA7-7902-A76D-B3337DA42194}"/>
                    </a:ext>
                  </a:extLst>
                </p:cNvPr>
                <p:cNvSpPr/>
                <p:nvPr/>
              </p:nvSpPr>
              <p:spPr bwMode="gray">
                <a:xfrm>
                  <a:off x="1233673" y="3743677"/>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84" name="Triangle_1">
                  <a:extLst>
                    <a:ext uri="{FF2B5EF4-FFF2-40B4-BE49-F238E27FC236}">
                      <a16:creationId xmlns:a16="http://schemas.microsoft.com/office/drawing/2014/main" id="{BBF7D242-A1EA-AFD9-F098-EB290AD273F4}"/>
                    </a:ext>
                  </a:extLst>
                </p:cNvPr>
                <p:cNvSpPr/>
                <p:nvPr/>
              </p:nvSpPr>
              <p:spPr bwMode="gray">
                <a:xfrm rot="10800000">
                  <a:off x="1233673" y="374367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85" name="Triangle_2">
                  <a:extLst>
                    <a:ext uri="{FF2B5EF4-FFF2-40B4-BE49-F238E27FC236}">
                      <a16:creationId xmlns:a16="http://schemas.microsoft.com/office/drawing/2014/main" id="{62E4845E-7705-2926-52F7-8A7D3300B529}"/>
                    </a:ext>
                  </a:extLst>
                </p:cNvPr>
                <p:cNvSpPr/>
                <p:nvPr/>
              </p:nvSpPr>
              <p:spPr bwMode="gray">
                <a:xfrm>
                  <a:off x="1233673" y="390915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2186" name="Triangle_3">
                  <a:extLst>
                    <a:ext uri="{FF2B5EF4-FFF2-40B4-BE49-F238E27FC236}">
                      <a16:creationId xmlns:a16="http://schemas.microsoft.com/office/drawing/2014/main" id="{A78F16EB-BFB8-C149-21AE-195E5D56364B}"/>
                    </a:ext>
                  </a:extLst>
                </p:cNvPr>
                <p:cNvSpPr/>
                <p:nvPr/>
              </p:nvSpPr>
              <p:spPr bwMode="gray">
                <a:xfrm rot="5400000">
                  <a:off x="1150937" y="3826415"/>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2187" name="Triangle_4">
                  <a:extLst>
                    <a:ext uri="{FF2B5EF4-FFF2-40B4-BE49-F238E27FC236}">
                      <a16:creationId xmlns:a16="http://schemas.microsoft.com/office/drawing/2014/main" id="{84B38A20-310A-12C8-765F-B39025875D4E}"/>
                    </a:ext>
                  </a:extLst>
                </p:cNvPr>
                <p:cNvSpPr/>
                <p:nvPr/>
              </p:nvSpPr>
              <p:spPr bwMode="gray">
                <a:xfrm rot="16200000">
                  <a:off x="1316411" y="3826415"/>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45" name="Group 1544">
                <a:extLst>
                  <a:ext uri="{FF2B5EF4-FFF2-40B4-BE49-F238E27FC236}">
                    <a16:creationId xmlns:a16="http://schemas.microsoft.com/office/drawing/2014/main" id="{B04BA5B5-3F4D-977C-4FB4-2A5D138203A3}"/>
                  </a:ext>
                </a:extLst>
              </p:cNvPr>
              <p:cNvGrpSpPr/>
              <p:nvPr/>
            </p:nvGrpSpPr>
            <p:grpSpPr bwMode="gray">
              <a:xfrm>
                <a:off x="918123" y="3001397"/>
                <a:ext cx="217142" cy="217142"/>
                <a:chOff x="1233673" y="4074624"/>
                <a:chExt cx="330948" cy="330948"/>
              </a:xfrm>
              <a:solidFill>
                <a:schemeClr val="bg1"/>
              </a:solidFill>
            </p:grpSpPr>
            <p:sp>
              <p:nvSpPr>
                <p:cNvPr id="2178" name="dfine_grid_single_shape_frame">
                  <a:extLst>
                    <a:ext uri="{FF2B5EF4-FFF2-40B4-BE49-F238E27FC236}">
                      <a16:creationId xmlns:a16="http://schemas.microsoft.com/office/drawing/2014/main" id="{27F74B2A-96BE-CA13-153E-A3B21931F47D}"/>
                    </a:ext>
                  </a:extLst>
                </p:cNvPr>
                <p:cNvSpPr/>
                <p:nvPr/>
              </p:nvSpPr>
              <p:spPr bwMode="gray">
                <a:xfrm>
                  <a:off x="1233673" y="4074624"/>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79" name="Triangle_1">
                  <a:extLst>
                    <a:ext uri="{FF2B5EF4-FFF2-40B4-BE49-F238E27FC236}">
                      <a16:creationId xmlns:a16="http://schemas.microsoft.com/office/drawing/2014/main" id="{E05006BC-5ED8-2CE0-CE5A-546AB5D122F2}"/>
                    </a:ext>
                  </a:extLst>
                </p:cNvPr>
                <p:cNvSpPr/>
                <p:nvPr/>
              </p:nvSpPr>
              <p:spPr bwMode="gray">
                <a:xfrm rot="10800000">
                  <a:off x="1233673" y="407462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2180" name="Triangle_2">
                  <a:extLst>
                    <a:ext uri="{FF2B5EF4-FFF2-40B4-BE49-F238E27FC236}">
                      <a16:creationId xmlns:a16="http://schemas.microsoft.com/office/drawing/2014/main" id="{854B5E12-9A94-BD89-B41C-730029DC0A68}"/>
                    </a:ext>
                  </a:extLst>
                </p:cNvPr>
                <p:cNvSpPr/>
                <p:nvPr/>
              </p:nvSpPr>
              <p:spPr bwMode="gray">
                <a:xfrm>
                  <a:off x="1233673" y="4240098"/>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2181" name="Triangle_3">
                  <a:extLst>
                    <a:ext uri="{FF2B5EF4-FFF2-40B4-BE49-F238E27FC236}">
                      <a16:creationId xmlns:a16="http://schemas.microsoft.com/office/drawing/2014/main" id="{A1A0552C-8D1E-80A5-21A0-723583B28782}"/>
                    </a:ext>
                  </a:extLst>
                </p:cNvPr>
                <p:cNvSpPr/>
                <p:nvPr/>
              </p:nvSpPr>
              <p:spPr bwMode="gray">
                <a:xfrm rot="5400000">
                  <a:off x="1150937" y="4157362"/>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82" name="Triangle_4">
                  <a:extLst>
                    <a:ext uri="{FF2B5EF4-FFF2-40B4-BE49-F238E27FC236}">
                      <a16:creationId xmlns:a16="http://schemas.microsoft.com/office/drawing/2014/main" id="{8588C7BC-0FBB-D8DC-ABDD-240F1697BC80}"/>
                    </a:ext>
                  </a:extLst>
                </p:cNvPr>
                <p:cNvSpPr/>
                <p:nvPr/>
              </p:nvSpPr>
              <p:spPr bwMode="gray">
                <a:xfrm rot="16200000">
                  <a:off x="1316411" y="4157362"/>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grpSp>
          <p:grpSp>
            <p:nvGrpSpPr>
              <p:cNvPr id="1546" name="Group 1545">
                <a:extLst>
                  <a:ext uri="{FF2B5EF4-FFF2-40B4-BE49-F238E27FC236}">
                    <a16:creationId xmlns:a16="http://schemas.microsoft.com/office/drawing/2014/main" id="{78942EA5-09B4-C1F7-877D-D1D243424971}"/>
                  </a:ext>
                </a:extLst>
              </p:cNvPr>
              <p:cNvGrpSpPr/>
              <p:nvPr/>
            </p:nvGrpSpPr>
            <p:grpSpPr bwMode="gray">
              <a:xfrm>
                <a:off x="700982" y="2567115"/>
                <a:ext cx="217142" cy="217142"/>
                <a:chOff x="902726" y="3412730"/>
                <a:chExt cx="330948" cy="330948"/>
              </a:xfrm>
              <a:solidFill>
                <a:schemeClr val="bg1"/>
              </a:solidFill>
            </p:grpSpPr>
            <p:sp>
              <p:nvSpPr>
                <p:cNvPr id="2173" name="dfine_grid_single_shape_frame">
                  <a:extLst>
                    <a:ext uri="{FF2B5EF4-FFF2-40B4-BE49-F238E27FC236}">
                      <a16:creationId xmlns:a16="http://schemas.microsoft.com/office/drawing/2014/main" id="{CC416020-B0F0-8E57-9A7F-5644AEB8EFD4}"/>
                    </a:ext>
                  </a:extLst>
                </p:cNvPr>
                <p:cNvSpPr/>
                <p:nvPr/>
              </p:nvSpPr>
              <p:spPr bwMode="gray">
                <a:xfrm>
                  <a:off x="902726" y="3412730"/>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74" name="Triangle_1">
                  <a:extLst>
                    <a:ext uri="{FF2B5EF4-FFF2-40B4-BE49-F238E27FC236}">
                      <a16:creationId xmlns:a16="http://schemas.microsoft.com/office/drawing/2014/main" id="{98B03B49-349A-87C9-4CA3-DD05FF0EA05D}"/>
                    </a:ext>
                  </a:extLst>
                </p:cNvPr>
                <p:cNvSpPr/>
                <p:nvPr/>
              </p:nvSpPr>
              <p:spPr bwMode="gray">
                <a:xfrm rot="10800000">
                  <a:off x="902726" y="341273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75" name="Triangle_2">
                  <a:extLst>
                    <a:ext uri="{FF2B5EF4-FFF2-40B4-BE49-F238E27FC236}">
                      <a16:creationId xmlns:a16="http://schemas.microsoft.com/office/drawing/2014/main" id="{3BDAE8C6-CBA6-C536-865E-73B345AB38C2}"/>
                    </a:ext>
                  </a:extLst>
                </p:cNvPr>
                <p:cNvSpPr/>
                <p:nvPr/>
              </p:nvSpPr>
              <p:spPr bwMode="gray">
                <a:xfrm>
                  <a:off x="902726" y="357820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76" name="Triangle_3">
                  <a:extLst>
                    <a:ext uri="{FF2B5EF4-FFF2-40B4-BE49-F238E27FC236}">
                      <a16:creationId xmlns:a16="http://schemas.microsoft.com/office/drawing/2014/main" id="{0D1F49CF-A199-24DA-A194-AC180E0DF0E3}"/>
                    </a:ext>
                  </a:extLst>
                </p:cNvPr>
                <p:cNvSpPr/>
                <p:nvPr/>
              </p:nvSpPr>
              <p:spPr bwMode="gray">
                <a:xfrm rot="5400000">
                  <a:off x="819990" y="3495468"/>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2177" name="Triangle_4">
                  <a:extLst>
                    <a:ext uri="{FF2B5EF4-FFF2-40B4-BE49-F238E27FC236}">
                      <a16:creationId xmlns:a16="http://schemas.microsoft.com/office/drawing/2014/main" id="{384E3C75-8CE6-237E-19CF-A7109D5FA940}"/>
                    </a:ext>
                  </a:extLst>
                </p:cNvPr>
                <p:cNvSpPr/>
                <p:nvPr/>
              </p:nvSpPr>
              <p:spPr bwMode="gray">
                <a:xfrm rot="16200000">
                  <a:off x="985464" y="3495468"/>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47" name="Group 1546">
                <a:extLst>
                  <a:ext uri="{FF2B5EF4-FFF2-40B4-BE49-F238E27FC236}">
                    <a16:creationId xmlns:a16="http://schemas.microsoft.com/office/drawing/2014/main" id="{C81E080D-702A-5C92-B734-AF20842A483F}"/>
                  </a:ext>
                </a:extLst>
              </p:cNvPr>
              <p:cNvGrpSpPr/>
              <p:nvPr/>
            </p:nvGrpSpPr>
            <p:grpSpPr bwMode="gray">
              <a:xfrm>
                <a:off x="266700" y="1698551"/>
                <a:ext cx="217142" cy="217142"/>
                <a:chOff x="240832" y="2088942"/>
                <a:chExt cx="330948" cy="330948"/>
              </a:xfrm>
              <a:solidFill>
                <a:schemeClr val="bg1"/>
              </a:solidFill>
            </p:grpSpPr>
            <p:sp>
              <p:nvSpPr>
                <p:cNvPr id="2168" name="dfine_grid_single_shape_frame">
                  <a:extLst>
                    <a:ext uri="{FF2B5EF4-FFF2-40B4-BE49-F238E27FC236}">
                      <a16:creationId xmlns:a16="http://schemas.microsoft.com/office/drawing/2014/main" id="{52467B6D-1066-170C-270B-05864D654293}"/>
                    </a:ext>
                  </a:extLst>
                </p:cNvPr>
                <p:cNvSpPr/>
                <p:nvPr>
                  <p:custDataLst>
                    <p:tags r:id="rId25"/>
                  </p:custDataLst>
                </p:nvPr>
              </p:nvSpPr>
              <p:spPr bwMode="gray">
                <a:xfrm>
                  <a:off x="240832" y="2088942"/>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69" name="Triangle_1">
                  <a:extLst>
                    <a:ext uri="{FF2B5EF4-FFF2-40B4-BE49-F238E27FC236}">
                      <a16:creationId xmlns:a16="http://schemas.microsoft.com/office/drawing/2014/main" id="{7DCE5987-B296-CDD1-A74A-57C14D4A252F}"/>
                    </a:ext>
                  </a:extLst>
                </p:cNvPr>
                <p:cNvSpPr/>
                <p:nvPr/>
              </p:nvSpPr>
              <p:spPr bwMode="gray">
                <a:xfrm rot="10800000">
                  <a:off x="240832" y="2088942"/>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70" name="Triangle_2">
                  <a:extLst>
                    <a:ext uri="{FF2B5EF4-FFF2-40B4-BE49-F238E27FC236}">
                      <a16:creationId xmlns:a16="http://schemas.microsoft.com/office/drawing/2014/main" id="{C8A22D9D-48E8-AB0F-DA95-B21DAE16FE84}"/>
                    </a:ext>
                  </a:extLst>
                </p:cNvPr>
                <p:cNvSpPr/>
                <p:nvPr/>
              </p:nvSpPr>
              <p:spPr bwMode="gray">
                <a:xfrm>
                  <a:off x="240832" y="2254416"/>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71" name="Triangle_3">
                  <a:extLst>
                    <a:ext uri="{FF2B5EF4-FFF2-40B4-BE49-F238E27FC236}">
                      <a16:creationId xmlns:a16="http://schemas.microsoft.com/office/drawing/2014/main" id="{3EEA5A4F-633D-547D-D0E1-2E3E4CAEC754}"/>
                    </a:ext>
                  </a:extLst>
                </p:cNvPr>
                <p:cNvSpPr/>
                <p:nvPr/>
              </p:nvSpPr>
              <p:spPr bwMode="gray">
                <a:xfrm rot="5400000">
                  <a:off x="158096" y="217168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72" name="Triangle_4">
                  <a:extLst>
                    <a:ext uri="{FF2B5EF4-FFF2-40B4-BE49-F238E27FC236}">
                      <a16:creationId xmlns:a16="http://schemas.microsoft.com/office/drawing/2014/main" id="{D5A3AC27-1073-4CC8-82A2-54F1F99509CC}"/>
                    </a:ext>
                  </a:extLst>
                </p:cNvPr>
                <p:cNvSpPr/>
                <p:nvPr/>
              </p:nvSpPr>
              <p:spPr bwMode="gray">
                <a:xfrm rot="16200000">
                  <a:off x="323570" y="217168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48" name="Group 1547">
                <a:extLst>
                  <a:ext uri="{FF2B5EF4-FFF2-40B4-BE49-F238E27FC236}">
                    <a16:creationId xmlns:a16="http://schemas.microsoft.com/office/drawing/2014/main" id="{F916D537-9704-4330-29F7-C0AAA34AF612}"/>
                  </a:ext>
                </a:extLst>
              </p:cNvPr>
              <p:cNvGrpSpPr/>
              <p:nvPr/>
            </p:nvGrpSpPr>
            <p:grpSpPr bwMode="gray">
              <a:xfrm>
                <a:off x="266700" y="1915692"/>
                <a:ext cx="217142" cy="217142"/>
                <a:chOff x="240832" y="2419889"/>
                <a:chExt cx="330948" cy="330948"/>
              </a:xfrm>
              <a:solidFill>
                <a:schemeClr val="bg1"/>
              </a:solidFill>
            </p:grpSpPr>
            <p:sp>
              <p:nvSpPr>
                <p:cNvPr id="2163" name="dfine_grid_single_shape_frame">
                  <a:extLst>
                    <a:ext uri="{FF2B5EF4-FFF2-40B4-BE49-F238E27FC236}">
                      <a16:creationId xmlns:a16="http://schemas.microsoft.com/office/drawing/2014/main" id="{7341A268-A650-F0B6-7189-E0C9476309B6}"/>
                    </a:ext>
                  </a:extLst>
                </p:cNvPr>
                <p:cNvSpPr/>
                <p:nvPr>
                  <p:custDataLst>
                    <p:tags r:id="rId24"/>
                  </p:custDataLst>
                </p:nvPr>
              </p:nvSpPr>
              <p:spPr bwMode="gray">
                <a:xfrm>
                  <a:off x="240832" y="2419889"/>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64" name="Triangle_1">
                  <a:extLst>
                    <a:ext uri="{FF2B5EF4-FFF2-40B4-BE49-F238E27FC236}">
                      <a16:creationId xmlns:a16="http://schemas.microsoft.com/office/drawing/2014/main" id="{4518CCAD-DFC7-B039-174A-F18DAA8266B2}"/>
                    </a:ext>
                  </a:extLst>
                </p:cNvPr>
                <p:cNvSpPr/>
                <p:nvPr/>
              </p:nvSpPr>
              <p:spPr bwMode="gray">
                <a:xfrm rot="10800000">
                  <a:off x="240832" y="2419889"/>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65" name="Triangle_2">
                  <a:extLst>
                    <a:ext uri="{FF2B5EF4-FFF2-40B4-BE49-F238E27FC236}">
                      <a16:creationId xmlns:a16="http://schemas.microsoft.com/office/drawing/2014/main" id="{AD446BAA-675C-D791-A645-F5B819C95A2C}"/>
                    </a:ext>
                  </a:extLst>
                </p:cNvPr>
                <p:cNvSpPr/>
                <p:nvPr/>
              </p:nvSpPr>
              <p:spPr bwMode="gray">
                <a:xfrm>
                  <a:off x="240832" y="2585363"/>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66" name="Triangle_3">
                  <a:extLst>
                    <a:ext uri="{FF2B5EF4-FFF2-40B4-BE49-F238E27FC236}">
                      <a16:creationId xmlns:a16="http://schemas.microsoft.com/office/drawing/2014/main" id="{15B10651-EBFF-CFB7-1CC2-2546257E1EF8}"/>
                    </a:ext>
                  </a:extLst>
                </p:cNvPr>
                <p:cNvSpPr/>
                <p:nvPr/>
              </p:nvSpPr>
              <p:spPr bwMode="gray">
                <a:xfrm rot="5400000">
                  <a:off x="158096" y="250262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67" name="Triangle_4">
                  <a:extLst>
                    <a:ext uri="{FF2B5EF4-FFF2-40B4-BE49-F238E27FC236}">
                      <a16:creationId xmlns:a16="http://schemas.microsoft.com/office/drawing/2014/main" id="{097E99AE-7DD9-E166-07D9-82796D176858}"/>
                    </a:ext>
                  </a:extLst>
                </p:cNvPr>
                <p:cNvSpPr/>
                <p:nvPr/>
              </p:nvSpPr>
              <p:spPr bwMode="gray">
                <a:xfrm rot="16200000">
                  <a:off x="323570" y="250262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49" name="Group 1548">
                <a:extLst>
                  <a:ext uri="{FF2B5EF4-FFF2-40B4-BE49-F238E27FC236}">
                    <a16:creationId xmlns:a16="http://schemas.microsoft.com/office/drawing/2014/main" id="{DD83078D-3C63-C722-9253-58581E4754DA}"/>
                  </a:ext>
                </a:extLst>
              </p:cNvPr>
              <p:cNvGrpSpPr/>
              <p:nvPr/>
            </p:nvGrpSpPr>
            <p:grpSpPr bwMode="gray">
              <a:xfrm>
                <a:off x="266700" y="2132833"/>
                <a:ext cx="217142" cy="217142"/>
                <a:chOff x="240832" y="2750836"/>
                <a:chExt cx="330948" cy="330948"/>
              </a:xfrm>
              <a:solidFill>
                <a:schemeClr val="bg1"/>
              </a:solidFill>
            </p:grpSpPr>
            <p:sp>
              <p:nvSpPr>
                <p:cNvPr id="2158" name="dfine_grid_single_shape_frame">
                  <a:extLst>
                    <a:ext uri="{FF2B5EF4-FFF2-40B4-BE49-F238E27FC236}">
                      <a16:creationId xmlns:a16="http://schemas.microsoft.com/office/drawing/2014/main" id="{C3A36D76-4D42-8F26-76A3-2BB4E77A89A6}"/>
                    </a:ext>
                  </a:extLst>
                </p:cNvPr>
                <p:cNvSpPr/>
                <p:nvPr>
                  <p:custDataLst>
                    <p:tags r:id="rId23"/>
                  </p:custDataLst>
                </p:nvPr>
              </p:nvSpPr>
              <p:spPr bwMode="gray">
                <a:xfrm>
                  <a:off x="240832" y="2750836"/>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59" name="Triangle_1">
                  <a:extLst>
                    <a:ext uri="{FF2B5EF4-FFF2-40B4-BE49-F238E27FC236}">
                      <a16:creationId xmlns:a16="http://schemas.microsoft.com/office/drawing/2014/main" id="{6B0676B0-B37A-A298-94F3-A92713563A74}"/>
                    </a:ext>
                  </a:extLst>
                </p:cNvPr>
                <p:cNvSpPr/>
                <p:nvPr/>
              </p:nvSpPr>
              <p:spPr bwMode="gray">
                <a:xfrm rot="10800000">
                  <a:off x="240832" y="2750836"/>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60" name="Triangle_2">
                  <a:extLst>
                    <a:ext uri="{FF2B5EF4-FFF2-40B4-BE49-F238E27FC236}">
                      <a16:creationId xmlns:a16="http://schemas.microsoft.com/office/drawing/2014/main" id="{FA99692B-E3B6-319F-C00E-DF1EE92A0C5D}"/>
                    </a:ext>
                  </a:extLst>
                </p:cNvPr>
                <p:cNvSpPr/>
                <p:nvPr/>
              </p:nvSpPr>
              <p:spPr bwMode="gray">
                <a:xfrm>
                  <a:off x="240832" y="291631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61" name="Triangle_3">
                  <a:extLst>
                    <a:ext uri="{FF2B5EF4-FFF2-40B4-BE49-F238E27FC236}">
                      <a16:creationId xmlns:a16="http://schemas.microsoft.com/office/drawing/2014/main" id="{9090CC75-6749-ECBD-8FB0-33D9F0C996BF}"/>
                    </a:ext>
                  </a:extLst>
                </p:cNvPr>
                <p:cNvSpPr/>
                <p:nvPr/>
              </p:nvSpPr>
              <p:spPr bwMode="gray">
                <a:xfrm rot="5400000">
                  <a:off x="158096" y="2833574"/>
                  <a:ext cx="330946" cy="165474"/>
                </a:xfrm>
                <a:prstGeom prst="triangle">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62" name="Triangle_4">
                  <a:extLst>
                    <a:ext uri="{FF2B5EF4-FFF2-40B4-BE49-F238E27FC236}">
                      <a16:creationId xmlns:a16="http://schemas.microsoft.com/office/drawing/2014/main" id="{6389F018-51BD-0985-8614-9DC92CD2B9F2}"/>
                    </a:ext>
                  </a:extLst>
                </p:cNvPr>
                <p:cNvSpPr/>
                <p:nvPr/>
              </p:nvSpPr>
              <p:spPr bwMode="gray">
                <a:xfrm rot="16200000">
                  <a:off x="323570" y="283357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grpSp>
          <p:grpSp>
            <p:nvGrpSpPr>
              <p:cNvPr id="1550" name="Group 1549">
                <a:extLst>
                  <a:ext uri="{FF2B5EF4-FFF2-40B4-BE49-F238E27FC236}">
                    <a16:creationId xmlns:a16="http://schemas.microsoft.com/office/drawing/2014/main" id="{1EC9565F-D63D-6D70-421B-9260D02D3AE2}"/>
                  </a:ext>
                </a:extLst>
              </p:cNvPr>
              <p:cNvGrpSpPr/>
              <p:nvPr/>
            </p:nvGrpSpPr>
            <p:grpSpPr bwMode="gray">
              <a:xfrm>
                <a:off x="266700" y="2349974"/>
                <a:ext cx="217142" cy="217142"/>
                <a:chOff x="240832" y="3081783"/>
                <a:chExt cx="330948" cy="330948"/>
              </a:xfrm>
              <a:solidFill>
                <a:schemeClr val="bg1"/>
              </a:solidFill>
            </p:grpSpPr>
            <p:sp>
              <p:nvSpPr>
                <p:cNvPr id="2153" name="dfine_grid_single_shape_frame">
                  <a:extLst>
                    <a:ext uri="{FF2B5EF4-FFF2-40B4-BE49-F238E27FC236}">
                      <a16:creationId xmlns:a16="http://schemas.microsoft.com/office/drawing/2014/main" id="{485D6114-2920-DD44-61AD-EAB4124888A7}"/>
                    </a:ext>
                  </a:extLst>
                </p:cNvPr>
                <p:cNvSpPr/>
                <p:nvPr/>
              </p:nvSpPr>
              <p:spPr bwMode="gray">
                <a:xfrm>
                  <a:off x="240832" y="3081783"/>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54" name="Triangle_1">
                  <a:extLst>
                    <a:ext uri="{FF2B5EF4-FFF2-40B4-BE49-F238E27FC236}">
                      <a16:creationId xmlns:a16="http://schemas.microsoft.com/office/drawing/2014/main" id="{F62D2C64-2C1B-E4AF-6683-4C6CBCBE6B4C}"/>
                    </a:ext>
                  </a:extLst>
                </p:cNvPr>
                <p:cNvSpPr/>
                <p:nvPr/>
              </p:nvSpPr>
              <p:spPr bwMode="gray">
                <a:xfrm rot="10800000">
                  <a:off x="240832" y="3081783"/>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55" name="Triangle_2">
                  <a:extLst>
                    <a:ext uri="{FF2B5EF4-FFF2-40B4-BE49-F238E27FC236}">
                      <a16:creationId xmlns:a16="http://schemas.microsoft.com/office/drawing/2014/main" id="{21F5C3BF-8DE3-62F0-3494-F3934E1B50ED}"/>
                    </a:ext>
                  </a:extLst>
                </p:cNvPr>
                <p:cNvSpPr/>
                <p:nvPr/>
              </p:nvSpPr>
              <p:spPr bwMode="gray">
                <a:xfrm>
                  <a:off x="240832" y="324725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56" name="Triangle_3">
                  <a:extLst>
                    <a:ext uri="{FF2B5EF4-FFF2-40B4-BE49-F238E27FC236}">
                      <a16:creationId xmlns:a16="http://schemas.microsoft.com/office/drawing/2014/main" id="{3D965C33-C9C1-BAB0-FD1C-E58927EF08B2}"/>
                    </a:ext>
                  </a:extLst>
                </p:cNvPr>
                <p:cNvSpPr/>
                <p:nvPr/>
              </p:nvSpPr>
              <p:spPr bwMode="gray">
                <a:xfrm rot="5400000">
                  <a:off x="158096" y="316452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57" name="Triangle_4">
                  <a:extLst>
                    <a:ext uri="{FF2B5EF4-FFF2-40B4-BE49-F238E27FC236}">
                      <a16:creationId xmlns:a16="http://schemas.microsoft.com/office/drawing/2014/main" id="{527A3C89-7EA1-44AF-5B0C-9914F3934004}"/>
                    </a:ext>
                  </a:extLst>
                </p:cNvPr>
                <p:cNvSpPr/>
                <p:nvPr/>
              </p:nvSpPr>
              <p:spPr bwMode="gray">
                <a:xfrm rot="16200000">
                  <a:off x="323570" y="316452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51" name="Group 1550">
                <a:extLst>
                  <a:ext uri="{FF2B5EF4-FFF2-40B4-BE49-F238E27FC236}">
                    <a16:creationId xmlns:a16="http://schemas.microsoft.com/office/drawing/2014/main" id="{732C7313-4CBA-4D2A-14F3-B04F08EAED4D}"/>
                  </a:ext>
                </a:extLst>
              </p:cNvPr>
              <p:cNvGrpSpPr/>
              <p:nvPr/>
            </p:nvGrpSpPr>
            <p:grpSpPr bwMode="gray">
              <a:xfrm>
                <a:off x="266700" y="2567115"/>
                <a:ext cx="217142" cy="217142"/>
                <a:chOff x="240832" y="3412730"/>
                <a:chExt cx="330948" cy="330948"/>
              </a:xfrm>
              <a:solidFill>
                <a:schemeClr val="bg1"/>
              </a:solidFill>
            </p:grpSpPr>
            <p:sp>
              <p:nvSpPr>
                <p:cNvPr id="2148" name="dfine_grid_single_shape_frame">
                  <a:extLst>
                    <a:ext uri="{FF2B5EF4-FFF2-40B4-BE49-F238E27FC236}">
                      <a16:creationId xmlns:a16="http://schemas.microsoft.com/office/drawing/2014/main" id="{DAAC164D-0101-1CE8-CFF0-2D901DD9D7F3}"/>
                    </a:ext>
                  </a:extLst>
                </p:cNvPr>
                <p:cNvSpPr/>
                <p:nvPr/>
              </p:nvSpPr>
              <p:spPr bwMode="gray">
                <a:xfrm>
                  <a:off x="240832" y="3412730"/>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49" name="Triangle_1">
                  <a:extLst>
                    <a:ext uri="{FF2B5EF4-FFF2-40B4-BE49-F238E27FC236}">
                      <a16:creationId xmlns:a16="http://schemas.microsoft.com/office/drawing/2014/main" id="{8B360D16-EB0A-44CD-75AF-5566DFF85A6A}"/>
                    </a:ext>
                  </a:extLst>
                </p:cNvPr>
                <p:cNvSpPr/>
                <p:nvPr/>
              </p:nvSpPr>
              <p:spPr bwMode="gray">
                <a:xfrm rot="10800000">
                  <a:off x="240832" y="341273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50" name="Triangle_2">
                  <a:extLst>
                    <a:ext uri="{FF2B5EF4-FFF2-40B4-BE49-F238E27FC236}">
                      <a16:creationId xmlns:a16="http://schemas.microsoft.com/office/drawing/2014/main" id="{841E9515-4898-9D25-AF74-03EC20A3324A}"/>
                    </a:ext>
                  </a:extLst>
                </p:cNvPr>
                <p:cNvSpPr/>
                <p:nvPr/>
              </p:nvSpPr>
              <p:spPr bwMode="gray">
                <a:xfrm>
                  <a:off x="240832" y="357820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51" name="Triangle_3">
                  <a:extLst>
                    <a:ext uri="{FF2B5EF4-FFF2-40B4-BE49-F238E27FC236}">
                      <a16:creationId xmlns:a16="http://schemas.microsoft.com/office/drawing/2014/main" id="{676F25E0-A43F-FC8F-C80C-182BD8A1E3D4}"/>
                    </a:ext>
                  </a:extLst>
                </p:cNvPr>
                <p:cNvSpPr/>
                <p:nvPr/>
              </p:nvSpPr>
              <p:spPr bwMode="gray">
                <a:xfrm rot="5400000">
                  <a:off x="158096" y="3495468"/>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52" name="Triangle_4">
                  <a:extLst>
                    <a:ext uri="{FF2B5EF4-FFF2-40B4-BE49-F238E27FC236}">
                      <a16:creationId xmlns:a16="http://schemas.microsoft.com/office/drawing/2014/main" id="{74E016B3-34BA-A020-191C-C84D33E6C630}"/>
                    </a:ext>
                  </a:extLst>
                </p:cNvPr>
                <p:cNvSpPr/>
                <p:nvPr/>
              </p:nvSpPr>
              <p:spPr bwMode="gray">
                <a:xfrm rot="16200000">
                  <a:off x="323570" y="3495468"/>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52" name="Group 1551">
                <a:extLst>
                  <a:ext uri="{FF2B5EF4-FFF2-40B4-BE49-F238E27FC236}">
                    <a16:creationId xmlns:a16="http://schemas.microsoft.com/office/drawing/2014/main" id="{1BFA4489-27A7-BD6E-65BD-6675EFCF04BC}"/>
                  </a:ext>
                </a:extLst>
              </p:cNvPr>
              <p:cNvGrpSpPr/>
              <p:nvPr/>
            </p:nvGrpSpPr>
            <p:grpSpPr bwMode="gray">
              <a:xfrm>
                <a:off x="266700" y="2784256"/>
                <a:ext cx="217142" cy="217142"/>
                <a:chOff x="240832" y="3743677"/>
                <a:chExt cx="330948" cy="330948"/>
              </a:xfrm>
              <a:solidFill>
                <a:schemeClr val="bg1"/>
              </a:solidFill>
            </p:grpSpPr>
            <p:sp>
              <p:nvSpPr>
                <p:cNvPr id="2143" name="dfine_grid_single_shape_frame">
                  <a:extLst>
                    <a:ext uri="{FF2B5EF4-FFF2-40B4-BE49-F238E27FC236}">
                      <a16:creationId xmlns:a16="http://schemas.microsoft.com/office/drawing/2014/main" id="{E3CA5177-47BD-8A61-BDEF-5FE98CE9EF57}"/>
                    </a:ext>
                  </a:extLst>
                </p:cNvPr>
                <p:cNvSpPr/>
                <p:nvPr/>
              </p:nvSpPr>
              <p:spPr bwMode="gray">
                <a:xfrm>
                  <a:off x="240832" y="3743677"/>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44" name="Triangle_1">
                  <a:extLst>
                    <a:ext uri="{FF2B5EF4-FFF2-40B4-BE49-F238E27FC236}">
                      <a16:creationId xmlns:a16="http://schemas.microsoft.com/office/drawing/2014/main" id="{EAE06D57-E222-6772-B495-700754CE2E01}"/>
                    </a:ext>
                  </a:extLst>
                </p:cNvPr>
                <p:cNvSpPr/>
                <p:nvPr/>
              </p:nvSpPr>
              <p:spPr bwMode="gray">
                <a:xfrm rot="10800000">
                  <a:off x="240832" y="374367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45" name="Triangle_2">
                  <a:extLst>
                    <a:ext uri="{FF2B5EF4-FFF2-40B4-BE49-F238E27FC236}">
                      <a16:creationId xmlns:a16="http://schemas.microsoft.com/office/drawing/2014/main" id="{D3D7FC25-49C7-AE3D-9EAF-0283D166C235}"/>
                    </a:ext>
                  </a:extLst>
                </p:cNvPr>
                <p:cNvSpPr/>
                <p:nvPr/>
              </p:nvSpPr>
              <p:spPr bwMode="gray">
                <a:xfrm>
                  <a:off x="240832" y="390915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46" name="Triangle_3">
                  <a:extLst>
                    <a:ext uri="{FF2B5EF4-FFF2-40B4-BE49-F238E27FC236}">
                      <a16:creationId xmlns:a16="http://schemas.microsoft.com/office/drawing/2014/main" id="{CE362CF7-ED92-7105-E4DD-32490FAD7C2C}"/>
                    </a:ext>
                  </a:extLst>
                </p:cNvPr>
                <p:cNvSpPr/>
                <p:nvPr/>
              </p:nvSpPr>
              <p:spPr bwMode="gray">
                <a:xfrm rot="5400000">
                  <a:off x="158096" y="3826415"/>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47" name="Triangle_4">
                  <a:extLst>
                    <a:ext uri="{FF2B5EF4-FFF2-40B4-BE49-F238E27FC236}">
                      <a16:creationId xmlns:a16="http://schemas.microsoft.com/office/drawing/2014/main" id="{DB2C5151-60C8-5A47-0A7D-9FC54DA265C6}"/>
                    </a:ext>
                  </a:extLst>
                </p:cNvPr>
                <p:cNvSpPr/>
                <p:nvPr/>
              </p:nvSpPr>
              <p:spPr bwMode="gray">
                <a:xfrm rot="16200000">
                  <a:off x="323570" y="3826415"/>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53" name="Group 1552">
                <a:extLst>
                  <a:ext uri="{FF2B5EF4-FFF2-40B4-BE49-F238E27FC236}">
                    <a16:creationId xmlns:a16="http://schemas.microsoft.com/office/drawing/2014/main" id="{F86BF601-AD9D-B2FF-4392-1E17BE622906}"/>
                  </a:ext>
                </a:extLst>
              </p:cNvPr>
              <p:cNvGrpSpPr/>
              <p:nvPr/>
            </p:nvGrpSpPr>
            <p:grpSpPr bwMode="gray">
              <a:xfrm>
                <a:off x="266700" y="3001397"/>
                <a:ext cx="217142" cy="217142"/>
                <a:chOff x="240832" y="4074624"/>
                <a:chExt cx="330948" cy="330948"/>
              </a:xfrm>
              <a:solidFill>
                <a:schemeClr val="bg1"/>
              </a:solidFill>
            </p:grpSpPr>
            <p:sp>
              <p:nvSpPr>
                <p:cNvPr id="2138" name="dfine_grid_single_shape_frame">
                  <a:extLst>
                    <a:ext uri="{FF2B5EF4-FFF2-40B4-BE49-F238E27FC236}">
                      <a16:creationId xmlns:a16="http://schemas.microsoft.com/office/drawing/2014/main" id="{0D387589-8753-80B3-0EBB-662DFBB549FE}"/>
                    </a:ext>
                  </a:extLst>
                </p:cNvPr>
                <p:cNvSpPr/>
                <p:nvPr/>
              </p:nvSpPr>
              <p:spPr bwMode="gray">
                <a:xfrm>
                  <a:off x="240832" y="4074624"/>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39" name="Triangle_1">
                  <a:extLst>
                    <a:ext uri="{FF2B5EF4-FFF2-40B4-BE49-F238E27FC236}">
                      <a16:creationId xmlns:a16="http://schemas.microsoft.com/office/drawing/2014/main" id="{DA126A1D-6D91-117D-8C60-486329E6769F}"/>
                    </a:ext>
                  </a:extLst>
                </p:cNvPr>
                <p:cNvSpPr/>
                <p:nvPr/>
              </p:nvSpPr>
              <p:spPr bwMode="gray">
                <a:xfrm rot="10800000">
                  <a:off x="240832" y="407462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40" name="Triangle_2">
                  <a:extLst>
                    <a:ext uri="{FF2B5EF4-FFF2-40B4-BE49-F238E27FC236}">
                      <a16:creationId xmlns:a16="http://schemas.microsoft.com/office/drawing/2014/main" id="{2BC25868-4FDA-BD84-4306-171F0654A3F1}"/>
                    </a:ext>
                  </a:extLst>
                </p:cNvPr>
                <p:cNvSpPr/>
                <p:nvPr/>
              </p:nvSpPr>
              <p:spPr bwMode="gray">
                <a:xfrm>
                  <a:off x="240832" y="4240098"/>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41" name="Triangle_3">
                  <a:extLst>
                    <a:ext uri="{FF2B5EF4-FFF2-40B4-BE49-F238E27FC236}">
                      <a16:creationId xmlns:a16="http://schemas.microsoft.com/office/drawing/2014/main" id="{86971286-BE5D-23BE-EBA5-22AD05728A46}"/>
                    </a:ext>
                  </a:extLst>
                </p:cNvPr>
                <p:cNvSpPr/>
                <p:nvPr/>
              </p:nvSpPr>
              <p:spPr bwMode="gray">
                <a:xfrm rot="5400000">
                  <a:off x="158096" y="4157362"/>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42" name="Triangle_4">
                  <a:extLst>
                    <a:ext uri="{FF2B5EF4-FFF2-40B4-BE49-F238E27FC236}">
                      <a16:creationId xmlns:a16="http://schemas.microsoft.com/office/drawing/2014/main" id="{D875AECC-430D-3A67-DB99-77F4ADEB5D03}"/>
                    </a:ext>
                  </a:extLst>
                </p:cNvPr>
                <p:cNvSpPr/>
                <p:nvPr/>
              </p:nvSpPr>
              <p:spPr bwMode="gray">
                <a:xfrm rot="16200000">
                  <a:off x="323570" y="4157362"/>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54" name="Group 1553">
                <a:extLst>
                  <a:ext uri="{FF2B5EF4-FFF2-40B4-BE49-F238E27FC236}">
                    <a16:creationId xmlns:a16="http://schemas.microsoft.com/office/drawing/2014/main" id="{60FF2296-6668-90EC-2197-897DB09C0AC5}"/>
                  </a:ext>
                </a:extLst>
              </p:cNvPr>
              <p:cNvGrpSpPr/>
              <p:nvPr/>
            </p:nvGrpSpPr>
            <p:grpSpPr bwMode="gray">
              <a:xfrm>
                <a:off x="483841" y="1698554"/>
                <a:ext cx="217144" cy="217144"/>
                <a:chOff x="571776" y="2088940"/>
                <a:chExt cx="330950" cy="330950"/>
              </a:xfrm>
              <a:solidFill>
                <a:schemeClr val="bg1"/>
              </a:solidFill>
            </p:grpSpPr>
            <p:sp>
              <p:nvSpPr>
                <p:cNvPr id="2133" name="dfine_grid_single_shape_frame">
                  <a:extLst>
                    <a:ext uri="{FF2B5EF4-FFF2-40B4-BE49-F238E27FC236}">
                      <a16:creationId xmlns:a16="http://schemas.microsoft.com/office/drawing/2014/main" id="{B908B3C6-1CEE-E391-ACA0-8C8A4F405BC5}"/>
                    </a:ext>
                  </a:extLst>
                </p:cNvPr>
                <p:cNvSpPr/>
                <p:nvPr>
                  <p:custDataLst>
                    <p:tags r:id="rId22"/>
                  </p:custDataLst>
                </p:nvPr>
              </p:nvSpPr>
              <p:spPr bwMode="gray">
                <a:xfrm>
                  <a:off x="571781" y="2088942"/>
                  <a:ext cx="330945" cy="330945"/>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34" name="Triangle_1">
                  <a:extLst>
                    <a:ext uri="{FF2B5EF4-FFF2-40B4-BE49-F238E27FC236}">
                      <a16:creationId xmlns:a16="http://schemas.microsoft.com/office/drawing/2014/main" id="{EDC7F1F9-2276-7D14-62DB-418AC19D6305}"/>
                    </a:ext>
                  </a:extLst>
                </p:cNvPr>
                <p:cNvSpPr/>
                <p:nvPr/>
              </p:nvSpPr>
              <p:spPr bwMode="gray">
                <a:xfrm rot="10800000">
                  <a:off x="571781" y="2088942"/>
                  <a:ext cx="330945"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35" name="Triangle_2">
                  <a:extLst>
                    <a:ext uri="{FF2B5EF4-FFF2-40B4-BE49-F238E27FC236}">
                      <a16:creationId xmlns:a16="http://schemas.microsoft.com/office/drawing/2014/main" id="{03BF1369-2D9C-75C4-02F5-E581064B0D9E}"/>
                    </a:ext>
                  </a:extLst>
                </p:cNvPr>
                <p:cNvSpPr/>
                <p:nvPr/>
              </p:nvSpPr>
              <p:spPr bwMode="gray">
                <a:xfrm>
                  <a:off x="571781" y="2254417"/>
                  <a:ext cx="330945"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36" name="Triangle_3">
                  <a:extLst>
                    <a:ext uri="{FF2B5EF4-FFF2-40B4-BE49-F238E27FC236}">
                      <a16:creationId xmlns:a16="http://schemas.microsoft.com/office/drawing/2014/main" id="{CA52CA2B-CCB4-3FFC-CC5B-2352221A5D25}"/>
                    </a:ext>
                  </a:extLst>
                </p:cNvPr>
                <p:cNvSpPr/>
                <p:nvPr/>
              </p:nvSpPr>
              <p:spPr bwMode="gray">
                <a:xfrm rot="5400000">
                  <a:off x="489040" y="2171676"/>
                  <a:ext cx="330945"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37" name="Triangle_4">
                  <a:extLst>
                    <a:ext uri="{FF2B5EF4-FFF2-40B4-BE49-F238E27FC236}">
                      <a16:creationId xmlns:a16="http://schemas.microsoft.com/office/drawing/2014/main" id="{7005D18A-5E86-3B12-7867-AFFF5029463E}"/>
                    </a:ext>
                  </a:extLst>
                </p:cNvPr>
                <p:cNvSpPr/>
                <p:nvPr/>
              </p:nvSpPr>
              <p:spPr bwMode="gray">
                <a:xfrm rot="16200000">
                  <a:off x="654515" y="2171679"/>
                  <a:ext cx="330945" cy="165475"/>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55" name="Group 1554">
                <a:extLst>
                  <a:ext uri="{FF2B5EF4-FFF2-40B4-BE49-F238E27FC236}">
                    <a16:creationId xmlns:a16="http://schemas.microsoft.com/office/drawing/2014/main" id="{8F2173C9-757F-2A0C-2BA5-01CBEB12EB0F}"/>
                  </a:ext>
                </a:extLst>
              </p:cNvPr>
              <p:cNvGrpSpPr/>
              <p:nvPr/>
            </p:nvGrpSpPr>
            <p:grpSpPr bwMode="gray">
              <a:xfrm>
                <a:off x="483841" y="1915691"/>
                <a:ext cx="217144" cy="217144"/>
                <a:chOff x="571776" y="2419886"/>
                <a:chExt cx="330950" cy="330951"/>
              </a:xfrm>
              <a:solidFill>
                <a:schemeClr val="bg1"/>
              </a:solidFill>
            </p:grpSpPr>
            <p:sp>
              <p:nvSpPr>
                <p:cNvPr id="2128" name="dfine_grid_single_shape_frame">
                  <a:extLst>
                    <a:ext uri="{FF2B5EF4-FFF2-40B4-BE49-F238E27FC236}">
                      <a16:creationId xmlns:a16="http://schemas.microsoft.com/office/drawing/2014/main" id="{2A48DD17-AB29-08EF-BD2C-C36F67318768}"/>
                    </a:ext>
                  </a:extLst>
                </p:cNvPr>
                <p:cNvSpPr/>
                <p:nvPr/>
              </p:nvSpPr>
              <p:spPr bwMode="gray">
                <a:xfrm>
                  <a:off x="571781" y="2419889"/>
                  <a:ext cx="330945"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29" name="Triangle_1">
                  <a:extLst>
                    <a:ext uri="{FF2B5EF4-FFF2-40B4-BE49-F238E27FC236}">
                      <a16:creationId xmlns:a16="http://schemas.microsoft.com/office/drawing/2014/main" id="{7B998B96-47F8-AD53-E0E5-C85C49BFB899}"/>
                    </a:ext>
                  </a:extLst>
                </p:cNvPr>
                <p:cNvSpPr/>
                <p:nvPr/>
              </p:nvSpPr>
              <p:spPr bwMode="gray">
                <a:xfrm rot="10800000">
                  <a:off x="571781" y="2419889"/>
                  <a:ext cx="330945"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30" name="Triangle_2">
                  <a:extLst>
                    <a:ext uri="{FF2B5EF4-FFF2-40B4-BE49-F238E27FC236}">
                      <a16:creationId xmlns:a16="http://schemas.microsoft.com/office/drawing/2014/main" id="{CE79FAEF-D86C-A7C9-98D1-C66307B9A794}"/>
                    </a:ext>
                  </a:extLst>
                </p:cNvPr>
                <p:cNvSpPr/>
                <p:nvPr/>
              </p:nvSpPr>
              <p:spPr bwMode="gray">
                <a:xfrm>
                  <a:off x="571781" y="2585363"/>
                  <a:ext cx="330945"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31" name="Triangle_3">
                  <a:extLst>
                    <a:ext uri="{FF2B5EF4-FFF2-40B4-BE49-F238E27FC236}">
                      <a16:creationId xmlns:a16="http://schemas.microsoft.com/office/drawing/2014/main" id="{0BD23F85-E500-4405-8184-5510FDDD3FF4}"/>
                    </a:ext>
                  </a:extLst>
                </p:cNvPr>
                <p:cNvSpPr/>
                <p:nvPr/>
              </p:nvSpPr>
              <p:spPr bwMode="gray">
                <a:xfrm rot="5400000">
                  <a:off x="489040" y="2502622"/>
                  <a:ext cx="330946"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32" name="Triangle_4">
                  <a:extLst>
                    <a:ext uri="{FF2B5EF4-FFF2-40B4-BE49-F238E27FC236}">
                      <a16:creationId xmlns:a16="http://schemas.microsoft.com/office/drawing/2014/main" id="{6ED46A9E-5A0C-B15E-F1C7-B4E84AB03860}"/>
                    </a:ext>
                  </a:extLst>
                </p:cNvPr>
                <p:cNvSpPr/>
                <p:nvPr/>
              </p:nvSpPr>
              <p:spPr bwMode="gray">
                <a:xfrm rot="16200000">
                  <a:off x="654513" y="2502626"/>
                  <a:ext cx="330946" cy="165475"/>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56" name="Group 1555">
                <a:extLst>
                  <a:ext uri="{FF2B5EF4-FFF2-40B4-BE49-F238E27FC236}">
                    <a16:creationId xmlns:a16="http://schemas.microsoft.com/office/drawing/2014/main" id="{EDE34400-2445-2AED-4620-0826CAC0DDF2}"/>
                  </a:ext>
                </a:extLst>
              </p:cNvPr>
              <p:cNvGrpSpPr/>
              <p:nvPr/>
            </p:nvGrpSpPr>
            <p:grpSpPr bwMode="gray">
              <a:xfrm>
                <a:off x="483841" y="2132831"/>
                <a:ext cx="217144" cy="217144"/>
                <a:chOff x="571776" y="2750833"/>
                <a:chExt cx="330950" cy="330951"/>
              </a:xfrm>
              <a:solidFill>
                <a:schemeClr val="bg1"/>
              </a:solidFill>
            </p:grpSpPr>
            <p:sp>
              <p:nvSpPr>
                <p:cNvPr id="2123" name="dfine_grid_single_shape_frame">
                  <a:extLst>
                    <a:ext uri="{FF2B5EF4-FFF2-40B4-BE49-F238E27FC236}">
                      <a16:creationId xmlns:a16="http://schemas.microsoft.com/office/drawing/2014/main" id="{029A82F8-809C-729D-482E-09CABF4DDDB1}"/>
                    </a:ext>
                  </a:extLst>
                </p:cNvPr>
                <p:cNvSpPr/>
                <p:nvPr/>
              </p:nvSpPr>
              <p:spPr bwMode="gray">
                <a:xfrm>
                  <a:off x="571781" y="2750836"/>
                  <a:ext cx="330945"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24" name="Triangle_1">
                  <a:extLst>
                    <a:ext uri="{FF2B5EF4-FFF2-40B4-BE49-F238E27FC236}">
                      <a16:creationId xmlns:a16="http://schemas.microsoft.com/office/drawing/2014/main" id="{E06F14D7-43EA-4D27-9136-B7A9B843482D}"/>
                    </a:ext>
                  </a:extLst>
                </p:cNvPr>
                <p:cNvSpPr/>
                <p:nvPr/>
              </p:nvSpPr>
              <p:spPr bwMode="gray">
                <a:xfrm rot="10800000">
                  <a:off x="571781" y="2750836"/>
                  <a:ext cx="330945"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25" name="Triangle_2">
                  <a:extLst>
                    <a:ext uri="{FF2B5EF4-FFF2-40B4-BE49-F238E27FC236}">
                      <a16:creationId xmlns:a16="http://schemas.microsoft.com/office/drawing/2014/main" id="{8FF8CE35-EDC3-0212-BB0D-9ECB245E299C}"/>
                    </a:ext>
                  </a:extLst>
                </p:cNvPr>
                <p:cNvSpPr/>
                <p:nvPr/>
              </p:nvSpPr>
              <p:spPr bwMode="gray">
                <a:xfrm>
                  <a:off x="571781" y="2916310"/>
                  <a:ext cx="330945"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2126" name="Triangle_3">
                  <a:extLst>
                    <a:ext uri="{FF2B5EF4-FFF2-40B4-BE49-F238E27FC236}">
                      <a16:creationId xmlns:a16="http://schemas.microsoft.com/office/drawing/2014/main" id="{1B934AC0-E7B3-F201-E512-0CB8E4136F80}"/>
                    </a:ext>
                  </a:extLst>
                </p:cNvPr>
                <p:cNvSpPr/>
                <p:nvPr/>
              </p:nvSpPr>
              <p:spPr bwMode="gray">
                <a:xfrm rot="5400000">
                  <a:off x="489040" y="2833569"/>
                  <a:ext cx="330946"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27" name="Triangle_4">
                  <a:extLst>
                    <a:ext uri="{FF2B5EF4-FFF2-40B4-BE49-F238E27FC236}">
                      <a16:creationId xmlns:a16="http://schemas.microsoft.com/office/drawing/2014/main" id="{D3A2BECC-4C13-27AD-882A-14ED478D1AAE}"/>
                    </a:ext>
                  </a:extLst>
                </p:cNvPr>
                <p:cNvSpPr/>
                <p:nvPr/>
              </p:nvSpPr>
              <p:spPr bwMode="gray">
                <a:xfrm rot="16200000">
                  <a:off x="654513" y="2833573"/>
                  <a:ext cx="330946" cy="165475"/>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grpSp>
          <p:grpSp>
            <p:nvGrpSpPr>
              <p:cNvPr id="1557" name="Group 1556">
                <a:extLst>
                  <a:ext uri="{FF2B5EF4-FFF2-40B4-BE49-F238E27FC236}">
                    <a16:creationId xmlns:a16="http://schemas.microsoft.com/office/drawing/2014/main" id="{CBF9C8AF-B95B-71D5-A8D5-0647488C3E53}"/>
                  </a:ext>
                </a:extLst>
              </p:cNvPr>
              <p:cNvGrpSpPr/>
              <p:nvPr/>
            </p:nvGrpSpPr>
            <p:grpSpPr bwMode="gray">
              <a:xfrm>
                <a:off x="483841" y="2349972"/>
                <a:ext cx="217144" cy="217144"/>
                <a:chOff x="571776" y="3081780"/>
                <a:chExt cx="330950" cy="330951"/>
              </a:xfrm>
              <a:solidFill>
                <a:schemeClr val="bg1"/>
              </a:solidFill>
            </p:grpSpPr>
            <p:sp>
              <p:nvSpPr>
                <p:cNvPr id="2118" name="dfine_grid_single_shape_frame">
                  <a:extLst>
                    <a:ext uri="{FF2B5EF4-FFF2-40B4-BE49-F238E27FC236}">
                      <a16:creationId xmlns:a16="http://schemas.microsoft.com/office/drawing/2014/main" id="{1CDDBB75-ACDE-62A3-5589-5C4F7BB42B70}"/>
                    </a:ext>
                  </a:extLst>
                </p:cNvPr>
                <p:cNvSpPr/>
                <p:nvPr/>
              </p:nvSpPr>
              <p:spPr bwMode="gray">
                <a:xfrm>
                  <a:off x="571781" y="3081783"/>
                  <a:ext cx="330945"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19" name="Triangle_1">
                  <a:extLst>
                    <a:ext uri="{FF2B5EF4-FFF2-40B4-BE49-F238E27FC236}">
                      <a16:creationId xmlns:a16="http://schemas.microsoft.com/office/drawing/2014/main" id="{3BDB0258-B415-1AAF-9B84-BA61F5914CBB}"/>
                    </a:ext>
                  </a:extLst>
                </p:cNvPr>
                <p:cNvSpPr/>
                <p:nvPr/>
              </p:nvSpPr>
              <p:spPr bwMode="gray">
                <a:xfrm rot="10800000">
                  <a:off x="571781" y="3081783"/>
                  <a:ext cx="330945" cy="165474"/>
                </a:xfrm>
                <a:prstGeom prst="triangle">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2120" name="Triangle_2">
                  <a:extLst>
                    <a:ext uri="{FF2B5EF4-FFF2-40B4-BE49-F238E27FC236}">
                      <a16:creationId xmlns:a16="http://schemas.microsoft.com/office/drawing/2014/main" id="{5A503A1C-7D65-95C6-C30C-A573A578CAE7}"/>
                    </a:ext>
                  </a:extLst>
                </p:cNvPr>
                <p:cNvSpPr/>
                <p:nvPr/>
              </p:nvSpPr>
              <p:spPr bwMode="gray">
                <a:xfrm>
                  <a:off x="571781" y="3247257"/>
                  <a:ext cx="330945"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2121" name="Triangle_3">
                  <a:extLst>
                    <a:ext uri="{FF2B5EF4-FFF2-40B4-BE49-F238E27FC236}">
                      <a16:creationId xmlns:a16="http://schemas.microsoft.com/office/drawing/2014/main" id="{179736A8-0E3B-C0AF-908E-8569DA7B8B18}"/>
                    </a:ext>
                  </a:extLst>
                </p:cNvPr>
                <p:cNvSpPr/>
                <p:nvPr/>
              </p:nvSpPr>
              <p:spPr bwMode="gray">
                <a:xfrm rot="5400000">
                  <a:off x="489040" y="3164516"/>
                  <a:ext cx="330946" cy="165473"/>
                </a:xfrm>
                <a:prstGeom prst="triangle">
                  <a:avLst/>
                </a:prstGeom>
                <a:solidFill>
                  <a:schemeClr val="tx2"/>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2122" name="Triangle_4">
                  <a:extLst>
                    <a:ext uri="{FF2B5EF4-FFF2-40B4-BE49-F238E27FC236}">
                      <a16:creationId xmlns:a16="http://schemas.microsoft.com/office/drawing/2014/main" id="{AA4BF9BE-D6F3-03E5-8476-5F793C547033}"/>
                    </a:ext>
                  </a:extLst>
                </p:cNvPr>
                <p:cNvSpPr/>
                <p:nvPr/>
              </p:nvSpPr>
              <p:spPr bwMode="gray">
                <a:xfrm rot="16200000">
                  <a:off x="654513" y="3164520"/>
                  <a:ext cx="330946" cy="165475"/>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58" name="Group 1557">
                <a:extLst>
                  <a:ext uri="{FF2B5EF4-FFF2-40B4-BE49-F238E27FC236}">
                    <a16:creationId xmlns:a16="http://schemas.microsoft.com/office/drawing/2014/main" id="{6A5131DB-35B7-1C32-53B8-C70455593854}"/>
                  </a:ext>
                </a:extLst>
              </p:cNvPr>
              <p:cNvGrpSpPr/>
              <p:nvPr/>
            </p:nvGrpSpPr>
            <p:grpSpPr bwMode="gray">
              <a:xfrm>
                <a:off x="483841" y="2567120"/>
                <a:ext cx="217144" cy="217146"/>
                <a:chOff x="571776" y="3412725"/>
                <a:chExt cx="330950" cy="330953"/>
              </a:xfrm>
              <a:solidFill>
                <a:schemeClr val="bg1"/>
              </a:solidFill>
            </p:grpSpPr>
            <p:sp>
              <p:nvSpPr>
                <p:cNvPr id="2113" name="dfine_grid_single_shape_frame">
                  <a:extLst>
                    <a:ext uri="{FF2B5EF4-FFF2-40B4-BE49-F238E27FC236}">
                      <a16:creationId xmlns:a16="http://schemas.microsoft.com/office/drawing/2014/main" id="{D486FDDF-575D-8B7D-3C97-EF4B24559492}"/>
                    </a:ext>
                  </a:extLst>
                </p:cNvPr>
                <p:cNvSpPr/>
                <p:nvPr>
                  <p:custDataLst>
                    <p:tags r:id="rId21"/>
                  </p:custDataLst>
                </p:nvPr>
              </p:nvSpPr>
              <p:spPr bwMode="gray">
                <a:xfrm>
                  <a:off x="571781" y="3412730"/>
                  <a:ext cx="330945" cy="330945"/>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14" name="Triangle_1">
                  <a:extLst>
                    <a:ext uri="{FF2B5EF4-FFF2-40B4-BE49-F238E27FC236}">
                      <a16:creationId xmlns:a16="http://schemas.microsoft.com/office/drawing/2014/main" id="{980F0695-4C48-9284-DF3C-2D36951FD115}"/>
                    </a:ext>
                  </a:extLst>
                </p:cNvPr>
                <p:cNvSpPr/>
                <p:nvPr/>
              </p:nvSpPr>
              <p:spPr bwMode="gray">
                <a:xfrm rot="10800000">
                  <a:off x="571781" y="3412730"/>
                  <a:ext cx="330945"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15" name="Triangle_2">
                  <a:extLst>
                    <a:ext uri="{FF2B5EF4-FFF2-40B4-BE49-F238E27FC236}">
                      <a16:creationId xmlns:a16="http://schemas.microsoft.com/office/drawing/2014/main" id="{E40E975C-592F-F545-FA66-A5D18EEDE10F}"/>
                    </a:ext>
                  </a:extLst>
                </p:cNvPr>
                <p:cNvSpPr/>
                <p:nvPr/>
              </p:nvSpPr>
              <p:spPr bwMode="gray">
                <a:xfrm>
                  <a:off x="571781" y="3578205"/>
                  <a:ext cx="330945"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16" name="Triangle_3">
                  <a:extLst>
                    <a:ext uri="{FF2B5EF4-FFF2-40B4-BE49-F238E27FC236}">
                      <a16:creationId xmlns:a16="http://schemas.microsoft.com/office/drawing/2014/main" id="{07794AC3-8615-A2F7-B764-1FA6BF8CA8ED}"/>
                    </a:ext>
                  </a:extLst>
                </p:cNvPr>
                <p:cNvSpPr/>
                <p:nvPr/>
              </p:nvSpPr>
              <p:spPr bwMode="gray">
                <a:xfrm rot="5400000">
                  <a:off x="489040" y="3495461"/>
                  <a:ext cx="330945"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17" name="Triangle_4">
                  <a:extLst>
                    <a:ext uri="{FF2B5EF4-FFF2-40B4-BE49-F238E27FC236}">
                      <a16:creationId xmlns:a16="http://schemas.microsoft.com/office/drawing/2014/main" id="{ACFC71EB-04EB-47D7-CBC3-EAE2D7DC4096}"/>
                    </a:ext>
                  </a:extLst>
                </p:cNvPr>
                <p:cNvSpPr/>
                <p:nvPr/>
              </p:nvSpPr>
              <p:spPr bwMode="gray">
                <a:xfrm rot="16200000">
                  <a:off x="654515" y="3495467"/>
                  <a:ext cx="330945" cy="165475"/>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grpSp>
          <p:grpSp>
            <p:nvGrpSpPr>
              <p:cNvPr id="1559" name="Group 1558">
                <a:extLst>
                  <a:ext uri="{FF2B5EF4-FFF2-40B4-BE49-F238E27FC236}">
                    <a16:creationId xmlns:a16="http://schemas.microsoft.com/office/drawing/2014/main" id="{4DBF51AE-911A-7C88-89CE-A0E7A54A4232}"/>
                  </a:ext>
                </a:extLst>
              </p:cNvPr>
              <p:cNvGrpSpPr/>
              <p:nvPr/>
            </p:nvGrpSpPr>
            <p:grpSpPr bwMode="gray">
              <a:xfrm>
                <a:off x="483841" y="2784261"/>
                <a:ext cx="217144" cy="217146"/>
                <a:chOff x="571776" y="3743672"/>
                <a:chExt cx="330950" cy="330953"/>
              </a:xfrm>
              <a:solidFill>
                <a:schemeClr val="bg1"/>
              </a:solidFill>
            </p:grpSpPr>
            <p:sp>
              <p:nvSpPr>
                <p:cNvPr id="2108" name="dfine_grid_single_shape_frame">
                  <a:extLst>
                    <a:ext uri="{FF2B5EF4-FFF2-40B4-BE49-F238E27FC236}">
                      <a16:creationId xmlns:a16="http://schemas.microsoft.com/office/drawing/2014/main" id="{D99604B6-E93C-3ADE-0935-E9141AB0752C}"/>
                    </a:ext>
                  </a:extLst>
                </p:cNvPr>
                <p:cNvSpPr/>
                <p:nvPr/>
              </p:nvSpPr>
              <p:spPr bwMode="gray">
                <a:xfrm>
                  <a:off x="571781" y="3743677"/>
                  <a:ext cx="330945" cy="330945"/>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09" name="Triangle_1">
                  <a:extLst>
                    <a:ext uri="{FF2B5EF4-FFF2-40B4-BE49-F238E27FC236}">
                      <a16:creationId xmlns:a16="http://schemas.microsoft.com/office/drawing/2014/main" id="{03F70D5E-9589-86CE-178D-13C89F34A785}"/>
                    </a:ext>
                  </a:extLst>
                </p:cNvPr>
                <p:cNvSpPr/>
                <p:nvPr/>
              </p:nvSpPr>
              <p:spPr bwMode="gray">
                <a:xfrm rot="10800000">
                  <a:off x="571781" y="3743677"/>
                  <a:ext cx="330945"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10" name="Triangle_2">
                  <a:extLst>
                    <a:ext uri="{FF2B5EF4-FFF2-40B4-BE49-F238E27FC236}">
                      <a16:creationId xmlns:a16="http://schemas.microsoft.com/office/drawing/2014/main" id="{B8E01483-DC16-5B24-185A-4988362DE7D2}"/>
                    </a:ext>
                  </a:extLst>
                </p:cNvPr>
                <p:cNvSpPr/>
                <p:nvPr/>
              </p:nvSpPr>
              <p:spPr bwMode="gray">
                <a:xfrm>
                  <a:off x="571781" y="3909152"/>
                  <a:ext cx="330945"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11" name="Triangle_3">
                  <a:extLst>
                    <a:ext uri="{FF2B5EF4-FFF2-40B4-BE49-F238E27FC236}">
                      <a16:creationId xmlns:a16="http://schemas.microsoft.com/office/drawing/2014/main" id="{A693B16F-35B7-E4C2-00CA-11554EF392A5}"/>
                    </a:ext>
                  </a:extLst>
                </p:cNvPr>
                <p:cNvSpPr/>
                <p:nvPr/>
              </p:nvSpPr>
              <p:spPr bwMode="gray">
                <a:xfrm rot="5400000">
                  <a:off x="489040" y="3826408"/>
                  <a:ext cx="330945"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12" name="Triangle_4">
                  <a:extLst>
                    <a:ext uri="{FF2B5EF4-FFF2-40B4-BE49-F238E27FC236}">
                      <a16:creationId xmlns:a16="http://schemas.microsoft.com/office/drawing/2014/main" id="{87C28710-730B-F1CE-04D5-A7272A6FB1AB}"/>
                    </a:ext>
                  </a:extLst>
                </p:cNvPr>
                <p:cNvSpPr/>
                <p:nvPr/>
              </p:nvSpPr>
              <p:spPr bwMode="gray">
                <a:xfrm rot="16200000">
                  <a:off x="654515" y="3826414"/>
                  <a:ext cx="330945" cy="165475"/>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60" name="Group 1559">
                <a:extLst>
                  <a:ext uri="{FF2B5EF4-FFF2-40B4-BE49-F238E27FC236}">
                    <a16:creationId xmlns:a16="http://schemas.microsoft.com/office/drawing/2014/main" id="{8C3B980F-10CE-BD32-02A2-74D6AA2BF8DD}"/>
                  </a:ext>
                </a:extLst>
              </p:cNvPr>
              <p:cNvGrpSpPr/>
              <p:nvPr/>
            </p:nvGrpSpPr>
            <p:grpSpPr bwMode="gray">
              <a:xfrm>
                <a:off x="483841" y="3001402"/>
                <a:ext cx="217144" cy="217146"/>
                <a:chOff x="571776" y="4074619"/>
                <a:chExt cx="330950" cy="330953"/>
              </a:xfrm>
              <a:solidFill>
                <a:schemeClr val="bg1"/>
              </a:solidFill>
            </p:grpSpPr>
            <p:sp>
              <p:nvSpPr>
                <p:cNvPr id="2103" name="dfine_grid_single_shape_frame">
                  <a:extLst>
                    <a:ext uri="{FF2B5EF4-FFF2-40B4-BE49-F238E27FC236}">
                      <a16:creationId xmlns:a16="http://schemas.microsoft.com/office/drawing/2014/main" id="{0014E493-0A0E-9A47-D63F-509CEA7492DF}"/>
                    </a:ext>
                  </a:extLst>
                </p:cNvPr>
                <p:cNvSpPr/>
                <p:nvPr/>
              </p:nvSpPr>
              <p:spPr bwMode="gray">
                <a:xfrm>
                  <a:off x="571781" y="4074624"/>
                  <a:ext cx="330945" cy="330945"/>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04" name="Triangle_1">
                  <a:extLst>
                    <a:ext uri="{FF2B5EF4-FFF2-40B4-BE49-F238E27FC236}">
                      <a16:creationId xmlns:a16="http://schemas.microsoft.com/office/drawing/2014/main" id="{5B4623F1-1540-D60C-8D98-301D84D49A4B}"/>
                    </a:ext>
                  </a:extLst>
                </p:cNvPr>
                <p:cNvSpPr/>
                <p:nvPr/>
              </p:nvSpPr>
              <p:spPr bwMode="gray">
                <a:xfrm rot="10800000">
                  <a:off x="571781" y="4074624"/>
                  <a:ext cx="330945"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05" name="Triangle_2">
                  <a:extLst>
                    <a:ext uri="{FF2B5EF4-FFF2-40B4-BE49-F238E27FC236}">
                      <a16:creationId xmlns:a16="http://schemas.microsoft.com/office/drawing/2014/main" id="{38C70B13-7620-322B-677F-575F5C3AF6B0}"/>
                    </a:ext>
                  </a:extLst>
                </p:cNvPr>
                <p:cNvSpPr/>
                <p:nvPr/>
              </p:nvSpPr>
              <p:spPr bwMode="gray">
                <a:xfrm>
                  <a:off x="571781" y="4240099"/>
                  <a:ext cx="330945"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2106" name="Triangle_3">
                  <a:extLst>
                    <a:ext uri="{FF2B5EF4-FFF2-40B4-BE49-F238E27FC236}">
                      <a16:creationId xmlns:a16="http://schemas.microsoft.com/office/drawing/2014/main" id="{50422266-5A67-1497-81A4-E2F4A7DE1D6F}"/>
                    </a:ext>
                  </a:extLst>
                </p:cNvPr>
                <p:cNvSpPr/>
                <p:nvPr/>
              </p:nvSpPr>
              <p:spPr bwMode="gray">
                <a:xfrm rot="5400000">
                  <a:off x="489040" y="4157355"/>
                  <a:ext cx="330945"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07" name="Triangle_4">
                  <a:extLst>
                    <a:ext uri="{FF2B5EF4-FFF2-40B4-BE49-F238E27FC236}">
                      <a16:creationId xmlns:a16="http://schemas.microsoft.com/office/drawing/2014/main" id="{1568B5CC-990A-0EF5-AD0C-B9946DC8C2B6}"/>
                    </a:ext>
                  </a:extLst>
                </p:cNvPr>
                <p:cNvSpPr/>
                <p:nvPr/>
              </p:nvSpPr>
              <p:spPr bwMode="gray">
                <a:xfrm rot="16200000">
                  <a:off x="654515" y="4157361"/>
                  <a:ext cx="330945" cy="165475"/>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61" name="Group 1560">
                <a:extLst>
                  <a:ext uri="{FF2B5EF4-FFF2-40B4-BE49-F238E27FC236}">
                    <a16:creationId xmlns:a16="http://schemas.microsoft.com/office/drawing/2014/main" id="{B17CDAC8-E81B-DF3D-DED6-E59EECB536A3}"/>
                  </a:ext>
                </a:extLst>
              </p:cNvPr>
              <p:cNvGrpSpPr/>
              <p:nvPr/>
            </p:nvGrpSpPr>
            <p:grpSpPr bwMode="gray">
              <a:xfrm>
                <a:off x="700982" y="1698551"/>
                <a:ext cx="217142" cy="217142"/>
                <a:chOff x="902726" y="2088942"/>
                <a:chExt cx="330948" cy="330948"/>
              </a:xfrm>
              <a:solidFill>
                <a:schemeClr val="bg1"/>
              </a:solidFill>
            </p:grpSpPr>
            <p:sp>
              <p:nvSpPr>
                <p:cNvPr id="2098" name="dfine_grid_single_shape_frame">
                  <a:extLst>
                    <a:ext uri="{FF2B5EF4-FFF2-40B4-BE49-F238E27FC236}">
                      <a16:creationId xmlns:a16="http://schemas.microsoft.com/office/drawing/2014/main" id="{CE037784-E96F-6D76-0181-502C54A9C181}"/>
                    </a:ext>
                  </a:extLst>
                </p:cNvPr>
                <p:cNvSpPr/>
                <p:nvPr>
                  <p:custDataLst>
                    <p:tags r:id="rId20"/>
                  </p:custDataLst>
                </p:nvPr>
              </p:nvSpPr>
              <p:spPr bwMode="gray">
                <a:xfrm>
                  <a:off x="902726" y="2088942"/>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99" name="Triangle_1">
                  <a:extLst>
                    <a:ext uri="{FF2B5EF4-FFF2-40B4-BE49-F238E27FC236}">
                      <a16:creationId xmlns:a16="http://schemas.microsoft.com/office/drawing/2014/main" id="{ACED6DDF-2A80-CDE2-475B-D6BCEE11B296}"/>
                    </a:ext>
                  </a:extLst>
                </p:cNvPr>
                <p:cNvSpPr/>
                <p:nvPr/>
              </p:nvSpPr>
              <p:spPr bwMode="gray">
                <a:xfrm rot="10800000">
                  <a:off x="902726" y="2088942"/>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00" name="Triangle_2">
                  <a:extLst>
                    <a:ext uri="{FF2B5EF4-FFF2-40B4-BE49-F238E27FC236}">
                      <a16:creationId xmlns:a16="http://schemas.microsoft.com/office/drawing/2014/main" id="{DCAB4F2B-9763-7486-BC7A-9E54635ACE02}"/>
                    </a:ext>
                  </a:extLst>
                </p:cNvPr>
                <p:cNvSpPr/>
                <p:nvPr/>
              </p:nvSpPr>
              <p:spPr bwMode="gray">
                <a:xfrm>
                  <a:off x="902726" y="2254416"/>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01" name="Triangle_3">
                  <a:extLst>
                    <a:ext uri="{FF2B5EF4-FFF2-40B4-BE49-F238E27FC236}">
                      <a16:creationId xmlns:a16="http://schemas.microsoft.com/office/drawing/2014/main" id="{976ADE26-128B-BA1B-5F48-ECD6FA0E3B07}"/>
                    </a:ext>
                  </a:extLst>
                </p:cNvPr>
                <p:cNvSpPr/>
                <p:nvPr/>
              </p:nvSpPr>
              <p:spPr bwMode="gray">
                <a:xfrm rot="5400000">
                  <a:off x="819990" y="217168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102" name="Triangle_4">
                  <a:extLst>
                    <a:ext uri="{FF2B5EF4-FFF2-40B4-BE49-F238E27FC236}">
                      <a16:creationId xmlns:a16="http://schemas.microsoft.com/office/drawing/2014/main" id="{6A8A322F-6649-672F-A91D-13A5DAB7FC5C}"/>
                    </a:ext>
                  </a:extLst>
                </p:cNvPr>
                <p:cNvSpPr/>
                <p:nvPr/>
              </p:nvSpPr>
              <p:spPr bwMode="gray">
                <a:xfrm rot="16200000">
                  <a:off x="985464" y="217168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62" name="Group 1561">
                <a:extLst>
                  <a:ext uri="{FF2B5EF4-FFF2-40B4-BE49-F238E27FC236}">
                    <a16:creationId xmlns:a16="http://schemas.microsoft.com/office/drawing/2014/main" id="{4E48969B-8A61-1EA6-1B49-796D41169EB0}"/>
                  </a:ext>
                </a:extLst>
              </p:cNvPr>
              <p:cNvGrpSpPr/>
              <p:nvPr/>
            </p:nvGrpSpPr>
            <p:grpSpPr bwMode="gray">
              <a:xfrm>
                <a:off x="700982" y="1915692"/>
                <a:ext cx="217142" cy="217142"/>
                <a:chOff x="902726" y="2419889"/>
                <a:chExt cx="330948" cy="330948"/>
              </a:xfrm>
              <a:solidFill>
                <a:schemeClr val="bg1"/>
              </a:solidFill>
            </p:grpSpPr>
            <p:sp>
              <p:nvSpPr>
                <p:cNvPr id="2093" name="dfine_grid_single_shape_frame">
                  <a:extLst>
                    <a:ext uri="{FF2B5EF4-FFF2-40B4-BE49-F238E27FC236}">
                      <a16:creationId xmlns:a16="http://schemas.microsoft.com/office/drawing/2014/main" id="{FFB03C21-AD15-798D-6B57-AACD42A2AF90}"/>
                    </a:ext>
                  </a:extLst>
                </p:cNvPr>
                <p:cNvSpPr/>
                <p:nvPr>
                  <p:custDataLst>
                    <p:tags r:id="rId19"/>
                  </p:custDataLst>
                </p:nvPr>
              </p:nvSpPr>
              <p:spPr bwMode="gray">
                <a:xfrm>
                  <a:off x="902726" y="2419889"/>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94" name="Triangle_1">
                  <a:extLst>
                    <a:ext uri="{FF2B5EF4-FFF2-40B4-BE49-F238E27FC236}">
                      <a16:creationId xmlns:a16="http://schemas.microsoft.com/office/drawing/2014/main" id="{99A77EA5-448E-3D0B-A242-84D5A7422080}"/>
                    </a:ext>
                  </a:extLst>
                </p:cNvPr>
                <p:cNvSpPr/>
                <p:nvPr/>
              </p:nvSpPr>
              <p:spPr bwMode="gray">
                <a:xfrm rot="10800000">
                  <a:off x="902726" y="2419889"/>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95" name="Triangle_2">
                  <a:extLst>
                    <a:ext uri="{FF2B5EF4-FFF2-40B4-BE49-F238E27FC236}">
                      <a16:creationId xmlns:a16="http://schemas.microsoft.com/office/drawing/2014/main" id="{5A65BA9A-C604-AAAB-1E84-AE673BC7F924}"/>
                    </a:ext>
                  </a:extLst>
                </p:cNvPr>
                <p:cNvSpPr/>
                <p:nvPr/>
              </p:nvSpPr>
              <p:spPr bwMode="gray">
                <a:xfrm>
                  <a:off x="902726" y="2585363"/>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96" name="Triangle_3">
                  <a:extLst>
                    <a:ext uri="{FF2B5EF4-FFF2-40B4-BE49-F238E27FC236}">
                      <a16:creationId xmlns:a16="http://schemas.microsoft.com/office/drawing/2014/main" id="{7367C2C4-2071-3307-FE1F-4CF553FE085F}"/>
                    </a:ext>
                  </a:extLst>
                </p:cNvPr>
                <p:cNvSpPr/>
                <p:nvPr/>
              </p:nvSpPr>
              <p:spPr bwMode="gray">
                <a:xfrm rot="5400000">
                  <a:off x="819990" y="250262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97" name="Triangle_4">
                  <a:extLst>
                    <a:ext uri="{FF2B5EF4-FFF2-40B4-BE49-F238E27FC236}">
                      <a16:creationId xmlns:a16="http://schemas.microsoft.com/office/drawing/2014/main" id="{EF14B0B7-9D9A-FA0A-4911-DD1CDEDD9954}"/>
                    </a:ext>
                  </a:extLst>
                </p:cNvPr>
                <p:cNvSpPr/>
                <p:nvPr/>
              </p:nvSpPr>
              <p:spPr bwMode="gray">
                <a:xfrm rot="16200000">
                  <a:off x="985464" y="250262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grpSp>
          <p:grpSp>
            <p:nvGrpSpPr>
              <p:cNvPr id="1563" name="Group 1562">
                <a:extLst>
                  <a:ext uri="{FF2B5EF4-FFF2-40B4-BE49-F238E27FC236}">
                    <a16:creationId xmlns:a16="http://schemas.microsoft.com/office/drawing/2014/main" id="{7107F32B-FC3B-991C-314F-D87B7B2896E3}"/>
                  </a:ext>
                </a:extLst>
              </p:cNvPr>
              <p:cNvGrpSpPr/>
              <p:nvPr/>
            </p:nvGrpSpPr>
            <p:grpSpPr bwMode="gray">
              <a:xfrm>
                <a:off x="700982" y="2132833"/>
                <a:ext cx="217142" cy="217142"/>
                <a:chOff x="902726" y="2750836"/>
                <a:chExt cx="330948" cy="330948"/>
              </a:xfrm>
              <a:solidFill>
                <a:schemeClr val="bg1"/>
              </a:solidFill>
            </p:grpSpPr>
            <p:sp>
              <p:nvSpPr>
                <p:cNvPr id="2088" name="dfine_grid_single_shape_frame">
                  <a:extLst>
                    <a:ext uri="{FF2B5EF4-FFF2-40B4-BE49-F238E27FC236}">
                      <a16:creationId xmlns:a16="http://schemas.microsoft.com/office/drawing/2014/main" id="{A32E9135-5A1D-5505-293E-EB5062B68ED6}"/>
                    </a:ext>
                  </a:extLst>
                </p:cNvPr>
                <p:cNvSpPr/>
                <p:nvPr/>
              </p:nvSpPr>
              <p:spPr bwMode="gray">
                <a:xfrm>
                  <a:off x="902726" y="2750836"/>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89" name="Triangle_1">
                  <a:extLst>
                    <a:ext uri="{FF2B5EF4-FFF2-40B4-BE49-F238E27FC236}">
                      <a16:creationId xmlns:a16="http://schemas.microsoft.com/office/drawing/2014/main" id="{26CE5810-305E-3A48-8039-5C264BB5FD9C}"/>
                    </a:ext>
                  </a:extLst>
                </p:cNvPr>
                <p:cNvSpPr/>
                <p:nvPr/>
              </p:nvSpPr>
              <p:spPr bwMode="gray">
                <a:xfrm rot="10800000">
                  <a:off x="902726" y="2750836"/>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2090" name="Triangle_2">
                  <a:extLst>
                    <a:ext uri="{FF2B5EF4-FFF2-40B4-BE49-F238E27FC236}">
                      <a16:creationId xmlns:a16="http://schemas.microsoft.com/office/drawing/2014/main" id="{1263D3EE-031C-DEE7-B937-2137BE5F1D50}"/>
                    </a:ext>
                  </a:extLst>
                </p:cNvPr>
                <p:cNvSpPr/>
                <p:nvPr/>
              </p:nvSpPr>
              <p:spPr bwMode="gray">
                <a:xfrm>
                  <a:off x="902726" y="291631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91" name="Triangle_3">
                  <a:extLst>
                    <a:ext uri="{FF2B5EF4-FFF2-40B4-BE49-F238E27FC236}">
                      <a16:creationId xmlns:a16="http://schemas.microsoft.com/office/drawing/2014/main" id="{01F507FF-DEC6-461C-C0FA-D5E74B984377}"/>
                    </a:ext>
                  </a:extLst>
                </p:cNvPr>
                <p:cNvSpPr/>
                <p:nvPr/>
              </p:nvSpPr>
              <p:spPr bwMode="gray">
                <a:xfrm rot="5400000">
                  <a:off x="819990" y="283357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2092" name="Triangle_4">
                  <a:extLst>
                    <a:ext uri="{FF2B5EF4-FFF2-40B4-BE49-F238E27FC236}">
                      <a16:creationId xmlns:a16="http://schemas.microsoft.com/office/drawing/2014/main" id="{5A5BD737-D835-0BA6-8B42-60419D913572}"/>
                    </a:ext>
                  </a:extLst>
                </p:cNvPr>
                <p:cNvSpPr/>
                <p:nvPr/>
              </p:nvSpPr>
              <p:spPr bwMode="gray">
                <a:xfrm rot="16200000">
                  <a:off x="985464" y="283357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64" name="Group 1563">
                <a:extLst>
                  <a:ext uri="{FF2B5EF4-FFF2-40B4-BE49-F238E27FC236}">
                    <a16:creationId xmlns:a16="http://schemas.microsoft.com/office/drawing/2014/main" id="{F8DE49A1-4BF3-E9CA-DEA4-0294737E7E91}"/>
                  </a:ext>
                </a:extLst>
              </p:cNvPr>
              <p:cNvGrpSpPr/>
              <p:nvPr/>
            </p:nvGrpSpPr>
            <p:grpSpPr bwMode="gray">
              <a:xfrm>
                <a:off x="700982" y="2349974"/>
                <a:ext cx="217142" cy="217142"/>
                <a:chOff x="902726" y="3081783"/>
                <a:chExt cx="330948" cy="330948"/>
              </a:xfrm>
              <a:solidFill>
                <a:schemeClr val="bg1"/>
              </a:solidFill>
            </p:grpSpPr>
            <p:sp>
              <p:nvSpPr>
                <p:cNvPr id="2083" name="dfine_grid_single_shape_frame">
                  <a:extLst>
                    <a:ext uri="{FF2B5EF4-FFF2-40B4-BE49-F238E27FC236}">
                      <a16:creationId xmlns:a16="http://schemas.microsoft.com/office/drawing/2014/main" id="{E07C4FD1-31AA-0FDB-3353-23B30675069B}"/>
                    </a:ext>
                  </a:extLst>
                </p:cNvPr>
                <p:cNvSpPr/>
                <p:nvPr>
                  <p:custDataLst>
                    <p:tags r:id="rId18"/>
                  </p:custDataLst>
                </p:nvPr>
              </p:nvSpPr>
              <p:spPr bwMode="gray">
                <a:xfrm>
                  <a:off x="902726" y="3081783"/>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84" name="Triangle_1">
                  <a:extLst>
                    <a:ext uri="{FF2B5EF4-FFF2-40B4-BE49-F238E27FC236}">
                      <a16:creationId xmlns:a16="http://schemas.microsoft.com/office/drawing/2014/main" id="{A0556A46-9ADD-6022-BE50-F2955967C38B}"/>
                    </a:ext>
                  </a:extLst>
                </p:cNvPr>
                <p:cNvSpPr/>
                <p:nvPr/>
              </p:nvSpPr>
              <p:spPr bwMode="gray">
                <a:xfrm rot="10800000">
                  <a:off x="902726" y="3081783"/>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85" name="Triangle_2">
                  <a:extLst>
                    <a:ext uri="{FF2B5EF4-FFF2-40B4-BE49-F238E27FC236}">
                      <a16:creationId xmlns:a16="http://schemas.microsoft.com/office/drawing/2014/main" id="{54BC7D13-BA0D-8770-5ED7-A58B281102C1}"/>
                    </a:ext>
                  </a:extLst>
                </p:cNvPr>
                <p:cNvSpPr/>
                <p:nvPr/>
              </p:nvSpPr>
              <p:spPr bwMode="gray">
                <a:xfrm>
                  <a:off x="902726" y="324725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86" name="Triangle_3">
                  <a:extLst>
                    <a:ext uri="{FF2B5EF4-FFF2-40B4-BE49-F238E27FC236}">
                      <a16:creationId xmlns:a16="http://schemas.microsoft.com/office/drawing/2014/main" id="{EFF20EF6-FC4E-D4A3-A9D7-854595C2CD3B}"/>
                    </a:ext>
                  </a:extLst>
                </p:cNvPr>
                <p:cNvSpPr/>
                <p:nvPr/>
              </p:nvSpPr>
              <p:spPr bwMode="gray">
                <a:xfrm rot="5400000">
                  <a:off x="819990" y="316452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87" name="Triangle_4">
                  <a:extLst>
                    <a:ext uri="{FF2B5EF4-FFF2-40B4-BE49-F238E27FC236}">
                      <a16:creationId xmlns:a16="http://schemas.microsoft.com/office/drawing/2014/main" id="{D893781F-710D-6249-9306-BED964699861}"/>
                    </a:ext>
                  </a:extLst>
                </p:cNvPr>
                <p:cNvSpPr/>
                <p:nvPr/>
              </p:nvSpPr>
              <p:spPr bwMode="gray">
                <a:xfrm rot="16200000">
                  <a:off x="985464" y="316452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65" name="Group 1564">
                <a:extLst>
                  <a:ext uri="{FF2B5EF4-FFF2-40B4-BE49-F238E27FC236}">
                    <a16:creationId xmlns:a16="http://schemas.microsoft.com/office/drawing/2014/main" id="{989F50EA-FDD2-FFDF-7357-B8067FBD620B}"/>
                  </a:ext>
                </a:extLst>
              </p:cNvPr>
              <p:cNvGrpSpPr/>
              <p:nvPr/>
            </p:nvGrpSpPr>
            <p:grpSpPr bwMode="gray">
              <a:xfrm>
                <a:off x="700982" y="2784256"/>
                <a:ext cx="217142" cy="217142"/>
                <a:chOff x="902726" y="3743677"/>
                <a:chExt cx="330948" cy="330948"/>
              </a:xfrm>
              <a:solidFill>
                <a:schemeClr val="bg1"/>
              </a:solidFill>
            </p:grpSpPr>
            <p:sp>
              <p:nvSpPr>
                <p:cNvPr id="2078" name="dfine_grid_single_shape_frame">
                  <a:extLst>
                    <a:ext uri="{FF2B5EF4-FFF2-40B4-BE49-F238E27FC236}">
                      <a16:creationId xmlns:a16="http://schemas.microsoft.com/office/drawing/2014/main" id="{FAFECBF2-3007-AC6F-FE28-0BC111F16C20}"/>
                    </a:ext>
                  </a:extLst>
                </p:cNvPr>
                <p:cNvSpPr/>
                <p:nvPr/>
              </p:nvSpPr>
              <p:spPr bwMode="gray">
                <a:xfrm>
                  <a:off x="902726" y="3743677"/>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79" name="Triangle_1">
                  <a:extLst>
                    <a:ext uri="{FF2B5EF4-FFF2-40B4-BE49-F238E27FC236}">
                      <a16:creationId xmlns:a16="http://schemas.microsoft.com/office/drawing/2014/main" id="{75FCA6B7-B415-9EEA-DAF2-037CC846D4AD}"/>
                    </a:ext>
                  </a:extLst>
                </p:cNvPr>
                <p:cNvSpPr/>
                <p:nvPr/>
              </p:nvSpPr>
              <p:spPr bwMode="gray">
                <a:xfrm rot="10800000">
                  <a:off x="902726" y="374367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80" name="Triangle_2">
                  <a:extLst>
                    <a:ext uri="{FF2B5EF4-FFF2-40B4-BE49-F238E27FC236}">
                      <a16:creationId xmlns:a16="http://schemas.microsoft.com/office/drawing/2014/main" id="{EF7F7152-7F26-008A-7EE2-8666CB5BDC3D}"/>
                    </a:ext>
                  </a:extLst>
                </p:cNvPr>
                <p:cNvSpPr/>
                <p:nvPr/>
              </p:nvSpPr>
              <p:spPr bwMode="gray">
                <a:xfrm>
                  <a:off x="902726" y="390915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81" name="Triangle_3">
                  <a:extLst>
                    <a:ext uri="{FF2B5EF4-FFF2-40B4-BE49-F238E27FC236}">
                      <a16:creationId xmlns:a16="http://schemas.microsoft.com/office/drawing/2014/main" id="{A94F4710-1C2D-1E02-5DE8-BE2AEFE66911}"/>
                    </a:ext>
                  </a:extLst>
                </p:cNvPr>
                <p:cNvSpPr/>
                <p:nvPr/>
              </p:nvSpPr>
              <p:spPr bwMode="gray">
                <a:xfrm rot="5400000">
                  <a:off x="819990" y="3826415"/>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82" name="Triangle_4">
                  <a:extLst>
                    <a:ext uri="{FF2B5EF4-FFF2-40B4-BE49-F238E27FC236}">
                      <a16:creationId xmlns:a16="http://schemas.microsoft.com/office/drawing/2014/main" id="{3F6DFD83-3B9B-D881-6D57-169A8BB0ADDB}"/>
                    </a:ext>
                  </a:extLst>
                </p:cNvPr>
                <p:cNvSpPr/>
                <p:nvPr/>
              </p:nvSpPr>
              <p:spPr bwMode="gray">
                <a:xfrm rot="16200000">
                  <a:off x="985464" y="3826415"/>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grpSp>
          <p:grpSp>
            <p:nvGrpSpPr>
              <p:cNvPr id="1566" name="Group 1565">
                <a:extLst>
                  <a:ext uri="{FF2B5EF4-FFF2-40B4-BE49-F238E27FC236}">
                    <a16:creationId xmlns:a16="http://schemas.microsoft.com/office/drawing/2014/main" id="{AE31FA59-BCB6-5297-6CC7-8BD43A77B7B9}"/>
                  </a:ext>
                </a:extLst>
              </p:cNvPr>
              <p:cNvGrpSpPr/>
              <p:nvPr/>
            </p:nvGrpSpPr>
            <p:grpSpPr bwMode="gray">
              <a:xfrm>
                <a:off x="700982" y="3001397"/>
                <a:ext cx="217142" cy="217142"/>
                <a:chOff x="902726" y="4074624"/>
                <a:chExt cx="330948" cy="330948"/>
              </a:xfrm>
              <a:solidFill>
                <a:schemeClr val="bg1"/>
              </a:solidFill>
            </p:grpSpPr>
            <p:sp>
              <p:nvSpPr>
                <p:cNvPr id="2073" name="dfine_grid_single_shape_frame">
                  <a:extLst>
                    <a:ext uri="{FF2B5EF4-FFF2-40B4-BE49-F238E27FC236}">
                      <a16:creationId xmlns:a16="http://schemas.microsoft.com/office/drawing/2014/main" id="{82F44D4E-C066-6861-6D75-9CC785CCB486}"/>
                    </a:ext>
                  </a:extLst>
                </p:cNvPr>
                <p:cNvSpPr/>
                <p:nvPr/>
              </p:nvSpPr>
              <p:spPr bwMode="gray">
                <a:xfrm>
                  <a:off x="902726" y="4074624"/>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74" name="Triangle_1">
                  <a:extLst>
                    <a:ext uri="{FF2B5EF4-FFF2-40B4-BE49-F238E27FC236}">
                      <a16:creationId xmlns:a16="http://schemas.microsoft.com/office/drawing/2014/main" id="{DA59B4D7-2CC7-46F4-F4FC-2A7C252428B4}"/>
                    </a:ext>
                  </a:extLst>
                </p:cNvPr>
                <p:cNvSpPr/>
                <p:nvPr/>
              </p:nvSpPr>
              <p:spPr bwMode="gray">
                <a:xfrm rot="10800000">
                  <a:off x="902726" y="407462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75" name="Triangle_2">
                  <a:extLst>
                    <a:ext uri="{FF2B5EF4-FFF2-40B4-BE49-F238E27FC236}">
                      <a16:creationId xmlns:a16="http://schemas.microsoft.com/office/drawing/2014/main" id="{BFDEC452-0250-7905-767A-CF9C54D33D83}"/>
                    </a:ext>
                  </a:extLst>
                </p:cNvPr>
                <p:cNvSpPr/>
                <p:nvPr/>
              </p:nvSpPr>
              <p:spPr bwMode="gray">
                <a:xfrm>
                  <a:off x="902726" y="4240098"/>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76" name="Triangle_3">
                  <a:extLst>
                    <a:ext uri="{FF2B5EF4-FFF2-40B4-BE49-F238E27FC236}">
                      <a16:creationId xmlns:a16="http://schemas.microsoft.com/office/drawing/2014/main" id="{318FDDA6-E047-BACD-E6A8-E40E4C4B75E1}"/>
                    </a:ext>
                  </a:extLst>
                </p:cNvPr>
                <p:cNvSpPr/>
                <p:nvPr/>
              </p:nvSpPr>
              <p:spPr bwMode="gray">
                <a:xfrm rot="5400000">
                  <a:off x="819990" y="4157362"/>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77" name="Triangle_4">
                  <a:extLst>
                    <a:ext uri="{FF2B5EF4-FFF2-40B4-BE49-F238E27FC236}">
                      <a16:creationId xmlns:a16="http://schemas.microsoft.com/office/drawing/2014/main" id="{C90DBF2C-5674-09DE-73C9-4AF6AFEF8577}"/>
                    </a:ext>
                  </a:extLst>
                </p:cNvPr>
                <p:cNvSpPr/>
                <p:nvPr/>
              </p:nvSpPr>
              <p:spPr bwMode="gray">
                <a:xfrm rot="16200000">
                  <a:off x="985464" y="4157362"/>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sp>
            <p:nvSpPr>
              <p:cNvPr id="1567" name="Triangle_2">
                <a:extLst>
                  <a:ext uri="{FF2B5EF4-FFF2-40B4-BE49-F238E27FC236}">
                    <a16:creationId xmlns:a16="http://schemas.microsoft.com/office/drawing/2014/main" id="{A3F8176A-609A-0E05-27CD-07AF309B0551}"/>
                  </a:ext>
                </a:extLst>
              </p:cNvPr>
              <p:cNvSpPr/>
              <p:nvPr/>
            </p:nvSpPr>
            <p:spPr bwMode="gray">
              <a:xfrm>
                <a:off x="920750" y="2459127"/>
                <a:ext cx="217141" cy="108571"/>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568" name="Triangle_2">
                <a:extLst>
                  <a:ext uri="{FF2B5EF4-FFF2-40B4-BE49-F238E27FC236}">
                    <a16:creationId xmlns:a16="http://schemas.microsoft.com/office/drawing/2014/main" id="{7F450039-14EF-BD3C-A05E-FF7A5E009472}"/>
                  </a:ext>
                </a:extLst>
              </p:cNvPr>
              <p:cNvSpPr/>
              <p:nvPr/>
            </p:nvSpPr>
            <p:spPr bwMode="gray">
              <a:xfrm>
                <a:off x="700982" y="2024262"/>
                <a:ext cx="217141" cy="108571"/>
              </a:xfrm>
              <a:prstGeom prst="triangle">
                <a:avLst/>
              </a:pr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1569" name="Triangle_3">
                <a:extLst>
                  <a:ext uri="{FF2B5EF4-FFF2-40B4-BE49-F238E27FC236}">
                    <a16:creationId xmlns:a16="http://schemas.microsoft.com/office/drawing/2014/main" id="{C5997BEB-AE4A-27D6-CB9E-14E9EA9ED265}"/>
                  </a:ext>
                </a:extLst>
              </p:cNvPr>
              <p:cNvSpPr/>
              <p:nvPr/>
            </p:nvSpPr>
            <p:spPr bwMode="gray">
              <a:xfrm rot="10800000">
                <a:off x="266700" y="1698551"/>
                <a:ext cx="217141" cy="108571"/>
              </a:xfrm>
              <a:prstGeom prst="triangle">
                <a:avLst/>
              </a:pr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570" name="Triangle_2">
                <a:extLst>
                  <a:ext uri="{FF2B5EF4-FFF2-40B4-BE49-F238E27FC236}">
                    <a16:creationId xmlns:a16="http://schemas.microsoft.com/office/drawing/2014/main" id="{D7813E11-CC1C-6CB1-1409-F6C3CE0108E3}"/>
                  </a:ext>
                </a:extLst>
              </p:cNvPr>
              <p:cNvSpPr/>
              <p:nvPr/>
            </p:nvSpPr>
            <p:spPr bwMode="gray">
              <a:xfrm>
                <a:off x="266700" y="1807121"/>
                <a:ext cx="217141" cy="108571"/>
              </a:xfrm>
              <a:prstGeom prst="triangle">
                <a:avLst/>
              </a:pr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571" name="Triangle_3">
                <a:extLst>
                  <a:ext uri="{FF2B5EF4-FFF2-40B4-BE49-F238E27FC236}">
                    <a16:creationId xmlns:a16="http://schemas.microsoft.com/office/drawing/2014/main" id="{4CA5E04E-D79F-D036-ECAD-725789708D9F}"/>
                  </a:ext>
                </a:extLst>
              </p:cNvPr>
              <p:cNvSpPr/>
              <p:nvPr/>
            </p:nvSpPr>
            <p:spPr bwMode="gray">
              <a:xfrm rot="10800000">
                <a:off x="266700" y="1915692"/>
                <a:ext cx="217141" cy="108571"/>
              </a:xfrm>
              <a:prstGeom prst="triangle">
                <a:avLst/>
              </a:pr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572" name="Triangle_1">
                <a:extLst>
                  <a:ext uri="{FF2B5EF4-FFF2-40B4-BE49-F238E27FC236}">
                    <a16:creationId xmlns:a16="http://schemas.microsoft.com/office/drawing/2014/main" id="{42DDE455-93B8-CDC6-2237-3D49F13DE62F}"/>
                  </a:ext>
                </a:extLst>
              </p:cNvPr>
              <p:cNvSpPr/>
              <p:nvPr/>
            </p:nvSpPr>
            <p:spPr bwMode="gray">
              <a:xfrm rot="10800000">
                <a:off x="483841" y="2567115"/>
                <a:ext cx="217141" cy="108571"/>
              </a:xfrm>
              <a:prstGeom prst="triangle">
                <a:avLst/>
              </a:pr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1573" name="Triangle_2">
                <a:extLst>
                  <a:ext uri="{FF2B5EF4-FFF2-40B4-BE49-F238E27FC236}">
                    <a16:creationId xmlns:a16="http://schemas.microsoft.com/office/drawing/2014/main" id="{F9EE2529-E83C-0AC8-8990-D6BEA9CC03B9}"/>
                  </a:ext>
                </a:extLst>
              </p:cNvPr>
              <p:cNvSpPr/>
              <p:nvPr/>
            </p:nvSpPr>
            <p:spPr bwMode="gray">
              <a:xfrm>
                <a:off x="700982" y="2458545"/>
                <a:ext cx="217141" cy="108571"/>
              </a:xfrm>
              <a:prstGeom prst="triangle">
                <a:avLst/>
              </a:pr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574" name="Triangle_2">
                <a:extLst>
                  <a:ext uri="{FF2B5EF4-FFF2-40B4-BE49-F238E27FC236}">
                    <a16:creationId xmlns:a16="http://schemas.microsoft.com/office/drawing/2014/main" id="{10281C6E-9FA2-95FC-82C9-C5D66DBAA44D}"/>
                  </a:ext>
                </a:extLst>
              </p:cNvPr>
              <p:cNvSpPr/>
              <p:nvPr/>
            </p:nvSpPr>
            <p:spPr bwMode="gray">
              <a:xfrm>
                <a:off x="266700" y="2241403"/>
                <a:ext cx="217141" cy="108571"/>
              </a:xfrm>
              <a:prstGeom prst="triangle">
                <a:avLst/>
              </a:prstGeom>
              <a:solidFill>
                <a:schemeClr val="accent6"/>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nvGrpSpPr>
              <p:cNvPr id="1575" name="Group 1574">
                <a:extLst>
                  <a:ext uri="{FF2B5EF4-FFF2-40B4-BE49-F238E27FC236}">
                    <a16:creationId xmlns:a16="http://schemas.microsoft.com/office/drawing/2014/main" id="{D0F74998-E9FD-3440-037E-99F0BA1ECEDA}"/>
                  </a:ext>
                </a:extLst>
              </p:cNvPr>
              <p:cNvGrpSpPr/>
              <p:nvPr/>
            </p:nvGrpSpPr>
            <p:grpSpPr bwMode="gray">
              <a:xfrm>
                <a:off x="700982" y="3218539"/>
                <a:ext cx="217142" cy="217142"/>
                <a:chOff x="902726" y="2419889"/>
                <a:chExt cx="330948" cy="330948"/>
              </a:xfrm>
              <a:solidFill>
                <a:schemeClr val="bg1"/>
              </a:solidFill>
            </p:grpSpPr>
            <p:sp>
              <p:nvSpPr>
                <p:cNvPr id="2068" name="dfine_grid_single_shape_frame">
                  <a:extLst>
                    <a:ext uri="{FF2B5EF4-FFF2-40B4-BE49-F238E27FC236}">
                      <a16:creationId xmlns:a16="http://schemas.microsoft.com/office/drawing/2014/main" id="{9C061025-50C7-84F2-E3C3-DB3837B04420}"/>
                    </a:ext>
                  </a:extLst>
                </p:cNvPr>
                <p:cNvSpPr/>
                <p:nvPr/>
              </p:nvSpPr>
              <p:spPr bwMode="gray">
                <a:xfrm>
                  <a:off x="902726" y="2419889"/>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69" name="Triangle_1">
                  <a:extLst>
                    <a:ext uri="{FF2B5EF4-FFF2-40B4-BE49-F238E27FC236}">
                      <a16:creationId xmlns:a16="http://schemas.microsoft.com/office/drawing/2014/main" id="{ACCFD7A0-0EF9-AAA0-697F-139BE70D0F12}"/>
                    </a:ext>
                  </a:extLst>
                </p:cNvPr>
                <p:cNvSpPr/>
                <p:nvPr/>
              </p:nvSpPr>
              <p:spPr bwMode="gray">
                <a:xfrm rot="10800000">
                  <a:off x="902726" y="2419889"/>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70" name="Triangle_2">
                  <a:extLst>
                    <a:ext uri="{FF2B5EF4-FFF2-40B4-BE49-F238E27FC236}">
                      <a16:creationId xmlns:a16="http://schemas.microsoft.com/office/drawing/2014/main" id="{E134C338-3476-2F48-8C20-20A237543615}"/>
                    </a:ext>
                  </a:extLst>
                </p:cNvPr>
                <p:cNvSpPr/>
                <p:nvPr/>
              </p:nvSpPr>
              <p:spPr bwMode="gray">
                <a:xfrm>
                  <a:off x="902726" y="2585363"/>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71" name="Triangle_3">
                  <a:extLst>
                    <a:ext uri="{FF2B5EF4-FFF2-40B4-BE49-F238E27FC236}">
                      <a16:creationId xmlns:a16="http://schemas.microsoft.com/office/drawing/2014/main" id="{BBD7B242-3663-C239-FB90-52385952A947}"/>
                    </a:ext>
                  </a:extLst>
                </p:cNvPr>
                <p:cNvSpPr/>
                <p:nvPr/>
              </p:nvSpPr>
              <p:spPr bwMode="gray">
                <a:xfrm rot="5400000">
                  <a:off x="819990" y="250262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72" name="Triangle_4">
                  <a:extLst>
                    <a:ext uri="{FF2B5EF4-FFF2-40B4-BE49-F238E27FC236}">
                      <a16:creationId xmlns:a16="http://schemas.microsoft.com/office/drawing/2014/main" id="{D6F83DC9-63E5-627A-4BD6-EB80E5F49FF9}"/>
                    </a:ext>
                  </a:extLst>
                </p:cNvPr>
                <p:cNvSpPr/>
                <p:nvPr/>
              </p:nvSpPr>
              <p:spPr bwMode="gray">
                <a:xfrm rot="16200000">
                  <a:off x="985464" y="250262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76" name="Group 1575">
                <a:extLst>
                  <a:ext uri="{FF2B5EF4-FFF2-40B4-BE49-F238E27FC236}">
                    <a16:creationId xmlns:a16="http://schemas.microsoft.com/office/drawing/2014/main" id="{7389329D-4B7B-749A-37B2-969244DCFF34}"/>
                  </a:ext>
                </a:extLst>
              </p:cNvPr>
              <p:cNvGrpSpPr/>
              <p:nvPr/>
            </p:nvGrpSpPr>
            <p:grpSpPr bwMode="gray">
              <a:xfrm>
                <a:off x="700982" y="3435680"/>
                <a:ext cx="217142" cy="217142"/>
                <a:chOff x="902726" y="2750836"/>
                <a:chExt cx="330948" cy="330948"/>
              </a:xfrm>
              <a:solidFill>
                <a:schemeClr val="bg1"/>
              </a:solidFill>
            </p:grpSpPr>
            <p:sp>
              <p:nvSpPr>
                <p:cNvPr id="2063" name="dfine_grid_single_shape_frame">
                  <a:extLst>
                    <a:ext uri="{FF2B5EF4-FFF2-40B4-BE49-F238E27FC236}">
                      <a16:creationId xmlns:a16="http://schemas.microsoft.com/office/drawing/2014/main" id="{6D3E8783-5081-B7FE-47EA-E4880FCA651F}"/>
                    </a:ext>
                  </a:extLst>
                </p:cNvPr>
                <p:cNvSpPr/>
                <p:nvPr/>
              </p:nvSpPr>
              <p:spPr bwMode="gray">
                <a:xfrm>
                  <a:off x="902726" y="2750836"/>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64" name="Triangle_1">
                  <a:extLst>
                    <a:ext uri="{FF2B5EF4-FFF2-40B4-BE49-F238E27FC236}">
                      <a16:creationId xmlns:a16="http://schemas.microsoft.com/office/drawing/2014/main" id="{464A0237-691B-E093-290D-2F4967A4BAE0}"/>
                    </a:ext>
                  </a:extLst>
                </p:cNvPr>
                <p:cNvSpPr/>
                <p:nvPr/>
              </p:nvSpPr>
              <p:spPr bwMode="gray">
                <a:xfrm rot="10800000">
                  <a:off x="902726" y="2750836"/>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65" name="Triangle_2">
                  <a:extLst>
                    <a:ext uri="{FF2B5EF4-FFF2-40B4-BE49-F238E27FC236}">
                      <a16:creationId xmlns:a16="http://schemas.microsoft.com/office/drawing/2014/main" id="{B73F067B-1325-2963-B46D-4EBFA1142173}"/>
                    </a:ext>
                  </a:extLst>
                </p:cNvPr>
                <p:cNvSpPr/>
                <p:nvPr/>
              </p:nvSpPr>
              <p:spPr bwMode="gray">
                <a:xfrm>
                  <a:off x="902726" y="291631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66" name="Triangle_3">
                  <a:extLst>
                    <a:ext uri="{FF2B5EF4-FFF2-40B4-BE49-F238E27FC236}">
                      <a16:creationId xmlns:a16="http://schemas.microsoft.com/office/drawing/2014/main" id="{B12DA227-8A28-5C6A-C1ED-6C7B0063C8A5}"/>
                    </a:ext>
                  </a:extLst>
                </p:cNvPr>
                <p:cNvSpPr/>
                <p:nvPr/>
              </p:nvSpPr>
              <p:spPr bwMode="gray">
                <a:xfrm rot="5400000">
                  <a:off x="819990" y="283357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67" name="Triangle_4">
                  <a:extLst>
                    <a:ext uri="{FF2B5EF4-FFF2-40B4-BE49-F238E27FC236}">
                      <a16:creationId xmlns:a16="http://schemas.microsoft.com/office/drawing/2014/main" id="{9E0E7A93-52A9-5774-EAAD-0FD4D58F77CC}"/>
                    </a:ext>
                  </a:extLst>
                </p:cNvPr>
                <p:cNvSpPr/>
                <p:nvPr/>
              </p:nvSpPr>
              <p:spPr bwMode="gray">
                <a:xfrm rot="16200000">
                  <a:off x="985464" y="283357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77" name="Group 1576">
                <a:extLst>
                  <a:ext uri="{FF2B5EF4-FFF2-40B4-BE49-F238E27FC236}">
                    <a16:creationId xmlns:a16="http://schemas.microsoft.com/office/drawing/2014/main" id="{C3E093BB-F079-2ED3-F59C-F90946BAAC84}"/>
                  </a:ext>
                </a:extLst>
              </p:cNvPr>
              <p:cNvGrpSpPr/>
              <p:nvPr/>
            </p:nvGrpSpPr>
            <p:grpSpPr bwMode="gray">
              <a:xfrm>
                <a:off x="700982" y="3652821"/>
                <a:ext cx="217142" cy="217142"/>
                <a:chOff x="902726" y="3081783"/>
                <a:chExt cx="330948" cy="330948"/>
              </a:xfrm>
              <a:solidFill>
                <a:schemeClr val="bg1"/>
              </a:solidFill>
            </p:grpSpPr>
            <p:sp>
              <p:nvSpPr>
                <p:cNvPr id="2058" name="dfine_grid_single_shape_frame">
                  <a:extLst>
                    <a:ext uri="{FF2B5EF4-FFF2-40B4-BE49-F238E27FC236}">
                      <a16:creationId xmlns:a16="http://schemas.microsoft.com/office/drawing/2014/main" id="{A00DC428-5DDD-36FF-6C86-5072E3FD0427}"/>
                    </a:ext>
                  </a:extLst>
                </p:cNvPr>
                <p:cNvSpPr/>
                <p:nvPr/>
              </p:nvSpPr>
              <p:spPr bwMode="gray">
                <a:xfrm>
                  <a:off x="902726" y="3081783"/>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59" name="Triangle_1">
                  <a:extLst>
                    <a:ext uri="{FF2B5EF4-FFF2-40B4-BE49-F238E27FC236}">
                      <a16:creationId xmlns:a16="http://schemas.microsoft.com/office/drawing/2014/main" id="{5A5B907E-7D09-EFAF-4DAE-37BE31F0EA6C}"/>
                    </a:ext>
                  </a:extLst>
                </p:cNvPr>
                <p:cNvSpPr/>
                <p:nvPr/>
              </p:nvSpPr>
              <p:spPr bwMode="gray">
                <a:xfrm rot="10800000">
                  <a:off x="902726" y="3081783"/>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60" name="Triangle_2">
                  <a:extLst>
                    <a:ext uri="{FF2B5EF4-FFF2-40B4-BE49-F238E27FC236}">
                      <a16:creationId xmlns:a16="http://schemas.microsoft.com/office/drawing/2014/main" id="{4A3BCC03-C642-3183-9223-7325CC7CED9F}"/>
                    </a:ext>
                  </a:extLst>
                </p:cNvPr>
                <p:cNvSpPr/>
                <p:nvPr/>
              </p:nvSpPr>
              <p:spPr bwMode="gray">
                <a:xfrm>
                  <a:off x="902726" y="324725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61" name="Triangle_3">
                  <a:extLst>
                    <a:ext uri="{FF2B5EF4-FFF2-40B4-BE49-F238E27FC236}">
                      <a16:creationId xmlns:a16="http://schemas.microsoft.com/office/drawing/2014/main" id="{D6034B3D-0CE5-A53A-7093-C945F8A10B55}"/>
                    </a:ext>
                  </a:extLst>
                </p:cNvPr>
                <p:cNvSpPr/>
                <p:nvPr/>
              </p:nvSpPr>
              <p:spPr bwMode="gray">
                <a:xfrm rot="5400000">
                  <a:off x="819990" y="316452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62" name="Triangle_4">
                  <a:extLst>
                    <a:ext uri="{FF2B5EF4-FFF2-40B4-BE49-F238E27FC236}">
                      <a16:creationId xmlns:a16="http://schemas.microsoft.com/office/drawing/2014/main" id="{08609D1A-E90E-AF0E-7454-45C8F72B6C06}"/>
                    </a:ext>
                  </a:extLst>
                </p:cNvPr>
                <p:cNvSpPr/>
                <p:nvPr/>
              </p:nvSpPr>
              <p:spPr bwMode="gray">
                <a:xfrm rot="16200000">
                  <a:off x="985464" y="316452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78" name="Group 1577">
                <a:extLst>
                  <a:ext uri="{FF2B5EF4-FFF2-40B4-BE49-F238E27FC236}">
                    <a16:creationId xmlns:a16="http://schemas.microsoft.com/office/drawing/2014/main" id="{4FD10C16-8C50-17E4-BB80-C5899E76035B}"/>
                  </a:ext>
                </a:extLst>
              </p:cNvPr>
              <p:cNvGrpSpPr/>
              <p:nvPr/>
            </p:nvGrpSpPr>
            <p:grpSpPr bwMode="gray">
              <a:xfrm>
                <a:off x="700982" y="3869962"/>
                <a:ext cx="217142" cy="217142"/>
                <a:chOff x="902726" y="3412730"/>
                <a:chExt cx="330948" cy="330948"/>
              </a:xfrm>
              <a:solidFill>
                <a:schemeClr val="bg1"/>
              </a:solidFill>
            </p:grpSpPr>
            <p:sp>
              <p:nvSpPr>
                <p:cNvPr id="2053" name="dfine_grid_single_shape_frame">
                  <a:extLst>
                    <a:ext uri="{FF2B5EF4-FFF2-40B4-BE49-F238E27FC236}">
                      <a16:creationId xmlns:a16="http://schemas.microsoft.com/office/drawing/2014/main" id="{3C75725F-CCA0-9EC9-8C58-F8C00FB37330}"/>
                    </a:ext>
                  </a:extLst>
                </p:cNvPr>
                <p:cNvSpPr/>
                <p:nvPr/>
              </p:nvSpPr>
              <p:spPr bwMode="gray">
                <a:xfrm>
                  <a:off x="902726" y="3412730"/>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54" name="Triangle_1">
                  <a:extLst>
                    <a:ext uri="{FF2B5EF4-FFF2-40B4-BE49-F238E27FC236}">
                      <a16:creationId xmlns:a16="http://schemas.microsoft.com/office/drawing/2014/main" id="{2216A308-978A-19A2-9928-D91658B39198}"/>
                    </a:ext>
                  </a:extLst>
                </p:cNvPr>
                <p:cNvSpPr/>
                <p:nvPr/>
              </p:nvSpPr>
              <p:spPr bwMode="gray">
                <a:xfrm rot="10800000">
                  <a:off x="902726" y="341273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55" name="Triangle_2">
                  <a:extLst>
                    <a:ext uri="{FF2B5EF4-FFF2-40B4-BE49-F238E27FC236}">
                      <a16:creationId xmlns:a16="http://schemas.microsoft.com/office/drawing/2014/main" id="{0F3107B0-5E30-F253-4200-DF4C7F611ED6}"/>
                    </a:ext>
                  </a:extLst>
                </p:cNvPr>
                <p:cNvSpPr/>
                <p:nvPr/>
              </p:nvSpPr>
              <p:spPr bwMode="gray">
                <a:xfrm>
                  <a:off x="902726" y="357820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56" name="Triangle_3">
                  <a:extLst>
                    <a:ext uri="{FF2B5EF4-FFF2-40B4-BE49-F238E27FC236}">
                      <a16:creationId xmlns:a16="http://schemas.microsoft.com/office/drawing/2014/main" id="{88813256-775A-5C14-EE2D-1BD821224A37}"/>
                    </a:ext>
                  </a:extLst>
                </p:cNvPr>
                <p:cNvSpPr/>
                <p:nvPr/>
              </p:nvSpPr>
              <p:spPr bwMode="gray">
                <a:xfrm rot="5400000">
                  <a:off x="819990" y="3495468"/>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57" name="Triangle_4">
                  <a:extLst>
                    <a:ext uri="{FF2B5EF4-FFF2-40B4-BE49-F238E27FC236}">
                      <a16:creationId xmlns:a16="http://schemas.microsoft.com/office/drawing/2014/main" id="{FB952679-9650-8AF7-7B0B-79B4935319E5}"/>
                    </a:ext>
                  </a:extLst>
                </p:cNvPr>
                <p:cNvSpPr/>
                <p:nvPr/>
              </p:nvSpPr>
              <p:spPr bwMode="gray">
                <a:xfrm rot="16200000">
                  <a:off x="985464" y="3495468"/>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79" name="Group 1578">
                <a:extLst>
                  <a:ext uri="{FF2B5EF4-FFF2-40B4-BE49-F238E27FC236}">
                    <a16:creationId xmlns:a16="http://schemas.microsoft.com/office/drawing/2014/main" id="{06BE9C60-A904-B84C-C33D-4A9000C18A97}"/>
                  </a:ext>
                </a:extLst>
              </p:cNvPr>
              <p:cNvGrpSpPr/>
              <p:nvPr/>
            </p:nvGrpSpPr>
            <p:grpSpPr bwMode="gray">
              <a:xfrm>
                <a:off x="700982" y="4087103"/>
                <a:ext cx="217142" cy="217142"/>
                <a:chOff x="902726" y="3743677"/>
                <a:chExt cx="330948" cy="330948"/>
              </a:xfrm>
              <a:solidFill>
                <a:schemeClr val="bg1"/>
              </a:solidFill>
            </p:grpSpPr>
            <p:sp>
              <p:nvSpPr>
                <p:cNvPr id="2048" name="dfine_grid_single_shape_frame">
                  <a:extLst>
                    <a:ext uri="{FF2B5EF4-FFF2-40B4-BE49-F238E27FC236}">
                      <a16:creationId xmlns:a16="http://schemas.microsoft.com/office/drawing/2014/main" id="{39D8C2A0-DBEE-E241-F7EB-7E58BDE4BA34}"/>
                    </a:ext>
                  </a:extLst>
                </p:cNvPr>
                <p:cNvSpPr/>
                <p:nvPr/>
              </p:nvSpPr>
              <p:spPr bwMode="gray">
                <a:xfrm>
                  <a:off x="902726" y="3743677"/>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49" name="Triangle_1">
                  <a:extLst>
                    <a:ext uri="{FF2B5EF4-FFF2-40B4-BE49-F238E27FC236}">
                      <a16:creationId xmlns:a16="http://schemas.microsoft.com/office/drawing/2014/main" id="{41B126DA-DEA0-26C7-EA13-098349D73640}"/>
                    </a:ext>
                  </a:extLst>
                </p:cNvPr>
                <p:cNvSpPr/>
                <p:nvPr/>
              </p:nvSpPr>
              <p:spPr bwMode="gray">
                <a:xfrm rot="10800000">
                  <a:off x="902726" y="374367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50" name="Triangle_2">
                  <a:extLst>
                    <a:ext uri="{FF2B5EF4-FFF2-40B4-BE49-F238E27FC236}">
                      <a16:creationId xmlns:a16="http://schemas.microsoft.com/office/drawing/2014/main" id="{6519305D-39F9-F168-C6FF-202CA6136D0C}"/>
                    </a:ext>
                  </a:extLst>
                </p:cNvPr>
                <p:cNvSpPr/>
                <p:nvPr/>
              </p:nvSpPr>
              <p:spPr bwMode="gray">
                <a:xfrm>
                  <a:off x="902726" y="390915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51" name="Triangle_3">
                  <a:extLst>
                    <a:ext uri="{FF2B5EF4-FFF2-40B4-BE49-F238E27FC236}">
                      <a16:creationId xmlns:a16="http://schemas.microsoft.com/office/drawing/2014/main" id="{47298909-C773-E001-1BBB-EC0AD8065F4C}"/>
                    </a:ext>
                  </a:extLst>
                </p:cNvPr>
                <p:cNvSpPr/>
                <p:nvPr/>
              </p:nvSpPr>
              <p:spPr bwMode="gray">
                <a:xfrm rot="5400000">
                  <a:off x="819990" y="3826415"/>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52" name="Triangle_4">
                  <a:extLst>
                    <a:ext uri="{FF2B5EF4-FFF2-40B4-BE49-F238E27FC236}">
                      <a16:creationId xmlns:a16="http://schemas.microsoft.com/office/drawing/2014/main" id="{E9ADFDD5-E2D0-3277-614B-A57300D22302}"/>
                    </a:ext>
                  </a:extLst>
                </p:cNvPr>
                <p:cNvSpPr/>
                <p:nvPr/>
              </p:nvSpPr>
              <p:spPr bwMode="gray">
                <a:xfrm rot="16200000">
                  <a:off x="985464" y="3826415"/>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80" name="Group 1579">
                <a:extLst>
                  <a:ext uri="{FF2B5EF4-FFF2-40B4-BE49-F238E27FC236}">
                    <a16:creationId xmlns:a16="http://schemas.microsoft.com/office/drawing/2014/main" id="{16B943DD-581A-48FE-D827-50FDE19C3247}"/>
                  </a:ext>
                </a:extLst>
              </p:cNvPr>
              <p:cNvGrpSpPr/>
              <p:nvPr/>
            </p:nvGrpSpPr>
            <p:grpSpPr bwMode="gray">
              <a:xfrm>
                <a:off x="700982" y="4304244"/>
                <a:ext cx="217142" cy="217142"/>
                <a:chOff x="902726" y="4074624"/>
                <a:chExt cx="330948" cy="330948"/>
              </a:xfrm>
              <a:solidFill>
                <a:schemeClr val="bg1"/>
              </a:solidFill>
            </p:grpSpPr>
            <p:sp>
              <p:nvSpPr>
                <p:cNvPr id="2043" name="dfine_grid_single_shape_frame">
                  <a:extLst>
                    <a:ext uri="{FF2B5EF4-FFF2-40B4-BE49-F238E27FC236}">
                      <a16:creationId xmlns:a16="http://schemas.microsoft.com/office/drawing/2014/main" id="{7C887809-A50C-A670-C6AC-428FF5CA95A7}"/>
                    </a:ext>
                  </a:extLst>
                </p:cNvPr>
                <p:cNvSpPr/>
                <p:nvPr/>
              </p:nvSpPr>
              <p:spPr bwMode="gray">
                <a:xfrm>
                  <a:off x="902726" y="4074624"/>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44" name="Triangle_1">
                  <a:extLst>
                    <a:ext uri="{FF2B5EF4-FFF2-40B4-BE49-F238E27FC236}">
                      <a16:creationId xmlns:a16="http://schemas.microsoft.com/office/drawing/2014/main" id="{BA400469-E3ED-2D48-1A87-1D0DAF45A640}"/>
                    </a:ext>
                  </a:extLst>
                </p:cNvPr>
                <p:cNvSpPr/>
                <p:nvPr/>
              </p:nvSpPr>
              <p:spPr bwMode="gray">
                <a:xfrm rot="10800000">
                  <a:off x="902726" y="407462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45" name="Triangle_2">
                  <a:extLst>
                    <a:ext uri="{FF2B5EF4-FFF2-40B4-BE49-F238E27FC236}">
                      <a16:creationId xmlns:a16="http://schemas.microsoft.com/office/drawing/2014/main" id="{F516EDFD-0464-3BD2-7940-581B666225DB}"/>
                    </a:ext>
                  </a:extLst>
                </p:cNvPr>
                <p:cNvSpPr/>
                <p:nvPr/>
              </p:nvSpPr>
              <p:spPr bwMode="gray">
                <a:xfrm>
                  <a:off x="902726" y="4240098"/>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46" name="Triangle_3">
                  <a:extLst>
                    <a:ext uri="{FF2B5EF4-FFF2-40B4-BE49-F238E27FC236}">
                      <a16:creationId xmlns:a16="http://schemas.microsoft.com/office/drawing/2014/main" id="{31B6FA9E-CFB8-E305-5BCE-11E592BD617B}"/>
                    </a:ext>
                  </a:extLst>
                </p:cNvPr>
                <p:cNvSpPr/>
                <p:nvPr/>
              </p:nvSpPr>
              <p:spPr bwMode="gray">
                <a:xfrm rot="5400000">
                  <a:off x="819990" y="4157362"/>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47" name="Triangle_4">
                  <a:extLst>
                    <a:ext uri="{FF2B5EF4-FFF2-40B4-BE49-F238E27FC236}">
                      <a16:creationId xmlns:a16="http://schemas.microsoft.com/office/drawing/2014/main" id="{58F2985D-9D6C-485E-9DDD-CFF9547028B3}"/>
                    </a:ext>
                  </a:extLst>
                </p:cNvPr>
                <p:cNvSpPr/>
                <p:nvPr/>
              </p:nvSpPr>
              <p:spPr bwMode="gray">
                <a:xfrm rot="16200000">
                  <a:off x="985464" y="4157362"/>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81" name="Group 1580">
                <a:extLst>
                  <a:ext uri="{FF2B5EF4-FFF2-40B4-BE49-F238E27FC236}">
                    <a16:creationId xmlns:a16="http://schemas.microsoft.com/office/drawing/2014/main" id="{3FA79060-E850-BF21-5BA2-A672A98D13E1}"/>
                  </a:ext>
                </a:extLst>
              </p:cNvPr>
              <p:cNvGrpSpPr/>
              <p:nvPr/>
            </p:nvGrpSpPr>
            <p:grpSpPr bwMode="gray">
              <a:xfrm>
                <a:off x="918123" y="3218539"/>
                <a:ext cx="217142" cy="217142"/>
                <a:chOff x="1233673" y="2419889"/>
                <a:chExt cx="330948" cy="330948"/>
              </a:xfrm>
              <a:solidFill>
                <a:schemeClr val="bg1"/>
              </a:solidFill>
            </p:grpSpPr>
            <p:sp>
              <p:nvSpPr>
                <p:cNvPr id="2038" name="dfine_grid_single_shape_frame">
                  <a:extLst>
                    <a:ext uri="{FF2B5EF4-FFF2-40B4-BE49-F238E27FC236}">
                      <a16:creationId xmlns:a16="http://schemas.microsoft.com/office/drawing/2014/main" id="{9484C63E-CC97-F87C-126A-71A8779A7265}"/>
                    </a:ext>
                  </a:extLst>
                </p:cNvPr>
                <p:cNvSpPr/>
                <p:nvPr/>
              </p:nvSpPr>
              <p:spPr bwMode="gray">
                <a:xfrm>
                  <a:off x="1233673" y="2419889"/>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39" name="Triangle_1">
                  <a:extLst>
                    <a:ext uri="{FF2B5EF4-FFF2-40B4-BE49-F238E27FC236}">
                      <a16:creationId xmlns:a16="http://schemas.microsoft.com/office/drawing/2014/main" id="{04C15ED4-06BD-4393-07A9-E0F4E7A706CA}"/>
                    </a:ext>
                  </a:extLst>
                </p:cNvPr>
                <p:cNvSpPr/>
                <p:nvPr/>
              </p:nvSpPr>
              <p:spPr bwMode="gray">
                <a:xfrm rot="10800000">
                  <a:off x="1233673" y="2419889"/>
                  <a:ext cx="330946" cy="165474"/>
                </a:xfrm>
                <a:prstGeom prst="triangle">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2040" name="Triangle_2">
                  <a:extLst>
                    <a:ext uri="{FF2B5EF4-FFF2-40B4-BE49-F238E27FC236}">
                      <a16:creationId xmlns:a16="http://schemas.microsoft.com/office/drawing/2014/main" id="{338805C1-FBEA-C00F-BB04-34D5E80D3244}"/>
                    </a:ext>
                  </a:extLst>
                </p:cNvPr>
                <p:cNvSpPr/>
                <p:nvPr/>
              </p:nvSpPr>
              <p:spPr bwMode="gray">
                <a:xfrm>
                  <a:off x="1233673" y="2585363"/>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41" name="Triangle_3">
                  <a:extLst>
                    <a:ext uri="{FF2B5EF4-FFF2-40B4-BE49-F238E27FC236}">
                      <a16:creationId xmlns:a16="http://schemas.microsoft.com/office/drawing/2014/main" id="{3836E919-9077-574A-87FA-AC7F304775CF}"/>
                    </a:ext>
                  </a:extLst>
                </p:cNvPr>
                <p:cNvSpPr/>
                <p:nvPr/>
              </p:nvSpPr>
              <p:spPr bwMode="gray">
                <a:xfrm rot="5400000">
                  <a:off x="1150937" y="2502627"/>
                  <a:ext cx="330946" cy="165474"/>
                </a:xfrm>
                <a:prstGeom prst="triangle">
                  <a:avLst/>
                </a:prstGeom>
                <a:solidFill>
                  <a:schemeClr val="accent3"/>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2042" name="Triangle_4">
                  <a:extLst>
                    <a:ext uri="{FF2B5EF4-FFF2-40B4-BE49-F238E27FC236}">
                      <a16:creationId xmlns:a16="http://schemas.microsoft.com/office/drawing/2014/main" id="{407097A1-368C-A6D1-BF28-2940B98416D5}"/>
                    </a:ext>
                  </a:extLst>
                </p:cNvPr>
                <p:cNvSpPr/>
                <p:nvPr/>
              </p:nvSpPr>
              <p:spPr bwMode="gray">
                <a:xfrm rot="16200000">
                  <a:off x="1316411" y="250262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82" name="Group 1581">
                <a:extLst>
                  <a:ext uri="{FF2B5EF4-FFF2-40B4-BE49-F238E27FC236}">
                    <a16:creationId xmlns:a16="http://schemas.microsoft.com/office/drawing/2014/main" id="{B77E923D-7642-97F5-3E60-41FFAA7A79A6}"/>
                  </a:ext>
                </a:extLst>
              </p:cNvPr>
              <p:cNvGrpSpPr/>
              <p:nvPr/>
            </p:nvGrpSpPr>
            <p:grpSpPr bwMode="gray">
              <a:xfrm>
                <a:off x="918123" y="3435680"/>
                <a:ext cx="217142" cy="217142"/>
                <a:chOff x="1233673" y="2750836"/>
                <a:chExt cx="330948" cy="330948"/>
              </a:xfrm>
              <a:solidFill>
                <a:schemeClr val="bg1"/>
              </a:solidFill>
            </p:grpSpPr>
            <p:sp>
              <p:nvSpPr>
                <p:cNvPr id="2033" name="dfine_grid_single_shape_frame">
                  <a:extLst>
                    <a:ext uri="{FF2B5EF4-FFF2-40B4-BE49-F238E27FC236}">
                      <a16:creationId xmlns:a16="http://schemas.microsoft.com/office/drawing/2014/main" id="{D7324FE8-EFC9-CC42-1F98-1644ED19AA8B}"/>
                    </a:ext>
                  </a:extLst>
                </p:cNvPr>
                <p:cNvSpPr/>
                <p:nvPr/>
              </p:nvSpPr>
              <p:spPr bwMode="gray">
                <a:xfrm>
                  <a:off x="1233673" y="2750836"/>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34" name="Triangle_1">
                  <a:extLst>
                    <a:ext uri="{FF2B5EF4-FFF2-40B4-BE49-F238E27FC236}">
                      <a16:creationId xmlns:a16="http://schemas.microsoft.com/office/drawing/2014/main" id="{41056362-A261-692E-299D-95ACB1131234}"/>
                    </a:ext>
                  </a:extLst>
                </p:cNvPr>
                <p:cNvSpPr/>
                <p:nvPr/>
              </p:nvSpPr>
              <p:spPr bwMode="gray">
                <a:xfrm rot="10800000">
                  <a:off x="1233673" y="2750836"/>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35" name="Triangle_2">
                  <a:extLst>
                    <a:ext uri="{FF2B5EF4-FFF2-40B4-BE49-F238E27FC236}">
                      <a16:creationId xmlns:a16="http://schemas.microsoft.com/office/drawing/2014/main" id="{831722BA-60C7-D759-BC31-7215FBFCCD90}"/>
                    </a:ext>
                  </a:extLst>
                </p:cNvPr>
                <p:cNvSpPr/>
                <p:nvPr/>
              </p:nvSpPr>
              <p:spPr bwMode="gray">
                <a:xfrm>
                  <a:off x="1233673" y="291631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36" name="Triangle_3">
                  <a:extLst>
                    <a:ext uri="{FF2B5EF4-FFF2-40B4-BE49-F238E27FC236}">
                      <a16:creationId xmlns:a16="http://schemas.microsoft.com/office/drawing/2014/main" id="{8C777588-78E1-48A6-DE6A-18F0FC6BCD24}"/>
                    </a:ext>
                  </a:extLst>
                </p:cNvPr>
                <p:cNvSpPr/>
                <p:nvPr/>
              </p:nvSpPr>
              <p:spPr bwMode="gray">
                <a:xfrm rot="5400000">
                  <a:off x="1150937" y="283357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37" name="Triangle_4">
                  <a:extLst>
                    <a:ext uri="{FF2B5EF4-FFF2-40B4-BE49-F238E27FC236}">
                      <a16:creationId xmlns:a16="http://schemas.microsoft.com/office/drawing/2014/main" id="{5678FE6C-C3D3-605C-FA34-E76279DF95DE}"/>
                    </a:ext>
                  </a:extLst>
                </p:cNvPr>
                <p:cNvSpPr/>
                <p:nvPr/>
              </p:nvSpPr>
              <p:spPr bwMode="gray">
                <a:xfrm rot="16200000">
                  <a:off x="1316411" y="283357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83" name="Group 1582">
                <a:extLst>
                  <a:ext uri="{FF2B5EF4-FFF2-40B4-BE49-F238E27FC236}">
                    <a16:creationId xmlns:a16="http://schemas.microsoft.com/office/drawing/2014/main" id="{B69A63DB-460C-E9BC-332F-A31AB64ADC3F}"/>
                  </a:ext>
                </a:extLst>
              </p:cNvPr>
              <p:cNvGrpSpPr/>
              <p:nvPr/>
            </p:nvGrpSpPr>
            <p:grpSpPr bwMode="gray">
              <a:xfrm>
                <a:off x="918123" y="3652821"/>
                <a:ext cx="217142" cy="217142"/>
                <a:chOff x="1233673" y="3081783"/>
                <a:chExt cx="330948" cy="330948"/>
              </a:xfrm>
              <a:solidFill>
                <a:schemeClr val="bg1"/>
              </a:solidFill>
            </p:grpSpPr>
            <p:sp>
              <p:nvSpPr>
                <p:cNvPr id="2028" name="dfine_grid_single_shape_frame">
                  <a:extLst>
                    <a:ext uri="{FF2B5EF4-FFF2-40B4-BE49-F238E27FC236}">
                      <a16:creationId xmlns:a16="http://schemas.microsoft.com/office/drawing/2014/main" id="{32143FCA-6502-375B-4D51-EF486DE61DEE}"/>
                    </a:ext>
                  </a:extLst>
                </p:cNvPr>
                <p:cNvSpPr/>
                <p:nvPr/>
              </p:nvSpPr>
              <p:spPr bwMode="gray">
                <a:xfrm>
                  <a:off x="1233673" y="3081783"/>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29" name="Triangle_1">
                  <a:extLst>
                    <a:ext uri="{FF2B5EF4-FFF2-40B4-BE49-F238E27FC236}">
                      <a16:creationId xmlns:a16="http://schemas.microsoft.com/office/drawing/2014/main" id="{8BE11F84-3262-49E3-6B3D-78DF57EEA273}"/>
                    </a:ext>
                  </a:extLst>
                </p:cNvPr>
                <p:cNvSpPr/>
                <p:nvPr/>
              </p:nvSpPr>
              <p:spPr bwMode="gray">
                <a:xfrm rot="10800000">
                  <a:off x="1233673" y="3081783"/>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30" name="Triangle_2">
                  <a:extLst>
                    <a:ext uri="{FF2B5EF4-FFF2-40B4-BE49-F238E27FC236}">
                      <a16:creationId xmlns:a16="http://schemas.microsoft.com/office/drawing/2014/main" id="{E576FCD5-58F3-6A64-E9F5-F9F59F3B638D}"/>
                    </a:ext>
                  </a:extLst>
                </p:cNvPr>
                <p:cNvSpPr/>
                <p:nvPr/>
              </p:nvSpPr>
              <p:spPr bwMode="gray">
                <a:xfrm>
                  <a:off x="1233673" y="324725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31" name="Triangle_3">
                  <a:extLst>
                    <a:ext uri="{FF2B5EF4-FFF2-40B4-BE49-F238E27FC236}">
                      <a16:creationId xmlns:a16="http://schemas.microsoft.com/office/drawing/2014/main" id="{E49A27E3-8C4D-B887-F5C1-52AF47EE0AD8}"/>
                    </a:ext>
                  </a:extLst>
                </p:cNvPr>
                <p:cNvSpPr/>
                <p:nvPr/>
              </p:nvSpPr>
              <p:spPr bwMode="gray">
                <a:xfrm rot="5400000">
                  <a:off x="1150937" y="316452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32" name="Triangle_4">
                  <a:extLst>
                    <a:ext uri="{FF2B5EF4-FFF2-40B4-BE49-F238E27FC236}">
                      <a16:creationId xmlns:a16="http://schemas.microsoft.com/office/drawing/2014/main" id="{B578B5FA-2AF3-4C55-FEC7-F47C2112A071}"/>
                    </a:ext>
                  </a:extLst>
                </p:cNvPr>
                <p:cNvSpPr/>
                <p:nvPr/>
              </p:nvSpPr>
              <p:spPr bwMode="gray">
                <a:xfrm rot="16200000">
                  <a:off x="1316411" y="316452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84" name="Group 1583">
                <a:extLst>
                  <a:ext uri="{FF2B5EF4-FFF2-40B4-BE49-F238E27FC236}">
                    <a16:creationId xmlns:a16="http://schemas.microsoft.com/office/drawing/2014/main" id="{43F7A252-CE6E-AA67-6ED6-D19D1AA5CC55}"/>
                  </a:ext>
                </a:extLst>
              </p:cNvPr>
              <p:cNvGrpSpPr/>
              <p:nvPr/>
            </p:nvGrpSpPr>
            <p:grpSpPr bwMode="gray">
              <a:xfrm>
                <a:off x="918123" y="3869962"/>
                <a:ext cx="217142" cy="217142"/>
                <a:chOff x="1233673" y="3412730"/>
                <a:chExt cx="330948" cy="330948"/>
              </a:xfrm>
              <a:solidFill>
                <a:schemeClr val="bg1"/>
              </a:solidFill>
            </p:grpSpPr>
            <p:sp>
              <p:nvSpPr>
                <p:cNvPr id="2023" name="dfine_grid_single_shape_frame">
                  <a:extLst>
                    <a:ext uri="{FF2B5EF4-FFF2-40B4-BE49-F238E27FC236}">
                      <a16:creationId xmlns:a16="http://schemas.microsoft.com/office/drawing/2014/main" id="{889C7AC0-CF0D-07BC-19C9-E75ADFCDDA09}"/>
                    </a:ext>
                  </a:extLst>
                </p:cNvPr>
                <p:cNvSpPr/>
                <p:nvPr/>
              </p:nvSpPr>
              <p:spPr bwMode="gray">
                <a:xfrm>
                  <a:off x="1233673" y="3412730"/>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24" name="Triangle_1">
                  <a:extLst>
                    <a:ext uri="{FF2B5EF4-FFF2-40B4-BE49-F238E27FC236}">
                      <a16:creationId xmlns:a16="http://schemas.microsoft.com/office/drawing/2014/main" id="{2DBF7D80-5420-A1B0-01E2-7DFEB6962AA0}"/>
                    </a:ext>
                  </a:extLst>
                </p:cNvPr>
                <p:cNvSpPr/>
                <p:nvPr/>
              </p:nvSpPr>
              <p:spPr bwMode="gray">
                <a:xfrm rot="10800000">
                  <a:off x="1233673" y="341273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25" name="Triangle_2">
                  <a:extLst>
                    <a:ext uri="{FF2B5EF4-FFF2-40B4-BE49-F238E27FC236}">
                      <a16:creationId xmlns:a16="http://schemas.microsoft.com/office/drawing/2014/main" id="{6A8FDFAE-33C9-3344-8F1E-2B4407F02433}"/>
                    </a:ext>
                  </a:extLst>
                </p:cNvPr>
                <p:cNvSpPr/>
                <p:nvPr/>
              </p:nvSpPr>
              <p:spPr bwMode="gray">
                <a:xfrm>
                  <a:off x="1233673" y="357820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26" name="Triangle_3">
                  <a:extLst>
                    <a:ext uri="{FF2B5EF4-FFF2-40B4-BE49-F238E27FC236}">
                      <a16:creationId xmlns:a16="http://schemas.microsoft.com/office/drawing/2014/main" id="{60EA6569-FAFC-4975-0E77-5E1AB923A5D9}"/>
                    </a:ext>
                  </a:extLst>
                </p:cNvPr>
                <p:cNvSpPr/>
                <p:nvPr/>
              </p:nvSpPr>
              <p:spPr bwMode="gray">
                <a:xfrm rot="5400000">
                  <a:off x="1150937" y="3495468"/>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27" name="Triangle_4">
                  <a:extLst>
                    <a:ext uri="{FF2B5EF4-FFF2-40B4-BE49-F238E27FC236}">
                      <a16:creationId xmlns:a16="http://schemas.microsoft.com/office/drawing/2014/main" id="{90BA8C9E-5700-EC6C-594E-9CA8A4473000}"/>
                    </a:ext>
                  </a:extLst>
                </p:cNvPr>
                <p:cNvSpPr/>
                <p:nvPr/>
              </p:nvSpPr>
              <p:spPr bwMode="gray">
                <a:xfrm rot="16200000">
                  <a:off x="1316411" y="3495468"/>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85" name="Group 1584">
                <a:extLst>
                  <a:ext uri="{FF2B5EF4-FFF2-40B4-BE49-F238E27FC236}">
                    <a16:creationId xmlns:a16="http://schemas.microsoft.com/office/drawing/2014/main" id="{DAD8AE8C-1E1C-E301-5F94-388E251BB9B6}"/>
                  </a:ext>
                </a:extLst>
              </p:cNvPr>
              <p:cNvGrpSpPr/>
              <p:nvPr/>
            </p:nvGrpSpPr>
            <p:grpSpPr bwMode="gray">
              <a:xfrm>
                <a:off x="918123" y="4087103"/>
                <a:ext cx="217142" cy="217142"/>
                <a:chOff x="1233673" y="3743677"/>
                <a:chExt cx="330948" cy="330948"/>
              </a:xfrm>
              <a:solidFill>
                <a:schemeClr val="bg1"/>
              </a:solidFill>
            </p:grpSpPr>
            <p:sp>
              <p:nvSpPr>
                <p:cNvPr id="2018" name="dfine_grid_single_shape_frame">
                  <a:extLst>
                    <a:ext uri="{FF2B5EF4-FFF2-40B4-BE49-F238E27FC236}">
                      <a16:creationId xmlns:a16="http://schemas.microsoft.com/office/drawing/2014/main" id="{D4CDA50C-6CBB-84BF-2E81-97677E9B07F3}"/>
                    </a:ext>
                  </a:extLst>
                </p:cNvPr>
                <p:cNvSpPr/>
                <p:nvPr/>
              </p:nvSpPr>
              <p:spPr bwMode="gray">
                <a:xfrm>
                  <a:off x="1233673" y="3743677"/>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19" name="Triangle_1">
                  <a:extLst>
                    <a:ext uri="{FF2B5EF4-FFF2-40B4-BE49-F238E27FC236}">
                      <a16:creationId xmlns:a16="http://schemas.microsoft.com/office/drawing/2014/main" id="{E74DB69F-6A38-2340-3145-930802F8D842}"/>
                    </a:ext>
                  </a:extLst>
                </p:cNvPr>
                <p:cNvSpPr/>
                <p:nvPr/>
              </p:nvSpPr>
              <p:spPr bwMode="gray">
                <a:xfrm rot="10800000">
                  <a:off x="1233673" y="374367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20" name="Triangle_2">
                  <a:extLst>
                    <a:ext uri="{FF2B5EF4-FFF2-40B4-BE49-F238E27FC236}">
                      <a16:creationId xmlns:a16="http://schemas.microsoft.com/office/drawing/2014/main" id="{4AA70C9B-FF3A-92A5-6E42-24D9402155E4}"/>
                    </a:ext>
                  </a:extLst>
                </p:cNvPr>
                <p:cNvSpPr/>
                <p:nvPr/>
              </p:nvSpPr>
              <p:spPr bwMode="gray">
                <a:xfrm>
                  <a:off x="1233673" y="390915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2021" name="Triangle_3">
                  <a:extLst>
                    <a:ext uri="{FF2B5EF4-FFF2-40B4-BE49-F238E27FC236}">
                      <a16:creationId xmlns:a16="http://schemas.microsoft.com/office/drawing/2014/main" id="{3E059CE0-E731-E054-D550-2B4A317536B2}"/>
                    </a:ext>
                  </a:extLst>
                </p:cNvPr>
                <p:cNvSpPr/>
                <p:nvPr/>
              </p:nvSpPr>
              <p:spPr bwMode="gray">
                <a:xfrm rot="5400000">
                  <a:off x="1150937" y="3826415"/>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2022" name="Triangle_4">
                  <a:extLst>
                    <a:ext uri="{FF2B5EF4-FFF2-40B4-BE49-F238E27FC236}">
                      <a16:creationId xmlns:a16="http://schemas.microsoft.com/office/drawing/2014/main" id="{1CD13AAD-CC80-C4EB-27E0-59323D13B043}"/>
                    </a:ext>
                  </a:extLst>
                </p:cNvPr>
                <p:cNvSpPr/>
                <p:nvPr/>
              </p:nvSpPr>
              <p:spPr bwMode="gray">
                <a:xfrm rot="16200000">
                  <a:off x="1316411" y="3826415"/>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86" name="Group 1585">
                <a:extLst>
                  <a:ext uri="{FF2B5EF4-FFF2-40B4-BE49-F238E27FC236}">
                    <a16:creationId xmlns:a16="http://schemas.microsoft.com/office/drawing/2014/main" id="{F7972A51-384C-8064-3569-584ECDD05ABA}"/>
                  </a:ext>
                </a:extLst>
              </p:cNvPr>
              <p:cNvGrpSpPr/>
              <p:nvPr/>
            </p:nvGrpSpPr>
            <p:grpSpPr bwMode="gray">
              <a:xfrm>
                <a:off x="918123" y="4304244"/>
                <a:ext cx="217142" cy="217142"/>
                <a:chOff x="1233673" y="4074624"/>
                <a:chExt cx="330948" cy="330948"/>
              </a:xfrm>
            </p:grpSpPr>
            <p:sp>
              <p:nvSpPr>
                <p:cNvPr id="2013" name="dfine_grid_single_shape_frame">
                  <a:extLst>
                    <a:ext uri="{FF2B5EF4-FFF2-40B4-BE49-F238E27FC236}">
                      <a16:creationId xmlns:a16="http://schemas.microsoft.com/office/drawing/2014/main" id="{4539D1BD-8D99-15CB-B4AC-E6AA36C1D79C}"/>
                    </a:ext>
                  </a:extLst>
                </p:cNvPr>
                <p:cNvSpPr/>
                <p:nvPr/>
              </p:nvSpPr>
              <p:spPr bwMode="gray">
                <a:xfrm>
                  <a:off x="1233673" y="4074624"/>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14" name="Triangle_1">
                  <a:extLst>
                    <a:ext uri="{FF2B5EF4-FFF2-40B4-BE49-F238E27FC236}">
                      <a16:creationId xmlns:a16="http://schemas.microsoft.com/office/drawing/2014/main" id="{2A98778C-F1E5-A8C7-7B60-0FFB0E9A19EE}"/>
                    </a:ext>
                  </a:extLst>
                </p:cNvPr>
                <p:cNvSpPr/>
                <p:nvPr/>
              </p:nvSpPr>
              <p:spPr bwMode="gray">
                <a:xfrm rot="10800000">
                  <a:off x="1233673" y="4074624"/>
                  <a:ext cx="330946" cy="165474"/>
                </a:xfrm>
                <a:prstGeom prst="triangle">
                  <a:avLst/>
                </a:prstGeom>
                <a:solidFill>
                  <a:srgbClr val="FFFFFF"/>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2015" name="Triangle_2">
                  <a:extLst>
                    <a:ext uri="{FF2B5EF4-FFF2-40B4-BE49-F238E27FC236}">
                      <a16:creationId xmlns:a16="http://schemas.microsoft.com/office/drawing/2014/main" id="{E8E1F0A6-7BB2-F6F4-6B8D-8C4A4D6C2B7B}"/>
                    </a:ext>
                  </a:extLst>
                </p:cNvPr>
                <p:cNvSpPr/>
                <p:nvPr/>
              </p:nvSpPr>
              <p:spPr bwMode="gray">
                <a:xfrm>
                  <a:off x="1233673" y="4240098"/>
                  <a:ext cx="330946" cy="165474"/>
                </a:xfrm>
                <a:prstGeom prst="triangle">
                  <a:avLst/>
                </a:prstGeom>
                <a:solidFill>
                  <a:srgbClr val="FFFFFF"/>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2016" name="Triangle_3">
                  <a:extLst>
                    <a:ext uri="{FF2B5EF4-FFF2-40B4-BE49-F238E27FC236}">
                      <a16:creationId xmlns:a16="http://schemas.microsoft.com/office/drawing/2014/main" id="{637A130D-9ABD-2DB1-1020-9826CD740776}"/>
                    </a:ext>
                  </a:extLst>
                </p:cNvPr>
                <p:cNvSpPr/>
                <p:nvPr/>
              </p:nvSpPr>
              <p:spPr bwMode="gray">
                <a:xfrm rot="5400000">
                  <a:off x="1150937" y="4157362"/>
                  <a:ext cx="330946"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17" name="Triangle_4">
                  <a:extLst>
                    <a:ext uri="{FF2B5EF4-FFF2-40B4-BE49-F238E27FC236}">
                      <a16:creationId xmlns:a16="http://schemas.microsoft.com/office/drawing/2014/main" id="{51742EAC-1A87-66EF-A1F4-52B559971596}"/>
                    </a:ext>
                  </a:extLst>
                </p:cNvPr>
                <p:cNvSpPr/>
                <p:nvPr/>
              </p:nvSpPr>
              <p:spPr bwMode="gray">
                <a:xfrm rot="16200000">
                  <a:off x="1316411" y="4157362"/>
                  <a:ext cx="330946" cy="165474"/>
                </a:xfrm>
                <a:prstGeom prst="triangle">
                  <a:avLst/>
                </a:prstGeom>
                <a:solidFill>
                  <a:srgbClr val="FFFFFF"/>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grpSp>
          <p:grpSp>
            <p:nvGrpSpPr>
              <p:cNvPr id="1587" name="Group 1586">
                <a:extLst>
                  <a:ext uri="{FF2B5EF4-FFF2-40B4-BE49-F238E27FC236}">
                    <a16:creationId xmlns:a16="http://schemas.microsoft.com/office/drawing/2014/main" id="{E55FFB3C-1EAE-B661-58D1-C6FE9E6D4554}"/>
                  </a:ext>
                </a:extLst>
              </p:cNvPr>
              <p:cNvGrpSpPr/>
              <p:nvPr/>
            </p:nvGrpSpPr>
            <p:grpSpPr bwMode="gray">
              <a:xfrm>
                <a:off x="1135264" y="1698551"/>
                <a:ext cx="217142" cy="217142"/>
                <a:chOff x="1564620" y="2088942"/>
                <a:chExt cx="330948" cy="330948"/>
              </a:xfrm>
            </p:grpSpPr>
            <p:sp>
              <p:nvSpPr>
                <p:cNvPr id="2008" name="dfine_grid_single_shape_frame">
                  <a:extLst>
                    <a:ext uri="{FF2B5EF4-FFF2-40B4-BE49-F238E27FC236}">
                      <a16:creationId xmlns:a16="http://schemas.microsoft.com/office/drawing/2014/main" id="{090B2811-7341-99F2-1FBC-6EBD25381B16}"/>
                    </a:ext>
                  </a:extLst>
                </p:cNvPr>
                <p:cNvSpPr/>
                <p:nvPr/>
              </p:nvSpPr>
              <p:spPr bwMode="gray">
                <a:xfrm>
                  <a:off x="1564620" y="2088942"/>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09" name="Triangle_1">
                  <a:extLst>
                    <a:ext uri="{FF2B5EF4-FFF2-40B4-BE49-F238E27FC236}">
                      <a16:creationId xmlns:a16="http://schemas.microsoft.com/office/drawing/2014/main" id="{CFE97BA8-4EA2-9C2A-328B-46438C4997F7}"/>
                    </a:ext>
                  </a:extLst>
                </p:cNvPr>
                <p:cNvSpPr/>
                <p:nvPr/>
              </p:nvSpPr>
              <p:spPr bwMode="gray">
                <a:xfrm rot="10800000">
                  <a:off x="1564620" y="2088942"/>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10" name="Triangle_2">
                  <a:extLst>
                    <a:ext uri="{FF2B5EF4-FFF2-40B4-BE49-F238E27FC236}">
                      <a16:creationId xmlns:a16="http://schemas.microsoft.com/office/drawing/2014/main" id="{CC159BEE-ECE0-1692-E160-D675C9E7B6C2}"/>
                    </a:ext>
                  </a:extLst>
                </p:cNvPr>
                <p:cNvSpPr/>
                <p:nvPr/>
              </p:nvSpPr>
              <p:spPr bwMode="gray">
                <a:xfrm>
                  <a:off x="1564620" y="2254416"/>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11" name="Triangle_3">
                  <a:extLst>
                    <a:ext uri="{FF2B5EF4-FFF2-40B4-BE49-F238E27FC236}">
                      <a16:creationId xmlns:a16="http://schemas.microsoft.com/office/drawing/2014/main" id="{D998E1E6-2A7E-8B5E-C0BE-5224A0DDB64F}"/>
                    </a:ext>
                  </a:extLst>
                </p:cNvPr>
                <p:cNvSpPr/>
                <p:nvPr/>
              </p:nvSpPr>
              <p:spPr bwMode="gray">
                <a:xfrm rot="5400000">
                  <a:off x="1481884" y="217168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12" name="Triangle_4">
                  <a:extLst>
                    <a:ext uri="{FF2B5EF4-FFF2-40B4-BE49-F238E27FC236}">
                      <a16:creationId xmlns:a16="http://schemas.microsoft.com/office/drawing/2014/main" id="{4D0E3F20-CDAD-A240-06BE-54955B68AA38}"/>
                    </a:ext>
                  </a:extLst>
                </p:cNvPr>
                <p:cNvSpPr/>
                <p:nvPr/>
              </p:nvSpPr>
              <p:spPr bwMode="gray">
                <a:xfrm rot="16200000">
                  <a:off x="1647358" y="217168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88" name="Group 1587">
                <a:extLst>
                  <a:ext uri="{FF2B5EF4-FFF2-40B4-BE49-F238E27FC236}">
                    <a16:creationId xmlns:a16="http://schemas.microsoft.com/office/drawing/2014/main" id="{1EFE067D-BE09-1CB2-AA5D-FDB4F0310EF4}"/>
                  </a:ext>
                </a:extLst>
              </p:cNvPr>
              <p:cNvGrpSpPr/>
              <p:nvPr/>
            </p:nvGrpSpPr>
            <p:grpSpPr bwMode="gray">
              <a:xfrm>
                <a:off x="1135264" y="1915692"/>
                <a:ext cx="217142" cy="217142"/>
                <a:chOff x="1564620" y="2419889"/>
                <a:chExt cx="330948" cy="330948"/>
              </a:xfrm>
            </p:grpSpPr>
            <p:sp>
              <p:nvSpPr>
                <p:cNvPr id="2003" name="dfine_grid_single_shape_frame">
                  <a:extLst>
                    <a:ext uri="{FF2B5EF4-FFF2-40B4-BE49-F238E27FC236}">
                      <a16:creationId xmlns:a16="http://schemas.microsoft.com/office/drawing/2014/main" id="{995B551E-FE83-47EE-A118-00D6A54BCBA3}"/>
                    </a:ext>
                  </a:extLst>
                </p:cNvPr>
                <p:cNvSpPr/>
                <p:nvPr/>
              </p:nvSpPr>
              <p:spPr bwMode="gray">
                <a:xfrm>
                  <a:off x="1564620" y="2419889"/>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04" name="Triangle_1">
                  <a:extLst>
                    <a:ext uri="{FF2B5EF4-FFF2-40B4-BE49-F238E27FC236}">
                      <a16:creationId xmlns:a16="http://schemas.microsoft.com/office/drawing/2014/main" id="{F93291D2-BAEB-D86A-D06A-E7F839C86561}"/>
                    </a:ext>
                  </a:extLst>
                </p:cNvPr>
                <p:cNvSpPr/>
                <p:nvPr/>
              </p:nvSpPr>
              <p:spPr bwMode="gray">
                <a:xfrm rot="10800000">
                  <a:off x="1564620" y="2419889"/>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05" name="Triangle_2">
                  <a:extLst>
                    <a:ext uri="{FF2B5EF4-FFF2-40B4-BE49-F238E27FC236}">
                      <a16:creationId xmlns:a16="http://schemas.microsoft.com/office/drawing/2014/main" id="{5F2F4D28-A904-5927-90A8-C73D17FD754A}"/>
                    </a:ext>
                  </a:extLst>
                </p:cNvPr>
                <p:cNvSpPr/>
                <p:nvPr/>
              </p:nvSpPr>
              <p:spPr bwMode="gray">
                <a:xfrm>
                  <a:off x="1564620" y="2585363"/>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06" name="Triangle_3">
                  <a:extLst>
                    <a:ext uri="{FF2B5EF4-FFF2-40B4-BE49-F238E27FC236}">
                      <a16:creationId xmlns:a16="http://schemas.microsoft.com/office/drawing/2014/main" id="{D836D915-DAFD-A19D-7852-80A0A6BBBAAF}"/>
                    </a:ext>
                  </a:extLst>
                </p:cNvPr>
                <p:cNvSpPr/>
                <p:nvPr/>
              </p:nvSpPr>
              <p:spPr bwMode="gray">
                <a:xfrm rot="5400000">
                  <a:off x="1481884" y="250262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07" name="Triangle_4">
                  <a:extLst>
                    <a:ext uri="{FF2B5EF4-FFF2-40B4-BE49-F238E27FC236}">
                      <a16:creationId xmlns:a16="http://schemas.microsoft.com/office/drawing/2014/main" id="{0C26898B-79BB-C4BD-D05B-99DBBFEA2EEC}"/>
                    </a:ext>
                  </a:extLst>
                </p:cNvPr>
                <p:cNvSpPr/>
                <p:nvPr/>
              </p:nvSpPr>
              <p:spPr bwMode="gray">
                <a:xfrm rot="16200000">
                  <a:off x="1647358" y="250262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89" name="Group 1588">
                <a:extLst>
                  <a:ext uri="{FF2B5EF4-FFF2-40B4-BE49-F238E27FC236}">
                    <a16:creationId xmlns:a16="http://schemas.microsoft.com/office/drawing/2014/main" id="{3737D29D-7596-4EDD-346F-287B1FE156AF}"/>
                  </a:ext>
                </a:extLst>
              </p:cNvPr>
              <p:cNvGrpSpPr/>
              <p:nvPr/>
            </p:nvGrpSpPr>
            <p:grpSpPr bwMode="gray">
              <a:xfrm>
                <a:off x="1135264" y="2132833"/>
                <a:ext cx="217142" cy="217142"/>
                <a:chOff x="1564620" y="2750836"/>
                <a:chExt cx="330948" cy="330948"/>
              </a:xfrm>
            </p:grpSpPr>
            <p:sp>
              <p:nvSpPr>
                <p:cNvPr id="1998" name="dfine_grid_single_shape_frame">
                  <a:extLst>
                    <a:ext uri="{FF2B5EF4-FFF2-40B4-BE49-F238E27FC236}">
                      <a16:creationId xmlns:a16="http://schemas.microsoft.com/office/drawing/2014/main" id="{B183B5D2-B3D3-1535-8236-A8E5318F4EE0}"/>
                    </a:ext>
                  </a:extLst>
                </p:cNvPr>
                <p:cNvSpPr/>
                <p:nvPr/>
              </p:nvSpPr>
              <p:spPr bwMode="gray">
                <a:xfrm>
                  <a:off x="1564620" y="2750836"/>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99" name="Triangle_1">
                  <a:extLst>
                    <a:ext uri="{FF2B5EF4-FFF2-40B4-BE49-F238E27FC236}">
                      <a16:creationId xmlns:a16="http://schemas.microsoft.com/office/drawing/2014/main" id="{781E4CB4-C504-9520-5450-AB33AD699153}"/>
                    </a:ext>
                  </a:extLst>
                </p:cNvPr>
                <p:cNvSpPr/>
                <p:nvPr/>
              </p:nvSpPr>
              <p:spPr bwMode="gray">
                <a:xfrm rot="10800000">
                  <a:off x="1564620" y="2750836"/>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00" name="Triangle_2">
                  <a:extLst>
                    <a:ext uri="{FF2B5EF4-FFF2-40B4-BE49-F238E27FC236}">
                      <a16:creationId xmlns:a16="http://schemas.microsoft.com/office/drawing/2014/main" id="{34569AE1-8A50-AFA2-62EA-53BC24F612FA}"/>
                    </a:ext>
                  </a:extLst>
                </p:cNvPr>
                <p:cNvSpPr/>
                <p:nvPr/>
              </p:nvSpPr>
              <p:spPr bwMode="gray">
                <a:xfrm>
                  <a:off x="1564620" y="291631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01" name="Triangle_3">
                  <a:extLst>
                    <a:ext uri="{FF2B5EF4-FFF2-40B4-BE49-F238E27FC236}">
                      <a16:creationId xmlns:a16="http://schemas.microsoft.com/office/drawing/2014/main" id="{94E9D047-6B7D-BB09-9552-8CCAC90E9D5B}"/>
                    </a:ext>
                  </a:extLst>
                </p:cNvPr>
                <p:cNvSpPr/>
                <p:nvPr/>
              </p:nvSpPr>
              <p:spPr bwMode="gray">
                <a:xfrm rot="5400000">
                  <a:off x="1481884" y="283357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2002" name="Triangle_4">
                  <a:extLst>
                    <a:ext uri="{FF2B5EF4-FFF2-40B4-BE49-F238E27FC236}">
                      <a16:creationId xmlns:a16="http://schemas.microsoft.com/office/drawing/2014/main" id="{9263BFCB-0D83-6419-A513-7748370604C0}"/>
                    </a:ext>
                  </a:extLst>
                </p:cNvPr>
                <p:cNvSpPr/>
                <p:nvPr/>
              </p:nvSpPr>
              <p:spPr bwMode="gray">
                <a:xfrm rot="16200000">
                  <a:off x="1647358" y="283357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90" name="Group 1589">
                <a:extLst>
                  <a:ext uri="{FF2B5EF4-FFF2-40B4-BE49-F238E27FC236}">
                    <a16:creationId xmlns:a16="http://schemas.microsoft.com/office/drawing/2014/main" id="{A6A5B309-C805-B16C-0825-F85A652F9A04}"/>
                  </a:ext>
                </a:extLst>
              </p:cNvPr>
              <p:cNvGrpSpPr/>
              <p:nvPr/>
            </p:nvGrpSpPr>
            <p:grpSpPr bwMode="gray">
              <a:xfrm>
                <a:off x="1135264" y="2349974"/>
                <a:ext cx="217142" cy="217142"/>
                <a:chOff x="1564620" y="3081783"/>
                <a:chExt cx="330948" cy="330948"/>
              </a:xfrm>
            </p:grpSpPr>
            <p:sp>
              <p:nvSpPr>
                <p:cNvPr id="1993" name="dfine_grid_single_shape_frame">
                  <a:extLst>
                    <a:ext uri="{FF2B5EF4-FFF2-40B4-BE49-F238E27FC236}">
                      <a16:creationId xmlns:a16="http://schemas.microsoft.com/office/drawing/2014/main" id="{7A378104-F18D-1152-EB3B-48888D740CE1}"/>
                    </a:ext>
                  </a:extLst>
                </p:cNvPr>
                <p:cNvSpPr/>
                <p:nvPr/>
              </p:nvSpPr>
              <p:spPr bwMode="gray">
                <a:xfrm>
                  <a:off x="1564620" y="3081783"/>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94" name="Triangle_1">
                  <a:extLst>
                    <a:ext uri="{FF2B5EF4-FFF2-40B4-BE49-F238E27FC236}">
                      <a16:creationId xmlns:a16="http://schemas.microsoft.com/office/drawing/2014/main" id="{00B4D2DD-2E8C-D542-5659-8B4A0BFA5617}"/>
                    </a:ext>
                  </a:extLst>
                </p:cNvPr>
                <p:cNvSpPr/>
                <p:nvPr/>
              </p:nvSpPr>
              <p:spPr bwMode="gray">
                <a:xfrm rot="10800000">
                  <a:off x="1564620" y="3081783"/>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95" name="Triangle_2">
                  <a:extLst>
                    <a:ext uri="{FF2B5EF4-FFF2-40B4-BE49-F238E27FC236}">
                      <a16:creationId xmlns:a16="http://schemas.microsoft.com/office/drawing/2014/main" id="{BEBF7059-844E-D670-AE86-A445199AB126}"/>
                    </a:ext>
                  </a:extLst>
                </p:cNvPr>
                <p:cNvSpPr/>
                <p:nvPr/>
              </p:nvSpPr>
              <p:spPr bwMode="gray">
                <a:xfrm>
                  <a:off x="1564620" y="324725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96" name="Triangle_3">
                  <a:extLst>
                    <a:ext uri="{FF2B5EF4-FFF2-40B4-BE49-F238E27FC236}">
                      <a16:creationId xmlns:a16="http://schemas.microsoft.com/office/drawing/2014/main" id="{85C15DBB-65B2-FCBF-77BF-4D0FD292851A}"/>
                    </a:ext>
                  </a:extLst>
                </p:cNvPr>
                <p:cNvSpPr/>
                <p:nvPr/>
              </p:nvSpPr>
              <p:spPr bwMode="gray">
                <a:xfrm rot="5400000">
                  <a:off x="1481884" y="3164521"/>
                  <a:ext cx="330946" cy="165474"/>
                </a:xfrm>
                <a:prstGeom prst="triangle">
                  <a:avLst/>
                </a:pr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97" name="Triangle_4">
                  <a:extLst>
                    <a:ext uri="{FF2B5EF4-FFF2-40B4-BE49-F238E27FC236}">
                      <a16:creationId xmlns:a16="http://schemas.microsoft.com/office/drawing/2014/main" id="{32E8D47E-AE11-A70B-8A34-BF4FDE3308D6}"/>
                    </a:ext>
                  </a:extLst>
                </p:cNvPr>
                <p:cNvSpPr/>
                <p:nvPr/>
              </p:nvSpPr>
              <p:spPr bwMode="gray">
                <a:xfrm rot="16200000">
                  <a:off x="1647358" y="3164521"/>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91" name="Group 1590">
                <a:extLst>
                  <a:ext uri="{FF2B5EF4-FFF2-40B4-BE49-F238E27FC236}">
                    <a16:creationId xmlns:a16="http://schemas.microsoft.com/office/drawing/2014/main" id="{E3249C3E-F95E-B98C-EEB8-860B4119B131}"/>
                  </a:ext>
                </a:extLst>
              </p:cNvPr>
              <p:cNvGrpSpPr/>
              <p:nvPr/>
            </p:nvGrpSpPr>
            <p:grpSpPr bwMode="gray">
              <a:xfrm>
                <a:off x="1135264" y="2567115"/>
                <a:ext cx="217142" cy="217142"/>
                <a:chOff x="1564620" y="3412730"/>
                <a:chExt cx="330948" cy="330948"/>
              </a:xfrm>
            </p:grpSpPr>
            <p:sp>
              <p:nvSpPr>
                <p:cNvPr id="1988" name="dfine_grid_single_shape_frame">
                  <a:extLst>
                    <a:ext uri="{FF2B5EF4-FFF2-40B4-BE49-F238E27FC236}">
                      <a16:creationId xmlns:a16="http://schemas.microsoft.com/office/drawing/2014/main" id="{B4833A6F-A791-0D95-7A33-E72255F5782F}"/>
                    </a:ext>
                  </a:extLst>
                </p:cNvPr>
                <p:cNvSpPr/>
                <p:nvPr/>
              </p:nvSpPr>
              <p:spPr bwMode="gray">
                <a:xfrm>
                  <a:off x="1564620" y="3412730"/>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89" name="Triangle_1">
                  <a:extLst>
                    <a:ext uri="{FF2B5EF4-FFF2-40B4-BE49-F238E27FC236}">
                      <a16:creationId xmlns:a16="http://schemas.microsoft.com/office/drawing/2014/main" id="{F26A28E5-D50A-E6DF-F8D2-4F6B6A243D63}"/>
                    </a:ext>
                  </a:extLst>
                </p:cNvPr>
                <p:cNvSpPr/>
                <p:nvPr/>
              </p:nvSpPr>
              <p:spPr bwMode="gray">
                <a:xfrm rot="10800000">
                  <a:off x="1564620" y="341273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90" name="Triangle_2">
                  <a:extLst>
                    <a:ext uri="{FF2B5EF4-FFF2-40B4-BE49-F238E27FC236}">
                      <a16:creationId xmlns:a16="http://schemas.microsoft.com/office/drawing/2014/main" id="{772C3AB3-C257-12CB-4BC3-949C4C010801}"/>
                    </a:ext>
                  </a:extLst>
                </p:cNvPr>
                <p:cNvSpPr/>
                <p:nvPr/>
              </p:nvSpPr>
              <p:spPr bwMode="gray">
                <a:xfrm>
                  <a:off x="1564620" y="357820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91" name="Triangle_3">
                  <a:extLst>
                    <a:ext uri="{FF2B5EF4-FFF2-40B4-BE49-F238E27FC236}">
                      <a16:creationId xmlns:a16="http://schemas.microsoft.com/office/drawing/2014/main" id="{330BAF30-53C6-6CBE-FD5C-E40132AD271E}"/>
                    </a:ext>
                  </a:extLst>
                </p:cNvPr>
                <p:cNvSpPr/>
                <p:nvPr/>
              </p:nvSpPr>
              <p:spPr bwMode="gray">
                <a:xfrm rot="5400000">
                  <a:off x="1481884" y="349546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92" name="Triangle_4">
                  <a:extLst>
                    <a:ext uri="{FF2B5EF4-FFF2-40B4-BE49-F238E27FC236}">
                      <a16:creationId xmlns:a16="http://schemas.microsoft.com/office/drawing/2014/main" id="{6A1D00B1-4AC3-A33E-823B-562F6EC3CC8A}"/>
                    </a:ext>
                  </a:extLst>
                </p:cNvPr>
                <p:cNvSpPr/>
                <p:nvPr/>
              </p:nvSpPr>
              <p:spPr bwMode="gray">
                <a:xfrm rot="16200000">
                  <a:off x="1647358" y="349546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92" name="Group 1591">
                <a:extLst>
                  <a:ext uri="{FF2B5EF4-FFF2-40B4-BE49-F238E27FC236}">
                    <a16:creationId xmlns:a16="http://schemas.microsoft.com/office/drawing/2014/main" id="{9DCA37AD-8896-599A-A38F-D550D1475F9F}"/>
                  </a:ext>
                </a:extLst>
              </p:cNvPr>
              <p:cNvGrpSpPr/>
              <p:nvPr/>
            </p:nvGrpSpPr>
            <p:grpSpPr bwMode="gray">
              <a:xfrm>
                <a:off x="1135264" y="2784256"/>
                <a:ext cx="217142" cy="217142"/>
                <a:chOff x="1564620" y="3743677"/>
                <a:chExt cx="330948" cy="330948"/>
              </a:xfrm>
            </p:grpSpPr>
            <p:sp>
              <p:nvSpPr>
                <p:cNvPr id="1983" name="dfine_grid_single_shape_frame">
                  <a:extLst>
                    <a:ext uri="{FF2B5EF4-FFF2-40B4-BE49-F238E27FC236}">
                      <a16:creationId xmlns:a16="http://schemas.microsoft.com/office/drawing/2014/main" id="{ACE5CE3E-2105-133A-31EB-CD8838AD1702}"/>
                    </a:ext>
                  </a:extLst>
                </p:cNvPr>
                <p:cNvSpPr/>
                <p:nvPr/>
              </p:nvSpPr>
              <p:spPr bwMode="gray">
                <a:xfrm>
                  <a:off x="1564620" y="3743677"/>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84" name="Triangle_1">
                  <a:extLst>
                    <a:ext uri="{FF2B5EF4-FFF2-40B4-BE49-F238E27FC236}">
                      <a16:creationId xmlns:a16="http://schemas.microsoft.com/office/drawing/2014/main" id="{70F26C4E-EB62-0E75-C1DC-77CBC04359BE}"/>
                    </a:ext>
                  </a:extLst>
                </p:cNvPr>
                <p:cNvSpPr/>
                <p:nvPr/>
              </p:nvSpPr>
              <p:spPr bwMode="gray">
                <a:xfrm rot="10800000">
                  <a:off x="1564620" y="374367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85" name="Triangle_2">
                  <a:extLst>
                    <a:ext uri="{FF2B5EF4-FFF2-40B4-BE49-F238E27FC236}">
                      <a16:creationId xmlns:a16="http://schemas.microsoft.com/office/drawing/2014/main" id="{0265B217-5747-24DA-750E-3D975A778099}"/>
                    </a:ext>
                  </a:extLst>
                </p:cNvPr>
                <p:cNvSpPr/>
                <p:nvPr/>
              </p:nvSpPr>
              <p:spPr bwMode="gray">
                <a:xfrm>
                  <a:off x="1564620" y="3909151"/>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86" name="Triangle_3">
                  <a:extLst>
                    <a:ext uri="{FF2B5EF4-FFF2-40B4-BE49-F238E27FC236}">
                      <a16:creationId xmlns:a16="http://schemas.microsoft.com/office/drawing/2014/main" id="{49CA02CF-966B-B2C9-7962-673B8D2781EC}"/>
                    </a:ext>
                  </a:extLst>
                </p:cNvPr>
                <p:cNvSpPr/>
                <p:nvPr/>
              </p:nvSpPr>
              <p:spPr bwMode="gray">
                <a:xfrm rot="5400000">
                  <a:off x="1481884" y="3826415"/>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87" name="Triangle_4">
                  <a:extLst>
                    <a:ext uri="{FF2B5EF4-FFF2-40B4-BE49-F238E27FC236}">
                      <a16:creationId xmlns:a16="http://schemas.microsoft.com/office/drawing/2014/main" id="{681CB80B-DE9D-01FC-36B2-EDBEA90D9D20}"/>
                    </a:ext>
                  </a:extLst>
                </p:cNvPr>
                <p:cNvSpPr/>
                <p:nvPr/>
              </p:nvSpPr>
              <p:spPr bwMode="gray">
                <a:xfrm rot="16200000">
                  <a:off x="1647358" y="3826415"/>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93" name="Group 1592">
                <a:extLst>
                  <a:ext uri="{FF2B5EF4-FFF2-40B4-BE49-F238E27FC236}">
                    <a16:creationId xmlns:a16="http://schemas.microsoft.com/office/drawing/2014/main" id="{029ECA65-98D6-A531-9AE8-32568B90BBB7}"/>
                  </a:ext>
                </a:extLst>
              </p:cNvPr>
              <p:cNvGrpSpPr/>
              <p:nvPr/>
            </p:nvGrpSpPr>
            <p:grpSpPr bwMode="gray">
              <a:xfrm>
                <a:off x="1135264" y="3001397"/>
                <a:ext cx="217142" cy="217142"/>
                <a:chOff x="1564620" y="4074624"/>
                <a:chExt cx="330948" cy="330948"/>
              </a:xfrm>
            </p:grpSpPr>
            <p:sp>
              <p:nvSpPr>
                <p:cNvPr id="1978" name="dfine_grid_single_shape_frame">
                  <a:extLst>
                    <a:ext uri="{FF2B5EF4-FFF2-40B4-BE49-F238E27FC236}">
                      <a16:creationId xmlns:a16="http://schemas.microsoft.com/office/drawing/2014/main" id="{14107230-D4B3-61F2-F6D8-09AD775828A4}"/>
                    </a:ext>
                  </a:extLst>
                </p:cNvPr>
                <p:cNvSpPr/>
                <p:nvPr/>
              </p:nvSpPr>
              <p:spPr bwMode="gray">
                <a:xfrm>
                  <a:off x="1564620" y="4074624"/>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79" name="Triangle_1">
                  <a:extLst>
                    <a:ext uri="{FF2B5EF4-FFF2-40B4-BE49-F238E27FC236}">
                      <a16:creationId xmlns:a16="http://schemas.microsoft.com/office/drawing/2014/main" id="{0B10F39B-C427-F900-6FFB-C162EE38C6D9}"/>
                    </a:ext>
                  </a:extLst>
                </p:cNvPr>
                <p:cNvSpPr/>
                <p:nvPr/>
              </p:nvSpPr>
              <p:spPr bwMode="gray">
                <a:xfrm rot="10800000">
                  <a:off x="1564620" y="407462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80" name="Triangle_2">
                  <a:extLst>
                    <a:ext uri="{FF2B5EF4-FFF2-40B4-BE49-F238E27FC236}">
                      <a16:creationId xmlns:a16="http://schemas.microsoft.com/office/drawing/2014/main" id="{C10E700D-B314-82C5-0ECB-F6FD2F59601B}"/>
                    </a:ext>
                  </a:extLst>
                </p:cNvPr>
                <p:cNvSpPr/>
                <p:nvPr/>
              </p:nvSpPr>
              <p:spPr bwMode="gray">
                <a:xfrm>
                  <a:off x="1564620" y="424009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81" name="Triangle_3">
                  <a:extLst>
                    <a:ext uri="{FF2B5EF4-FFF2-40B4-BE49-F238E27FC236}">
                      <a16:creationId xmlns:a16="http://schemas.microsoft.com/office/drawing/2014/main" id="{C1922C78-77B1-5CD3-DA07-B0C762821F25}"/>
                    </a:ext>
                  </a:extLst>
                </p:cNvPr>
                <p:cNvSpPr/>
                <p:nvPr/>
              </p:nvSpPr>
              <p:spPr bwMode="gray">
                <a:xfrm rot="5400000">
                  <a:off x="1481884" y="4157362"/>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82" name="Triangle_4">
                  <a:extLst>
                    <a:ext uri="{FF2B5EF4-FFF2-40B4-BE49-F238E27FC236}">
                      <a16:creationId xmlns:a16="http://schemas.microsoft.com/office/drawing/2014/main" id="{4BFDEBAF-F394-3336-897C-E33E3DCF946A}"/>
                    </a:ext>
                  </a:extLst>
                </p:cNvPr>
                <p:cNvSpPr/>
                <p:nvPr/>
              </p:nvSpPr>
              <p:spPr bwMode="gray">
                <a:xfrm rot="16200000">
                  <a:off x="1647358" y="4157362"/>
                  <a:ext cx="330946" cy="165474"/>
                </a:xfrm>
                <a:prstGeom prst="triangle">
                  <a:avLst/>
                </a:prstGeom>
                <a:solidFill>
                  <a:srgbClr val="FFFFFF"/>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grpSp>
          <p:grpSp>
            <p:nvGrpSpPr>
              <p:cNvPr id="1594" name="Group 1593">
                <a:extLst>
                  <a:ext uri="{FF2B5EF4-FFF2-40B4-BE49-F238E27FC236}">
                    <a16:creationId xmlns:a16="http://schemas.microsoft.com/office/drawing/2014/main" id="{AF2FEF01-FBA6-AFF6-49D1-95AE56F48AAE}"/>
                  </a:ext>
                </a:extLst>
              </p:cNvPr>
              <p:cNvGrpSpPr/>
              <p:nvPr/>
            </p:nvGrpSpPr>
            <p:grpSpPr bwMode="gray">
              <a:xfrm>
                <a:off x="1135264" y="3218539"/>
                <a:ext cx="217142" cy="217142"/>
                <a:chOff x="1564620" y="2419889"/>
                <a:chExt cx="330948" cy="330948"/>
              </a:xfrm>
            </p:grpSpPr>
            <p:sp>
              <p:nvSpPr>
                <p:cNvPr id="1973" name="dfine_grid_single_shape_frame">
                  <a:extLst>
                    <a:ext uri="{FF2B5EF4-FFF2-40B4-BE49-F238E27FC236}">
                      <a16:creationId xmlns:a16="http://schemas.microsoft.com/office/drawing/2014/main" id="{D963C890-8666-052A-24DE-D276CF7697B1}"/>
                    </a:ext>
                  </a:extLst>
                </p:cNvPr>
                <p:cNvSpPr/>
                <p:nvPr/>
              </p:nvSpPr>
              <p:spPr bwMode="gray">
                <a:xfrm>
                  <a:off x="1564620" y="2419889"/>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74" name="Triangle_1">
                  <a:extLst>
                    <a:ext uri="{FF2B5EF4-FFF2-40B4-BE49-F238E27FC236}">
                      <a16:creationId xmlns:a16="http://schemas.microsoft.com/office/drawing/2014/main" id="{7CFB30A3-060E-9EB5-75DF-619359BC7ADB}"/>
                    </a:ext>
                  </a:extLst>
                </p:cNvPr>
                <p:cNvSpPr/>
                <p:nvPr/>
              </p:nvSpPr>
              <p:spPr bwMode="gray">
                <a:xfrm rot="10800000">
                  <a:off x="1564620" y="2419889"/>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75" name="Triangle_2">
                  <a:extLst>
                    <a:ext uri="{FF2B5EF4-FFF2-40B4-BE49-F238E27FC236}">
                      <a16:creationId xmlns:a16="http://schemas.microsoft.com/office/drawing/2014/main" id="{6EB59065-FB6D-C2F1-BD52-D2193FE4D88B}"/>
                    </a:ext>
                  </a:extLst>
                </p:cNvPr>
                <p:cNvSpPr/>
                <p:nvPr/>
              </p:nvSpPr>
              <p:spPr bwMode="gray">
                <a:xfrm>
                  <a:off x="1564620" y="2585363"/>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76" name="Triangle_3">
                  <a:extLst>
                    <a:ext uri="{FF2B5EF4-FFF2-40B4-BE49-F238E27FC236}">
                      <a16:creationId xmlns:a16="http://schemas.microsoft.com/office/drawing/2014/main" id="{82409280-642B-306F-83B9-E7B4314DD7D3}"/>
                    </a:ext>
                  </a:extLst>
                </p:cNvPr>
                <p:cNvSpPr/>
                <p:nvPr/>
              </p:nvSpPr>
              <p:spPr bwMode="gray">
                <a:xfrm rot="5400000">
                  <a:off x="1481884" y="250262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77" name="Triangle_4">
                  <a:extLst>
                    <a:ext uri="{FF2B5EF4-FFF2-40B4-BE49-F238E27FC236}">
                      <a16:creationId xmlns:a16="http://schemas.microsoft.com/office/drawing/2014/main" id="{C9EDE476-0A8F-AD78-1AD9-2CA643170FC1}"/>
                    </a:ext>
                  </a:extLst>
                </p:cNvPr>
                <p:cNvSpPr/>
                <p:nvPr/>
              </p:nvSpPr>
              <p:spPr bwMode="gray">
                <a:xfrm rot="16200000">
                  <a:off x="1647358" y="250262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95" name="Group 1594">
                <a:extLst>
                  <a:ext uri="{FF2B5EF4-FFF2-40B4-BE49-F238E27FC236}">
                    <a16:creationId xmlns:a16="http://schemas.microsoft.com/office/drawing/2014/main" id="{4BC3A5C7-FC26-F37A-208B-1B92D71752A1}"/>
                  </a:ext>
                </a:extLst>
              </p:cNvPr>
              <p:cNvGrpSpPr/>
              <p:nvPr/>
            </p:nvGrpSpPr>
            <p:grpSpPr bwMode="gray">
              <a:xfrm>
                <a:off x="1135264" y="3435680"/>
                <a:ext cx="217142" cy="217142"/>
                <a:chOff x="1564620" y="2750836"/>
                <a:chExt cx="330948" cy="330948"/>
              </a:xfrm>
            </p:grpSpPr>
            <p:sp>
              <p:nvSpPr>
                <p:cNvPr id="1968" name="dfine_grid_single_shape_frame">
                  <a:extLst>
                    <a:ext uri="{FF2B5EF4-FFF2-40B4-BE49-F238E27FC236}">
                      <a16:creationId xmlns:a16="http://schemas.microsoft.com/office/drawing/2014/main" id="{18D6EFE0-3D68-EFA5-7842-F6A01D35D71A}"/>
                    </a:ext>
                  </a:extLst>
                </p:cNvPr>
                <p:cNvSpPr/>
                <p:nvPr/>
              </p:nvSpPr>
              <p:spPr bwMode="gray">
                <a:xfrm>
                  <a:off x="1564620" y="2750836"/>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69" name="Triangle_1">
                  <a:extLst>
                    <a:ext uri="{FF2B5EF4-FFF2-40B4-BE49-F238E27FC236}">
                      <a16:creationId xmlns:a16="http://schemas.microsoft.com/office/drawing/2014/main" id="{80E35DBF-27FC-CCEB-5717-AFB6E9A2B78B}"/>
                    </a:ext>
                  </a:extLst>
                </p:cNvPr>
                <p:cNvSpPr/>
                <p:nvPr/>
              </p:nvSpPr>
              <p:spPr bwMode="gray">
                <a:xfrm rot="10800000">
                  <a:off x="1564620" y="2750836"/>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70" name="Triangle_2">
                  <a:extLst>
                    <a:ext uri="{FF2B5EF4-FFF2-40B4-BE49-F238E27FC236}">
                      <a16:creationId xmlns:a16="http://schemas.microsoft.com/office/drawing/2014/main" id="{4CD6DD1E-E583-01A5-16BF-BFCEA859EA41}"/>
                    </a:ext>
                  </a:extLst>
                </p:cNvPr>
                <p:cNvSpPr/>
                <p:nvPr/>
              </p:nvSpPr>
              <p:spPr bwMode="gray">
                <a:xfrm>
                  <a:off x="1564620" y="291631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71" name="Triangle_3">
                  <a:extLst>
                    <a:ext uri="{FF2B5EF4-FFF2-40B4-BE49-F238E27FC236}">
                      <a16:creationId xmlns:a16="http://schemas.microsoft.com/office/drawing/2014/main" id="{2CD7EBDC-E04C-B2A2-44C8-E8FD8AF5C3F7}"/>
                    </a:ext>
                  </a:extLst>
                </p:cNvPr>
                <p:cNvSpPr/>
                <p:nvPr/>
              </p:nvSpPr>
              <p:spPr bwMode="gray">
                <a:xfrm rot="5400000">
                  <a:off x="1481884" y="283357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72" name="Triangle_4">
                  <a:extLst>
                    <a:ext uri="{FF2B5EF4-FFF2-40B4-BE49-F238E27FC236}">
                      <a16:creationId xmlns:a16="http://schemas.microsoft.com/office/drawing/2014/main" id="{7F92AB5D-1B8C-70FB-50E8-CF65814A5A41}"/>
                    </a:ext>
                  </a:extLst>
                </p:cNvPr>
                <p:cNvSpPr/>
                <p:nvPr/>
              </p:nvSpPr>
              <p:spPr bwMode="gray">
                <a:xfrm rot="16200000">
                  <a:off x="1647358" y="283357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96" name="Group 1595">
                <a:extLst>
                  <a:ext uri="{FF2B5EF4-FFF2-40B4-BE49-F238E27FC236}">
                    <a16:creationId xmlns:a16="http://schemas.microsoft.com/office/drawing/2014/main" id="{B9B82AA4-B02B-EC22-79DF-41645AD181D6}"/>
                  </a:ext>
                </a:extLst>
              </p:cNvPr>
              <p:cNvGrpSpPr/>
              <p:nvPr/>
            </p:nvGrpSpPr>
            <p:grpSpPr bwMode="gray">
              <a:xfrm>
                <a:off x="1135264" y="3652821"/>
                <a:ext cx="217142" cy="217142"/>
                <a:chOff x="1564620" y="3081783"/>
                <a:chExt cx="330948" cy="330948"/>
              </a:xfrm>
            </p:grpSpPr>
            <p:sp>
              <p:nvSpPr>
                <p:cNvPr id="1963" name="dfine_grid_single_shape_frame">
                  <a:extLst>
                    <a:ext uri="{FF2B5EF4-FFF2-40B4-BE49-F238E27FC236}">
                      <a16:creationId xmlns:a16="http://schemas.microsoft.com/office/drawing/2014/main" id="{C0409859-A2E2-D5F4-63AE-1450B431E09D}"/>
                    </a:ext>
                  </a:extLst>
                </p:cNvPr>
                <p:cNvSpPr/>
                <p:nvPr/>
              </p:nvSpPr>
              <p:spPr bwMode="gray">
                <a:xfrm>
                  <a:off x="1564620" y="3081783"/>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64" name="Triangle_1">
                  <a:extLst>
                    <a:ext uri="{FF2B5EF4-FFF2-40B4-BE49-F238E27FC236}">
                      <a16:creationId xmlns:a16="http://schemas.microsoft.com/office/drawing/2014/main" id="{B6272713-2EE7-0CEB-3366-306743213EE3}"/>
                    </a:ext>
                  </a:extLst>
                </p:cNvPr>
                <p:cNvSpPr/>
                <p:nvPr/>
              </p:nvSpPr>
              <p:spPr bwMode="gray">
                <a:xfrm rot="10800000">
                  <a:off x="1564620" y="3081783"/>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65" name="Triangle_2">
                  <a:extLst>
                    <a:ext uri="{FF2B5EF4-FFF2-40B4-BE49-F238E27FC236}">
                      <a16:creationId xmlns:a16="http://schemas.microsoft.com/office/drawing/2014/main" id="{20CF7812-43F7-258E-51FB-563478A3FE88}"/>
                    </a:ext>
                  </a:extLst>
                </p:cNvPr>
                <p:cNvSpPr/>
                <p:nvPr/>
              </p:nvSpPr>
              <p:spPr bwMode="gray">
                <a:xfrm>
                  <a:off x="1564620" y="324725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66" name="Triangle_3">
                  <a:extLst>
                    <a:ext uri="{FF2B5EF4-FFF2-40B4-BE49-F238E27FC236}">
                      <a16:creationId xmlns:a16="http://schemas.microsoft.com/office/drawing/2014/main" id="{9CC2222A-2DFD-3188-1357-4E5B85888226}"/>
                    </a:ext>
                  </a:extLst>
                </p:cNvPr>
                <p:cNvSpPr/>
                <p:nvPr/>
              </p:nvSpPr>
              <p:spPr bwMode="gray">
                <a:xfrm rot="5400000">
                  <a:off x="1481884" y="3164521"/>
                  <a:ext cx="330946" cy="165474"/>
                </a:xfrm>
                <a:prstGeom prst="triangle">
                  <a:avLst/>
                </a:pr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67" name="Triangle_4">
                  <a:extLst>
                    <a:ext uri="{FF2B5EF4-FFF2-40B4-BE49-F238E27FC236}">
                      <a16:creationId xmlns:a16="http://schemas.microsoft.com/office/drawing/2014/main" id="{30A1DCC9-D496-87C7-46DF-4CA2B56CAA7B}"/>
                    </a:ext>
                  </a:extLst>
                </p:cNvPr>
                <p:cNvSpPr/>
                <p:nvPr/>
              </p:nvSpPr>
              <p:spPr bwMode="gray">
                <a:xfrm rot="16200000">
                  <a:off x="1647358" y="3164521"/>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97" name="Group 1596">
                <a:extLst>
                  <a:ext uri="{FF2B5EF4-FFF2-40B4-BE49-F238E27FC236}">
                    <a16:creationId xmlns:a16="http://schemas.microsoft.com/office/drawing/2014/main" id="{BBF6F093-353D-3695-2C0E-E7ED35E0F31F}"/>
                  </a:ext>
                </a:extLst>
              </p:cNvPr>
              <p:cNvGrpSpPr/>
              <p:nvPr/>
            </p:nvGrpSpPr>
            <p:grpSpPr bwMode="gray">
              <a:xfrm>
                <a:off x="1135264" y="3869962"/>
                <a:ext cx="217142" cy="217142"/>
                <a:chOff x="1564620" y="3412730"/>
                <a:chExt cx="330948" cy="330948"/>
              </a:xfrm>
            </p:grpSpPr>
            <p:sp>
              <p:nvSpPr>
                <p:cNvPr id="1958" name="dfine_grid_single_shape_frame">
                  <a:extLst>
                    <a:ext uri="{FF2B5EF4-FFF2-40B4-BE49-F238E27FC236}">
                      <a16:creationId xmlns:a16="http://schemas.microsoft.com/office/drawing/2014/main" id="{D5BDA714-B742-5E48-8DC7-AE67AB64848A}"/>
                    </a:ext>
                  </a:extLst>
                </p:cNvPr>
                <p:cNvSpPr/>
                <p:nvPr/>
              </p:nvSpPr>
              <p:spPr bwMode="gray">
                <a:xfrm>
                  <a:off x="1564620" y="3412730"/>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59" name="Triangle_1">
                  <a:extLst>
                    <a:ext uri="{FF2B5EF4-FFF2-40B4-BE49-F238E27FC236}">
                      <a16:creationId xmlns:a16="http://schemas.microsoft.com/office/drawing/2014/main" id="{894EAF4F-65E6-2B61-CD40-9F4FFEA6E862}"/>
                    </a:ext>
                  </a:extLst>
                </p:cNvPr>
                <p:cNvSpPr/>
                <p:nvPr/>
              </p:nvSpPr>
              <p:spPr bwMode="gray">
                <a:xfrm rot="10800000">
                  <a:off x="1564620" y="341273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60" name="Triangle_2">
                  <a:extLst>
                    <a:ext uri="{FF2B5EF4-FFF2-40B4-BE49-F238E27FC236}">
                      <a16:creationId xmlns:a16="http://schemas.microsoft.com/office/drawing/2014/main" id="{24E44498-A6E7-EBB7-F850-4CB17DB2DC28}"/>
                    </a:ext>
                  </a:extLst>
                </p:cNvPr>
                <p:cNvSpPr/>
                <p:nvPr/>
              </p:nvSpPr>
              <p:spPr bwMode="gray">
                <a:xfrm>
                  <a:off x="1564620" y="357820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61" name="Triangle_3">
                  <a:extLst>
                    <a:ext uri="{FF2B5EF4-FFF2-40B4-BE49-F238E27FC236}">
                      <a16:creationId xmlns:a16="http://schemas.microsoft.com/office/drawing/2014/main" id="{CA85CBFE-007C-5E67-169E-2720BF96672F}"/>
                    </a:ext>
                  </a:extLst>
                </p:cNvPr>
                <p:cNvSpPr/>
                <p:nvPr/>
              </p:nvSpPr>
              <p:spPr bwMode="gray">
                <a:xfrm rot="5400000">
                  <a:off x="1481884" y="349546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62" name="Triangle_4">
                  <a:extLst>
                    <a:ext uri="{FF2B5EF4-FFF2-40B4-BE49-F238E27FC236}">
                      <a16:creationId xmlns:a16="http://schemas.microsoft.com/office/drawing/2014/main" id="{659BB913-9AE2-8DFE-E336-3AE8661F49CA}"/>
                    </a:ext>
                  </a:extLst>
                </p:cNvPr>
                <p:cNvSpPr/>
                <p:nvPr/>
              </p:nvSpPr>
              <p:spPr bwMode="gray">
                <a:xfrm rot="16200000">
                  <a:off x="1647358" y="349546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98" name="Group 1597">
                <a:extLst>
                  <a:ext uri="{FF2B5EF4-FFF2-40B4-BE49-F238E27FC236}">
                    <a16:creationId xmlns:a16="http://schemas.microsoft.com/office/drawing/2014/main" id="{92632A77-E9EE-068C-2D99-152E82038EEF}"/>
                  </a:ext>
                </a:extLst>
              </p:cNvPr>
              <p:cNvGrpSpPr/>
              <p:nvPr/>
            </p:nvGrpSpPr>
            <p:grpSpPr bwMode="gray">
              <a:xfrm>
                <a:off x="1135264" y="4087103"/>
                <a:ext cx="217142" cy="217142"/>
                <a:chOff x="1564620" y="3743677"/>
                <a:chExt cx="330948" cy="330948"/>
              </a:xfrm>
            </p:grpSpPr>
            <p:sp>
              <p:nvSpPr>
                <p:cNvPr id="1953" name="dfine_grid_single_shape_frame">
                  <a:extLst>
                    <a:ext uri="{FF2B5EF4-FFF2-40B4-BE49-F238E27FC236}">
                      <a16:creationId xmlns:a16="http://schemas.microsoft.com/office/drawing/2014/main" id="{E68CB004-9641-4565-9072-711C8B58376F}"/>
                    </a:ext>
                  </a:extLst>
                </p:cNvPr>
                <p:cNvSpPr/>
                <p:nvPr/>
              </p:nvSpPr>
              <p:spPr bwMode="gray">
                <a:xfrm>
                  <a:off x="1564620" y="3743677"/>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54" name="Triangle_1">
                  <a:extLst>
                    <a:ext uri="{FF2B5EF4-FFF2-40B4-BE49-F238E27FC236}">
                      <a16:creationId xmlns:a16="http://schemas.microsoft.com/office/drawing/2014/main" id="{C7036CB4-1250-2344-B1CE-91C675201136}"/>
                    </a:ext>
                  </a:extLst>
                </p:cNvPr>
                <p:cNvSpPr/>
                <p:nvPr/>
              </p:nvSpPr>
              <p:spPr bwMode="gray">
                <a:xfrm rot="10800000">
                  <a:off x="1564620" y="3743677"/>
                  <a:ext cx="330946" cy="165474"/>
                </a:xfrm>
                <a:prstGeom prst="triangle">
                  <a:avLst/>
                </a:prstGeom>
                <a:solidFill>
                  <a:srgbClr val="FFFFFF"/>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1955" name="Triangle_2">
                  <a:extLst>
                    <a:ext uri="{FF2B5EF4-FFF2-40B4-BE49-F238E27FC236}">
                      <a16:creationId xmlns:a16="http://schemas.microsoft.com/office/drawing/2014/main" id="{B3F55185-E3ED-9238-158A-2E68779D6215}"/>
                    </a:ext>
                  </a:extLst>
                </p:cNvPr>
                <p:cNvSpPr/>
                <p:nvPr/>
              </p:nvSpPr>
              <p:spPr bwMode="gray">
                <a:xfrm>
                  <a:off x="1564620" y="3909151"/>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56" name="Triangle_3">
                  <a:extLst>
                    <a:ext uri="{FF2B5EF4-FFF2-40B4-BE49-F238E27FC236}">
                      <a16:creationId xmlns:a16="http://schemas.microsoft.com/office/drawing/2014/main" id="{986FCCF6-67C3-AF43-0D30-44C790036270}"/>
                    </a:ext>
                  </a:extLst>
                </p:cNvPr>
                <p:cNvSpPr/>
                <p:nvPr/>
              </p:nvSpPr>
              <p:spPr bwMode="gray">
                <a:xfrm rot="5400000">
                  <a:off x="1481884" y="3826415"/>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57" name="Triangle_4">
                  <a:extLst>
                    <a:ext uri="{FF2B5EF4-FFF2-40B4-BE49-F238E27FC236}">
                      <a16:creationId xmlns:a16="http://schemas.microsoft.com/office/drawing/2014/main" id="{C64E8F4A-9757-2EC9-F730-0604792B7E8D}"/>
                    </a:ext>
                  </a:extLst>
                </p:cNvPr>
                <p:cNvSpPr/>
                <p:nvPr/>
              </p:nvSpPr>
              <p:spPr bwMode="gray">
                <a:xfrm rot="16200000">
                  <a:off x="1647358" y="3826415"/>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599" name="Group 1598">
                <a:extLst>
                  <a:ext uri="{FF2B5EF4-FFF2-40B4-BE49-F238E27FC236}">
                    <a16:creationId xmlns:a16="http://schemas.microsoft.com/office/drawing/2014/main" id="{06A81F44-F902-5B46-9938-9D53EE3396FB}"/>
                  </a:ext>
                </a:extLst>
              </p:cNvPr>
              <p:cNvGrpSpPr/>
              <p:nvPr/>
            </p:nvGrpSpPr>
            <p:grpSpPr bwMode="gray">
              <a:xfrm>
                <a:off x="1135264" y="4304244"/>
                <a:ext cx="217142" cy="217142"/>
                <a:chOff x="1564620" y="4074624"/>
                <a:chExt cx="330948" cy="330948"/>
              </a:xfrm>
            </p:grpSpPr>
            <p:sp>
              <p:nvSpPr>
                <p:cNvPr id="1948" name="dfine_grid_single_shape_frame">
                  <a:extLst>
                    <a:ext uri="{FF2B5EF4-FFF2-40B4-BE49-F238E27FC236}">
                      <a16:creationId xmlns:a16="http://schemas.microsoft.com/office/drawing/2014/main" id="{D830DD57-3722-F799-4BE0-491F9A5BB44D}"/>
                    </a:ext>
                  </a:extLst>
                </p:cNvPr>
                <p:cNvSpPr/>
                <p:nvPr/>
              </p:nvSpPr>
              <p:spPr bwMode="gray">
                <a:xfrm>
                  <a:off x="1564620" y="4074624"/>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49" name="Triangle_1">
                  <a:extLst>
                    <a:ext uri="{FF2B5EF4-FFF2-40B4-BE49-F238E27FC236}">
                      <a16:creationId xmlns:a16="http://schemas.microsoft.com/office/drawing/2014/main" id="{6FA4F4D1-D80E-EF8B-A072-D1151A04ED5F}"/>
                    </a:ext>
                  </a:extLst>
                </p:cNvPr>
                <p:cNvSpPr/>
                <p:nvPr/>
              </p:nvSpPr>
              <p:spPr bwMode="gray">
                <a:xfrm rot="10800000">
                  <a:off x="1564620" y="407462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50" name="Triangle_2">
                  <a:extLst>
                    <a:ext uri="{FF2B5EF4-FFF2-40B4-BE49-F238E27FC236}">
                      <a16:creationId xmlns:a16="http://schemas.microsoft.com/office/drawing/2014/main" id="{5866CF03-E6C8-2AF5-DC5C-6E306B39C469}"/>
                    </a:ext>
                  </a:extLst>
                </p:cNvPr>
                <p:cNvSpPr/>
                <p:nvPr/>
              </p:nvSpPr>
              <p:spPr bwMode="gray">
                <a:xfrm>
                  <a:off x="1564620" y="424009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51" name="Triangle_3">
                  <a:extLst>
                    <a:ext uri="{FF2B5EF4-FFF2-40B4-BE49-F238E27FC236}">
                      <a16:creationId xmlns:a16="http://schemas.microsoft.com/office/drawing/2014/main" id="{EC7120EE-AFC7-0DCB-113E-9907295D22EF}"/>
                    </a:ext>
                  </a:extLst>
                </p:cNvPr>
                <p:cNvSpPr/>
                <p:nvPr/>
              </p:nvSpPr>
              <p:spPr bwMode="gray">
                <a:xfrm rot="5400000">
                  <a:off x="1481884" y="4157362"/>
                  <a:ext cx="330946"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52" name="Triangle_4">
                  <a:extLst>
                    <a:ext uri="{FF2B5EF4-FFF2-40B4-BE49-F238E27FC236}">
                      <a16:creationId xmlns:a16="http://schemas.microsoft.com/office/drawing/2014/main" id="{D95D8099-5FDE-2651-1304-BAB87E94EF63}"/>
                    </a:ext>
                  </a:extLst>
                </p:cNvPr>
                <p:cNvSpPr/>
                <p:nvPr/>
              </p:nvSpPr>
              <p:spPr bwMode="gray">
                <a:xfrm rot="16200000">
                  <a:off x="1647358" y="4157362"/>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00" name="Group 1599">
                <a:extLst>
                  <a:ext uri="{FF2B5EF4-FFF2-40B4-BE49-F238E27FC236}">
                    <a16:creationId xmlns:a16="http://schemas.microsoft.com/office/drawing/2014/main" id="{DF4A1150-4B6E-D594-A42A-9AB8360B0BBA}"/>
                  </a:ext>
                </a:extLst>
              </p:cNvPr>
              <p:cNvGrpSpPr/>
              <p:nvPr/>
            </p:nvGrpSpPr>
            <p:grpSpPr bwMode="gray">
              <a:xfrm>
                <a:off x="700982" y="3869962"/>
                <a:ext cx="217142" cy="217142"/>
                <a:chOff x="902726" y="3412730"/>
                <a:chExt cx="330948" cy="330948"/>
              </a:xfrm>
              <a:solidFill>
                <a:schemeClr val="bg1"/>
              </a:solidFill>
            </p:grpSpPr>
            <p:sp>
              <p:nvSpPr>
                <p:cNvPr id="1943" name="dfine_grid_single_shape_frame">
                  <a:extLst>
                    <a:ext uri="{FF2B5EF4-FFF2-40B4-BE49-F238E27FC236}">
                      <a16:creationId xmlns:a16="http://schemas.microsoft.com/office/drawing/2014/main" id="{8AB5F743-9C0F-01D0-9A93-43855D2BBD5C}"/>
                    </a:ext>
                  </a:extLst>
                </p:cNvPr>
                <p:cNvSpPr/>
                <p:nvPr/>
              </p:nvSpPr>
              <p:spPr bwMode="gray">
                <a:xfrm>
                  <a:off x="902726" y="3412730"/>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44" name="Triangle_1">
                  <a:extLst>
                    <a:ext uri="{FF2B5EF4-FFF2-40B4-BE49-F238E27FC236}">
                      <a16:creationId xmlns:a16="http://schemas.microsoft.com/office/drawing/2014/main" id="{C3F1DC33-12AC-CE33-8278-93CF070B4C85}"/>
                    </a:ext>
                  </a:extLst>
                </p:cNvPr>
                <p:cNvSpPr/>
                <p:nvPr/>
              </p:nvSpPr>
              <p:spPr bwMode="gray">
                <a:xfrm rot="10800000">
                  <a:off x="902726" y="341273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45" name="Triangle_2">
                  <a:extLst>
                    <a:ext uri="{FF2B5EF4-FFF2-40B4-BE49-F238E27FC236}">
                      <a16:creationId xmlns:a16="http://schemas.microsoft.com/office/drawing/2014/main" id="{833B8D07-A413-D31D-87D0-E1A84C80CFA4}"/>
                    </a:ext>
                  </a:extLst>
                </p:cNvPr>
                <p:cNvSpPr/>
                <p:nvPr/>
              </p:nvSpPr>
              <p:spPr bwMode="gray">
                <a:xfrm>
                  <a:off x="902726" y="3578204"/>
                  <a:ext cx="330946" cy="165474"/>
                </a:xfrm>
                <a:prstGeom prst="triangle">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46" name="Triangle_3">
                  <a:extLst>
                    <a:ext uri="{FF2B5EF4-FFF2-40B4-BE49-F238E27FC236}">
                      <a16:creationId xmlns:a16="http://schemas.microsoft.com/office/drawing/2014/main" id="{87714646-3744-5285-4864-051F0A39EA0B}"/>
                    </a:ext>
                  </a:extLst>
                </p:cNvPr>
                <p:cNvSpPr/>
                <p:nvPr/>
              </p:nvSpPr>
              <p:spPr bwMode="gray">
                <a:xfrm rot="5400000">
                  <a:off x="819990" y="3495468"/>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1947" name="Triangle_4">
                  <a:extLst>
                    <a:ext uri="{FF2B5EF4-FFF2-40B4-BE49-F238E27FC236}">
                      <a16:creationId xmlns:a16="http://schemas.microsoft.com/office/drawing/2014/main" id="{F15C14FB-CB90-14A9-D554-8D21ED4F34A7}"/>
                    </a:ext>
                  </a:extLst>
                </p:cNvPr>
                <p:cNvSpPr/>
                <p:nvPr/>
              </p:nvSpPr>
              <p:spPr bwMode="gray">
                <a:xfrm rot="16200000">
                  <a:off x="985464" y="3495468"/>
                  <a:ext cx="330946" cy="165474"/>
                </a:xfrm>
                <a:prstGeom prst="triangle">
                  <a:avLst/>
                </a:prstGeom>
                <a:solidFill>
                  <a:schemeClr val="tx2"/>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01" name="Group 1600">
                <a:extLst>
                  <a:ext uri="{FF2B5EF4-FFF2-40B4-BE49-F238E27FC236}">
                    <a16:creationId xmlns:a16="http://schemas.microsoft.com/office/drawing/2014/main" id="{BA01DDB5-FEB6-1BAB-EFFE-6D351406DD11}"/>
                  </a:ext>
                </a:extLst>
              </p:cNvPr>
              <p:cNvGrpSpPr/>
              <p:nvPr/>
            </p:nvGrpSpPr>
            <p:grpSpPr bwMode="gray">
              <a:xfrm>
                <a:off x="266700" y="3218539"/>
                <a:ext cx="217142" cy="217142"/>
                <a:chOff x="240832" y="2419889"/>
                <a:chExt cx="330948" cy="330948"/>
              </a:xfrm>
              <a:solidFill>
                <a:schemeClr val="bg1"/>
              </a:solidFill>
            </p:grpSpPr>
            <p:sp>
              <p:nvSpPr>
                <p:cNvPr id="1938" name="dfine_grid_single_shape_frame">
                  <a:extLst>
                    <a:ext uri="{FF2B5EF4-FFF2-40B4-BE49-F238E27FC236}">
                      <a16:creationId xmlns:a16="http://schemas.microsoft.com/office/drawing/2014/main" id="{DE40C2A4-5021-C767-E1C9-5420584B83E0}"/>
                    </a:ext>
                  </a:extLst>
                </p:cNvPr>
                <p:cNvSpPr/>
                <p:nvPr>
                  <p:custDataLst>
                    <p:tags r:id="rId17"/>
                  </p:custDataLst>
                </p:nvPr>
              </p:nvSpPr>
              <p:spPr bwMode="gray">
                <a:xfrm>
                  <a:off x="240832" y="2419889"/>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39" name="Triangle_1">
                  <a:extLst>
                    <a:ext uri="{FF2B5EF4-FFF2-40B4-BE49-F238E27FC236}">
                      <a16:creationId xmlns:a16="http://schemas.microsoft.com/office/drawing/2014/main" id="{69FED8E8-ACB9-7F33-1F2E-9BA4E7B73A32}"/>
                    </a:ext>
                  </a:extLst>
                </p:cNvPr>
                <p:cNvSpPr/>
                <p:nvPr/>
              </p:nvSpPr>
              <p:spPr bwMode="gray">
                <a:xfrm rot="10800000">
                  <a:off x="240832" y="2419889"/>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40" name="Triangle_2">
                  <a:extLst>
                    <a:ext uri="{FF2B5EF4-FFF2-40B4-BE49-F238E27FC236}">
                      <a16:creationId xmlns:a16="http://schemas.microsoft.com/office/drawing/2014/main" id="{1F8F84C9-BB08-16CB-3B61-82788452D1C0}"/>
                    </a:ext>
                  </a:extLst>
                </p:cNvPr>
                <p:cNvSpPr/>
                <p:nvPr/>
              </p:nvSpPr>
              <p:spPr bwMode="gray">
                <a:xfrm>
                  <a:off x="240832" y="2585363"/>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41" name="Triangle_3">
                  <a:extLst>
                    <a:ext uri="{FF2B5EF4-FFF2-40B4-BE49-F238E27FC236}">
                      <a16:creationId xmlns:a16="http://schemas.microsoft.com/office/drawing/2014/main" id="{CD9B035E-412E-3E73-8D28-7A0FB58B70C5}"/>
                    </a:ext>
                  </a:extLst>
                </p:cNvPr>
                <p:cNvSpPr/>
                <p:nvPr/>
              </p:nvSpPr>
              <p:spPr bwMode="gray">
                <a:xfrm rot="5400000">
                  <a:off x="158096" y="250262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42" name="Triangle_4">
                  <a:extLst>
                    <a:ext uri="{FF2B5EF4-FFF2-40B4-BE49-F238E27FC236}">
                      <a16:creationId xmlns:a16="http://schemas.microsoft.com/office/drawing/2014/main" id="{9E27B1F5-D573-8A67-1C9C-59B9C7B0F57D}"/>
                    </a:ext>
                  </a:extLst>
                </p:cNvPr>
                <p:cNvSpPr/>
                <p:nvPr/>
              </p:nvSpPr>
              <p:spPr bwMode="gray">
                <a:xfrm rot="16200000">
                  <a:off x="323570" y="2502627"/>
                  <a:ext cx="330946" cy="165474"/>
                </a:xfrm>
                <a:prstGeom prst="triangle">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02" name="Group 1601">
                <a:extLst>
                  <a:ext uri="{FF2B5EF4-FFF2-40B4-BE49-F238E27FC236}">
                    <a16:creationId xmlns:a16="http://schemas.microsoft.com/office/drawing/2014/main" id="{0772711C-E825-985B-D69D-EC6F428F45C8}"/>
                  </a:ext>
                </a:extLst>
              </p:cNvPr>
              <p:cNvGrpSpPr/>
              <p:nvPr/>
            </p:nvGrpSpPr>
            <p:grpSpPr bwMode="gray">
              <a:xfrm>
                <a:off x="266700" y="3435680"/>
                <a:ext cx="217142" cy="217142"/>
                <a:chOff x="240832" y="2750836"/>
                <a:chExt cx="330948" cy="330948"/>
              </a:xfrm>
              <a:solidFill>
                <a:schemeClr val="bg1"/>
              </a:solidFill>
            </p:grpSpPr>
            <p:sp>
              <p:nvSpPr>
                <p:cNvPr id="1933" name="dfine_grid_single_shape_frame">
                  <a:extLst>
                    <a:ext uri="{FF2B5EF4-FFF2-40B4-BE49-F238E27FC236}">
                      <a16:creationId xmlns:a16="http://schemas.microsoft.com/office/drawing/2014/main" id="{D5D8DFC7-DD83-F83D-29F3-CAC39DAB0884}"/>
                    </a:ext>
                  </a:extLst>
                </p:cNvPr>
                <p:cNvSpPr/>
                <p:nvPr>
                  <p:custDataLst>
                    <p:tags r:id="rId16"/>
                  </p:custDataLst>
                </p:nvPr>
              </p:nvSpPr>
              <p:spPr bwMode="gray">
                <a:xfrm>
                  <a:off x="240832" y="2750836"/>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34" name="Triangle_1">
                  <a:extLst>
                    <a:ext uri="{FF2B5EF4-FFF2-40B4-BE49-F238E27FC236}">
                      <a16:creationId xmlns:a16="http://schemas.microsoft.com/office/drawing/2014/main" id="{14F430B8-EA36-5F88-6574-DF81A0C57F64}"/>
                    </a:ext>
                  </a:extLst>
                </p:cNvPr>
                <p:cNvSpPr/>
                <p:nvPr/>
              </p:nvSpPr>
              <p:spPr bwMode="gray">
                <a:xfrm rot="10800000">
                  <a:off x="240832" y="2750836"/>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35" name="Triangle_2">
                  <a:extLst>
                    <a:ext uri="{FF2B5EF4-FFF2-40B4-BE49-F238E27FC236}">
                      <a16:creationId xmlns:a16="http://schemas.microsoft.com/office/drawing/2014/main" id="{E38A3D94-74B3-95B7-47EE-5B60B53E479D}"/>
                    </a:ext>
                  </a:extLst>
                </p:cNvPr>
                <p:cNvSpPr/>
                <p:nvPr/>
              </p:nvSpPr>
              <p:spPr bwMode="gray">
                <a:xfrm>
                  <a:off x="240832" y="291631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36" name="Triangle_3">
                  <a:extLst>
                    <a:ext uri="{FF2B5EF4-FFF2-40B4-BE49-F238E27FC236}">
                      <a16:creationId xmlns:a16="http://schemas.microsoft.com/office/drawing/2014/main" id="{D0826C6A-1B58-AAA6-C6FC-1F4E4B8C8925}"/>
                    </a:ext>
                  </a:extLst>
                </p:cNvPr>
                <p:cNvSpPr/>
                <p:nvPr/>
              </p:nvSpPr>
              <p:spPr bwMode="gray">
                <a:xfrm rot="5400000">
                  <a:off x="158096" y="283357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37" name="Triangle_4">
                  <a:extLst>
                    <a:ext uri="{FF2B5EF4-FFF2-40B4-BE49-F238E27FC236}">
                      <a16:creationId xmlns:a16="http://schemas.microsoft.com/office/drawing/2014/main" id="{2C506F08-EDCD-B358-4CCE-327B311092BD}"/>
                    </a:ext>
                  </a:extLst>
                </p:cNvPr>
                <p:cNvSpPr/>
                <p:nvPr/>
              </p:nvSpPr>
              <p:spPr bwMode="gray">
                <a:xfrm rot="16200000">
                  <a:off x="323570" y="283357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03" name="Group 1602">
                <a:extLst>
                  <a:ext uri="{FF2B5EF4-FFF2-40B4-BE49-F238E27FC236}">
                    <a16:creationId xmlns:a16="http://schemas.microsoft.com/office/drawing/2014/main" id="{4DE48A5A-207A-610F-A5EF-FF2265795EA0}"/>
                  </a:ext>
                </a:extLst>
              </p:cNvPr>
              <p:cNvGrpSpPr/>
              <p:nvPr/>
            </p:nvGrpSpPr>
            <p:grpSpPr bwMode="gray">
              <a:xfrm>
                <a:off x="266700" y="3652821"/>
                <a:ext cx="217142" cy="217142"/>
                <a:chOff x="240832" y="3081783"/>
                <a:chExt cx="330948" cy="330948"/>
              </a:xfrm>
              <a:solidFill>
                <a:schemeClr val="bg1"/>
              </a:solidFill>
            </p:grpSpPr>
            <p:sp>
              <p:nvSpPr>
                <p:cNvPr id="1928" name="dfine_grid_single_shape_frame">
                  <a:extLst>
                    <a:ext uri="{FF2B5EF4-FFF2-40B4-BE49-F238E27FC236}">
                      <a16:creationId xmlns:a16="http://schemas.microsoft.com/office/drawing/2014/main" id="{CCEBF64E-8727-528B-F64D-D9291746E809}"/>
                    </a:ext>
                  </a:extLst>
                </p:cNvPr>
                <p:cNvSpPr/>
                <p:nvPr/>
              </p:nvSpPr>
              <p:spPr bwMode="gray">
                <a:xfrm>
                  <a:off x="240832" y="3081783"/>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29" name="Triangle_1">
                  <a:extLst>
                    <a:ext uri="{FF2B5EF4-FFF2-40B4-BE49-F238E27FC236}">
                      <a16:creationId xmlns:a16="http://schemas.microsoft.com/office/drawing/2014/main" id="{FA0F5DB1-728F-B5CE-6E65-676DF3D2F501}"/>
                    </a:ext>
                  </a:extLst>
                </p:cNvPr>
                <p:cNvSpPr/>
                <p:nvPr/>
              </p:nvSpPr>
              <p:spPr bwMode="gray">
                <a:xfrm rot="10800000">
                  <a:off x="240832" y="3081783"/>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30" name="Triangle_2">
                  <a:extLst>
                    <a:ext uri="{FF2B5EF4-FFF2-40B4-BE49-F238E27FC236}">
                      <a16:creationId xmlns:a16="http://schemas.microsoft.com/office/drawing/2014/main" id="{A7836F5C-B0BA-A618-491A-E8520BC8A46A}"/>
                    </a:ext>
                  </a:extLst>
                </p:cNvPr>
                <p:cNvSpPr/>
                <p:nvPr/>
              </p:nvSpPr>
              <p:spPr bwMode="gray">
                <a:xfrm>
                  <a:off x="240832" y="324725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31" name="Triangle_3">
                  <a:extLst>
                    <a:ext uri="{FF2B5EF4-FFF2-40B4-BE49-F238E27FC236}">
                      <a16:creationId xmlns:a16="http://schemas.microsoft.com/office/drawing/2014/main" id="{5FD17524-AB95-B574-0C68-9075B01D4364}"/>
                    </a:ext>
                  </a:extLst>
                </p:cNvPr>
                <p:cNvSpPr/>
                <p:nvPr/>
              </p:nvSpPr>
              <p:spPr bwMode="gray">
                <a:xfrm rot="5400000">
                  <a:off x="158096" y="316452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32" name="Triangle_4">
                  <a:extLst>
                    <a:ext uri="{FF2B5EF4-FFF2-40B4-BE49-F238E27FC236}">
                      <a16:creationId xmlns:a16="http://schemas.microsoft.com/office/drawing/2014/main" id="{DE1F8E16-1C89-AC8D-8505-5C179A943846}"/>
                    </a:ext>
                  </a:extLst>
                </p:cNvPr>
                <p:cNvSpPr/>
                <p:nvPr/>
              </p:nvSpPr>
              <p:spPr bwMode="gray">
                <a:xfrm rot="16200000">
                  <a:off x="323570" y="316452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04" name="Group 1603">
                <a:extLst>
                  <a:ext uri="{FF2B5EF4-FFF2-40B4-BE49-F238E27FC236}">
                    <a16:creationId xmlns:a16="http://schemas.microsoft.com/office/drawing/2014/main" id="{A89BAEBA-B476-ADC1-9856-19F7BB21224E}"/>
                  </a:ext>
                </a:extLst>
              </p:cNvPr>
              <p:cNvGrpSpPr/>
              <p:nvPr/>
            </p:nvGrpSpPr>
            <p:grpSpPr bwMode="gray">
              <a:xfrm>
                <a:off x="266700" y="3869962"/>
                <a:ext cx="217142" cy="217142"/>
                <a:chOff x="240832" y="3412730"/>
                <a:chExt cx="330948" cy="330948"/>
              </a:xfrm>
              <a:solidFill>
                <a:schemeClr val="bg1"/>
              </a:solidFill>
            </p:grpSpPr>
            <p:sp>
              <p:nvSpPr>
                <p:cNvPr id="1923" name="dfine_grid_single_shape_frame">
                  <a:extLst>
                    <a:ext uri="{FF2B5EF4-FFF2-40B4-BE49-F238E27FC236}">
                      <a16:creationId xmlns:a16="http://schemas.microsoft.com/office/drawing/2014/main" id="{54AE5B93-370E-D023-FC72-D477A2289F78}"/>
                    </a:ext>
                  </a:extLst>
                </p:cNvPr>
                <p:cNvSpPr/>
                <p:nvPr/>
              </p:nvSpPr>
              <p:spPr bwMode="gray">
                <a:xfrm>
                  <a:off x="240832" y="3412730"/>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24" name="Triangle_1">
                  <a:extLst>
                    <a:ext uri="{FF2B5EF4-FFF2-40B4-BE49-F238E27FC236}">
                      <a16:creationId xmlns:a16="http://schemas.microsoft.com/office/drawing/2014/main" id="{52492DBE-D1A5-9D6B-6D53-AFEA58E52226}"/>
                    </a:ext>
                  </a:extLst>
                </p:cNvPr>
                <p:cNvSpPr/>
                <p:nvPr/>
              </p:nvSpPr>
              <p:spPr bwMode="gray">
                <a:xfrm rot="10800000">
                  <a:off x="240832" y="341273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25" name="Triangle_2">
                  <a:extLst>
                    <a:ext uri="{FF2B5EF4-FFF2-40B4-BE49-F238E27FC236}">
                      <a16:creationId xmlns:a16="http://schemas.microsoft.com/office/drawing/2014/main" id="{1A5AEA3E-E5AF-FB41-5B8E-FE8E0DB02A06}"/>
                    </a:ext>
                  </a:extLst>
                </p:cNvPr>
                <p:cNvSpPr/>
                <p:nvPr/>
              </p:nvSpPr>
              <p:spPr bwMode="gray">
                <a:xfrm>
                  <a:off x="240832" y="357820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26" name="Triangle_3">
                  <a:extLst>
                    <a:ext uri="{FF2B5EF4-FFF2-40B4-BE49-F238E27FC236}">
                      <a16:creationId xmlns:a16="http://schemas.microsoft.com/office/drawing/2014/main" id="{DE8CE290-F48E-30D5-8EC0-7A6FF9111FCD}"/>
                    </a:ext>
                  </a:extLst>
                </p:cNvPr>
                <p:cNvSpPr/>
                <p:nvPr/>
              </p:nvSpPr>
              <p:spPr bwMode="gray">
                <a:xfrm rot="5400000">
                  <a:off x="158096" y="3495468"/>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27" name="Triangle_4">
                  <a:extLst>
                    <a:ext uri="{FF2B5EF4-FFF2-40B4-BE49-F238E27FC236}">
                      <a16:creationId xmlns:a16="http://schemas.microsoft.com/office/drawing/2014/main" id="{7140892A-0920-C022-5C8B-920BF0E55F6B}"/>
                    </a:ext>
                  </a:extLst>
                </p:cNvPr>
                <p:cNvSpPr/>
                <p:nvPr/>
              </p:nvSpPr>
              <p:spPr bwMode="gray">
                <a:xfrm rot="16200000">
                  <a:off x="323570" y="3495468"/>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05" name="Group 1604">
                <a:extLst>
                  <a:ext uri="{FF2B5EF4-FFF2-40B4-BE49-F238E27FC236}">
                    <a16:creationId xmlns:a16="http://schemas.microsoft.com/office/drawing/2014/main" id="{688DCA5A-8B02-88B4-6709-4C623F90EE1D}"/>
                  </a:ext>
                </a:extLst>
              </p:cNvPr>
              <p:cNvGrpSpPr/>
              <p:nvPr/>
            </p:nvGrpSpPr>
            <p:grpSpPr bwMode="gray">
              <a:xfrm>
                <a:off x="266700" y="4087103"/>
                <a:ext cx="217142" cy="217142"/>
                <a:chOff x="240832" y="3743677"/>
                <a:chExt cx="330948" cy="330948"/>
              </a:xfrm>
              <a:solidFill>
                <a:schemeClr val="bg1"/>
              </a:solidFill>
            </p:grpSpPr>
            <p:sp>
              <p:nvSpPr>
                <p:cNvPr id="1918" name="dfine_grid_single_shape_frame">
                  <a:extLst>
                    <a:ext uri="{FF2B5EF4-FFF2-40B4-BE49-F238E27FC236}">
                      <a16:creationId xmlns:a16="http://schemas.microsoft.com/office/drawing/2014/main" id="{743C1BB0-C5BB-6CD7-8ED2-96EBCD0A5AE3}"/>
                    </a:ext>
                  </a:extLst>
                </p:cNvPr>
                <p:cNvSpPr/>
                <p:nvPr/>
              </p:nvSpPr>
              <p:spPr bwMode="gray">
                <a:xfrm>
                  <a:off x="240832" y="3743677"/>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19" name="Triangle_1">
                  <a:extLst>
                    <a:ext uri="{FF2B5EF4-FFF2-40B4-BE49-F238E27FC236}">
                      <a16:creationId xmlns:a16="http://schemas.microsoft.com/office/drawing/2014/main" id="{78C7BEFA-FF3E-5ACE-2743-BEE7CBF66946}"/>
                    </a:ext>
                  </a:extLst>
                </p:cNvPr>
                <p:cNvSpPr/>
                <p:nvPr/>
              </p:nvSpPr>
              <p:spPr bwMode="gray">
                <a:xfrm rot="10800000">
                  <a:off x="240832" y="374367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20" name="Triangle_2">
                  <a:extLst>
                    <a:ext uri="{FF2B5EF4-FFF2-40B4-BE49-F238E27FC236}">
                      <a16:creationId xmlns:a16="http://schemas.microsoft.com/office/drawing/2014/main" id="{242D0E70-2359-CCA2-AA32-A59CF0582E1E}"/>
                    </a:ext>
                  </a:extLst>
                </p:cNvPr>
                <p:cNvSpPr/>
                <p:nvPr/>
              </p:nvSpPr>
              <p:spPr bwMode="gray">
                <a:xfrm>
                  <a:off x="240832" y="390915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21" name="Triangle_3">
                  <a:extLst>
                    <a:ext uri="{FF2B5EF4-FFF2-40B4-BE49-F238E27FC236}">
                      <a16:creationId xmlns:a16="http://schemas.microsoft.com/office/drawing/2014/main" id="{AF43C169-E841-7E7C-954F-B875ADA84489}"/>
                    </a:ext>
                  </a:extLst>
                </p:cNvPr>
                <p:cNvSpPr/>
                <p:nvPr/>
              </p:nvSpPr>
              <p:spPr bwMode="gray">
                <a:xfrm rot="5400000">
                  <a:off x="158096" y="3826415"/>
                  <a:ext cx="330946"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1922" name="Triangle_4">
                  <a:extLst>
                    <a:ext uri="{FF2B5EF4-FFF2-40B4-BE49-F238E27FC236}">
                      <a16:creationId xmlns:a16="http://schemas.microsoft.com/office/drawing/2014/main" id="{F983398A-7C13-6DFC-47A5-D7C71A50AC67}"/>
                    </a:ext>
                  </a:extLst>
                </p:cNvPr>
                <p:cNvSpPr/>
                <p:nvPr/>
              </p:nvSpPr>
              <p:spPr bwMode="gray">
                <a:xfrm rot="16200000">
                  <a:off x="323570" y="3826415"/>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06" name="Group 1605">
                <a:extLst>
                  <a:ext uri="{FF2B5EF4-FFF2-40B4-BE49-F238E27FC236}">
                    <a16:creationId xmlns:a16="http://schemas.microsoft.com/office/drawing/2014/main" id="{FEE89F14-4F7E-FE21-450F-034C96F54BD6}"/>
                  </a:ext>
                </a:extLst>
              </p:cNvPr>
              <p:cNvGrpSpPr/>
              <p:nvPr/>
            </p:nvGrpSpPr>
            <p:grpSpPr bwMode="gray">
              <a:xfrm>
                <a:off x="266700" y="4304244"/>
                <a:ext cx="217142" cy="217142"/>
                <a:chOff x="240832" y="4074624"/>
                <a:chExt cx="330948" cy="330948"/>
              </a:xfrm>
              <a:solidFill>
                <a:schemeClr val="bg1"/>
              </a:solidFill>
            </p:grpSpPr>
            <p:sp>
              <p:nvSpPr>
                <p:cNvPr id="1913" name="dfine_grid_single_shape_frame">
                  <a:extLst>
                    <a:ext uri="{FF2B5EF4-FFF2-40B4-BE49-F238E27FC236}">
                      <a16:creationId xmlns:a16="http://schemas.microsoft.com/office/drawing/2014/main" id="{5FAF53C4-0F44-C077-F76E-749093BFDE3D}"/>
                    </a:ext>
                  </a:extLst>
                </p:cNvPr>
                <p:cNvSpPr/>
                <p:nvPr/>
              </p:nvSpPr>
              <p:spPr bwMode="gray">
                <a:xfrm>
                  <a:off x="240832" y="4074624"/>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14" name="Triangle_1">
                  <a:extLst>
                    <a:ext uri="{FF2B5EF4-FFF2-40B4-BE49-F238E27FC236}">
                      <a16:creationId xmlns:a16="http://schemas.microsoft.com/office/drawing/2014/main" id="{4F9D78DE-C21A-DD7B-E03F-D55D4CA1E972}"/>
                    </a:ext>
                  </a:extLst>
                </p:cNvPr>
                <p:cNvSpPr/>
                <p:nvPr/>
              </p:nvSpPr>
              <p:spPr bwMode="gray">
                <a:xfrm rot="10800000">
                  <a:off x="240832" y="407462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15" name="Triangle_2">
                  <a:extLst>
                    <a:ext uri="{FF2B5EF4-FFF2-40B4-BE49-F238E27FC236}">
                      <a16:creationId xmlns:a16="http://schemas.microsoft.com/office/drawing/2014/main" id="{5BB77B2E-8F1E-75FB-F2CD-DAEC7F6F6A78}"/>
                    </a:ext>
                  </a:extLst>
                </p:cNvPr>
                <p:cNvSpPr/>
                <p:nvPr/>
              </p:nvSpPr>
              <p:spPr bwMode="gray">
                <a:xfrm>
                  <a:off x="240832" y="4240098"/>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16" name="Triangle_3">
                  <a:extLst>
                    <a:ext uri="{FF2B5EF4-FFF2-40B4-BE49-F238E27FC236}">
                      <a16:creationId xmlns:a16="http://schemas.microsoft.com/office/drawing/2014/main" id="{19501B25-92E4-22AB-8C29-B09622C61A59}"/>
                    </a:ext>
                  </a:extLst>
                </p:cNvPr>
                <p:cNvSpPr/>
                <p:nvPr/>
              </p:nvSpPr>
              <p:spPr bwMode="gray">
                <a:xfrm rot="5400000">
                  <a:off x="158096" y="4157362"/>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17" name="Triangle_4">
                  <a:extLst>
                    <a:ext uri="{FF2B5EF4-FFF2-40B4-BE49-F238E27FC236}">
                      <a16:creationId xmlns:a16="http://schemas.microsoft.com/office/drawing/2014/main" id="{623DF792-7455-1B18-B2FF-F5EDB9C3D5FF}"/>
                    </a:ext>
                  </a:extLst>
                </p:cNvPr>
                <p:cNvSpPr/>
                <p:nvPr/>
              </p:nvSpPr>
              <p:spPr bwMode="gray">
                <a:xfrm rot="16200000">
                  <a:off x="323570" y="4157362"/>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07" name="Group 1606">
                <a:extLst>
                  <a:ext uri="{FF2B5EF4-FFF2-40B4-BE49-F238E27FC236}">
                    <a16:creationId xmlns:a16="http://schemas.microsoft.com/office/drawing/2014/main" id="{FAB84693-8CAD-3ADB-74DE-B38A73595FA6}"/>
                  </a:ext>
                </a:extLst>
              </p:cNvPr>
              <p:cNvGrpSpPr/>
              <p:nvPr/>
            </p:nvGrpSpPr>
            <p:grpSpPr bwMode="gray">
              <a:xfrm>
                <a:off x="483841" y="3218538"/>
                <a:ext cx="217144" cy="217144"/>
                <a:chOff x="571776" y="2419886"/>
                <a:chExt cx="330950" cy="330951"/>
              </a:xfrm>
              <a:solidFill>
                <a:schemeClr val="bg1"/>
              </a:solidFill>
            </p:grpSpPr>
            <p:sp>
              <p:nvSpPr>
                <p:cNvPr id="1908" name="dfine_grid_single_shape_frame">
                  <a:extLst>
                    <a:ext uri="{FF2B5EF4-FFF2-40B4-BE49-F238E27FC236}">
                      <a16:creationId xmlns:a16="http://schemas.microsoft.com/office/drawing/2014/main" id="{7B3F8178-838E-07CE-2820-2DA42584DB33}"/>
                    </a:ext>
                  </a:extLst>
                </p:cNvPr>
                <p:cNvSpPr/>
                <p:nvPr/>
              </p:nvSpPr>
              <p:spPr bwMode="gray">
                <a:xfrm>
                  <a:off x="571781" y="2419889"/>
                  <a:ext cx="330945"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09" name="Triangle_1">
                  <a:extLst>
                    <a:ext uri="{FF2B5EF4-FFF2-40B4-BE49-F238E27FC236}">
                      <a16:creationId xmlns:a16="http://schemas.microsoft.com/office/drawing/2014/main" id="{9C2E63B8-87F8-3334-403C-4822B97FCB3B}"/>
                    </a:ext>
                  </a:extLst>
                </p:cNvPr>
                <p:cNvSpPr/>
                <p:nvPr/>
              </p:nvSpPr>
              <p:spPr bwMode="gray">
                <a:xfrm rot="10800000">
                  <a:off x="571781" y="2419889"/>
                  <a:ext cx="330945"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10" name="Triangle_2">
                  <a:extLst>
                    <a:ext uri="{FF2B5EF4-FFF2-40B4-BE49-F238E27FC236}">
                      <a16:creationId xmlns:a16="http://schemas.microsoft.com/office/drawing/2014/main" id="{FDC982B8-6BBC-FA3A-DB08-20ED4E3D855C}"/>
                    </a:ext>
                  </a:extLst>
                </p:cNvPr>
                <p:cNvSpPr/>
                <p:nvPr/>
              </p:nvSpPr>
              <p:spPr bwMode="gray">
                <a:xfrm>
                  <a:off x="571781" y="2585363"/>
                  <a:ext cx="330945"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11" name="Triangle_3">
                  <a:extLst>
                    <a:ext uri="{FF2B5EF4-FFF2-40B4-BE49-F238E27FC236}">
                      <a16:creationId xmlns:a16="http://schemas.microsoft.com/office/drawing/2014/main" id="{7623AD25-3011-AA03-380E-8A31E6785E0A}"/>
                    </a:ext>
                  </a:extLst>
                </p:cNvPr>
                <p:cNvSpPr/>
                <p:nvPr/>
              </p:nvSpPr>
              <p:spPr bwMode="gray">
                <a:xfrm rot="5400000">
                  <a:off x="489040" y="2502622"/>
                  <a:ext cx="330946"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12" name="Triangle_4">
                  <a:extLst>
                    <a:ext uri="{FF2B5EF4-FFF2-40B4-BE49-F238E27FC236}">
                      <a16:creationId xmlns:a16="http://schemas.microsoft.com/office/drawing/2014/main" id="{2C64C74B-FCDF-AC80-43B8-9BFAE7A8DA4D}"/>
                    </a:ext>
                  </a:extLst>
                </p:cNvPr>
                <p:cNvSpPr/>
                <p:nvPr/>
              </p:nvSpPr>
              <p:spPr bwMode="gray">
                <a:xfrm rot="16200000">
                  <a:off x="654513" y="2502626"/>
                  <a:ext cx="330946" cy="165475"/>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08" name="Group 1607">
                <a:extLst>
                  <a:ext uri="{FF2B5EF4-FFF2-40B4-BE49-F238E27FC236}">
                    <a16:creationId xmlns:a16="http://schemas.microsoft.com/office/drawing/2014/main" id="{AB0F6969-828D-71F0-3009-3D938C8C9717}"/>
                  </a:ext>
                </a:extLst>
              </p:cNvPr>
              <p:cNvGrpSpPr/>
              <p:nvPr/>
            </p:nvGrpSpPr>
            <p:grpSpPr bwMode="gray">
              <a:xfrm>
                <a:off x="483841" y="3435678"/>
                <a:ext cx="217144" cy="217144"/>
                <a:chOff x="571776" y="2750833"/>
                <a:chExt cx="330950" cy="330951"/>
              </a:xfrm>
              <a:solidFill>
                <a:schemeClr val="bg1"/>
              </a:solidFill>
            </p:grpSpPr>
            <p:sp>
              <p:nvSpPr>
                <p:cNvPr id="1903" name="dfine_grid_single_shape_frame">
                  <a:extLst>
                    <a:ext uri="{FF2B5EF4-FFF2-40B4-BE49-F238E27FC236}">
                      <a16:creationId xmlns:a16="http://schemas.microsoft.com/office/drawing/2014/main" id="{E04B0F0B-ABB4-C27E-CC96-4FE2127EE1A4}"/>
                    </a:ext>
                  </a:extLst>
                </p:cNvPr>
                <p:cNvSpPr/>
                <p:nvPr/>
              </p:nvSpPr>
              <p:spPr bwMode="gray">
                <a:xfrm>
                  <a:off x="571781" y="2750836"/>
                  <a:ext cx="330945"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04" name="Triangle_1">
                  <a:extLst>
                    <a:ext uri="{FF2B5EF4-FFF2-40B4-BE49-F238E27FC236}">
                      <a16:creationId xmlns:a16="http://schemas.microsoft.com/office/drawing/2014/main" id="{5305D6F0-9A8E-2A6F-D8C5-F8B89205F84B}"/>
                    </a:ext>
                  </a:extLst>
                </p:cNvPr>
                <p:cNvSpPr/>
                <p:nvPr/>
              </p:nvSpPr>
              <p:spPr bwMode="gray">
                <a:xfrm rot="10800000">
                  <a:off x="571781" y="2750836"/>
                  <a:ext cx="330945"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05" name="Triangle_2">
                  <a:extLst>
                    <a:ext uri="{FF2B5EF4-FFF2-40B4-BE49-F238E27FC236}">
                      <a16:creationId xmlns:a16="http://schemas.microsoft.com/office/drawing/2014/main" id="{D427D9B3-A58E-1019-6FD4-4C074ABD125F}"/>
                    </a:ext>
                  </a:extLst>
                </p:cNvPr>
                <p:cNvSpPr/>
                <p:nvPr/>
              </p:nvSpPr>
              <p:spPr bwMode="gray">
                <a:xfrm>
                  <a:off x="571781" y="2916310"/>
                  <a:ext cx="330945"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1906" name="Triangle_3">
                  <a:extLst>
                    <a:ext uri="{FF2B5EF4-FFF2-40B4-BE49-F238E27FC236}">
                      <a16:creationId xmlns:a16="http://schemas.microsoft.com/office/drawing/2014/main" id="{F787F8AD-6F1C-4B9F-B51C-B52CCD3EF48A}"/>
                    </a:ext>
                  </a:extLst>
                </p:cNvPr>
                <p:cNvSpPr/>
                <p:nvPr/>
              </p:nvSpPr>
              <p:spPr bwMode="gray">
                <a:xfrm rot="5400000">
                  <a:off x="489040" y="2833569"/>
                  <a:ext cx="330946"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07" name="Triangle_4">
                  <a:extLst>
                    <a:ext uri="{FF2B5EF4-FFF2-40B4-BE49-F238E27FC236}">
                      <a16:creationId xmlns:a16="http://schemas.microsoft.com/office/drawing/2014/main" id="{B37D371B-8442-7302-7CBB-9B87039D621A}"/>
                    </a:ext>
                  </a:extLst>
                </p:cNvPr>
                <p:cNvSpPr/>
                <p:nvPr/>
              </p:nvSpPr>
              <p:spPr bwMode="gray">
                <a:xfrm rot="16200000">
                  <a:off x="654513" y="2833573"/>
                  <a:ext cx="330946" cy="165475"/>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grpSp>
          <p:grpSp>
            <p:nvGrpSpPr>
              <p:cNvPr id="1609" name="Group 1608">
                <a:extLst>
                  <a:ext uri="{FF2B5EF4-FFF2-40B4-BE49-F238E27FC236}">
                    <a16:creationId xmlns:a16="http://schemas.microsoft.com/office/drawing/2014/main" id="{52372903-517F-4B8D-D048-6D955171BEA4}"/>
                  </a:ext>
                </a:extLst>
              </p:cNvPr>
              <p:cNvGrpSpPr/>
              <p:nvPr/>
            </p:nvGrpSpPr>
            <p:grpSpPr bwMode="gray">
              <a:xfrm>
                <a:off x="483841" y="3652819"/>
                <a:ext cx="217144" cy="217144"/>
                <a:chOff x="571776" y="3081780"/>
                <a:chExt cx="330950" cy="330951"/>
              </a:xfrm>
              <a:solidFill>
                <a:schemeClr val="bg1"/>
              </a:solidFill>
            </p:grpSpPr>
            <p:sp>
              <p:nvSpPr>
                <p:cNvPr id="1898" name="dfine_grid_single_shape_frame">
                  <a:extLst>
                    <a:ext uri="{FF2B5EF4-FFF2-40B4-BE49-F238E27FC236}">
                      <a16:creationId xmlns:a16="http://schemas.microsoft.com/office/drawing/2014/main" id="{7CAB58A0-E3A3-D0F9-5E76-A2193422F5BA}"/>
                    </a:ext>
                  </a:extLst>
                </p:cNvPr>
                <p:cNvSpPr/>
                <p:nvPr/>
              </p:nvSpPr>
              <p:spPr bwMode="gray">
                <a:xfrm>
                  <a:off x="571781" y="3081783"/>
                  <a:ext cx="330945"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99" name="Triangle_1">
                  <a:extLst>
                    <a:ext uri="{FF2B5EF4-FFF2-40B4-BE49-F238E27FC236}">
                      <a16:creationId xmlns:a16="http://schemas.microsoft.com/office/drawing/2014/main" id="{20F3A8D7-045E-04F6-6177-76F48C40D212}"/>
                    </a:ext>
                  </a:extLst>
                </p:cNvPr>
                <p:cNvSpPr/>
                <p:nvPr/>
              </p:nvSpPr>
              <p:spPr bwMode="gray">
                <a:xfrm rot="10800000">
                  <a:off x="571781" y="3081783"/>
                  <a:ext cx="330945"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1900" name="Triangle_2">
                  <a:extLst>
                    <a:ext uri="{FF2B5EF4-FFF2-40B4-BE49-F238E27FC236}">
                      <a16:creationId xmlns:a16="http://schemas.microsoft.com/office/drawing/2014/main" id="{F8FC3193-A07C-3E3F-752F-1FA780364D2B}"/>
                    </a:ext>
                  </a:extLst>
                </p:cNvPr>
                <p:cNvSpPr/>
                <p:nvPr/>
              </p:nvSpPr>
              <p:spPr bwMode="gray">
                <a:xfrm>
                  <a:off x="571781" y="3247257"/>
                  <a:ext cx="330945"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901" name="Triangle_3">
                  <a:extLst>
                    <a:ext uri="{FF2B5EF4-FFF2-40B4-BE49-F238E27FC236}">
                      <a16:creationId xmlns:a16="http://schemas.microsoft.com/office/drawing/2014/main" id="{345EB960-876D-3048-6486-522F28B080AB}"/>
                    </a:ext>
                  </a:extLst>
                </p:cNvPr>
                <p:cNvSpPr/>
                <p:nvPr/>
              </p:nvSpPr>
              <p:spPr bwMode="gray">
                <a:xfrm rot="5400000">
                  <a:off x="489040" y="3164516"/>
                  <a:ext cx="330946"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1902" name="Triangle_4">
                  <a:extLst>
                    <a:ext uri="{FF2B5EF4-FFF2-40B4-BE49-F238E27FC236}">
                      <a16:creationId xmlns:a16="http://schemas.microsoft.com/office/drawing/2014/main" id="{36F7463F-F6FB-D9D3-BBE9-114E3C6B2FA5}"/>
                    </a:ext>
                  </a:extLst>
                </p:cNvPr>
                <p:cNvSpPr/>
                <p:nvPr/>
              </p:nvSpPr>
              <p:spPr bwMode="gray">
                <a:xfrm rot="16200000">
                  <a:off x="654513" y="3164520"/>
                  <a:ext cx="330946" cy="165475"/>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10" name="Group 1609">
                <a:extLst>
                  <a:ext uri="{FF2B5EF4-FFF2-40B4-BE49-F238E27FC236}">
                    <a16:creationId xmlns:a16="http://schemas.microsoft.com/office/drawing/2014/main" id="{DC1F9E3F-E454-6FEF-6F5C-4256659D6DE9}"/>
                  </a:ext>
                </a:extLst>
              </p:cNvPr>
              <p:cNvGrpSpPr/>
              <p:nvPr/>
            </p:nvGrpSpPr>
            <p:grpSpPr bwMode="gray">
              <a:xfrm>
                <a:off x="483841" y="3869967"/>
                <a:ext cx="217144" cy="217146"/>
                <a:chOff x="571776" y="3412725"/>
                <a:chExt cx="330950" cy="330953"/>
              </a:xfrm>
              <a:solidFill>
                <a:schemeClr val="bg1"/>
              </a:solidFill>
            </p:grpSpPr>
            <p:sp>
              <p:nvSpPr>
                <p:cNvPr id="1893" name="dfine_grid_single_shape_frame">
                  <a:extLst>
                    <a:ext uri="{FF2B5EF4-FFF2-40B4-BE49-F238E27FC236}">
                      <a16:creationId xmlns:a16="http://schemas.microsoft.com/office/drawing/2014/main" id="{B24B9BB2-B191-F610-01E5-5C730024C13E}"/>
                    </a:ext>
                  </a:extLst>
                </p:cNvPr>
                <p:cNvSpPr/>
                <p:nvPr>
                  <p:custDataLst>
                    <p:tags r:id="rId15"/>
                  </p:custDataLst>
                </p:nvPr>
              </p:nvSpPr>
              <p:spPr bwMode="gray">
                <a:xfrm>
                  <a:off x="571781" y="3412730"/>
                  <a:ext cx="330945" cy="330945"/>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94" name="Triangle_1">
                  <a:extLst>
                    <a:ext uri="{FF2B5EF4-FFF2-40B4-BE49-F238E27FC236}">
                      <a16:creationId xmlns:a16="http://schemas.microsoft.com/office/drawing/2014/main" id="{E0F72063-977B-7F79-3322-7F97DA0BD750}"/>
                    </a:ext>
                  </a:extLst>
                </p:cNvPr>
                <p:cNvSpPr/>
                <p:nvPr/>
              </p:nvSpPr>
              <p:spPr bwMode="gray">
                <a:xfrm rot="10800000">
                  <a:off x="571781" y="3412730"/>
                  <a:ext cx="330945"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95" name="Triangle_2">
                  <a:extLst>
                    <a:ext uri="{FF2B5EF4-FFF2-40B4-BE49-F238E27FC236}">
                      <a16:creationId xmlns:a16="http://schemas.microsoft.com/office/drawing/2014/main" id="{6521E091-A46A-FC2C-7BC4-53A4E35F3B8F}"/>
                    </a:ext>
                  </a:extLst>
                </p:cNvPr>
                <p:cNvSpPr/>
                <p:nvPr/>
              </p:nvSpPr>
              <p:spPr bwMode="gray">
                <a:xfrm>
                  <a:off x="571781" y="3578205"/>
                  <a:ext cx="330945"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96" name="Triangle_3">
                  <a:extLst>
                    <a:ext uri="{FF2B5EF4-FFF2-40B4-BE49-F238E27FC236}">
                      <a16:creationId xmlns:a16="http://schemas.microsoft.com/office/drawing/2014/main" id="{22D19A2F-49E5-34AB-E2B4-DB38A8E682C9}"/>
                    </a:ext>
                  </a:extLst>
                </p:cNvPr>
                <p:cNvSpPr/>
                <p:nvPr/>
              </p:nvSpPr>
              <p:spPr bwMode="gray">
                <a:xfrm rot="5400000">
                  <a:off x="489040" y="3495461"/>
                  <a:ext cx="330945"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97" name="Triangle_4">
                  <a:extLst>
                    <a:ext uri="{FF2B5EF4-FFF2-40B4-BE49-F238E27FC236}">
                      <a16:creationId xmlns:a16="http://schemas.microsoft.com/office/drawing/2014/main" id="{438445A0-4D49-89F8-2B7F-10E46EDD4218}"/>
                    </a:ext>
                  </a:extLst>
                </p:cNvPr>
                <p:cNvSpPr/>
                <p:nvPr/>
              </p:nvSpPr>
              <p:spPr bwMode="gray">
                <a:xfrm rot="16200000">
                  <a:off x="654515" y="3495467"/>
                  <a:ext cx="330945" cy="165475"/>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grpSp>
          <p:grpSp>
            <p:nvGrpSpPr>
              <p:cNvPr id="1611" name="Group 1610">
                <a:extLst>
                  <a:ext uri="{FF2B5EF4-FFF2-40B4-BE49-F238E27FC236}">
                    <a16:creationId xmlns:a16="http://schemas.microsoft.com/office/drawing/2014/main" id="{3EF19CC5-93EA-B76E-4600-00B2005B0A5F}"/>
                  </a:ext>
                </a:extLst>
              </p:cNvPr>
              <p:cNvGrpSpPr/>
              <p:nvPr/>
            </p:nvGrpSpPr>
            <p:grpSpPr bwMode="gray">
              <a:xfrm>
                <a:off x="483841" y="4087108"/>
                <a:ext cx="217144" cy="217146"/>
                <a:chOff x="571776" y="3743672"/>
                <a:chExt cx="330950" cy="330953"/>
              </a:xfrm>
              <a:solidFill>
                <a:schemeClr val="bg1"/>
              </a:solidFill>
            </p:grpSpPr>
            <p:sp>
              <p:nvSpPr>
                <p:cNvPr id="1888" name="dfine_grid_single_shape_frame">
                  <a:extLst>
                    <a:ext uri="{FF2B5EF4-FFF2-40B4-BE49-F238E27FC236}">
                      <a16:creationId xmlns:a16="http://schemas.microsoft.com/office/drawing/2014/main" id="{8734F18D-922B-079C-823F-F49E36E9FC2A}"/>
                    </a:ext>
                  </a:extLst>
                </p:cNvPr>
                <p:cNvSpPr/>
                <p:nvPr/>
              </p:nvSpPr>
              <p:spPr bwMode="gray">
                <a:xfrm>
                  <a:off x="571781" y="3743677"/>
                  <a:ext cx="330945" cy="330945"/>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89" name="Triangle_1">
                  <a:extLst>
                    <a:ext uri="{FF2B5EF4-FFF2-40B4-BE49-F238E27FC236}">
                      <a16:creationId xmlns:a16="http://schemas.microsoft.com/office/drawing/2014/main" id="{94321D34-4503-507B-D82B-3D36975988D9}"/>
                    </a:ext>
                  </a:extLst>
                </p:cNvPr>
                <p:cNvSpPr/>
                <p:nvPr/>
              </p:nvSpPr>
              <p:spPr bwMode="gray">
                <a:xfrm rot="10800000">
                  <a:off x="571781" y="3743677"/>
                  <a:ext cx="330945" cy="165473"/>
                </a:xfrm>
                <a:prstGeom prst="triangle">
                  <a:avLst/>
                </a:prstGeom>
                <a:solidFill>
                  <a:schemeClr val="accent3"/>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90" name="Triangle_2">
                  <a:extLst>
                    <a:ext uri="{FF2B5EF4-FFF2-40B4-BE49-F238E27FC236}">
                      <a16:creationId xmlns:a16="http://schemas.microsoft.com/office/drawing/2014/main" id="{9C03505C-E21C-E38F-8835-FCAF7ABD39C7}"/>
                    </a:ext>
                  </a:extLst>
                </p:cNvPr>
                <p:cNvSpPr/>
                <p:nvPr/>
              </p:nvSpPr>
              <p:spPr bwMode="gray">
                <a:xfrm>
                  <a:off x="571781" y="3909152"/>
                  <a:ext cx="330945"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91" name="Triangle_3">
                  <a:extLst>
                    <a:ext uri="{FF2B5EF4-FFF2-40B4-BE49-F238E27FC236}">
                      <a16:creationId xmlns:a16="http://schemas.microsoft.com/office/drawing/2014/main" id="{9BBE5203-1C81-6C77-3DBF-847A9309AD11}"/>
                    </a:ext>
                  </a:extLst>
                </p:cNvPr>
                <p:cNvSpPr/>
                <p:nvPr/>
              </p:nvSpPr>
              <p:spPr bwMode="gray">
                <a:xfrm rot="5400000">
                  <a:off x="489040" y="3826408"/>
                  <a:ext cx="330945"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92" name="Triangle_4">
                  <a:extLst>
                    <a:ext uri="{FF2B5EF4-FFF2-40B4-BE49-F238E27FC236}">
                      <a16:creationId xmlns:a16="http://schemas.microsoft.com/office/drawing/2014/main" id="{5B6260E6-8F07-3C7A-56F0-CC7A82D001DD}"/>
                    </a:ext>
                  </a:extLst>
                </p:cNvPr>
                <p:cNvSpPr/>
                <p:nvPr/>
              </p:nvSpPr>
              <p:spPr bwMode="gray">
                <a:xfrm rot="16200000">
                  <a:off x="654515" y="3826414"/>
                  <a:ext cx="330945" cy="165475"/>
                </a:xfrm>
                <a:prstGeom prst="triangle">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12" name="Group 1611">
                <a:extLst>
                  <a:ext uri="{FF2B5EF4-FFF2-40B4-BE49-F238E27FC236}">
                    <a16:creationId xmlns:a16="http://schemas.microsoft.com/office/drawing/2014/main" id="{A9EF5836-3F66-F140-8A86-6E2748E7C572}"/>
                  </a:ext>
                </a:extLst>
              </p:cNvPr>
              <p:cNvGrpSpPr/>
              <p:nvPr/>
            </p:nvGrpSpPr>
            <p:grpSpPr bwMode="gray">
              <a:xfrm>
                <a:off x="483841" y="4304249"/>
                <a:ext cx="217144" cy="217146"/>
                <a:chOff x="571776" y="4074619"/>
                <a:chExt cx="330950" cy="330953"/>
              </a:xfrm>
              <a:solidFill>
                <a:schemeClr val="bg1"/>
              </a:solidFill>
            </p:grpSpPr>
            <p:sp>
              <p:nvSpPr>
                <p:cNvPr id="1883" name="dfine_grid_single_shape_frame">
                  <a:extLst>
                    <a:ext uri="{FF2B5EF4-FFF2-40B4-BE49-F238E27FC236}">
                      <a16:creationId xmlns:a16="http://schemas.microsoft.com/office/drawing/2014/main" id="{9704D1D3-B42C-3689-97C0-4824D19FBA19}"/>
                    </a:ext>
                  </a:extLst>
                </p:cNvPr>
                <p:cNvSpPr/>
                <p:nvPr/>
              </p:nvSpPr>
              <p:spPr bwMode="gray">
                <a:xfrm>
                  <a:off x="571781" y="4074624"/>
                  <a:ext cx="330945" cy="330945"/>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84" name="Triangle_1">
                  <a:extLst>
                    <a:ext uri="{FF2B5EF4-FFF2-40B4-BE49-F238E27FC236}">
                      <a16:creationId xmlns:a16="http://schemas.microsoft.com/office/drawing/2014/main" id="{91EEFA13-7A81-7949-8A9D-70E01B223669}"/>
                    </a:ext>
                  </a:extLst>
                </p:cNvPr>
                <p:cNvSpPr/>
                <p:nvPr/>
              </p:nvSpPr>
              <p:spPr bwMode="gray">
                <a:xfrm rot="10800000">
                  <a:off x="571781" y="4074624"/>
                  <a:ext cx="330945"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85" name="Triangle_2">
                  <a:extLst>
                    <a:ext uri="{FF2B5EF4-FFF2-40B4-BE49-F238E27FC236}">
                      <a16:creationId xmlns:a16="http://schemas.microsoft.com/office/drawing/2014/main" id="{B0A9A36F-F938-5076-0C69-687EF98CCC7F}"/>
                    </a:ext>
                  </a:extLst>
                </p:cNvPr>
                <p:cNvSpPr/>
                <p:nvPr/>
              </p:nvSpPr>
              <p:spPr bwMode="gray">
                <a:xfrm>
                  <a:off x="571781" y="4240099"/>
                  <a:ext cx="330945"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86" name="Triangle_3">
                  <a:extLst>
                    <a:ext uri="{FF2B5EF4-FFF2-40B4-BE49-F238E27FC236}">
                      <a16:creationId xmlns:a16="http://schemas.microsoft.com/office/drawing/2014/main" id="{C35DE187-9CC9-C87A-9EC4-FE6DC5140543}"/>
                    </a:ext>
                  </a:extLst>
                </p:cNvPr>
                <p:cNvSpPr/>
                <p:nvPr/>
              </p:nvSpPr>
              <p:spPr bwMode="gray">
                <a:xfrm rot="5400000">
                  <a:off x="489040" y="4157355"/>
                  <a:ext cx="330945" cy="165473"/>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87" name="Triangle_4">
                  <a:extLst>
                    <a:ext uri="{FF2B5EF4-FFF2-40B4-BE49-F238E27FC236}">
                      <a16:creationId xmlns:a16="http://schemas.microsoft.com/office/drawing/2014/main" id="{575E9A32-028D-F4B8-6578-7CEAD2ADE781}"/>
                    </a:ext>
                  </a:extLst>
                </p:cNvPr>
                <p:cNvSpPr/>
                <p:nvPr/>
              </p:nvSpPr>
              <p:spPr bwMode="gray">
                <a:xfrm rot="16200000">
                  <a:off x="654515" y="4157361"/>
                  <a:ext cx="330945" cy="165475"/>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13" name="Group 1612">
                <a:extLst>
                  <a:ext uri="{FF2B5EF4-FFF2-40B4-BE49-F238E27FC236}">
                    <a16:creationId xmlns:a16="http://schemas.microsoft.com/office/drawing/2014/main" id="{EC9A1791-ED88-00D0-E4C3-4A8E0BB8379B}"/>
                  </a:ext>
                </a:extLst>
              </p:cNvPr>
              <p:cNvGrpSpPr/>
              <p:nvPr/>
            </p:nvGrpSpPr>
            <p:grpSpPr bwMode="gray">
              <a:xfrm>
                <a:off x="700982" y="3218539"/>
                <a:ext cx="217142" cy="217142"/>
                <a:chOff x="902726" y="2419889"/>
                <a:chExt cx="330948" cy="330948"/>
              </a:xfrm>
              <a:solidFill>
                <a:schemeClr val="bg1"/>
              </a:solidFill>
            </p:grpSpPr>
            <p:sp>
              <p:nvSpPr>
                <p:cNvPr id="1878" name="dfine_grid_single_shape_frame">
                  <a:extLst>
                    <a:ext uri="{FF2B5EF4-FFF2-40B4-BE49-F238E27FC236}">
                      <a16:creationId xmlns:a16="http://schemas.microsoft.com/office/drawing/2014/main" id="{47CA2117-128B-3033-A61E-2B6DAF571E1A}"/>
                    </a:ext>
                  </a:extLst>
                </p:cNvPr>
                <p:cNvSpPr/>
                <p:nvPr>
                  <p:custDataLst>
                    <p:tags r:id="rId14"/>
                  </p:custDataLst>
                </p:nvPr>
              </p:nvSpPr>
              <p:spPr bwMode="gray">
                <a:xfrm>
                  <a:off x="902726" y="2419889"/>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79" name="Triangle_1">
                  <a:extLst>
                    <a:ext uri="{FF2B5EF4-FFF2-40B4-BE49-F238E27FC236}">
                      <a16:creationId xmlns:a16="http://schemas.microsoft.com/office/drawing/2014/main" id="{4A10795C-AF54-4661-7AA4-EF6B175FA9B3}"/>
                    </a:ext>
                  </a:extLst>
                </p:cNvPr>
                <p:cNvSpPr/>
                <p:nvPr/>
              </p:nvSpPr>
              <p:spPr bwMode="gray">
                <a:xfrm rot="10800000">
                  <a:off x="902726" y="2419889"/>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80" name="Triangle_2">
                  <a:extLst>
                    <a:ext uri="{FF2B5EF4-FFF2-40B4-BE49-F238E27FC236}">
                      <a16:creationId xmlns:a16="http://schemas.microsoft.com/office/drawing/2014/main" id="{E2680F4A-4982-554F-3C8B-FA2457DDE678}"/>
                    </a:ext>
                  </a:extLst>
                </p:cNvPr>
                <p:cNvSpPr/>
                <p:nvPr/>
              </p:nvSpPr>
              <p:spPr bwMode="gray">
                <a:xfrm>
                  <a:off x="902726" y="2585363"/>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81" name="Triangle_3">
                  <a:extLst>
                    <a:ext uri="{FF2B5EF4-FFF2-40B4-BE49-F238E27FC236}">
                      <a16:creationId xmlns:a16="http://schemas.microsoft.com/office/drawing/2014/main" id="{849E770F-FE9D-FD65-98C0-4D5E25B44831}"/>
                    </a:ext>
                  </a:extLst>
                </p:cNvPr>
                <p:cNvSpPr/>
                <p:nvPr/>
              </p:nvSpPr>
              <p:spPr bwMode="gray">
                <a:xfrm rot="5400000">
                  <a:off x="819990" y="250262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82" name="Triangle_4">
                  <a:extLst>
                    <a:ext uri="{FF2B5EF4-FFF2-40B4-BE49-F238E27FC236}">
                      <a16:creationId xmlns:a16="http://schemas.microsoft.com/office/drawing/2014/main" id="{9903100A-FFCA-CDC5-76B2-14B5B7881836}"/>
                    </a:ext>
                  </a:extLst>
                </p:cNvPr>
                <p:cNvSpPr/>
                <p:nvPr/>
              </p:nvSpPr>
              <p:spPr bwMode="gray">
                <a:xfrm rot="16200000">
                  <a:off x="985464" y="250262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grpSp>
          <p:grpSp>
            <p:nvGrpSpPr>
              <p:cNvPr id="1614" name="Group 1613">
                <a:extLst>
                  <a:ext uri="{FF2B5EF4-FFF2-40B4-BE49-F238E27FC236}">
                    <a16:creationId xmlns:a16="http://schemas.microsoft.com/office/drawing/2014/main" id="{B4C53C5A-15D9-1E6F-A9E2-6894BA87507C}"/>
                  </a:ext>
                </a:extLst>
              </p:cNvPr>
              <p:cNvGrpSpPr/>
              <p:nvPr/>
            </p:nvGrpSpPr>
            <p:grpSpPr bwMode="gray">
              <a:xfrm>
                <a:off x="700982" y="3435680"/>
                <a:ext cx="217142" cy="217142"/>
                <a:chOff x="902726" y="2750836"/>
                <a:chExt cx="330948" cy="330948"/>
              </a:xfrm>
              <a:solidFill>
                <a:schemeClr val="bg1"/>
              </a:solidFill>
            </p:grpSpPr>
            <p:sp>
              <p:nvSpPr>
                <p:cNvPr id="1873" name="dfine_grid_single_shape_frame">
                  <a:extLst>
                    <a:ext uri="{FF2B5EF4-FFF2-40B4-BE49-F238E27FC236}">
                      <a16:creationId xmlns:a16="http://schemas.microsoft.com/office/drawing/2014/main" id="{75D704E2-7EB4-9BDB-74A6-B4D81BADA739}"/>
                    </a:ext>
                  </a:extLst>
                </p:cNvPr>
                <p:cNvSpPr/>
                <p:nvPr/>
              </p:nvSpPr>
              <p:spPr bwMode="gray">
                <a:xfrm>
                  <a:off x="902726" y="2750836"/>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74" name="Triangle_1">
                  <a:extLst>
                    <a:ext uri="{FF2B5EF4-FFF2-40B4-BE49-F238E27FC236}">
                      <a16:creationId xmlns:a16="http://schemas.microsoft.com/office/drawing/2014/main" id="{7CB66BF8-FDA1-7D1A-E397-E78E3E3B74CF}"/>
                    </a:ext>
                  </a:extLst>
                </p:cNvPr>
                <p:cNvSpPr/>
                <p:nvPr/>
              </p:nvSpPr>
              <p:spPr bwMode="gray">
                <a:xfrm rot="10800000">
                  <a:off x="902726" y="2750836"/>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1875" name="Triangle_2">
                  <a:extLst>
                    <a:ext uri="{FF2B5EF4-FFF2-40B4-BE49-F238E27FC236}">
                      <a16:creationId xmlns:a16="http://schemas.microsoft.com/office/drawing/2014/main" id="{2FD55F62-F1F6-90E2-354B-C8F4ECFACF77}"/>
                    </a:ext>
                  </a:extLst>
                </p:cNvPr>
                <p:cNvSpPr/>
                <p:nvPr/>
              </p:nvSpPr>
              <p:spPr bwMode="gray">
                <a:xfrm>
                  <a:off x="902726" y="2916310"/>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76" name="Triangle_3">
                  <a:extLst>
                    <a:ext uri="{FF2B5EF4-FFF2-40B4-BE49-F238E27FC236}">
                      <a16:creationId xmlns:a16="http://schemas.microsoft.com/office/drawing/2014/main" id="{E655D7D7-E152-B186-8EC6-8A9DA80EAA96}"/>
                    </a:ext>
                  </a:extLst>
                </p:cNvPr>
                <p:cNvSpPr/>
                <p:nvPr/>
              </p:nvSpPr>
              <p:spPr bwMode="gray">
                <a:xfrm rot="5400000">
                  <a:off x="819990" y="283357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1877" name="Triangle_4">
                  <a:extLst>
                    <a:ext uri="{FF2B5EF4-FFF2-40B4-BE49-F238E27FC236}">
                      <a16:creationId xmlns:a16="http://schemas.microsoft.com/office/drawing/2014/main" id="{539F402B-3411-6309-EA83-F9F0D1A09C5C}"/>
                    </a:ext>
                  </a:extLst>
                </p:cNvPr>
                <p:cNvSpPr/>
                <p:nvPr/>
              </p:nvSpPr>
              <p:spPr bwMode="gray">
                <a:xfrm rot="16200000">
                  <a:off x="985464" y="283357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15" name="Group 1614">
                <a:extLst>
                  <a:ext uri="{FF2B5EF4-FFF2-40B4-BE49-F238E27FC236}">
                    <a16:creationId xmlns:a16="http://schemas.microsoft.com/office/drawing/2014/main" id="{1C37B3CA-99C5-351E-49CB-F53BEA3560EA}"/>
                  </a:ext>
                </a:extLst>
              </p:cNvPr>
              <p:cNvGrpSpPr/>
              <p:nvPr/>
            </p:nvGrpSpPr>
            <p:grpSpPr bwMode="gray">
              <a:xfrm>
                <a:off x="700982" y="3652821"/>
                <a:ext cx="217142" cy="217142"/>
                <a:chOff x="902726" y="3081783"/>
                <a:chExt cx="330948" cy="330948"/>
              </a:xfrm>
              <a:solidFill>
                <a:schemeClr val="bg1"/>
              </a:solidFill>
            </p:grpSpPr>
            <p:sp>
              <p:nvSpPr>
                <p:cNvPr id="1868" name="dfine_grid_single_shape_frame">
                  <a:extLst>
                    <a:ext uri="{FF2B5EF4-FFF2-40B4-BE49-F238E27FC236}">
                      <a16:creationId xmlns:a16="http://schemas.microsoft.com/office/drawing/2014/main" id="{940753AA-6E5D-E5A9-0EE1-62C7FEC44DBD}"/>
                    </a:ext>
                  </a:extLst>
                </p:cNvPr>
                <p:cNvSpPr/>
                <p:nvPr>
                  <p:custDataLst>
                    <p:tags r:id="rId13"/>
                  </p:custDataLst>
                </p:nvPr>
              </p:nvSpPr>
              <p:spPr bwMode="gray">
                <a:xfrm>
                  <a:off x="902726" y="3081783"/>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69" name="Triangle_1">
                  <a:extLst>
                    <a:ext uri="{FF2B5EF4-FFF2-40B4-BE49-F238E27FC236}">
                      <a16:creationId xmlns:a16="http://schemas.microsoft.com/office/drawing/2014/main" id="{C44A7926-E6F5-3B75-3E8D-1378864A640F}"/>
                    </a:ext>
                  </a:extLst>
                </p:cNvPr>
                <p:cNvSpPr/>
                <p:nvPr/>
              </p:nvSpPr>
              <p:spPr bwMode="gray">
                <a:xfrm rot="10800000">
                  <a:off x="902726" y="3081783"/>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70" name="Triangle_2">
                  <a:extLst>
                    <a:ext uri="{FF2B5EF4-FFF2-40B4-BE49-F238E27FC236}">
                      <a16:creationId xmlns:a16="http://schemas.microsoft.com/office/drawing/2014/main" id="{9B852684-CB3D-9276-4DAA-6CE5EE5CC177}"/>
                    </a:ext>
                  </a:extLst>
                </p:cNvPr>
                <p:cNvSpPr/>
                <p:nvPr/>
              </p:nvSpPr>
              <p:spPr bwMode="gray">
                <a:xfrm>
                  <a:off x="902726" y="324725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71" name="Triangle_3">
                  <a:extLst>
                    <a:ext uri="{FF2B5EF4-FFF2-40B4-BE49-F238E27FC236}">
                      <a16:creationId xmlns:a16="http://schemas.microsoft.com/office/drawing/2014/main" id="{0BB6D4C1-3DA3-BFE4-082B-DC027D78088A}"/>
                    </a:ext>
                  </a:extLst>
                </p:cNvPr>
                <p:cNvSpPr/>
                <p:nvPr/>
              </p:nvSpPr>
              <p:spPr bwMode="gray">
                <a:xfrm rot="5400000">
                  <a:off x="819990" y="316452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72" name="Triangle_4">
                  <a:extLst>
                    <a:ext uri="{FF2B5EF4-FFF2-40B4-BE49-F238E27FC236}">
                      <a16:creationId xmlns:a16="http://schemas.microsoft.com/office/drawing/2014/main" id="{6EB19BD0-53F6-33D3-91DE-EFB8EB2FA2FA}"/>
                    </a:ext>
                  </a:extLst>
                </p:cNvPr>
                <p:cNvSpPr/>
                <p:nvPr/>
              </p:nvSpPr>
              <p:spPr bwMode="gray">
                <a:xfrm rot="16200000">
                  <a:off x="985464" y="316452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16" name="Group 1615">
                <a:extLst>
                  <a:ext uri="{FF2B5EF4-FFF2-40B4-BE49-F238E27FC236}">
                    <a16:creationId xmlns:a16="http://schemas.microsoft.com/office/drawing/2014/main" id="{608EC0F8-4144-BC10-FECF-D5CAF9F78600}"/>
                  </a:ext>
                </a:extLst>
              </p:cNvPr>
              <p:cNvGrpSpPr/>
              <p:nvPr/>
            </p:nvGrpSpPr>
            <p:grpSpPr bwMode="gray">
              <a:xfrm>
                <a:off x="700982" y="4087103"/>
                <a:ext cx="217142" cy="217142"/>
                <a:chOff x="902726" y="3743677"/>
                <a:chExt cx="330948" cy="330948"/>
              </a:xfrm>
              <a:solidFill>
                <a:schemeClr val="bg1"/>
              </a:solidFill>
            </p:grpSpPr>
            <p:sp>
              <p:nvSpPr>
                <p:cNvPr id="1863" name="dfine_grid_single_shape_frame">
                  <a:extLst>
                    <a:ext uri="{FF2B5EF4-FFF2-40B4-BE49-F238E27FC236}">
                      <a16:creationId xmlns:a16="http://schemas.microsoft.com/office/drawing/2014/main" id="{67FC5636-960F-BBF6-135B-78ABC972B152}"/>
                    </a:ext>
                  </a:extLst>
                </p:cNvPr>
                <p:cNvSpPr/>
                <p:nvPr/>
              </p:nvSpPr>
              <p:spPr bwMode="gray">
                <a:xfrm>
                  <a:off x="902726" y="3743677"/>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64" name="Triangle_1">
                  <a:extLst>
                    <a:ext uri="{FF2B5EF4-FFF2-40B4-BE49-F238E27FC236}">
                      <a16:creationId xmlns:a16="http://schemas.microsoft.com/office/drawing/2014/main" id="{617AE6A0-AEFF-CA61-2E19-88EC11A7E071}"/>
                    </a:ext>
                  </a:extLst>
                </p:cNvPr>
                <p:cNvSpPr/>
                <p:nvPr/>
              </p:nvSpPr>
              <p:spPr bwMode="gray">
                <a:xfrm rot="10800000">
                  <a:off x="902726" y="3743677"/>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65" name="Triangle_2">
                  <a:extLst>
                    <a:ext uri="{FF2B5EF4-FFF2-40B4-BE49-F238E27FC236}">
                      <a16:creationId xmlns:a16="http://schemas.microsoft.com/office/drawing/2014/main" id="{AB28E8F8-062E-C1D5-101E-1416AC3CF1B4}"/>
                    </a:ext>
                  </a:extLst>
                </p:cNvPr>
                <p:cNvSpPr/>
                <p:nvPr/>
              </p:nvSpPr>
              <p:spPr bwMode="gray">
                <a:xfrm>
                  <a:off x="902726" y="3909151"/>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66" name="Triangle_3">
                  <a:extLst>
                    <a:ext uri="{FF2B5EF4-FFF2-40B4-BE49-F238E27FC236}">
                      <a16:creationId xmlns:a16="http://schemas.microsoft.com/office/drawing/2014/main" id="{0F849E49-7C5B-A348-13D9-114EDA61E8C1}"/>
                    </a:ext>
                  </a:extLst>
                </p:cNvPr>
                <p:cNvSpPr/>
                <p:nvPr/>
              </p:nvSpPr>
              <p:spPr bwMode="gray">
                <a:xfrm rot="5400000">
                  <a:off x="819990" y="3826415"/>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67" name="Triangle_4">
                  <a:extLst>
                    <a:ext uri="{FF2B5EF4-FFF2-40B4-BE49-F238E27FC236}">
                      <a16:creationId xmlns:a16="http://schemas.microsoft.com/office/drawing/2014/main" id="{DF775772-94B9-F854-FE54-E914058E9EFD}"/>
                    </a:ext>
                  </a:extLst>
                </p:cNvPr>
                <p:cNvSpPr/>
                <p:nvPr/>
              </p:nvSpPr>
              <p:spPr bwMode="gray">
                <a:xfrm rot="16200000">
                  <a:off x="985464" y="3826415"/>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grpSp>
          <p:grpSp>
            <p:nvGrpSpPr>
              <p:cNvPr id="1617" name="Group 1616">
                <a:extLst>
                  <a:ext uri="{FF2B5EF4-FFF2-40B4-BE49-F238E27FC236}">
                    <a16:creationId xmlns:a16="http://schemas.microsoft.com/office/drawing/2014/main" id="{C6ABD2E9-C4D1-59A9-DF56-D10FF85A7136}"/>
                  </a:ext>
                </a:extLst>
              </p:cNvPr>
              <p:cNvGrpSpPr/>
              <p:nvPr/>
            </p:nvGrpSpPr>
            <p:grpSpPr bwMode="gray">
              <a:xfrm>
                <a:off x="700982" y="4304244"/>
                <a:ext cx="217142" cy="217142"/>
                <a:chOff x="902726" y="4074624"/>
                <a:chExt cx="330948" cy="330948"/>
              </a:xfrm>
              <a:solidFill>
                <a:schemeClr val="bg1"/>
              </a:solidFill>
            </p:grpSpPr>
            <p:sp>
              <p:nvSpPr>
                <p:cNvPr id="1858" name="dfine_grid_single_shape_frame">
                  <a:extLst>
                    <a:ext uri="{FF2B5EF4-FFF2-40B4-BE49-F238E27FC236}">
                      <a16:creationId xmlns:a16="http://schemas.microsoft.com/office/drawing/2014/main" id="{0310A48A-C53B-9886-0CF6-3EA49E2B168F}"/>
                    </a:ext>
                  </a:extLst>
                </p:cNvPr>
                <p:cNvSpPr/>
                <p:nvPr/>
              </p:nvSpPr>
              <p:spPr bwMode="gray">
                <a:xfrm>
                  <a:off x="902726" y="4074624"/>
                  <a:ext cx="330946" cy="33094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59" name="Triangle_1">
                  <a:extLst>
                    <a:ext uri="{FF2B5EF4-FFF2-40B4-BE49-F238E27FC236}">
                      <a16:creationId xmlns:a16="http://schemas.microsoft.com/office/drawing/2014/main" id="{52465FAE-DBED-F5BD-2D5B-D885C6BABB14}"/>
                    </a:ext>
                  </a:extLst>
                </p:cNvPr>
                <p:cNvSpPr/>
                <p:nvPr/>
              </p:nvSpPr>
              <p:spPr bwMode="gray">
                <a:xfrm rot="10800000">
                  <a:off x="902726" y="4074624"/>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60" name="Triangle_2">
                  <a:extLst>
                    <a:ext uri="{FF2B5EF4-FFF2-40B4-BE49-F238E27FC236}">
                      <a16:creationId xmlns:a16="http://schemas.microsoft.com/office/drawing/2014/main" id="{E872FA7F-A438-05BD-C059-F734DD5F03B4}"/>
                    </a:ext>
                  </a:extLst>
                </p:cNvPr>
                <p:cNvSpPr/>
                <p:nvPr/>
              </p:nvSpPr>
              <p:spPr bwMode="gray">
                <a:xfrm>
                  <a:off x="902726" y="4240098"/>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61" name="Triangle_3">
                  <a:extLst>
                    <a:ext uri="{FF2B5EF4-FFF2-40B4-BE49-F238E27FC236}">
                      <a16:creationId xmlns:a16="http://schemas.microsoft.com/office/drawing/2014/main" id="{00F169E1-F67C-8763-B2F3-AF146ED5383F}"/>
                    </a:ext>
                  </a:extLst>
                </p:cNvPr>
                <p:cNvSpPr/>
                <p:nvPr/>
              </p:nvSpPr>
              <p:spPr bwMode="gray">
                <a:xfrm rot="5400000">
                  <a:off x="819990" y="4157362"/>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62" name="Triangle_4">
                  <a:extLst>
                    <a:ext uri="{FF2B5EF4-FFF2-40B4-BE49-F238E27FC236}">
                      <a16:creationId xmlns:a16="http://schemas.microsoft.com/office/drawing/2014/main" id="{79A9D3F0-8281-9550-4C83-4F57BB510ACC}"/>
                    </a:ext>
                  </a:extLst>
                </p:cNvPr>
                <p:cNvSpPr/>
                <p:nvPr/>
              </p:nvSpPr>
              <p:spPr bwMode="gray">
                <a:xfrm rot="16200000">
                  <a:off x="985464" y="4157362"/>
                  <a:ext cx="330946" cy="165474"/>
                </a:xfrm>
                <a:prstGeom prst="triangle">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sp>
            <p:nvSpPr>
              <p:cNvPr id="1618" name="Triangle_2">
                <a:extLst>
                  <a:ext uri="{FF2B5EF4-FFF2-40B4-BE49-F238E27FC236}">
                    <a16:creationId xmlns:a16="http://schemas.microsoft.com/office/drawing/2014/main" id="{0232FEF8-B98D-6393-7FC6-EA04CA35C696}"/>
                  </a:ext>
                </a:extLst>
              </p:cNvPr>
              <p:cNvSpPr/>
              <p:nvPr/>
            </p:nvSpPr>
            <p:spPr bwMode="gray">
              <a:xfrm>
                <a:off x="920750" y="3761973"/>
                <a:ext cx="217141" cy="108570"/>
              </a:xfrm>
              <a:prstGeom prst="triangle">
                <a:avLst/>
              </a:pr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19" name="Triangle_2">
                <a:extLst>
                  <a:ext uri="{FF2B5EF4-FFF2-40B4-BE49-F238E27FC236}">
                    <a16:creationId xmlns:a16="http://schemas.microsoft.com/office/drawing/2014/main" id="{C4D0C3D3-2900-FB6E-11E1-B9D313E285C5}"/>
                  </a:ext>
                </a:extLst>
              </p:cNvPr>
              <p:cNvSpPr/>
              <p:nvPr/>
            </p:nvSpPr>
            <p:spPr bwMode="gray">
              <a:xfrm>
                <a:off x="700982" y="3327109"/>
                <a:ext cx="217141" cy="108570"/>
              </a:xfrm>
              <a:prstGeom prst="triangle">
                <a:avLst/>
              </a:pr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1620" name="Triangle_3">
                <a:extLst>
                  <a:ext uri="{FF2B5EF4-FFF2-40B4-BE49-F238E27FC236}">
                    <a16:creationId xmlns:a16="http://schemas.microsoft.com/office/drawing/2014/main" id="{74C935CB-7341-9BDF-825B-9EBBDC7459E1}"/>
                  </a:ext>
                </a:extLst>
              </p:cNvPr>
              <p:cNvSpPr/>
              <p:nvPr/>
            </p:nvSpPr>
            <p:spPr bwMode="gray">
              <a:xfrm rot="10800000">
                <a:off x="266700" y="3218539"/>
                <a:ext cx="217141" cy="108570"/>
              </a:xfrm>
              <a:prstGeom prst="triangle">
                <a:avLst/>
              </a:prstGeom>
              <a:solidFill>
                <a:schemeClr val="accent6"/>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21" name="Triangle_1">
                <a:extLst>
                  <a:ext uri="{FF2B5EF4-FFF2-40B4-BE49-F238E27FC236}">
                    <a16:creationId xmlns:a16="http://schemas.microsoft.com/office/drawing/2014/main" id="{268F0C0C-CF0D-1451-1B11-FC28DEB1FF0F}"/>
                  </a:ext>
                </a:extLst>
              </p:cNvPr>
              <p:cNvSpPr/>
              <p:nvPr/>
            </p:nvSpPr>
            <p:spPr bwMode="gray">
              <a:xfrm rot="10800000">
                <a:off x="483841" y="3869962"/>
                <a:ext cx="217141" cy="108570"/>
              </a:xfrm>
              <a:prstGeom prst="triangle">
                <a:avLst/>
              </a:pr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rgbClr val="003C50"/>
                  </a:solidFill>
                </a:endParaRPr>
              </a:p>
            </p:txBody>
          </p:sp>
          <p:sp>
            <p:nvSpPr>
              <p:cNvPr id="1622" name="Triangle_2">
                <a:extLst>
                  <a:ext uri="{FF2B5EF4-FFF2-40B4-BE49-F238E27FC236}">
                    <a16:creationId xmlns:a16="http://schemas.microsoft.com/office/drawing/2014/main" id="{89C3DEA2-66A5-F3EB-FFAF-A2210C22D564}"/>
                  </a:ext>
                </a:extLst>
              </p:cNvPr>
              <p:cNvSpPr/>
              <p:nvPr/>
            </p:nvSpPr>
            <p:spPr bwMode="gray">
              <a:xfrm>
                <a:off x="700982" y="3761391"/>
                <a:ext cx="217141" cy="108570"/>
              </a:xfrm>
              <a:prstGeom prst="triangle">
                <a:avLst/>
              </a:pr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23" name="Triangle_2">
                <a:extLst>
                  <a:ext uri="{FF2B5EF4-FFF2-40B4-BE49-F238E27FC236}">
                    <a16:creationId xmlns:a16="http://schemas.microsoft.com/office/drawing/2014/main" id="{4585B056-0D3E-BCFD-B193-F0C540BFBFA7}"/>
                  </a:ext>
                </a:extLst>
              </p:cNvPr>
              <p:cNvSpPr/>
              <p:nvPr/>
            </p:nvSpPr>
            <p:spPr bwMode="gray">
              <a:xfrm>
                <a:off x="266700" y="3544250"/>
                <a:ext cx="217141" cy="108570"/>
              </a:xfrm>
              <a:prstGeom prst="triangle">
                <a:avLst/>
              </a:pr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nvGrpSpPr>
              <p:cNvPr id="1624" name="Group 1623">
                <a:extLst>
                  <a:ext uri="{FF2B5EF4-FFF2-40B4-BE49-F238E27FC236}">
                    <a16:creationId xmlns:a16="http://schemas.microsoft.com/office/drawing/2014/main" id="{965B223F-7A05-03ED-DA8E-6D5BD8C247C6}"/>
                  </a:ext>
                </a:extLst>
              </p:cNvPr>
              <p:cNvGrpSpPr/>
              <p:nvPr/>
            </p:nvGrpSpPr>
            <p:grpSpPr bwMode="gray">
              <a:xfrm>
                <a:off x="1352406" y="1698551"/>
                <a:ext cx="217142" cy="217142"/>
                <a:chOff x="1564620" y="2088942"/>
                <a:chExt cx="330948" cy="330948"/>
              </a:xfrm>
            </p:grpSpPr>
            <p:sp>
              <p:nvSpPr>
                <p:cNvPr id="1853" name="dfine_grid_single_shape_frame">
                  <a:extLst>
                    <a:ext uri="{FF2B5EF4-FFF2-40B4-BE49-F238E27FC236}">
                      <a16:creationId xmlns:a16="http://schemas.microsoft.com/office/drawing/2014/main" id="{0BAB9AF2-05EC-CBCE-D616-6A9341C001D9}"/>
                    </a:ext>
                  </a:extLst>
                </p:cNvPr>
                <p:cNvSpPr/>
                <p:nvPr/>
              </p:nvSpPr>
              <p:spPr bwMode="gray">
                <a:xfrm>
                  <a:off x="1564620" y="2088942"/>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54" name="Triangle_1">
                  <a:extLst>
                    <a:ext uri="{FF2B5EF4-FFF2-40B4-BE49-F238E27FC236}">
                      <a16:creationId xmlns:a16="http://schemas.microsoft.com/office/drawing/2014/main" id="{92B7F407-B473-925B-B66A-EB10654318E6}"/>
                    </a:ext>
                  </a:extLst>
                </p:cNvPr>
                <p:cNvSpPr/>
                <p:nvPr/>
              </p:nvSpPr>
              <p:spPr bwMode="gray">
                <a:xfrm rot="10800000">
                  <a:off x="1564620" y="2088942"/>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55" name="Triangle_2">
                  <a:extLst>
                    <a:ext uri="{FF2B5EF4-FFF2-40B4-BE49-F238E27FC236}">
                      <a16:creationId xmlns:a16="http://schemas.microsoft.com/office/drawing/2014/main" id="{9D6A7EFF-8046-B014-8407-763500A91921}"/>
                    </a:ext>
                  </a:extLst>
                </p:cNvPr>
                <p:cNvSpPr/>
                <p:nvPr/>
              </p:nvSpPr>
              <p:spPr bwMode="gray">
                <a:xfrm>
                  <a:off x="1564620" y="2254416"/>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56" name="Triangle_3">
                  <a:extLst>
                    <a:ext uri="{FF2B5EF4-FFF2-40B4-BE49-F238E27FC236}">
                      <a16:creationId xmlns:a16="http://schemas.microsoft.com/office/drawing/2014/main" id="{012B6F04-EDBD-9289-7FD2-80010FC26AE1}"/>
                    </a:ext>
                  </a:extLst>
                </p:cNvPr>
                <p:cNvSpPr/>
                <p:nvPr/>
              </p:nvSpPr>
              <p:spPr bwMode="gray">
                <a:xfrm rot="5400000">
                  <a:off x="1481884" y="217168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57" name="Triangle_4">
                  <a:extLst>
                    <a:ext uri="{FF2B5EF4-FFF2-40B4-BE49-F238E27FC236}">
                      <a16:creationId xmlns:a16="http://schemas.microsoft.com/office/drawing/2014/main" id="{D111AAD3-BCAF-E427-1630-4DC40EE14627}"/>
                    </a:ext>
                  </a:extLst>
                </p:cNvPr>
                <p:cNvSpPr/>
                <p:nvPr/>
              </p:nvSpPr>
              <p:spPr bwMode="gray">
                <a:xfrm rot="16200000">
                  <a:off x="1647358" y="217168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25" name="Group 1624">
                <a:extLst>
                  <a:ext uri="{FF2B5EF4-FFF2-40B4-BE49-F238E27FC236}">
                    <a16:creationId xmlns:a16="http://schemas.microsoft.com/office/drawing/2014/main" id="{86E41A19-3391-6B26-81A2-73BA2D3332DE}"/>
                  </a:ext>
                </a:extLst>
              </p:cNvPr>
              <p:cNvGrpSpPr/>
              <p:nvPr/>
            </p:nvGrpSpPr>
            <p:grpSpPr bwMode="gray">
              <a:xfrm>
                <a:off x="1352406" y="1915692"/>
                <a:ext cx="217142" cy="217142"/>
                <a:chOff x="1564620" y="2419889"/>
                <a:chExt cx="330948" cy="330948"/>
              </a:xfrm>
            </p:grpSpPr>
            <p:sp>
              <p:nvSpPr>
                <p:cNvPr id="1848" name="dfine_grid_single_shape_frame">
                  <a:extLst>
                    <a:ext uri="{FF2B5EF4-FFF2-40B4-BE49-F238E27FC236}">
                      <a16:creationId xmlns:a16="http://schemas.microsoft.com/office/drawing/2014/main" id="{387F8734-73A5-8F57-DDCC-B4241A2A2CC9}"/>
                    </a:ext>
                  </a:extLst>
                </p:cNvPr>
                <p:cNvSpPr/>
                <p:nvPr/>
              </p:nvSpPr>
              <p:spPr bwMode="gray">
                <a:xfrm>
                  <a:off x="1564620" y="2419889"/>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49" name="Triangle_1">
                  <a:extLst>
                    <a:ext uri="{FF2B5EF4-FFF2-40B4-BE49-F238E27FC236}">
                      <a16:creationId xmlns:a16="http://schemas.microsoft.com/office/drawing/2014/main" id="{243968DB-C6C6-A5F6-9951-7539AD4FEEE3}"/>
                    </a:ext>
                  </a:extLst>
                </p:cNvPr>
                <p:cNvSpPr/>
                <p:nvPr/>
              </p:nvSpPr>
              <p:spPr bwMode="gray">
                <a:xfrm rot="10800000">
                  <a:off x="1564620" y="2419889"/>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50" name="Triangle_2">
                  <a:extLst>
                    <a:ext uri="{FF2B5EF4-FFF2-40B4-BE49-F238E27FC236}">
                      <a16:creationId xmlns:a16="http://schemas.microsoft.com/office/drawing/2014/main" id="{30B1E469-A4A5-5BFB-69CF-8EE3F97434FB}"/>
                    </a:ext>
                  </a:extLst>
                </p:cNvPr>
                <p:cNvSpPr/>
                <p:nvPr/>
              </p:nvSpPr>
              <p:spPr bwMode="gray">
                <a:xfrm>
                  <a:off x="1564620" y="2585363"/>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51" name="Triangle_3">
                  <a:extLst>
                    <a:ext uri="{FF2B5EF4-FFF2-40B4-BE49-F238E27FC236}">
                      <a16:creationId xmlns:a16="http://schemas.microsoft.com/office/drawing/2014/main" id="{9293569C-CB23-A06A-87AF-9A2DD43B0E30}"/>
                    </a:ext>
                  </a:extLst>
                </p:cNvPr>
                <p:cNvSpPr/>
                <p:nvPr/>
              </p:nvSpPr>
              <p:spPr bwMode="gray">
                <a:xfrm rot="5400000">
                  <a:off x="1481884" y="250262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52" name="Triangle_4">
                  <a:extLst>
                    <a:ext uri="{FF2B5EF4-FFF2-40B4-BE49-F238E27FC236}">
                      <a16:creationId xmlns:a16="http://schemas.microsoft.com/office/drawing/2014/main" id="{289E3D7F-0170-6AD9-04A5-557AEE4E5EAF}"/>
                    </a:ext>
                  </a:extLst>
                </p:cNvPr>
                <p:cNvSpPr/>
                <p:nvPr/>
              </p:nvSpPr>
              <p:spPr bwMode="gray">
                <a:xfrm rot="16200000">
                  <a:off x="1647358" y="250262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26" name="Group 1625">
                <a:extLst>
                  <a:ext uri="{FF2B5EF4-FFF2-40B4-BE49-F238E27FC236}">
                    <a16:creationId xmlns:a16="http://schemas.microsoft.com/office/drawing/2014/main" id="{12E590A3-72DC-370B-4379-C6E9894EA9CA}"/>
                  </a:ext>
                </a:extLst>
              </p:cNvPr>
              <p:cNvGrpSpPr/>
              <p:nvPr/>
            </p:nvGrpSpPr>
            <p:grpSpPr bwMode="gray">
              <a:xfrm>
                <a:off x="1352406" y="2132833"/>
                <a:ext cx="217142" cy="217142"/>
                <a:chOff x="1564620" y="2750836"/>
                <a:chExt cx="330948" cy="330948"/>
              </a:xfrm>
            </p:grpSpPr>
            <p:sp>
              <p:nvSpPr>
                <p:cNvPr id="1843" name="dfine_grid_single_shape_frame">
                  <a:extLst>
                    <a:ext uri="{FF2B5EF4-FFF2-40B4-BE49-F238E27FC236}">
                      <a16:creationId xmlns:a16="http://schemas.microsoft.com/office/drawing/2014/main" id="{F11E5305-7A5C-23F9-A578-74B73FEBDB8A}"/>
                    </a:ext>
                  </a:extLst>
                </p:cNvPr>
                <p:cNvSpPr/>
                <p:nvPr/>
              </p:nvSpPr>
              <p:spPr bwMode="gray">
                <a:xfrm>
                  <a:off x="1564620" y="2750836"/>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44" name="Triangle_1">
                  <a:extLst>
                    <a:ext uri="{FF2B5EF4-FFF2-40B4-BE49-F238E27FC236}">
                      <a16:creationId xmlns:a16="http://schemas.microsoft.com/office/drawing/2014/main" id="{E116AADC-C473-43ED-EDBA-93F7F19140D1}"/>
                    </a:ext>
                  </a:extLst>
                </p:cNvPr>
                <p:cNvSpPr/>
                <p:nvPr/>
              </p:nvSpPr>
              <p:spPr bwMode="gray">
                <a:xfrm rot="10800000">
                  <a:off x="1564620" y="2750836"/>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45" name="Triangle_2">
                  <a:extLst>
                    <a:ext uri="{FF2B5EF4-FFF2-40B4-BE49-F238E27FC236}">
                      <a16:creationId xmlns:a16="http://schemas.microsoft.com/office/drawing/2014/main" id="{D4EBA9AB-8C27-6922-46DB-F33AEB3AC5EB}"/>
                    </a:ext>
                  </a:extLst>
                </p:cNvPr>
                <p:cNvSpPr/>
                <p:nvPr/>
              </p:nvSpPr>
              <p:spPr bwMode="gray">
                <a:xfrm>
                  <a:off x="1564620" y="291631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46" name="Triangle_3">
                  <a:extLst>
                    <a:ext uri="{FF2B5EF4-FFF2-40B4-BE49-F238E27FC236}">
                      <a16:creationId xmlns:a16="http://schemas.microsoft.com/office/drawing/2014/main" id="{07E9CF75-0C75-DA14-DCBB-AF331BDD10F6}"/>
                    </a:ext>
                  </a:extLst>
                </p:cNvPr>
                <p:cNvSpPr/>
                <p:nvPr/>
              </p:nvSpPr>
              <p:spPr bwMode="gray">
                <a:xfrm rot="5400000">
                  <a:off x="1481884" y="283357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47" name="Triangle_4">
                  <a:extLst>
                    <a:ext uri="{FF2B5EF4-FFF2-40B4-BE49-F238E27FC236}">
                      <a16:creationId xmlns:a16="http://schemas.microsoft.com/office/drawing/2014/main" id="{9601BEDA-E3F6-69FC-6BEF-AA32675F44F3}"/>
                    </a:ext>
                  </a:extLst>
                </p:cNvPr>
                <p:cNvSpPr/>
                <p:nvPr/>
              </p:nvSpPr>
              <p:spPr bwMode="gray">
                <a:xfrm rot="16200000">
                  <a:off x="1647358" y="283357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27" name="Group 1626">
                <a:extLst>
                  <a:ext uri="{FF2B5EF4-FFF2-40B4-BE49-F238E27FC236}">
                    <a16:creationId xmlns:a16="http://schemas.microsoft.com/office/drawing/2014/main" id="{58B4F260-C66E-7FAF-F7BB-B7CB868E5248}"/>
                  </a:ext>
                </a:extLst>
              </p:cNvPr>
              <p:cNvGrpSpPr/>
              <p:nvPr/>
            </p:nvGrpSpPr>
            <p:grpSpPr bwMode="gray">
              <a:xfrm>
                <a:off x="1352406" y="2349974"/>
                <a:ext cx="217142" cy="217142"/>
                <a:chOff x="1564620" y="3081783"/>
                <a:chExt cx="330948" cy="330948"/>
              </a:xfrm>
            </p:grpSpPr>
            <p:sp>
              <p:nvSpPr>
                <p:cNvPr id="1838" name="dfine_grid_single_shape_frame">
                  <a:extLst>
                    <a:ext uri="{FF2B5EF4-FFF2-40B4-BE49-F238E27FC236}">
                      <a16:creationId xmlns:a16="http://schemas.microsoft.com/office/drawing/2014/main" id="{D34C9CD5-C492-A109-E5C5-040F1D1CC8A3}"/>
                    </a:ext>
                  </a:extLst>
                </p:cNvPr>
                <p:cNvSpPr/>
                <p:nvPr/>
              </p:nvSpPr>
              <p:spPr bwMode="gray">
                <a:xfrm>
                  <a:off x="1564620" y="3081783"/>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39" name="Triangle_1">
                  <a:extLst>
                    <a:ext uri="{FF2B5EF4-FFF2-40B4-BE49-F238E27FC236}">
                      <a16:creationId xmlns:a16="http://schemas.microsoft.com/office/drawing/2014/main" id="{F50376C3-29FB-1EF6-42F2-10125FC70B71}"/>
                    </a:ext>
                  </a:extLst>
                </p:cNvPr>
                <p:cNvSpPr/>
                <p:nvPr/>
              </p:nvSpPr>
              <p:spPr bwMode="gray">
                <a:xfrm rot="10800000">
                  <a:off x="1564620" y="3081783"/>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40" name="Triangle_2">
                  <a:extLst>
                    <a:ext uri="{FF2B5EF4-FFF2-40B4-BE49-F238E27FC236}">
                      <a16:creationId xmlns:a16="http://schemas.microsoft.com/office/drawing/2014/main" id="{4C71C237-2690-DE24-DC8D-E08DEF314AD7}"/>
                    </a:ext>
                  </a:extLst>
                </p:cNvPr>
                <p:cNvSpPr/>
                <p:nvPr/>
              </p:nvSpPr>
              <p:spPr bwMode="gray">
                <a:xfrm>
                  <a:off x="1564620" y="324725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41" name="Triangle_3">
                  <a:extLst>
                    <a:ext uri="{FF2B5EF4-FFF2-40B4-BE49-F238E27FC236}">
                      <a16:creationId xmlns:a16="http://schemas.microsoft.com/office/drawing/2014/main" id="{CD967707-D7BE-77B3-6B21-C7A63F086160}"/>
                    </a:ext>
                  </a:extLst>
                </p:cNvPr>
                <p:cNvSpPr/>
                <p:nvPr/>
              </p:nvSpPr>
              <p:spPr bwMode="gray">
                <a:xfrm rot="5400000">
                  <a:off x="1481884" y="3164521"/>
                  <a:ext cx="330946" cy="165474"/>
                </a:xfrm>
                <a:prstGeom prst="triangle">
                  <a:avLst/>
                </a:pr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42" name="Triangle_4">
                  <a:extLst>
                    <a:ext uri="{FF2B5EF4-FFF2-40B4-BE49-F238E27FC236}">
                      <a16:creationId xmlns:a16="http://schemas.microsoft.com/office/drawing/2014/main" id="{DAF82653-DA62-6904-174C-218AF551CBEF}"/>
                    </a:ext>
                  </a:extLst>
                </p:cNvPr>
                <p:cNvSpPr/>
                <p:nvPr/>
              </p:nvSpPr>
              <p:spPr bwMode="gray">
                <a:xfrm rot="16200000">
                  <a:off x="1647358" y="3164521"/>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28" name="Group 1627">
                <a:extLst>
                  <a:ext uri="{FF2B5EF4-FFF2-40B4-BE49-F238E27FC236}">
                    <a16:creationId xmlns:a16="http://schemas.microsoft.com/office/drawing/2014/main" id="{BAEDD9A2-30AF-CAA6-095A-A6AC09E869B6}"/>
                  </a:ext>
                </a:extLst>
              </p:cNvPr>
              <p:cNvGrpSpPr/>
              <p:nvPr/>
            </p:nvGrpSpPr>
            <p:grpSpPr bwMode="gray">
              <a:xfrm>
                <a:off x="1352406" y="2567115"/>
                <a:ext cx="217142" cy="217142"/>
                <a:chOff x="1564620" y="3412730"/>
                <a:chExt cx="330948" cy="330948"/>
              </a:xfrm>
            </p:grpSpPr>
            <p:sp>
              <p:nvSpPr>
                <p:cNvPr id="1833" name="dfine_grid_single_shape_frame">
                  <a:extLst>
                    <a:ext uri="{FF2B5EF4-FFF2-40B4-BE49-F238E27FC236}">
                      <a16:creationId xmlns:a16="http://schemas.microsoft.com/office/drawing/2014/main" id="{CBAC29AB-87AC-2A7B-6A02-E3B8A6EA6456}"/>
                    </a:ext>
                  </a:extLst>
                </p:cNvPr>
                <p:cNvSpPr/>
                <p:nvPr/>
              </p:nvSpPr>
              <p:spPr bwMode="gray">
                <a:xfrm>
                  <a:off x="1564620" y="3412730"/>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34" name="Triangle_1">
                  <a:extLst>
                    <a:ext uri="{FF2B5EF4-FFF2-40B4-BE49-F238E27FC236}">
                      <a16:creationId xmlns:a16="http://schemas.microsoft.com/office/drawing/2014/main" id="{7D3DAAA4-88BE-3440-DA2D-DDC5345E63EB}"/>
                    </a:ext>
                  </a:extLst>
                </p:cNvPr>
                <p:cNvSpPr/>
                <p:nvPr/>
              </p:nvSpPr>
              <p:spPr bwMode="gray">
                <a:xfrm rot="10800000">
                  <a:off x="1564620" y="341273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35" name="Triangle_2">
                  <a:extLst>
                    <a:ext uri="{FF2B5EF4-FFF2-40B4-BE49-F238E27FC236}">
                      <a16:creationId xmlns:a16="http://schemas.microsoft.com/office/drawing/2014/main" id="{8C6E5DE6-7E62-7291-B947-FC7490A27556}"/>
                    </a:ext>
                  </a:extLst>
                </p:cNvPr>
                <p:cNvSpPr/>
                <p:nvPr/>
              </p:nvSpPr>
              <p:spPr bwMode="gray">
                <a:xfrm>
                  <a:off x="1564620" y="357820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36" name="Triangle_3">
                  <a:extLst>
                    <a:ext uri="{FF2B5EF4-FFF2-40B4-BE49-F238E27FC236}">
                      <a16:creationId xmlns:a16="http://schemas.microsoft.com/office/drawing/2014/main" id="{82319951-AF95-EC86-1695-CB074F852B91}"/>
                    </a:ext>
                  </a:extLst>
                </p:cNvPr>
                <p:cNvSpPr/>
                <p:nvPr/>
              </p:nvSpPr>
              <p:spPr bwMode="gray">
                <a:xfrm rot="5400000">
                  <a:off x="1481884" y="3495468"/>
                  <a:ext cx="330946"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37" name="Triangle_4">
                  <a:extLst>
                    <a:ext uri="{FF2B5EF4-FFF2-40B4-BE49-F238E27FC236}">
                      <a16:creationId xmlns:a16="http://schemas.microsoft.com/office/drawing/2014/main" id="{4977AF41-9E48-70D7-40E7-3EED2D1A41BA}"/>
                    </a:ext>
                  </a:extLst>
                </p:cNvPr>
                <p:cNvSpPr/>
                <p:nvPr/>
              </p:nvSpPr>
              <p:spPr bwMode="gray">
                <a:xfrm rot="16200000">
                  <a:off x="1647358" y="349546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29" name="Group 1628">
                <a:extLst>
                  <a:ext uri="{FF2B5EF4-FFF2-40B4-BE49-F238E27FC236}">
                    <a16:creationId xmlns:a16="http://schemas.microsoft.com/office/drawing/2014/main" id="{5E12C9C1-2AAC-640E-82C4-CA1058F45BF0}"/>
                  </a:ext>
                </a:extLst>
              </p:cNvPr>
              <p:cNvGrpSpPr/>
              <p:nvPr/>
            </p:nvGrpSpPr>
            <p:grpSpPr bwMode="gray">
              <a:xfrm>
                <a:off x="1352406" y="2784256"/>
                <a:ext cx="217142" cy="217142"/>
                <a:chOff x="1564620" y="3743677"/>
                <a:chExt cx="330948" cy="330948"/>
              </a:xfrm>
            </p:grpSpPr>
            <p:sp>
              <p:nvSpPr>
                <p:cNvPr id="1828" name="dfine_grid_single_shape_frame">
                  <a:extLst>
                    <a:ext uri="{FF2B5EF4-FFF2-40B4-BE49-F238E27FC236}">
                      <a16:creationId xmlns:a16="http://schemas.microsoft.com/office/drawing/2014/main" id="{4F9A8673-F1E3-1451-4B35-DAA457978D22}"/>
                    </a:ext>
                  </a:extLst>
                </p:cNvPr>
                <p:cNvSpPr/>
                <p:nvPr/>
              </p:nvSpPr>
              <p:spPr bwMode="gray">
                <a:xfrm>
                  <a:off x="1564620" y="3743677"/>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29" name="Triangle_1">
                  <a:extLst>
                    <a:ext uri="{FF2B5EF4-FFF2-40B4-BE49-F238E27FC236}">
                      <a16:creationId xmlns:a16="http://schemas.microsoft.com/office/drawing/2014/main" id="{F29EF4E2-6DDA-34F0-430A-B18EDF142B75}"/>
                    </a:ext>
                  </a:extLst>
                </p:cNvPr>
                <p:cNvSpPr/>
                <p:nvPr/>
              </p:nvSpPr>
              <p:spPr bwMode="gray">
                <a:xfrm rot="10800000">
                  <a:off x="1564620" y="374367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30" name="Triangle_2">
                  <a:extLst>
                    <a:ext uri="{FF2B5EF4-FFF2-40B4-BE49-F238E27FC236}">
                      <a16:creationId xmlns:a16="http://schemas.microsoft.com/office/drawing/2014/main" id="{60B3F0FB-AA5A-C094-0F2B-FEEA9DDF9E4C}"/>
                    </a:ext>
                  </a:extLst>
                </p:cNvPr>
                <p:cNvSpPr/>
                <p:nvPr/>
              </p:nvSpPr>
              <p:spPr bwMode="gray">
                <a:xfrm>
                  <a:off x="1564620" y="3909151"/>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31" name="Triangle_3">
                  <a:extLst>
                    <a:ext uri="{FF2B5EF4-FFF2-40B4-BE49-F238E27FC236}">
                      <a16:creationId xmlns:a16="http://schemas.microsoft.com/office/drawing/2014/main" id="{795C4402-09BC-5A1E-F89E-BF4CD7236ECA}"/>
                    </a:ext>
                  </a:extLst>
                </p:cNvPr>
                <p:cNvSpPr/>
                <p:nvPr/>
              </p:nvSpPr>
              <p:spPr bwMode="gray">
                <a:xfrm rot="5400000">
                  <a:off x="1481884" y="3826415"/>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32" name="Triangle_4">
                  <a:extLst>
                    <a:ext uri="{FF2B5EF4-FFF2-40B4-BE49-F238E27FC236}">
                      <a16:creationId xmlns:a16="http://schemas.microsoft.com/office/drawing/2014/main" id="{2F7E8282-53AA-F747-EC53-2C6E6EF3B871}"/>
                    </a:ext>
                  </a:extLst>
                </p:cNvPr>
                <p:cNvSpPr/>
                <p:nvPr/>
              </p:nvSpPr>
              <p:spPr bwMode="gray">
                <a:xfrm rot="16200000">
                  <a:off x="1647358" y="3826415"/>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30" name="Group 1629">
                <a:extLst>
                  <a:ext uri="{FF2B5EF4-FFF2-40B4-BE49-F238E27FC236}">
                    <a16:creationId xmlns:a16="http://schemas.microsoft.com/office/drawing/2014/main" id="{2DE2838E-A301-C2B9-496C-983AC2981E81}"/>
                  </a:ext>
                </a:extLst>
              </p:cNvPr>
              <p:cNvGrpSpPr/>
              <p:nvPr/>
            </p:nvGrpSpPr>
            <p:grpSpPr bwMode="gray">
              <a:xfrm>
                <a:off x="1352406" y="3001397"/>
                <a:ext cx="217142" cy="217142"/>
                <a:chOff x="1564620" y="4074624"/>
                <a:chExt cx="330948" cy="330948"/>
              </a:xfrm>
            </p:grpSpPr>
            <p:sp>
              <p:nvSpPr>
                <p:cNvPr id="1823" name="dfine_grid_single_shape_frame">
                  <a:extLst>
                    <a:ext uri="{FF2B5EF4-FFF2-40B4-BE49-F238E27FC236}">
                      <a16:creationId xmlns:a16="http://schemas.microsoft.com/office/drawing/2014/main" id="{27AC2736-3AAB-21B3-FE95-1DEBE6039E8C}"/>
                    </a:ext>
                  </a:extLst>
                </p:cNvPr>
                <p:cNvSpPr/>
                <p:nvPr/>
              </p:nvSpPr>
              <p:spPr bwMode="gray">
                <a:xfrm>
                  <a:off x="1564620" y="4074624"/>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24" name="Triangle_1">
                  <a:extLst>
                    <a:ext uri="{FF2B5EF4-FFF2-40B4-BE49-F238E27FC236}">
                      <a16:creationId xmlns:a16="http://schemas.microsoft.com/office/drawing/2014/main" id="{FDAF3DAE-80CB-5EE5-A334-E2BAAF7D09DE}"/>
                    </a:ext>
                  </a:extLst>
                </p:cNvPr>
                <p:cNvSpPr/>
                <p:nvPr/>
              </p:nvSpPr>
              <p:spPr bwMode="gray">
                <a:xfrm rot="10800000">
                  <a:off x="1564620" y="407462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25" name="Triangle_2">
                  <a:extLst>
                    <a:ext uri="{FF2B5EF4-FFF2-40B4-BE49-F238E27FC236}">
                      <a16:creationId xmlns:a16="http://schemas.microsoft.com/office/drawing/2014/main" id="{E7DA0EE1-8F81-F978-88A1-1A7DBD64B0F6}"/>
                    </a:ext>
                  </a:extLst>
                </p:cNvPr>
                <p:cNvSpPr/>
                <p:nvPr/>
              </p:nvSpPr>
              <p:spPr bwMode="gray">
                <a:xfrm>
                  <a:off x="1564620" y="424009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26" name="Triangle_3">
                  <a:extLst>
                    <a:ext uri="{FF2B5EF4-FFF2-40B4-BE49-F238E27FC236}">
                      <a16:creationId xmlns:a16="http://schemas.microsoft.com/office/drawing/2014/main" id="{31FB403A-3888-8227-12A0-54756EE18ABB}"/>
                    </a:ext>
                  </a:extLst>
                </p:cNvPr>
                <p:cNvSpPr/>
                <p:nvPr/>
              </p:nvSpPr>
              <p:spPr bwMode="gray">
                <a:xfrm rot="5400000">
                  <a:off x="1481884" y="4157362"/>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27" name="Triangle_4">
                  <a:extLst>
                    <a:ext uri="{FF2B5EF4-FFF2-40B4-BE49-F238E27FC236}">
                      <a16:creationId xmlns:a16="http://schemas.microsoft.com/office/drawing/2014/main" id="{67ABBE3C-FF34-1C04-A728-D667AC89CF0A}"/>
                    </a:ext>
                  </a:extLst>
                </p:cNvPr>
                <p:cNvSpPr/>
                <p:nvPr/>
              </p:nvSpPr>
              <p:spPr bwMode="gray">
                <a:xfrm rot="16200000">
                  <a:off x="1647358" y="4157362"/>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31" name="Group 1630">
                <a:extLst>
                  <a:ext uri="{FF2B5EF4-FFF2-40B4-BE49-F238E27FC236}">
                    <a16:creationId xmlns:a16="http://schemas.microsoft.com/office/drawing/2014/main" id="{F5B32117-BF5D-8258-8068-E87A372238B1}"/>
                  </a:ext>
                </a:extLst>
              </p:cNvPr>
              <p:cNvGrpSpPr/>
              <p:nvPr/>
            </p:nvGrpSpPr>
            <p:grpSpPr bwMode="gray">
              <a:xfrm>
                <a:off x="1352406" y="3218539"/>
                <a:ext cx="217142" cy="217142"/>
                <a:chOff x="1564620" y="2419889"/>
                <a:chExt cx="330948" cy="330948"/>
              </a:xfrm>
            </p:grpSpPr>
            <p:sp>
              <p:nvSpPr>
                <p:cNvPr id="1818" name="dfine_grid_single_shape_frame">
                  <a:extLst>
                    <a:ext uri="{FF2B5EF4-FFF2-40B4-BE49-F238E27FC236}">
                      <a16:creationId xmlns:a16="http://schemas.microsoft.com/office/drawing/2014/main" id="{64FFBF84-E1FA-0651-DD2F-00306A3EAA7B}"/>
                    </a:ext>
                  </a:extLst>
                </p:cNvPr>
                <p:cNvSpPr/>
                <p:nvPr/>
              </p:nvSpPr>
              <p:spPr bwMode="gray">
                <a:xfrm>
                  <a:off x="1564620" y="2419889"/>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19" name="Triangle_1">
                  <a:extLst>
                    <a:ext uri="{FF2B5EF4-FFF2-40B4-BE49-F238E27FC236}">
                      <a16:creationId xmlns:a16="http://schemas.microsoft.com/office/drawing/2014/main" id="{660BBC6A-1F72-8BAD-8E95-B68FD8B1ED0D}"/>
                    </a:ext>
                  </a:extLst>
                </p:cNvPr>
                <p:cNvSpPr/>
                <p:nvPr/>
              </p:nvSpPr>
              <p:spPr bwMode="gray">
                <a:xfrm rot="10800000">
                  <a:off x="1564620" y="2419889"/>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20" name="Triangle_2">
                  <a:extLst>
                    <a:ext uri="{FF2B5EF4-FFF2-40B4-BE49-F238E27FC236}">
                      <a16:creationId xmlns:a16="http://schemas.microsoft.com/office/drawing/2014/main" id="{6D1E7308-ECC6-5D9E-E111-F17BDEADCD9C}"/>
                    </a:ext>
                  </a:extLst>
                </p:cNvPr>
                <p:cNvSpPr/>
                <p:nvPr/>
              </p:nvSpPr>
              <p:spPr bwMode="gray">
                <a:xfrm>
                  <a:off x="1564620" y="2585363"/>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21" name="Triangle_3">
                  <a:extLst>
                    <a:ext uri="{FF2B5EF4-FFF2-40B4-BE49-F238E27FC236}">
                      <a16:creationId xmlns:a16="http://schemas.microsoft.com/office/drawing/2014/main" id="{8FFB6C43-DEA9-B517-B698-31741E784AD5}"/>
                    </a:ext>
                  </a:extLst>
                </p:cNvPr>
                <p:cNvSpPr/>
                <p:nvPr/>
              </p:nvSpPr>
              <p:spPr bwMode="gray">
                <a:xfrm rot="5400000">
                  <a:off x="1481884" y="250262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22" name="Triangle_4">
                  <a:extLst>
                    <a:ext uri="{FF2B5EF4-FFF2-40B4-BE49-F238E27FC236}">
                      <a16:creationId xmlns:a16="http://schemas.microsoft.com/office/drawing/2014/main" id="{EF87E067-55B0-6984-4DC1-346DC9650957}"/>
                    </a:ext>
                  </a:extLst>
                </p:cNvPr>
                <p:cNvSpPr/>
                <p:nvPr/>
              </p:nvSpPr>
              <p:spPr bwMode="gray">
                <a:xfrm rot="16200000">
                  <a:off x="1647358" y="250262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32" name="Group 1631">
                <a:extLst>
                  <a:ext uri="{FF2B5EF4-FFF2-40B4-BE49-F238E27FC236}">
                    <a16:creationId xmlns:a16="http://schemas.microsoft.com/office/drawing/2014/main" id="{7334F4CA-7F87-FC8D-D2D8-4D1722B9B45A}"/>
                  </a:ext>
                </a:extLst>
              </p:cNvPr>
              <p:cNvGrpSpPr/>
              <p:nvPr/>
            </p:nvGrpSpPr>
            <p:grpSpPr bwMode="gray">
              <a:xfrm>
                <a:off x="1352406" y="3435680"/>
                <a:ext cx="217142" cy="217142"/>
                <a:chOff x="1564620" y="2750836"/>
                <a:chExt cx="330948" cy="330948"/>
              </a:xfrm>
            </p:grpSpPr>
            <p:sp>
              <p:nvSpPr>
                <p:cNvPr id="1813" name="dfine_grid_single_shape_frame">
                  <a:extLst>
                    <a:ext uri="{FF2B5EF4-FFF2-40B4-BE49-F238E27FC236}">
                      <a16:creationId xmlns:a16="http://schemas.microsoft.com/office/drawing/2014/main" id="{4AB3C6CB-B1DB-F0A7-6ECD-63F91A74A57A}"/>
                    </a:ext>
                  </a:extLst>
                </p:cNvPr>
                <p:cNvSpPr/>
                <p:nvPr/>
              </p:nvSpPr>
              <p:spPr bwMode="gray">
                <a:xfrm>
                  <a:off x="1564620" y="2750836"/>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14" name="Triangle_1">
                  <a:extLst>
                    <a:ext uri="{FF2B5EF4-FFF2-40B4-BE49-F238E27FC236}">
                      <a16:creationId xmlns:a16="http://schemas.microsoft.com/office/drawing/2014/main" id="{A75F8194-9BE5-FCEE-B15E-EF960237F145}"/>
                    </a:ext>
                  </a:extLst>
                </p:cNvPr>
                <p:cNvSpPr/>
                <p:nvPr/>
              </p:nvSpPr>
              <p:spPr bwMode="gray">
                <a:xfrm rot="10800000">
                  <a:off x="1564620" y="2750836"/>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15" name="Triangle_2">
                  <a:extLst>
                    <a:ext uri="{FF2B5EF4-FFF2-40B4-BE49-F238E27FC236}">
                      <a16:creationId xmlns:a16="http://schemas.microsoft.com/office/drawing/2014/main" id="{D97BF570-13CA-64CA-308F-F7423E49EE82}"/>
                    </a:ext>
                  </a:extLst>
                </p:cNvPr>
                <p:cNvSpPr/>
                <p:nvPr/>
              </p:nvSpPr>
              <p:spPr bwMode="gray">
                <a:xfrm>
                  <a:off x="1564620" y="2916310"/>
                  <a:ext cx="330946" cy="165474"/>
                </a:xfrm>
                <a:prstGeom prst="triangle">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16" name="Triangle_3">
                  <a:extLst>
                    <a:ext uri="{FF2B5EF4-FFF2-40B4-BE49-F238E27FC236}">
                      <a16:creationId xmlns:a16="http://schemas.microsoft.com/office/drawing/2014/main" id="{E995D339-7197-E695-FC6C-00CB65B3E027}"/>
                    </a:ext>
                  </a:extLst>
                </p:cNvPr>
                <p:cNvSpPr/>
                <p:nvPr/>
              </p:nvSpPr>
              <p:spPr bwMode="gray">
                <a:xfrm rot="5400000">
                  <a:off x="1481884" y="283357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17" name="Triangle_4">
                  <a:extLst>
                    <a:ext uri="{FF2B5EF4-FFF2-40B4-BE49-F238E27FC236}">
                      <a16:creationId xmlns:a16="http://schemas.microsoft.com/office/drawing/2014/main" id="{87EE377B-7E1E-C642-38B6-AD5FC11F2821}"/>
                    </a:ext>
                  </a:extLst>
                </p:cNvPr>
                <p:cNvSpPr/>
                <p:nvPr/>
              </p:nvSpPr>
              <p:spPr bwMode="gray">
                <a:xfrm rot="16200000">
                  <a:off x="1647358" y="283357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33" name="Group 1632">
                <a:extLst>
                  <a:ext uri="{FF2B5EF4-FFF2-40B4-BE49-F238E27FC236}">
                    <a16:creationId xmlns:a16="http://schemas.microsoft.com/office/drawing/2014/main" id="{A369EBE1-13EB-2C93-1073-F4A00BEF1496}"/>
                  </a:ext>
                </a:extLst>
              </p:cNvPr>
              <p:cNvGrpSpPr/>
              <p:nvPr/>
            </p:nvGrpSpPr>
            <p:grpSpPr bwMode="gray">
              <a:xfrm>
                <a:off x="1352406" y="3652821"/>
                <a:ext cx="217142" cy="217142"/>
                <a:chOff x="1564620" y="3081783"/>
                <a:chExt cx="330948" cy="330948"/>
              </a:xfrm>
            </p:grpSpPr>
            <p:sp>
              <p:nvSpPr>
                <p:cNvPr id="1808" name="dfine_grid_single_shape_frame">
                  <a:extLst>
                    <a:ext uri="{FF2B5EF4-FFF2-40B4-BE49-F238E27FC236}">
                      <a16:creationId xmlns:a16="http://schemas.microsoft.com/office/drawing/2014/main" id="{5F51775C-00AC-3014-C22E-DEF1D25A1FB2}"/>
                    </a:ext>
                  </a:extLst>
                </p:cNvPr>
                <p:cNvSpPr/>
                <p:nvPr/>
              </p:nvSpPr>
              <p:spPr bwMode="gray">
                <a:xfrm>
                  <a:off x="1564620" y="3081783"/>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09" name="Triangle_1">
                  <a:extLst>
                    <a:ext uri="{FF2B5EF4-FFF2-40B4-BE49-F238E27FC236}">
                      <a16:creationId xmlns:a16="http://schemas.microsoft.com/office/drawing/2014/main" id="{1FBEDA30-6DC2-F97F-709C-0294F1078FA1}"/>
                    </a:ext>
                  </a:extLst>
                </p:cNvPr>
                <p:cNvSpPr/>
                <p:nvPr/>
              </p:nvSpPr>
              <p:spPr bwMode="gray">
                <a:xfrm rot="10800000">
                  <a:off x="1564620" y="3081783"/>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10" name="Triangle_2">
                  <a:extLst>
                    <a:ext uri="{FF2B5EF4-FFF2-40B4-BE49-F238E27FC236}">
                      <a16:creationId xmlns:a16="http://schemas.microsoft.com/office/drawing/2014/main" id="{E127C06C-1702-4F2E-762D-95437EB61D26}"/>
                    </a:ext>
                  </a:extLst>
                </p:cNvPr>
                <p:cNvSpPr/>
                <p:nvPr/>
              </p:nvSpPr>
              <p:spPr bwMode="gray">
                <a:xfrm>
                  <a:off x="1564620" y="324725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11" name="Triangle_3">
                  <a:extLst>
                    <a:ext uri="{FF2B5EF4-FFF2-40B4-BE49-F238E27FC236}">
                      <a16:creationId xmlns:a16="http://schemas.microsoft.com/office/drawing/2014/main" id="{59F0794A-099F-22CE-72CC-05CDB281E63C}"/>
                    </a:ext>
                  </a:extLst>
                </p:cNvPr>
                <p:cNvSpPr/>
                <p:nvPr/>
              </p:nvSpPr>
              <p:spPr bwMode="gray">
                <a:xfrm rot="5400000">
                  <a:off x="1481884" y="3164521"/>
                  <a:ext cx="330946" cy="165474"/>
                </a:xfrm>
                <a:prstGeom prst="triangle">
                  <a:avLst/>
                </a:pr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12" name="Triangle_4">
                  <a:extLst>
                    <a:ext uri="{FF2B5EF4-FFF2-40B4-BE49-F238E27FC236}">
                      <a16:creationId xmlns:a16="http://schemas.microsoft.com/office/drawing/2014/main" id="{9D2A0357-8D88-2705-9F87-91575C089C94}"/>
                    </a:ext>
                  </a:extLst>
                </p:cNvPr>
                <p:cNvSpPr/>
                <p:nvPr/>
              </p:nvSpPr>
              <p:spPr bwMode="gray">
                <a:xfrm rot="16200000">
                  <a:off x="1647358" y="3164521"/>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34" name="Group 1633">
                <a:extLst>
                  <a:ext uri="{FF2B5EF4-FFF2-40B4-BE49-F238E27FC236}">
                    <a16:creationId xmlns:a16="http://schemas.microsoft.com/office/drawing/2014/main" id="{223789DD-1AA8-8E24-D2E9-132B0A3D21CD}"/>
                  </a:ext>
                </a:extLst>
              </p:cNvPr>
              <p:cNvGrpSpPr/>
              <p:nvPr/>
            </p:nvGrpSpPr>
            <p:grpSpPr bwMode="gray">
              <a:xfrm>
                <a:off x="1352406" y="3869962"/>
                <a:ext cx="217142" cy="217142"/>
                <a:chOff x="1564620" y="3412730"/>
                <a:chExt cx="330948" cy="330948"/>
              </a:xfrm>
            </p:grpSpPr>
            <p:sp>
              <p:nvSpPr>
                <p:cNvPr id="1803" name="dfine_grid_single_shape_frame">
                  <a:extLst>
                    <a:ext uri="{FF2B5EF4-FFF2-40B4-BE49-F238E27FC236}">
                      <a16:creationId xmlns:a16="http://schemas.microsoft.com/office/drawing/2014/main" id="{88E271DF-9C73-8160-ABD5-1EC316DA2741}"/>
                    </a:ext>
                  </a:extLst>
                </p:cNvPr>
                <p:cNvSpPr/>
                <p:nvPr/>
              </p:nvSpPr>
              <p:spPr bwMode="gray">
                <a:xfrm>
                  <a:off x="1564620" y="3412730"/>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04" name="Triangle_1">
                  <a:extLst>
                    <a:ext uri="{FF2B5EF4-FFF2-40B4-BE49-F238E27FC236}">
                      <a16:creationId xmlns:a16="http://schemas.microsoft.com/office/drawing/2014/main" id="{2C0D54E4-B521-3840-A131-75F1D506A785}"/>
                    </a:ext>
                  </a:extLst>
                </p:cNvPr>
                <p:cNvSpPr/>
                <p:nvPr/>
              </p:nvSpPr>
              <p:spPr bwMode="gray">
                <a:xfrm rot="10800000">
                  <a:off x="1564620" y="341273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05" name="Triangle_2">
                  <a:extLst>
                    <a:ext uri="{FF2B5EF4-FFF2-40B4-BE49-F238E27FC236}">
                      <a16:creationId xmlns:a16="http://schemas.microsoft.com/office/drawing/2014/main" id="{EDE057D9-3205-C49C-8D28-B85AFBE265BE}"/>
                    </a:ext>
                  </a:extLst>
                </p:cNvPr>
                <p:cNvSpPr/>
                <p:nvPr/>
              </p:nvSpPr>
              <p:spPr bwMode="gray">
                <a:xfrm>
                  <a:off x="1564620" y="357820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06" name="Triangle_3">
                  <a:extLst>
                    <a:ext uri="{FF2B5EF4-FFF2-40B4-BE49-F238E27FC236}">
                      <a16:creationId xmlns:a16="http://schemas.microsoft.com/office/drawing/2014/main" id="{53DA7D29-97EF-A4C6-1AF3-7F1FE322873F}"/>
                    </a:ext>
                  </a:extLst>
                </p:cNvPr>
                <p:cNvSpPr/>
                <p:nvPr/>
              </p:nvSpPr>
              <p:spPr bwMode="gray">
                <a:xfrm rot="5400000">
                  <a:off x="1481884" y="349546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07" name="Triangle_4">
                  <a:extLst>
                    <a:ext uri="{FF2B5EF4-FFF2-40B4-BE49-F238E27FC236}">
                      <a16:creationId xmlns:a16="http://schemas.microsoft.com/office/drawing/2014/main" id="{24B53558-0A27-BDCA-7B9C-BDEA61D077F0}"/>
                    </a:ext>
                  </a:extLst>
                </p:cNvPr>
                <p:cNvSpPr/>
                <p:nvPr/>
              </p:nvSpPr>
              <p:spPr bwMode="gray">
                <a:xfrm rot="16200000">
                  <a:off x="1647358" y="349546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35" name="Group 1634">
                <a:extLst>
                  <a:ext uri="{FF2B5EF4-FFF2-40B4-BE49-F238E27FC236}">
                    <a16:creationId xmlns:a16="http://schemas.microsoft.com/office/drawing/2014/main" id="{8F84BF73-1D33-A5AC-0A62-FD346A07F190}"/>
                  </a:ext>
                </a:extLst>
              </p:cNvPr>
              <p:cNvGrpSpPr/>
              <p:nvPr/>
            </p:nvGrpSpPr>
            <p:grpSpPr bwMode="gray">
              <a:xfrm>
                <a:off x="1352406" y="4087103"/>
                <a:ext cx="217142" cy="217142"/>
                <a:chOff x="1564620" y="3743677"/>
                <a:chExt cx="330948" cy="330948"/>
              </a:xfrm>
            </p:grpSpPr>
            <p:sp>
              <p:nvSpPr>
                <p:cNvPr id="1798" name="dfine_grid_single_shape_frame">
                  <a:extLst>
                    <a:ext uri="{FF2B5EF4-FFF2-40B4-BE49-F238E27FC236}">
                      <a16:creationId xmlns:a16="http://schemas.microsoft.com/office/drawing/2014/main" id="{E4F66FEC-34AE-4CD4-C639-692E16C19164}"/>
                    </a:ext>
                  </a:extLst>
                </p:cNvPr>
                <p:cNvSpPr/>
                <p:nvPr/>
              </p:nvSpPr>
              <p:spPr bwMode="gray">
                <a:xfrm>
                  <a:off x="1564620" y="3743677"/>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99" name="Triangle_1">
                  <a:extLst>
                    <a:ext uri="{FF2B5EF4-FFF2-40B4-BE49-F238E27FC236}">
                      <a16:creationId xmlns:a16="http://schemas.microsoft.com/office/drawing/2014/main" id="{D07A8201-7A39-22EA-1466-29425C085F4F}"/>
                    </a:ext>
                  </a:extLst>
                </p:cNvPr>
                <p:cNvSpPr/>
                <p:nvPr/>
              </p:nvSpPr>
              <p:spPr bwMode="gray">
                <a:xfrm rot="10800000">
                  <a:off x="1564620" y="374367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00" name="Triangle_2">
                  <a:extLst>
                    <a:ext uri="{FF2B5EF4-FFF2-40B4-BE49-F238E27FC236}">
                      <a16:creationId xmlns:a16="http://schemas.microsoft.com/office/drawing/2014/main" id="{F85D2426-A4EA-284E-7680-C4FCEE39AF40}"/>
                    </a:ext>
                  </a:extLst>
                </p:cNvPr>
                <p:cNvSpPr/>
                <p:nvPr/>
              </p:nvSpPr>
              <p:spPr bwMode="gray">
                <a:xfrm>
                  <a:off x="1564620" y="3909151"/>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01" name="Triangle_3">
                  <a:extLst>
                    <a:ext uri="{FF2B5EF4-FFF2-40B4-BE49-F238E27FC236}">
                      <a16:creationId xmlns:a16="http://schemas.microsoft.com/office/drawing/2014/main" id="{CD18406F-95CA-0E43-6965-0C690D37891B}"/>
                    </a:ext>
                  </a:extLst>
                </p:cNvPr>
                <p:cNvSpPr/>
                <p:nvPr/>
              </p:nvSpPr>
              <p:spPr bwMode="gray">
                <a:xfrm rot="5400000">
                  <a:off x="1481884" y="3826415"/>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802" name="Triangle_4">
                  <a:extLst>
                    <a:ext uri="{FF2B5EF4-FFF2-40B4-BE49-F238E27FC236}">
                      <a16:creationId xmlns:a16="http://schemas.microsoft.com/office/drawing/2014/main" id="{107135B4-6B18-2F63-D7F1-90B509BF6F93}"/>
                    </a:ext>
                  </a:extLst>
                </p:cNvPr>
                <p:cNvSpPr/>
                <p:nvPr/>
              </p:nvSpPr>
              <p:spPr bwMode="gray">
                <a:xfrm rot="16200000">
                  <a:off x="1647358" y="3826415"/>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36" name="Group 1635">
                <a:extLst>
                  <a:ext uri="{FF2B5EF4-FFF2-40B4-BE49-F238E27FC236}">
                    <a16:creationId xmlns:a16="http://schemas.microsoft.com/office/drawing/2014/main" id="{A6B36BC4-411A-B5CD-39BD-8199CE207CA2}"/>
                  </a:ext>
                </a:extLst>
              </p:cNvPr>
              <p:cNvGrpSpPr/>
              <p:nvPr/>
            </p:nvGrpSpPr>
            <p:grpSpPr bwMode="gray">
              <a:xfrm>
                <a:off x="1352406" y="4304244"/>
                <a:ext cx="217142" cy="217142"/>
                <a:chOff x="1564620" y="4074624"/>
                <a:chExt cx="330948" cy="330948"/>
              </a:xfrm>
            </p:grpSpPr>
            <p:sp>
              <p:nvSpPr>
                <p:cNvPr id="1793" name="dfine_grid_single_shape_frame">
                  <a:extLst>
                    <a:ext uri="{FF2B5EF4-FFF2-40B4-BE49-F238E27FC236}">
                      <a16:creationId xmlns:a16="http://schemas.microsoft.com/office/drawing/2014/main" id="{02302C22-84DB-91EB-F534-F6940BA4F623}"/>
                    </a:ext>
                  </a:extLst>
                </p:cNvPr>
                <p:cNvSpPr/>
                <p:nvPr/>
              </p:nvSpPr>
              <p:spPr bwMode="gray">
                <a:xfrm>
                  <a:off x="1564620" y="4074624"/>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94" name="Triangle_1">
                  <a:extLst>
                    <a:ext uri="{FF2B5EF4-FFF2-40B4-BE49-F238E27FC236}">
                      <a16:creationId xmlns:a16="http://schemas.microsoft.com/office/drawing/2014/main" id="{DAECAD5A-A996-6DF6-1542-E9C34C6A003D}"/>
                    </a:ext>
                  </a:extLst>
                </p:cNvPr>
                <p:cNvSpPr/>
                <p:nvPr/>
              </p:nvSpPr>
              <p:spPr bwMode="gray">
                <a:xfrm rot="10800000">
                  <a:off x="1564620" y="407462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95" name="Triangle_2">
                  <a:extLst>
                    <a:ext uri="{FF2B5EF4-FFF2-40B4-BE49-F238E27FC236}">
                      <a16:creationId xmlns:a16="http://schemas.microsoft.com/office/drawing/2014/main" id="{2A7A5F4F-9BE7-E906-6B34-36E93AB74603}"/>
                    </a:ext>
                  </a:extLst>
                </p:cNvPr>
                <p:cNvSpPr/>
                <p:nvPr/>
              </p:nvSpPr>
              <p:spPr bwMode="gray">
                <a:xfrm>
                  <a:off x="1564620" y="424009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96" name="Triangle_3">
                  <a:extLst>
                    <a:ext uri="{FF2B5EF4-FFF2-40B4-BE49-F238E27FC236}">
                      <a16:creationId xmlns:a16="http://schemas.microsoft.com/office/drawing/2014/main" id="{305390D2-2225-4B05-9EA2-1AF244C24F65}"/>
                    </a:ext>
                  </a:extLst>
                </p:cNvPr>
                <p:cNvSpPr/>
                <p:nvPr/>
              </p:nvSpPr>
              <p:spPr bwMode="gray">
                <a:xfrm rot="5400000">
                  <a:off x="1481884" y="4157362"/>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97" name="Triangle_4">
                  <a:extLst>
                    <a:ext uri="{FF2B5EF4-FFF2-40B4-BE49-F238E27FC236}">
                      <a16:creationId xmlns:a16="http://schemas.microsoft.com/office/drawing/2014/main" id="{4FA23A99-CC99-F884-0E21-8B811788605F}"/>
                    </a:ext>
                  </a:extLst>
                </p:cNvPr>
                <p:cNvSpPr/>
                <p:nvPr/>
              </p:nvSpPr>
              <p:spPr bwMode="gray">
                <a:xfrm rot="16200000">
                  <a:off x="1647358" y="4157362"/>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37" name="Group 1636">
                <a:extLst>
                  <a:ext uri="{FF2B5EF4-FFF2-40B4-BE49-F238E27FC236}">
                    <a16:creationId xmlns:a16="http://schemas.microsoft.com/office/drawing/2014/main" id="{1038B81E-AED0-7D4E-DA94-C4B96B67A3A9}"/>
                  </a:ext>
                </a:extLst>
              </p:cNvPr>
              <p:cNvGrpSpPr/>
              <p:nvPr/>
            </p:nvGrpSpPr>
            <p:grpSpPr bwMode="gray">
              <a:xfrm>
                <a:off x="1569548" y="1698551"/>
                <a:ext cx="217142" cy="217142"/>
                <a:chOff x="1564620" y="2088942"/>
                <a:chExt cx="330948" cy="330948"/>
              </a:xfrm>
            </p:grpSpPr>
            <p:sp>
              <p:nvSpPr>
                <p:cNvPr id="1788" name="dfine_grid_single_shape_frame">
                  <a:extLst>
                    <a:ext uri="{FF2B5EF4-FFF2-40B4-BE49-F238E27FC236}">
                      <a16:creationId xmlns:a16="http://schemas.microsoft.com/office/drawing/2014/main" id="{99FCEF4F-83B5-66E0-4B02-F28B942B9087}"/>
                    </a:ext>
                  </a:extLst>
                </p:cNvPr>
                <p:cNvSpPr/>
                <p:nvPr/>
              </p:nvSpPr>
              <p:spPr bwMode="gray">
                <a:xfrm>
                  <a:off x="1564620" y="2088942"/>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89" name="Triangle_1">
                  <a:extLst>
                    <a:ext uri="{FF2B5EF4-FFF2-40B4-BE49-F238E27FC236}">
                      <a16:creationId xmlns:a16="http://schemas.microsoft.com/office/drawing/2014/main" id="{14CB3727-04C1-DE55-6E2F-E7CCE415C198}"/>
                    </a:ext>
                  </a:extLst>
                </p:cNvPr>
                <p:cNvSpPr/>
                <p:nvPr/>
              </p:nvSpPr>
              <p:spPr bwMode="gray">
                <a:xfrm rot="10800000">
                  <a:off x="1564620" y="2088942"/>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90" name="Triangle_2">
                  <a:extLst>
                    <a:ext uri="{FF2B5EF4-FFF2-40B4-BE49-F238E27FC236}">
                      <a16:creationId xmlns:a16="http://schemas.microsoft.com/office/drawing/2014/main" id="{D093EDF6-F474-EB0E-4C7D-C7453E655543}"/>
                    </a:ext>
                  </a:extLst>
                </p:cNvPr>
                <p:cNvSpPr/>
                <p:nvPr/>
              </p:nvSpPr>
              <p:spPr bwMode="gray">
                <a:xfrm>
                  <a:off x="1564620" y="2254416"/>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91" name="Triangle_3">
                  <a:extLst>
                    <a:ext uri="{FF2B5EF4-FFF2-40B4-BE49-F238E27FC236}">
                      <a16:creationId xmlns:a16="http://schemas.microsoft.com/office/drawing/2014/main" id="{B0BBBDCA-EDB0-5A35-5A68-95C4736F06CB}"/>
                    </a:ext>
                  </a:extLst>
                </p:cNvPr>
                <p:cNvSpPr/>
                <p:nvPr/>
              </p:nvSpPr>
              <p:spPr bwMode="gray">
                <a:xfrm rot="5400000">
                  <a:off x="1481884" y="217168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92" name="Triangle_4">
                  <a:extLst>
                    <a:ext uri="{FF2B5EF4-FFF2-40B4-BE49-F238E27FC236}">
                      <a16:creationId xmlns:a16="http://schemas.microsoft.com/office/drawing/2014/main" id="{90948320-BCC8-0157-2574-6D35DA6CB103}"/>
                    </a:ext>
                  </a:extLst>
                </p:cNvPr>
                <p:cNvSpPr/>
                <p:nvPr/>
              </p:nvSpPr>
              <p:spPr bwMode="gray">
                <a:xfrm rot="16200000">
                  <a:off x="1647358" y="217168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38" name="Group 1637">
                <a:extLst>
                  <a:ext uri="{FF2B5EF4-FFF2-40B4-BE49-F238E27FC236}">
                    <a16:creationId xmlns:a16="http://schemas.microsoft.com/office/drawing/2014/main" id="{ACD167D8-A3D7-7A6F-F526-6CDC0014B8AA}"/>
                  </a:ext>
                </a:extLst>
              </p:cNvPr>
              <p:cNvGrpSpPr/>
              <p:nvPr/>
            </p:nvGrpSpPr>
            <p:grpSpPr bwMode="gray">
              <a:xfrm>
                <a:off x="1569548" y="1915692"/>
                <a:ext cx="217142" cy="217142"/>
                <a:chOff x="1564620" y="2419889"/>
                <a:chExt cx="330948" cy="330948"/>
              </a:xfrm>
            </p:grpSpPr>
            <p:sp>
              <p:nvSpPr>
                <p:cNvPr id="1783" name="dfine_grid_single_shape_frame">
                  <a:extLst>
                    <a:ext uri="{FF2B5EF4-FFF2-40B4-BE49-F238E27FC236}">
                      <a16:creationId xmlns:a16="http://schemas.microsoft.com/office/drawing/2014/main" id="{4B8D10FC-2320-4FEB-08B5-B6284D527794}"/>
                    </a:ext>
                  </a:extLst>
                </p:cNvPr>
                <p:cNvSpPr/>
                <p:nvPr/>
              </p:nvSpPr>
              <p:spPr bwMode="gray">
                <a:xfrm>
                  <a:off x="1564620" y="2419889"/>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84" name="Triangle_1">
                  <a:extLst>
                    <a:ext uri="{FF2B5EF4-FFF2-40B4-BE49-F238E27FC236}">
                      <a16:creationId xmlns:a16="http://schemas.microsoft.com/office/drawing/2014/main" id="{E83BA496-D70C-BC26-373A-BBF4DA4688B4}"/>
                    </a:ext>
                  </a:extLst>
                </p:cNvPr>
                <p:cNvSpPr/>
                <p:nvPr/>
              </p:nvSpPr>
              <p:spPr bwMode="gray">
                <a:xfrm rot="10800000">
                  <a:off x="1564620" y="2419889"/>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85" name="Triangle_2">
                  <a:extLst>
                    <a:ext uri="{FF2B5EF4-FFF2-40B4-BE49-F238E27FC236}">
                      <a16:creationId xmlns:a16="http://schemas.microsoft.com/office/drawing/2014/main" id="{B26E9A1C-7D74-52B4-499E-774B69373825}"/>
                    </a:ext>
                  </a:extLst>
                </p:cNvPr>
                <p:cNvSpPr/>
                <p:nvPr/>
              </p:nvSpPr>
              <p:spPr bwMode="gray">
                <a:xfrm>
                  <a:off x="1564620" y="2585363"/>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86" name="Triangle_3">
                  <a:extLst>
                    <a:ext uri="{FF2B5EF4-FFF2-40B4-BE49-F238E27FC236}">
                      <a16:creationId xmlns:a16="http://schemas.microsoft.com/office/drawing/2014/main" id="{0F46439C-7FB2-BB10-E846-3A28DECA8280}"/>
                    </a:ext>
                  </a:extLst>
                </p:cNvPr>
                <p:cNvSpPr/>
                <p:nvPr/>
              </p:nvSpPr>
              <p:spPr bwMode="gray">
                <a:xfrm rot="5400000">
                  <a:off x="1481884" y="250262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87" name="Triangle_4">
                  <a:extLst>
                    <a:ext uri="{FF2B5EF4-FFF2-40B4-BE49-F238E27FC236}">
                      <a16:creationId xmlns:a16="http://schemas.microsoft.com/office/drawing/2014/main" id="{87BFECB9-6283-7BCE-3A20-CE3A54FDC285}"/>
                    </a:ext>
                  </a:extLst>
                </p:cNvPr>
                <p:cNvSpPr/>
                <p:nvPr/>
              </p:nvSpPr>
              <p:spPr bwMode="gray">
                <a:xfrm rot="16200000">
                  <a:off x="1647358" y="250262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39" name="Group 1638">
                <a:extLst>
                  <a:ext uri="{FF2B5EF4-FFF2-40B4-BE49-F238E27FC236}">
                    <a16:creationId xmlns:a16="http://schemas.microsoft.com/office/drawing/2014/main" id="{15751EF1-1445-EEF2-C2F7-BE6C2B8B16E7}"/>
                  </a:ext>
                </a:extLst>
              </p:cNvPr>
              <p:cNvGrpSpPr/>
              <p:nvPr/>
            </p:nvGrpSpPr>
            <p:grpSpPr bwMode="gray">
              <a:xfrm>
                <a:off x="1569548" y="2132833"/>
                <a:ext cx="217142" cy="217142"/>
                <a:chOff x="1564620" y="2750836"/>
                <a:chExt cx="330948" cy="330948"/>
              </a:xfrm>
            </p:grpSpPr>
            <p:sp>
              <p:nvSpPr>
                <p:cNvPr id="1778" name="dfine_grid_single_shape_frame">
                  <a:extLst>
                    <a:ext uri="{FF2B5EF4-FFF2-40B4-BE49-F238E27FC236}">
                      <a16:creationId xmlns:a16="http://schemas.microsoft.com/office/drawing/2014/main" id="{21E1ACE5-6CF5-7A83-20B0-DBCA14078DE7}"/>
                    </a:ext>
                  </a:extLst>
                </p:cNvPr>
                <p:cNvSpPr/>
                <p:nvPr/>
              </p:nvSpPr>
              <p:spPr bwMode="gray">
                <a:xfrm>
                  <a:off x="1564620" y="2750836"/>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79" name="Triangle_1">
                  <a:extLst>
                    <a:ext uri="{FF2B5EF4-FFF2-40B4-BE49-F238E27FC236}">
                      <a16:creationId xmlns:a16="http://schemas.microsoft.com/office/drawing/2014/main" id="{63866479-1E92-17E4-668D-299EC15592B0}"/>
                    </a:ext>
                  </a:extLst>
                </p:cNvPr>
                <p:cNvSpPr/>
                <p:nvPr/>
              </p:nvSpPr>
              <p:spPr bwMode="gray">
                <a:xfrm rot="10800000">
                  <a:off x="1564620" y="2750836"/>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80" name="Triangle_2">
                  <a:extLst>
                    <a:ext uri="{FF2B5EF4-FFF2-40B4-BE49-F238E27FC236}">
                      <a16:creationId xmlns:a16="http://schemas.microsoft.com/office/drawing/2014/main" id="{BDF3E9EF-2168-08B2-A714-4AFDE7CC7244}"/>
                    </a:ext>
                  </a:extLst>
                </p:cNvPr>
                <p:cNvSpPr/>
                <p:nvPr/>
              </p:nvSpPr>
              <p:spPr bwMode="gray">
                <a:xfrm>
                  <a:off x="1564620" y="291631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81" name="Triangle_3">
                  <a:extLst>
                    <a:ext uri="{FF2B5EF4-FFF2-40B4-BE49-F238E27FC236}">
                      <a16:creationId xmlns:a16="http://schemas.microsoft.com/office/drawing/2014/main" id="{45B66686-0EA2-1038-FD13-64502707EE70}"/>
                    </a:ext>
                  </a:extLst>
                </p:cNvPr>
                <p:cNvSpPr/>
                <p:nvPr/>
              </p:nvSpPr>
              <p:spPr bwMode="gray">
                <a:xfrm rot="5400000">
                  <a:off x="1481884" y="283357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82" name="Triangle_4">
                  <a:extLst>
                    <a:ext uri="{FF2B5EF4-FFF2-40B4-BE49-F238E27FC236}">
                      <a16:creationId xmlns:a16="http://schemas.microsoft.com/office/drawing/2014/main" id="{A9077D12-5805-6097-97AD-FA17025822DB}"/>
                    </a:ext>
                  </a:extLst>
                </p:cNvPr>
                <p:cNvSpPr/>
                <p:nvPr/>
              </p:nvSpPr>
              <p:spPr bwMode="gray">
                <a:xfrm rot="16200000">
                  <a:off x="1647358" y="283357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40" name="Group 1639">
                <a:extLst>
                  <a:ext uri="{FF2B5EF4-FFF2-40B4-BE49-F238E27FC236}">
                    <a16:creationId xmlns:a16="http://schemas.microsoft.com/office/drawing/2014/main" id="{6C263AF4-C583-585F-CEB5-8F26BA54C7B7}"/>
                  </a:ext>
                </a:extLst>
              </p:cNvPr>
              <p:cNvGrpSpPr/>
              <p:nvPr/>
            </p:nvGrpSpPr>
            <p:grpSpPr bwMode="gray">
              <a:xfrm>
                <a:off x="1569548" y="2349974"/>
                <a:ext cx="217142" cy="217142"/>
                <a:chOff x="1564620" y="3081783"/>
                <a:chExt cx="330948" cy="330948"/>
              </a:xfrm>
            </p:grpSpPr>
            <p:sp>
              <p:nvSpPr>
                <p:cNvPr id="1773" name="dfine_grid_single_shape_frame">
                  <a:extLst>
                    <a:ext uri="{FF2B5EF4-FFF2-40B4-BE49-F238E27FC236}">
                      <a16:creationId xmlns:a16="http://schemas.microsoft.com/office/drawing/2014/main" id="{0A68C096-5030-DFEE-97E5-098648CC6557}"/>
                    </a:ext>
                  </a:extLst>
                </p:cNvPr>
                <p:cNvSpPr/>
                <p:nvPr/>
              </p:nvSpPr>
              <p:spPr bwMode="gray">
                <a:xfrm>
                  <a:off x="1564620" y="3081783"/>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74" name="Triangle_1">
                  <a:extLst>
                    <a:ext uri="{FF2B5EF4-FFF2-40B4-BE49-F238E27FC236}">
                      <a16:creationId xmlns:a16="http://schemas.microsoft.com/office/drawing/2014/main" id="{3F00EB9B-4719-4601-FFA6-762111F753FF}"/>
                    </a:ext>
                  </a:extLst>
                </p:cNvPr>
                <p:cNvSpPr/>
                <p:nvPr/>
              </p:nvSpPr>
              <p:spPr bwMode="gray">
                <a:xfrm rot="10800000">
                  <a:off x="1564620" y="3081783"/>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75" name="Triangle_2">
                  <a:extLst>
                    <a:ext uri="{FF2B5EF4-FFF2-40B4-BE49-F238E27FC236}">
                      <a16:creationId xmlns:a16="http://schemas.microsoft.com/office/drawing/2014/main" id="{D19ACF1D-6D68-4A3F-DC34-BA3473F20C20}"/>
                    </a:ext>
                  </a:extLst>
                </p:cNvPr>
                <p:cNvSpPr/>
                <p:nvPr/>
              </p:nvSpPr>
              <p:spPr bwMode="gray">
                <a:xfrm>
                  <a:off x="1564620" y="324725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76" name="Triangle_3">
                  <a:extLst>
                    <a:ext uri="{FF2B5EF4-FFF2-40B4-BE49-F238E27FC236}">
                      <a16:creationId xmlns:a16="http://schemas.microsoft.com/office/drawing/2014/main" id="{A1143E4E-1C60-F249-3E5C-22C41C281AF3}"/>
                    </a:ext>
                  </a:extLst>
                </p:cNvPr>
                <p:cNvSpPr/>
                <p:nvPr/>
              </p:nvSpPr>
              <p:spPr bwMode="gray">
                <a:xfrm rot="5400000">
                  <a:off x="1481884" y="3164521"/>
                  <a:ext cx="330946" cy="165474"/>
                </a:xfrm>
                <a:prstGeom prst="triangle">
                  <a:avLst/>
                </a:pr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77" name="Triangle_4">
                  <a:extLst>
                    <a:ext uri="{FF2B5EF4-FFF2-40B4-BE49-F238E27FC236}">
                      <a16:creationId xmlns:a16="http://schemas.microsoft.com/office/drawing/2014/main" id="{0311CCFB-8963-EEAE-1BA5-DFE319BEEF89}"/>
                    </a:ext>
                  </a:extLst>
                </p:cNvPr>
                <p:cNvSpPr/>
                <p:nvPr/>
              </p:nvSpPr>
              <p:spPr bwMode="gray">
                <a:xfrm rot="16200000">
                  <a:off x="1647358" y="3164521"/>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41" name="Group 1640">
                <a:extLst>
                  <a:ext uri="{FF2B5EF4-FFF2-40B4-BE49-F238E27FC236}">
                    <a16:creationId xmlns:a16="http://schemas.microsoft.com/office/drawing/2014/main" id="{D3779BB7-1CFF-B4B2-737D-8FCB2585191C}"/>
                  </a:ext>
                </a:extLst>
              </p:cNvPr>
              <p:cNvGrpSpPr/>
              <p:nvPr/>
            </p:nvGrpSpPr>
            <p:grpSpPr bwMode="gray">
              <a:xfrm>
                <a:off x="1569548" y="2567115"/>
                <a:ext cx="217142" cy="217142"/>
                <a:chOff x="1564620" y="3412730"/>
                <a:chExt cx="330948" cy="330948"/>
              </a:xfrm>
            </p:grpSpPr>
            <p:sp>
              <p:nvSpPr>
                <p:cNvPr id="1768" name="dfine_grid_single_shape_frame">
                  <a:extLst>
                    <a:ext uri="{FF2B5EF4-FFF2-40B4-BE49-F238E27FC236}">
                      <a16:creationId xmlns:a16="http://schemas.microsoft.com/office/drawing/2014/main" id="{3FA6C1DA-DDD6-6B12-9063-9E34184FB4F2}"/>
                    </a:ext>
                  </a:extLst>
                </p:cNvPr>
                <p:cNvSpPr/>
                <p:nvPr/>
              </p:nvSpPr>
              <p:spPr bwMode="gray">
                <a:xfrm>
                  <a:off x="1564620" y="3412730"/>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69" name="Triangle_1">
                  <a:extLst>
                    <a:ext uri="{FF2B5EF4-FFF2-40B4-BE49-F238E27FC236}">
                      <a16:creationId xmlns:a16="http://schemas.microsoft.com/office/drawing/2014/main" id="{6C7CDAB9-8B0F-91ED-6B75-13484B14038D}"/>
                    </a:ext>
                  </a:extLst>
                </p:cNvPr>
                <p:cNvSpPr/>
                <p:nvPr/>
              </p:nvSpPr>
              <p:spPr bwMode="gray">
                <a:xfrm rot="10800000">
                  <a:off x="1564620" y="341273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70" name="Triangle_2">
                  <a:extLst>
                    <a:ext uri="{FF2B5EF4-FFF2-40B4-BE49-F238E27FC236}">
                      <a16:creationId xmlns:a16="http://schemas.microsoft.com/office/drawing/2014/main" id="{16F89C57-11D6-6C19-A784-582CDDA2850C}"/>
                    </a:ext>
                  </a:extLst>
                </p:cNvPr>
                <p:cNvSpPr/>
                <p:nvPr/>
              </p:nvSpPr>
              <p:spPr bwMode="gray">
                <a:xfrm>
                  <a:off x="1564620" y="357820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71" name="Triangle_3">
                  <a:extLst>
                    <a:ext uri="{FF2B5EF4-FFF2-40B4-BE49-F238E27FC236}">
                      <a16:creationId xmlns:a16="http://schemas.microsoft.com/office/drawing/2014/main" id="{308EB183-6499-FAB0-3ADC-CBE7C9BC1945}"/>
                    </a:ext>
                  </a:extLst>
                </p:cNvPr>
                <p:cNvSpPr/>
                <p:nvPr/>
              </p:nvSpPr>
              <p:spPr bwMode="gray">
                <a:xfrm rot="5400000">
                  <a:off x="1481884" y="349546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72" name="Triangle_4">
                  <a:extLst>
                    <a:ext uri="{FF2B5EF4-FFF2-40B4-BE49-F238E27FC236}">
                      <a16:creationId xmlns:a16="http://schemas.microsoft.com/office/drawing/2014/main" id="{5A2F6243-A608-E1E7-B23D-6CD15B983252}"/>
                    </a:ext>
                  </a:extLst>
                </p:cNvPr>
                <p:cNvSpPr/>
                <p:nvPr/>
              </p:nvSpPr>
              <p:spPr bwMode="gray">
                <a:xfrm rot="16200000">
                  <a:off x="1647358" y="349546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42" name="Group 1641">
                <a:extLst>
                  <a:ext uri="{FF2B5EF4-FFF2-40B4-BE49-F238E27FC236}">
                    <a16:creationId xmlns:a16="http://schemas.microsoft.com/office/drawing/2014/main" id="{89F52956-E665-B67F-A8F9-80023751DE34}"/>
                  </a:ext>
                </a:extLst>
              </p:cNvPr>
              <p:cNvGrpSpPr/>
              <p:nvPr/>
            </p:nvGrpSpPr>
            <p:grpSpPr bwMode="gray">
              <a:xfrm>
                <a:off x="1569548" y="2784256"/>
                <a:ext cx="217142" cy="217142"/>
                <a:chOff x="1564620" y="3743677"/>
                <a:chExt cx="330948" cy="330948"/>
              </a:xfrm>
            </p:grpSpPr>
            <p:sp>
              <p:nvSpPr>
                <p:cNvPr id="1763" name="dfine_grid_single_shape_frame">
                  <a:extLst>
                    <a:ext uri="{FF2B5EF4-FFF2-40B4-BE49-F238E27FC236}">
                      <a16:creationId xmlns:a16="http://schemas.microsoft.com/office/drawing/2014/main" id="{722F1778-B1F7-5775-DFBE-8A30B314AAF4}"/>
                    </a:ext>
                  </a:extLst>
                </p:cNvPr>
                <p:cNvSpPr/>
                <p:nvPr/>
              </p:nvSpPr>
              <p:spPr bwMode="gray">
                <a:xfrm>
                  <a:off x="1564620" y="3743677"/>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64" name="Triangle_1">
                  <a:extLst>
                    <a:ext uri="{FF2B5EF4-FFF2-40B4-BE49-F238E27FC236}">
                      <a16:creationId xmlns:a16="http://schemas.microsoft.com/office/drawing/2014/main" id="{23451479-6747-BD72-DEB4-473FD4F7EFCC}"/>
                    </a:ext>
                  </a:extLst>
                </p:cNvPr>
                <p:cNvSpPr/>
                <p:nvPr/>
              </p:nvSpPr>
              <p:spPr bwMode="gray">
                <a:xfrm rot="10800000">
                  <a:off x="1564620" y="374367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65" name="Triangle_2">
                  <a:extLst>
                    <a:ext uri="{FF2B5EF4-FFF2-40B4-BE49-F238E27FC236}">
                      <a16:creationId xmlns:a16="http://schemas.microsoft.com/office/drawing/2014/main" id="{A6B2BDB4-DFE5-A441-CA4F-CDB70876D40A}"/>
                    </a:ext>
                  </a:extLst>
                </p:cNvPr>
                <p:cNvSpPr/>
                <p:nvPr/>
              </p:nvSpPr>
              <p:spPr bwMode="gray">
                <a:xfrm>
                  <a:off x="1564620" y="3909151"/>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66" name="Triangle_3">
                  <a:extLst>
                    <a:ext uri="{FF2B5EF4-FFF2-40B4-BE49-F238E27FC236}">
                      <a16:creationId xmlns:a16="http://schemas.microsoft.com/office/drawing/2014/main" id="{904B1DB4-3F81-A710-9822-7FEA401DC4F1}"/>
                    </a:ext>
                  </a:extLst>
                </p:cNvPr>
                <p:cNvSpPr/>
                <p:nvPr/>
              </p:nvSpPr>
              <p:spPr bwMode="gray">
                <a:xfrm rot="5400000">
                  <a:off x="1481884" y="3826415"/>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67" name="Triangle_4">
                  <a:extLst>
                    <a:ext uri="{FF2B5EF4-FFF2-40B4-BE49-F238E27FC236}">
                      <a16:creationId xmlns:a16="http://schemas.microsoft.com/office/drawing/2014/main" id="{7B9C8AB5-90CC-08EE-C4B9-2B02612F7DCD}"/>
                    </a:ext>
                  </a:extLst>
                </p:cNvPr>
                <p:cNvSpPr/>
                <p:nvPr/>
              </p:nvSpPr>
              <p:spPr bwMode="gray">
                <a:xfrm rot="16200000">
                  <a:off x="1647358" y="3826415"/>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43" name="Group 1642">
                <a:extLst>
                  <a:ext uri="{FF2B5EF4-FFF2-40B4-BE49-F238E27FC236}">
                    <a16:creationId xmlns:a16="http://schemas.microsoft.com/office/drawing/2014/main" id="{F49D116D-E70E-A33F-4AFF-6A051DCACDED}"/>
                  </a:ext>
                </a:extLst>
              </p:cNvPr>
              <p:cNvGrpSpPr/>
              <p:nvPr/>
            </p:nvGrpSpPr>
            <p:grpSpPr bwMode="gray">
              <a:xfrm>
                <a:off x="1569548" y="3001397"/>
                <a:ext cx="217142" cy="217142"/>
                <a:chOff x="1564620" y="4074624"/>
                <a:chExt cx="330948" cy="330948"/>
              </a:xfrm>
            </p:grpSpPr>
            <p:sp>
              <p:nvSpPr>
                <p:cNvPr id="1758" name="dfine_grid_single_shape_frame">
                  <a:extLst>
                    <a:ext uri="{FF2B5EF4-FFF2-40B4-BE49-F238E27FC236}">
                      <a16:creationId xmlns:a16="http://schemas.microsoft.com/office/drawing/2014/main" id="{B45C50C2-845B-1926-1CD0-58BCD0ADD2E8}"/>
                    </a:ext>
                  </a:extLst>
                </p:cNvPr>
                <p:cNvSpPr/>
                <p:nvPr/>
              </p:nvSpPr>
              <p:spPr bwMode="gray">
                <a:xfrm>
                  <a:off x="1564620" y="4074624"/>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59" name="Triangle_1">
                  <a:extLst>
                    <a:ext uri="{FF2B5EF4-FFF2-40B4-BE49-F238E27FC236}">
                      <a16:creationId xmlns:a16="http://schemas.microsoft.com/office/drawing/2014/main" id="{0086915D-41E0-3F16-2E36-D78D9D3903EC}"/>
                    </a:ext>
                  </a:extLst>
                </p:cNvPr>
                <p:cNvSpPr/>
                <p:nvPr/>
              </p:nvSpPr>
              <p:spPr bwMode="gray">
                <a:xfrm rot="10800000">
                  <a:off x="1564620" y="407462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60" name="Triangle_2">
                  <a:extLst>
                    <a:ext uri="{FF2B5EF4-FFF2-40B4-BE49-F238E27FC236}">
                      <a16:creationId xmlns:a16="http://schemas.microsoft.com/office/drawing/2014/main" id="{AA4A0CAE-9746-088C-42B2-D7A316177768}"/>
                    </a:ext>
                  </a:extLst>
                </p:cNvPr>
                <p:cNvSpPr/>
                <p:nvPr/>
              </p:nvSpPr>
              <p:spPr bwMode="gray">
                <a:xfrm>
                  <a:off x="1564620" y="424009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61" name="Triangle_3">
                  <a:extLst>
                    <a:ext uri="{FF2B5EF4-FFF2-40B4-BE49-F238E27FC236}">
                      <a16:creationId xmlns:a16="http://schemas.microsoft.com/office/drawing/2014/main" id="{C399439E-15A6-F0BE-AC45-74C9BC3271A4}"/>
                    </a:ext>
                  </a:extLst>
                </p:cNvPr>
                <p:cNvSpPr/>
                <p:nvPr/>
              </p:nvSpPr>
              <p:spPr bwMode="gray">
                <a:xfrm rot="5400000">
                  <a:off x="1481884" y="4157362"/>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62" name="Triangle_4">
                  <a:extLst>
                    <a:ext uri="{FF2B5EF4-FFF2-40B4-BE49-F238E27FC236}">
                      <a16:creationId xmlns:a16="http://schemas.microsoft.com/office/drawing/2014/main" id="{532D0B1B-560C-1AE9-143D-698FB86B98E8}"/>
                    </a:ext>
                  </a:extLst>
                </p:cNvPr>
                <p:cNvSpPr/>
                <p:nvPr/>
              </p:nvSpPr>
              <p:spPr bwMode="gray">
                <a:xfrm rot="16200000">
                  <a:off x="1647358" y="4157362"/>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44" name="Group 1643">
                <a:extLst>
                  <a:ext uri="{FF2B5EF4-FFF2-40B4-BE49-F238E27FC236}">
                    <a16:creationId xmlns:a16="http://schemas.microsoft.com/office/drawing/2014/main" id="{8BE23135-8A65-00E3-9B16-4330D828B311}"/>
                  </a:ext>
                </a:extLst>
              </p:cNvPr>
              <p:cNvGrpSpPr/>
              <p:nvPr/>
            </p:nvGrpSpPr>
            <p:grpSpPr bwMode="gray">
              <a:xfrm>
                <a:off x="1569548" y="3218539"/>
                <a:ext cx="217142" cy="217142"/>
                <a:chOff x="1564620" y="2419889"/>
                <a:chExt cx="330948" cy="330948"/>
              </a:xfrm>
            </p:grpSpPr>
            <p:sp>
              <p:nvSpPr>
                <p:cNvPr id="1753" name="dfine_grid_single_shape_frame">
                  <a:extLst>
                    <a:ext uri="{FF2B5EF4-FFF2-40B4-BE49-F238E27FC236}">
                      <a16:creationId xmlns:a16="http://schemas.microsoft.com/office/drawing/2014/main" id="{36AC4022-F684-68B5-0BAC-86E7C86281DD}"/>
                    </a:ext>
                  </a:extLst>
                </p:cNvPr>
                <p:cNvSpPr/>
                <p:nvPr/>
              </p:nvSpPr>
              <p:spPr bwMode="gray">
                <a:xfrm>
                  <a:off x="1564620" y="2419889"/>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54" name="Triangle_1">
                  <a:extLst>
                    <a:ext uri="{FF2B5EF4-FFF2-40B4-BE49-F238E27FC236}">
                      <a16:creationId xmlns:a16="http://schemas.microsoft.com/office/drawing/2014/main" id="{769AF9EB-2F6A-398F-ADF7-5ECA435F825B}"/>
                    </a:ext>
                  </a:extLst>
                </p:cNvPr>
                <p:cNvSpPr/>
                <p:nvPr/>
              </p:nvSpPr>
              <p:spPr bwMode="gray">
                <a:xfrm rot="10800000">
                  <a:off x="1564620" y="2419889"/>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55" name="Triangle_2">
                  <a:extLst>
                    <a:ext uri="{FF2B5EF4-FFF2-40B4-BE49-F238E27FC236}">
                      <a16:creationId xmlns:a16="http://schemas.microsoft.com/office/drawing/2014/main" id="{35A00E54-5884-0492-3D6F-D8DE6F7A1E28}"/>
                    </a:ext>
                  </a:extLst>
                </p:cNvPr>
                <p:cNvSpPr/>
                <p:nvPr/>
              </p:nvSpPr>
              <p:spPr bwMode="gray">
                <a:xfrm>
                  <a:off x="1564620" y="2585363"/>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56" name="Triangle_3">
                  <a:extLst>
                    <a:ext uri="{FF2B5EF4-FFF2-40B4-BE49-F238E27FC236}">
                      <a16:creationId xmlns:a16="http://schemas.microsoft.com/office/drawing/2014/main" id="{75037737-6F92-1A5F-8746-9FB493A1A64D}"/>
                    </a:ext>
                  </a:extLst>
                </p:cNvPr>
                <p:cNvSpPr/>
                <p:nvPr/>
              </p:nvSpPr>
              <p:spPr bwMode="gray">
                <a:xfrm rot="5400000">
                  <a:off x="1481884" y="250262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57" name="Triangle_4">
                  <a:extLst>
                    <a:ext uri="{FF2B5EF4-FFF2-40B4-BE49-F238E27FC236}">
                      <a16:creationId xmlns:a16="http://schemas.microsoft.com/office/drawing/2014/main" id="{C1CBAA64-ACD7-14CB-4EAC-F53A80E0F620}"/>
                    </a:ext>
                  </a:extLst>
                </p:cNvPr>
                <p:cNvSpPr/>
                <p:nvPr/>
              </p:nvSpPr>
              <p:spPr bwMode="gray">
                <a:xfrm rot="16200000">
                  <a:off x="1647358" y="250262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45" name="Group 1644">
                <a:extLst>
                  <a:ext uri="{FF2B5EF4-FFF2-40B4-BE49-F238E27FC236}">
                    <a16:creationId xmlns:a16="http://schemas.microsoft.com/office/drawing/2014/main" id="{2C7B7C3D-3826-9301-4353-9CE65D8D6BF4}"/>
                  </a:ext>
                </a:extLst>
              </p:cNvPr>
              <p:cNvGrpSpPr/>
              <p:nvPr/>
            </p:nvGrpSpPr>
            <p:grpSpPr bwMode="gray">
              <a:xfrm>
                <a:off x="1569548" y="3435680"/>
                <a:ext cx="217142" cy="217142"/>
                <a:chOff x="1564620" y="2750836"/>
                <a:chExt cx="330948" cy="330948"/>
              </a:xfrm>
            </p:grpSpPr>
            <p:sp>
              <p:nvSpPr>
                <p:cNvPr id="1748" name="dfine_grid_single_shape_frame">
                  <a:extLst>
                    <a:ext uri="{FF2B5EF4-FFF2-40B4-BE49-F238E27FC236}">
                      <a16:creationId xmlns:a16="http://schemas.microsoft.com/office/drawing/2014/main" id="{3C28A929-F5D3-161C-A041-D293B51F6A79}"/>
                    </a:ext>
                  </a:extLst>
                </p:cNvPr>
                <p:cNvSpPr/>
                <p:nvPr/>
              </p:nvSpPr>
              <p:spPr bwMode="gray">
                <a:xfrm>
                  <a:off x="1564620" y="2750836"/>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49" name="Triangle_1">
                  <a:extLst>
                    <a:ext uri="{FF2B5EF4-FFF2-40B4-BE49-F238E27FC236}">
                      <a16:creationId xmlns:a16="http://schemas.microsoft.com/office/drawing/2014/main" id="{B8A93988-45F4-41D3-A387-FE5D3C3EB4BB}"/>
                    </a:ext>
                  </a:extLst>
                </p:cNvPr>
                <p:cNvSpPr/>
                <p:nvPr/>
              </p:nvSpPr>
              <p:spPr bwMode="gray">
                <a:xfrm rot="10800000">
                  <a:off x="1564620" y="2750836"/>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50" name="Triangle_2">
                  <a:extLst>
                    <a:ext uri="{FF2B5EF4-FFF2-40B4-BE49-F238E27FC236}">
                      <a16:creationId xmlns:a16="http://schemas.microsoft.com/office/drawing/2014/main" id="{6BBF7E12-2CAA-6F39-6B5A-7BE99A211C74}"/>
                    </a:ext>
                  </a:extLst>
                </p:cNvPr>
                <p:cNvSpPr/>
                <p:nvPr/>
              </p:nvSpPr>
              <p:spPr bwMode="gray">
                <a:xfrm>
                  <a:off x="1564620" y="291631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51" name="Triangle_3">
                  <a:extLst>
                    <a:ext uri="{FF2B5EF4-FFF2-40B4-BE49-F238E27FC236}">
                      <a16:creationId xmlns:a16="http://schemas.microsoft.com/office/drawing/2014/main" id="{1F95A7EC-7B7F-0B7B-6997-B2D16B70CE03}"/>
                    </a:ext>
                  </a:extLst>
                </p:cNvPr>
                <p:cNvSpPr/>
                <p:nvPr/>
              </p:nvSpPr>
              <p:spPr bwMode="gray">
                <a:xfrm rot="5400000">
                  <a:off x="1481884" y="283357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52" name="Triangle_4">
                  <a:extLst>
                    <a:ext uri="{FF2B5EF4-FFF2-40B4-BE49-F238E27FC236}">
                      <a16:creationId xmlns:a16="http://schemas.microsoft.com/office/drawing/2014/main" id="{B36D4071-C608-D047-0CA9-65C73B88E056}"/>
                    </a:ext>
                  </a:extLst>
                </p:cNvPr>
                <p:cNvSpPr/>
                <p:nvPr/>
              </p:nvSpPr>
              <p:spPr bwMode="gray">
                <a:xfrm rot="16200000">
                  <a:off x="1647358" y="283357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46" name="Group 1645">
                <a:extLst>
                  <a:ext uri="{FF2B5EF4-FFF2-40B4-BE49-F238E27FC236}">
                    <a16:creationId xmlns:a16="http://schemas.microsoft.com/office/drawing/2014/main" id="{DFD364D5-85C7-F5BB-F6A1-2A31F04A8790}"/>
                  </a:ext>
                </a:extLst>
              </p:cNvPr>
              <p:cNvGrpSpPr/>
              <p:nvPr/>
            </p:nvGrpSpPr>
            <p:grpSpPr bwMode="gray">
              <a:xfrm>
                <a:off x="1569548" y="3652821"/>
                <a:ext cx="217142" cy="217142"/>
                <a:chOff x="1564620" y="3081783"/>
                <a:chExt cx="330948" cy="330948"/>
              </a:xfrm>
            </p:grpSpPr>
            <p:sp>
              <p:nvSpPr>
                <p:cNvPr id="1743" name="dfine_grid_single_shape_frame">
                  <a:extLst>
                    <a:ext uri="{FF2B5EF4-FFF2-40B4-BE49-F238E27FC236}">
                      <a16:creationId xmlns:a16="http://schemas.microsoft.com/office/drawing/2014/main" id="{B1E15A0F-7FA8-B067-A4E7-713D6E9A9EB7}"/>
                    </a:ext>
                  </a:extLst>
                </p:cNvPr>
                <p:cNvSpPr/>
                <p:nvPr/>
              </p:nvSpPr>
              <p:spPr bwMode="gray">
                <a:xfrm>
                  <a:off x="1564620" y="3081783"/>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44" name="Triangle_1">
                  <a:extLst>
                    <a:ext uri="{FF2B5EF4-FFF2-40B4-BE49-F238E27FC236}">
                      <a16:creationId xmlns:a16="http://schemas.microsoft.com/office/drawing/2014/main" id="{282B8893-08A0-3830-6AD7-0874FA45A6AC}"/>
                    </a:ext>
                  </a:extLst>
                </p:cNvPr>
                <p:cNvSpPr/>
                <p:nvPr/>
              </p:nvSpPr>
              <p:spPr bwMode="gray">
                <a:xfrm rot="10800000">
                  <a:off x="1564620" y="3081783"/>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45" name="Triangle_2">
                  <a:extLst>
                    <a:ext uri="{FF2B5EF4-FFF2-40B4-BE49-F238E27FC236}">
                      <a16:creationId xmlns:a16="http://schemas.microsoft.com/office/drawing/2014/main" id="{8A5E96AE-05E7-1A48-B954-925798586C64}"/>
                    </a:ext>
                  </a:extLst>
                </p:cNvPr>
                <p:cNvSpPr/>
                <p:nvPr/>
              </p:nvSpPr>
              <p:spPr bwMode="gray">
                <a:xfrm>
                  <a:off x="1564620" y="324725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46" name="Triangle_3">
                  <a:extLst>
                    <a:ext uri="{FF2B5EF4-FFF2-40B4-BE49-F238E27FC236}">
                      <a16:creationId xmlns:a16="http://schemas.microsoft.com/office/drawing/2014/main" id="{B97B4887-71CD-1DA4-20A3-CA1AEE3E48D5}"/>
                    </a:ext>
                  </a:extLst>
                </p:cNvPr>
                <p:cNvSpPr/>
                <p:nvPr/>
              </p:nvSpPr>
              <p:spPr bwMode="gray">
                <a:xfrm rot="5400000">
                  <a:off x="1481884" y="3164521"/>
                  <a:ext cx="330946" cy="165474"/>
                </a:xfrm>
                <a:prstGeom prst="triangle">
                  <a:avLst/>
                </a:pr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47" name="Triangle_4">
                  <a:extLst>
                    <a:ext uri="{FF2B5EF4-FFF2-40B4-BE49-F238E27FC236}">
                      <a16:creationId xmlns:a16="http://schemas.microsoft.com/office/drawing/2014/main" id="{CD58C113-06AD-ABED-2366-7C8232FD5447}"/>
                    </a:ext>
                  </a:extLst>
                </p:cNvPr>
                <p:cNvSpPr/>
                <p:nvPr/>
              </p:nvSpPr>
              <p:spPr bwMode="gray">
                <a:xfrm rot="16200000">
                  <a:off x="1647358" y="3164521"/>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47" name="Group 1646">
                <a:extLst>
                  <a:ext uri="{FF2B5EF4-FFF2-40B4-BE49-F238E27FC236}">
                    <a16:creationId xmlns:a16="http://schemas.microsoft.com/office/drawing/2014/main" id="{AAF46682-5452-86F1-5398-798FF4BD9084}"/>
                  </a:ext>
                </a:extLst>
              </p:cNvPr>
              <p:cNvGrpSpPr/>
              <p:nvPr/>
            </p:nvGrpSpPr>
            <p:grpSpPr bwMode="gray">
              <a:xfrm>
                <a:off x="1569548" y="3869962"/>
                <a:ext cx="217142" cy="217142"/>
                <a:chOff x="1564620" y="3412730"/>
                <a:chExt cx="330948" cy="330948"/>
              </a:xfrm>
            </p:grpSpPr>
            <p:sp>
              <p:nvSpPr>
                <p:cNvPr id="1738" name="dfine_grid_single_shape_frame">
                  <a:extLst>
                    <a:ext uri="{FF2B5EF4-FFF2-40B4-BE49-F238E27FC236}">
                      <a16:creationId xmlns:a16="http://schemas.microsoft.com/office/drawing/2014/main" id="{72E6A923-461C-C8F5-4CD3-66F393E5AFF3}"/>
                    </a:ext>
                  </a:extLst>
                </p:cNvPr>
                <p:cNvSpPr/>
                <p:nvPr/>
              </p:nvSpPr>
              <p:spPr bwMode="gray">
                <a:xfrm>
                  <a:off x="1564620" y="3412730"/>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39" name="Triangle_1">
                  <a:extLst>
                    <a:ext uri="{FF2B5EF4-FFF2-40B4-BE49-F238E27FC236}">
                      <a16:creationId xmlns:a16="http://schemas.microsoft.com/office/drawing/2014/main" id="{8FAACE8D-63E4-4CB9-7D9E-396DA2D2FDD2}"/>
                    </a:ext>
                  </a:extLst>
                </p:cNvPr>
                <p:cNvSpPr/>
                <p:nvPr/>
              </p:nvSpPr>
              <p:spPr bwMode="gray">
                <a:xfrm rot="10800000">
                  <a:off x="1564620" y="341273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40" name="Triangle_2">
                  <a:extLst>
                    <a:ext uri="{FF2B5EF4-FFF2-40B4-BE49-F238E27FC236}">
                      <a16:creationId xmlns:a16="http://schemas.microsoft.com/office/drawing/2014/main" id="{982335E0-0326-5A93-870C-84FA475AA26B}"/>
                    </a:ext>
                  </a:extLst>
                </p:cNvPr>
                <p:cNvSpPr/>
                <p:nvPr/>
              </p:nvSpPr>
              <p:spPr bwMode="gray">
                <a:xfrm>
                  <a:off x="1564620" y="357820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41" name="Triangle_3">
                  <a:extLst>
                    <a:ext uri="{FF2B5EF4-FFF2-40B4-BE49-F238E27FC236}">
                      <a16:creationId xmlns:a16="http://schemas.microsoft.com/office/drawing/2014/main" id="{05193832-FA30-16C3-9876-1A5A61C04B52}"/>
                    </a:ext>
                  </a:extLst>
                </p:cNvPr>
                <p:cNvSpPr/>
                <p:nvPr/>
              </p:nvSpPr>
              <p:spPr bwMode="gray">
                <a:xfrm rot="5400000">
                  <a:off x="1481884" y="349546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42" name="Triangle_4">
                  <a:extLst>
                    <a:ext uri="{FF2B5EF4-FFF2-40B4-BE49-F238E27FC236}">
                      <a16:creationId xmlns:a16="http://schemas.microsoft.com/office/drawing/2014/main" id="{78337CC8-3C1D-50F1-3819-8A34A9EAB870}"/>
                    </a:ext>
                  </a:extLst>
                </p:cNvPr>
                <p:cNvSpPr/>
                <p:nvPr/>
              </p:nvSpPr>
              <p:spPr bwMode="gray">
                <a:xfrm rot="16200000">
                  <a:off x="1647358" y="349546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48" name="Group 1647">
                <a:extLst>
                  <a:ext uri="{FF2B5EF4-FFF2-40B4-BE49-F238E27FC236}">
                    <a16:creationId xmlns:a16="http://schemas.microsoft.com/office/drawing/2014/main" id="{29002A54-E4AF-5EE3-21C7-BC7AE6042C2F}"/>
                  </a:ext>
                </a:extLst>
              </p:cNvPr>
              <p:cNvGrpSpPr/>
              <p:nvPr/>
            </p:nvGrpSpPr>
            <p:grpSpPr bwMode="gray">
              <a:xfrm>
                <a:off x="1569548" y="4087103"/>
                <a:ext cx="217142" cy="217142"/>
                <a:chOff x="1564620" y="3743677"/>
                <a:chExt cx="330948" cy="330948"/>
              </a:xfrm>
            </p:grpSpPr>
            <p:sp>
              <p:nvSpPr>
                <p:cNvPr id="1733" name="dfine_grid_single_shape_frame">
                  <a:extLst>
                    <a:ext uri="{FF2B5EF4-FFF2-40B4-BE49-F238E27FC236}">
                      <a16:creationId xmlns:a16="http://schemas.microsoft.com/office/drawing/2014/main" id="{3FA90A93-F658-DA2D-33A7-ACFB16E28F12}"/>
                    </a:ext>
                  </a:extLst>
                </p:cNvPr>
                <p:cNvSpPr/>
                <p:nvPr/>
              </p:nvSpPr>
              <p:spPr bwMode="gray">
                <a:xfrm>
                  <a:off x="1564620" y="3743677"/>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34" name="Triangle_1">
                  <a:extLst>
                    <a:ext uri="{FF2B5EF4-FFF2-40B4-BE49-F238E27FC236}">
                      <a16:creationId xmlns:a16="http://schemas.microsoft.com/office/drawing/2014/main" id="{5746123D-3ED0-2546-7454-19419823069A}"/>
                    </a:ext>
                  </a:extLst>
                </p:cNvPr>
                <p:cNvSpPr/>
                <p:nvPr/>
              </p:nvSpPr>
              <p:spPr bwMode="gray">
                <a:xfrm rot="10800000">
                  <a:off x="1564620" y="374367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35" name="Triangle_2">
                  <a:extLst>
                    <a:ext uri="{FF2B5EF4-FFF2-40B4-BE49-F238E27FC236}">
                      <a16:creationId xmlns:a16="http://schemas.microsoft.com/office/drawing/2014/main" id="{F802EBDB-ACE1-F957-F3C4-8E019AE5B7F3}"/>
                    </a:ext>
                  </a:extLst>
                </p:cNvPr>
                <p:cNvSpPr/>
                <p:nvPr/>
              </p:nvSpPr>
              <p:spPr bwMode="gray">
                <a:xfrm>
                  <a:off x="1564620" y="3909151"/>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36" name="Triangle_3">
                  <a:extLst>
                    <a:ext uri="{FF2B5EF4-FFF2-40B4-BE49-F238E27FC236}">
                      <a16:creationId xmlns:a16="http://schemas.microsoft.com/office/drawing/2014/main" id="{87CDC5ED-0B57-9418-477F-78021A28CE1C}"/>
                    </a:ext>
                  </a:extLst>
                </p:cNvPr>
                <p:cNvSpPr/>
                <p:nvPr/>
              </p:nvSpPr>
              <p:spPr bwMode="gray">
                <a:xfrm rot="5400000">
                  <a:off x="1481884" y="3826415"/>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37" name="Triangle_4">
                  <a:extLst>
                    <a:ext uri="{FF2B5EF4-FFF2-40B4-BE49-F238E27FC236}">
                      <a16:creationId xmlns:a16="http://schemas.microsoft.com/office/drawing/2014/main" id="{202B6CFD-A165-7B26-DDFA-55F1ADABA210}"/>
                    </a:ext>
                  </a:extLst>
                </p:cNvPr>
                <p:cNvSpPr/>
                <p:nvPr/>
              </p:nvSpPr>
              <p:spPr bwMode="gray">
                <a:xfrm rot="16200000">
                  <a:off x="1647358" y="3826415"/>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49" name="Group 1648">
                <a:extLst>
                  <a:ext uri="{FF2B5EF4-FFF2-40B4-BE49-F238E27FC236}">
                    <a16:creationId xmlns:a16="http://schemas.microsoft.com/office/drawing/2014/main" id="{C07B70B6-805F-D492-68C2-56574BB35A09}"/>
                  </a:ext>
                </a:extLst>
              </p:cNvPr>
              <p:cNvGrpSpPr/>
              <p:nvPr/>
            </p:nvGrpSpPr>
            <p:grpSpPr bwMode="gray">
              <a:xfrm>
                <a:off x="1569548" y="4304244"/>
                <a:ext cx="217142" cy="217142"/>
                <a:chOff x="1564620" y="4074624"/>
                <a:chExt cx="330948" cy="330948"/>
              </a:xfrm>
            </p:grpSpPr>
            <p:sp>
              <p:nvSpPr>
                <p:cNvPr id="1728" name="dfine_grid_single_shape_frame">
                  <a:extLst>
                    <a:ext uri="{FF2B5EF4-FFF2-40B4-BE49-F238E27FC236}">
                      <a16:creationId xmlns:a16="http://schemas.microsoft.com/office/drawing/2014/main" id="{8288A291-D6E6-DB25-1B1B-A71395F63B28}"/>
                    </a:ext>
                  </a:extLst>
                </p:cNvPr>
                <p:cNvSpPr/>
                <p:nvPr/>
              </p:nvSpPr>
              <p:spPr bwMode="gray">
                <a:xfrm>
                  <a:off x="1564620" y="4074624"/>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29" name="Triangle_1">
                  <a:extLst>
                    <a:ext uri="{FF2B5EF4-FFF2-40B4-BE49-F238E27FC236}">
                      <a16:creationId xmlns:a16="http://schemas.microsoft.com/office/drawing/2014/main" id="{FCFEA714-5119-13FE-B900-21C52B48752D}"/>
                    </a:ext>
                  </a:extLst>
                </p:cNvPr>
                <p:cNvSpPr/>
                <p:nvPr/>
              </p:nvSpPr>
              <p:spPr bwMode="gray">
                <a:xfrm rot="10800000">
                  <a:off x="1564620" y="407462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30" name="Triangle_2">
                  <a:extLst>
                    <a:ext uri="{FF2B5EF4-FFF2-40B4-BE49-F238E27FC236}">
                      <a16:creationId xmlns:a16="http://schemas.microsoft.com/office/drawing/2014/main" id="{9A635798-F085-DA32-53ED-29D7E95CD9BA}"/>
                    </a:ext>
                  </a:extLst>
                </p:cNvPr>
                <p:cNvSpPr/>
                <p:nvPr/>
              </p:nvSpPr>
              <p:spPr bwMode="gray">
                <a:xfrm>
                  <a:off x="1564620" y="424009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31" name="Triangle_3">
                  <a:extLst>
                    <a:ext uri="{FF2B5EF4-FFF2-40B4-BE49-F238E27FC236}">
                      <a16:creationId xmlns:a16="http://schemas.microsoft.com/office/drawing/2014/main" id="{8BAF9A02-CF05-67F2-96A1-01C320B55206}"/>
                    </a:ext>
                  </a:extLst>
                </p:cNvPr>
                <p:cNvSpPr/>
                <p:nvPr/>
              </p:nvSpPr>
              <p:spPr bwMode="gray">
                <a:xfrm rot="5400000">
                  <a:off x="1481884" y="4157362"/>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32" name="Triangle_4">
                  <a:extLst>
                    <a:ext uri="{FF2B5EF4-FFF2-40B4-BE49-F238E27FC236}">
                      <a16:creationId xmlns:a16="http://schemas.microsoft.com/office/drawing/2014/main" id="{9B97DFB1-9D11-0B59-BDF5-ED78DAD90C73}"/>
                    </a:ext>
                  </a:extLst>
                </p:cNvPr>
                <p:cNvSpPr/>
                <p:nvPr/>
              </p:nvSpPr>
              <p:spPr bwMode="gray">
                <a:xfrm rot="16200000">
                  <a:off x="1647358" y="4157362"/>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50" name="Group 1649">
                <a:extLst>
                  <a:ext uri="{FF2B5EF4-FFF2-40B4-BE49-F238E27FC236}">
                    <a16:creationId xmlns:a16="http://schemas.microsoft.com/office/drawing/2014/main" id="{62597F7D-D511-7AF7-17BD-EAB115F4A020}"/>
                  </a:ext>
                </a:extLst>
              </p:cNvPr>
              <p:cNvGrpSpPr/>
              <p:nvPr/>
            </p:nvGrpSpPr>
            <p:grpSpPr bwMode="gray">
              <a:xfrm>
                <a:off x="1786689" y="1698551"/>
                <a:ext cx="217142" cy="217142"/>
                <a:chOff x="1564620" y="2088942"/>
                <a:chExt cx="330948" cy="330948"/>
              </a:xfrm>
            </p:grpSpPr>
            <p:sp>
              <p:nvSpPr>
                <p:cNvPr id="1723" name="dfine_grid_single_shape_frame">
                  <a:extLst>
                    <a:ext uri="{FF2B5EF4-FFF2-40B4-BE49-F238E27FC236}">
                      <a16:creationId xmlns:a16="http://schemas.microsoft.com/office/drawing/2014/main" id="{596AAAD6-64B3-D7D5-83E6-867DCC2770FD}"/>
                    </a:ext>
                  </a:extLst>
                </p:cNvPr>
                <p:cNvSpPr/>
                <p:nvPr/>
              </p:nvSpPr>
              <p:spPr bwMode="gray">
                <a:xfrm>
                  <a:off x="1564620" y="2088942"/>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24" name="Triangle_1">
                  <a:extLst>
                    <a:ext uri="{FF2B5EF4-FFF2-40B4-BE49-F238E27FC236}">
                      <a16:creationId xmlns:a16="http://schemas.microsoft.com/office/drawing/2014/main" id="{B069EE20-8C67-3CCD-AA00-EFC32F75D51D}"/>
                    </a:ext>
                  </a:extLst>
                </p:cNvPr>
                <p:cNvSpPr/>
                <p:nvPr/>
              </p:nvSpPr>
              <p:spPr bwMode="gray">
                <a:xfrm rot="10800000">
                  <a:off x="1564620" y="2088942"/>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25" name="Triangle_2">
                  <a:extLst>
                    <a:ext uri="{FF2B5EF4-FFF2-40B4-BE49-F238E27FC236}">
                      <a16:creationId xmlns:a16="http://schemas.microsoft.com/office/drawing/2014/main" id="{75F3A450-2E53-E529-3ED7-7B0EE32E2FEF}"/>
                    </a:ext>
                  </a:extLst>
                </p:cNvPr>
                <p:cNvSpPr/>
                <p:nvPr/>
              </p:nvSpPr>
              <p:spPr bwMode="gray">
                <a:xfrm>
                  <a:off x="1564620" y="2254416"/>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26" name="Triangle_3">
                  <a:extLst>
                    <a:ext uri="{FF2B5EF4-FFF2-40B4-BE49-F238E27FC236}">
                      <a16:creationId xmlns:a16="http://schemas.microsoft.com/office/drawing/2014/main" id="{EDAA6BA5-0808-842F-C02C-DD0C203F51AC}"/>
                    </a:ext>
                  </a:extLst>
                </p:cNvPr>
                <p:cNvSpPr/>
                <p:nvPr/>
              </p:nvSpPr>
              <p:spPr bwMode="gray">
                <a:xfrm rot="5400000">
                  <a:off x="1481884" y="217168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27" name="Triangle_4">
                  <a:extLst>
                    <a:ext uri="{FF2B5EF4-FFF2-40B4-BE49-F238E27FC236}">
                      <a16:creationId xmlns:a16="http://schemas.microsoft.com/office/drawing/2014/main" id="{5AA03A7F-2D9A-FCDD-4D23-083D547A1385}"/>
                    </a:ext>
                  </a:extLst>
                </p:cNvPr>
                <p:cNvSpPr/>
                <p:nvPr/>
              </p:nvSpPr>
              <p:spPr bwMode="gray">
                <a:xfrm rot="16200000">
                  <a:off x="1647358" y="217168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51" name="Group 1650">
                <a:extLst>
                  <a:ext uri="{FF2B5EF4-FFF2-40B4-BE49-F238E27FC236}">
                    <a16:creationId xmlns:a16="http://schemas.microsoft.com/office/drawing/2014/main" id="{0BD9C4AF-C514-B7E7-6576-E82FE9A11211}"/>
                  </a:ext>
                </a:extLst>
              </p:cNvPr>
              <p:cNvGrpSpPr/>
              <p:nvPr/>
            </p:nvGrpSpPr>
            <p:grpSpPr bwMode="gray">
              <a:xfrm>
                <a:off x="1786689" y="1915692"/>
                <a:ext cx="217142" cy="217142"/>
                <a:chOff x="1564620" y="2419889"/>
                <a:chExt cx="330948" cy="330948"/>
              </a:xfrm>
            </p:grpSpPr>
            <p:sp>
              <p:nvSpPr>
                <p:cNvPr id="1718" name="dfine_grid_single_shape_frame">
                  <a:extLst>
                    <a:ext uri="{FF2B5EF4-FFF2-40B4-BE49-F238E27FC236}">
                      <a16:creationId xmlns:a16="http://schemas.microsoft.com/office/drawing/2014/main" id="{BC0A5174-35DB-4230-812C-2CBB93E60095}"/>
                    </a:ext>
                  </a:extLst>
                </p:cNvPr>
                <p:cNvSpPr/>
                <p:nvPr/>
              </p:nvSpPr>
              <p:spPr bwMode="gray">
                <a:xfrm>
                  <a:off x="1564620" y="2419889"/>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19" name="Triangle_1">
                  <a:extLst>
                    <a:ext uri="{FF2B5EF4-FFF2-40B4-BE49-F238E27FC236}">
                      <a16:creationId xmlns:a16="http://schemas.microsoft.com/office/drawing/2014/main" id="{25255B9C-6E4A-BE08-F8FE-FEB44E4D1F57}"/>
                    </a:ext>
                  </a:extLst>
                </p:cNvPr>
                <p:cNvSpPr/>
                <p:nvPr/>
              </p:nvSpPr>
              <p:spPr bwMode="gray">
                <a:xfrm rot="10800000">
                  <a:off x="1564620" y="2419889"/>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20" name="Triangle_2">
                  <a:extLst>
                    <a:ext uri="{FF2B5EF4-FFF2-40B4-BE49-F238E27FC236}">
                      <a16:creationId xmlns:a16="http://schemas.microsoft.com/office/drawing/2014/main" id="{2087F661-D20C-BDCD-C77C-25852F37E14D}"/>
                    </a:ext>
                  </a:extLst>
                </p:cNvPr>
                <p:cNvSpPr/>
                <p:nvPr/>
              </p:nvSpPr>
              <p:spPr bwMode="gray">
                <a:xfrm>
                  <a:off x="1564620" y="2585363"/>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21" name="Triangle_3">
                  <a:extLst>
                    <a:ext uri="{FF2B5EF4-FFF2-40B4-BE49-F238E27FC236}">
                      <a16:creationId xmlns:a16="http://schemas.microsoft.com/office/drawing/2014/main" id="{070986B6-C35C-595B-261C-5CD4A2977C9A}"/>
                    </a:ext>
                  </a:extLst>
                </p:cNvPr>
                <p:cNvSpPr/>
                <p:nvPr/>
              </p:nvSpPr>
              <p:spPr bwMode="gray">
                <a:xfrm rot="5400000">
                  <a:off x="1481884" y="250262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22" name="Triangle_4">
                  <a:extLst>
                    <a:ext uri="{FF2B5EF4-FFF2-40B4-BE49-F238E27FC236}">
                      <a16:creationId xmlns:a16="http://schemas.microsoft.com/office/drawing/2014/main" id="{1BE8C8BE-0A93-E3E7-C3C1-B9ED86442028}"/>
                    </a:ext>
                  </a:extLst>
                </p:cNvPr>
                <p:cNvSpPr/>
                <p:nvPr/>
              </p:nvSpPr>
              <p:spPr bwMode="gray">
                <a:xfrm rot="16200000">
                  <a:off x="1647358" y="250262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52" name="Group 1651">
                <a:extLst>
                  <a:ext uri="{FF2B5EF4-FFF2-40B4-BE49-F238E27FC236}">
                    <a16:creationId xmlns:a16="http://schemas.microsoft.com/office/drawing/2014/main" id="{AE1F34A9-78CA-B315-C195-1093973BBFD5}"/>
                  </a:ext>
                </a:extLst>
              </p:cNvPr>
              <p:cNvGrpSpPr/>
              <p:nvPr/>
            </p:nvGrpSpPr>
            <p:grpSpPr bwMode="gray">
              <a:xfrm>
                <a:off x="1786689" y="2132833"/>
                <a:ext cx="217142" cy="217142"/>
                <a:chOff x="1564620" y="2750836"/>
                <a:chExt cx="330948" cy="330948"/>
              </a:xfrm>
            </p:grpSpPr>
            <p:sp>
              <p:nvSpPr>
                <p:cNvPr id="1713" name="dfine_grid_single_shape_frame">
                  <a:extLst>
                    <a:ext uri="{FF2B5EF4-FFF2-40B4-BE49-F238E27FC236}">
                      <a16:creationId xmlns:a16="http://schemas.microsoft.com/office/drawing/2014/main" id="{391B0278-3132-9BB8-93E2-B222763BC7C4}"/>
                    </a:ext>
                  </a:extLst>
                </p:cNvPr>
                <p:cNvSpPr/>
                <p:nvPr/>
              </p:nvSpPr>
              <p:spPr bwMode="gray">
                <a:xfrm>
                  <a:off x="1564620" y="2750836"/>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14" name="Triangle_1">
                  <a:extLst>
                    <a:ext uri="{FF2B5EF4-FFF2-40B4-BE49-F238E27FC236}">
                      <a16:creationId xmlns:a16="http://schemas.microsoft.com/office/drawing/2014/main" id="{83E23504-F38E-4A71-0C47-27D98DB3F951}"/>
                    </a:ext>
                  </a:extLst>
                </p:cNvPr>
                <p:cNvSpPr/>
                <p:nvPr/>
              </p:nvSpPr>
              <p:spPr bwMode="gray">
                <a:xfrm rot="10800000">
                  <a:off x="1564620" y="2750836"/>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15" name="Triangle_2">
                  <a:extLst>
                    <a:ext uri="{FF2B5EF4-FFF2-40B4-BE49-F238E27FC236}">
                      <a16:creationId xmlns:a16="http://schemas.microsoft.com/office/drawing/2014/main" id="{B80EEBF8-FCC5-39E1-E908-323F15664AD1}"/>
                    </a:ext>
                  </a:extLst>
                </p:cNvPr>
                <p:cNvSpPr/>
                <p:nvPr/>
              </p:nvSpPr>
              <p:spPr bwMode="gray">
                <a:xfrm>
                  <a:off x="1564620" y="291631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16" name="Triangle_3">
                  <a:extLst>
                    <a:ext uri="{FF2B5EF4-FFF2-40B4-BE49-F238E27FC236}">
                      <a16:creationId xmlns:a16="http://schemas.microsoft.com/office/drawing/2014/main" id="{99FA26E5-9C55-ACD4-0177-B79C9483D7E5}"/>
                    </a:ext>
                  </a:extLst>
                </p:cNvPr>
                <p:cNvSpPr/>
                <p:nvPr/>
              </p:nvSpPr>
              <p:spPr bwMode="gray">
                <a:xfrm rot="5400000">
                  <a:off x="1481884" y="283357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17" name="Triangle_4">
                  <a:extLst>
                    <a:ext uri="{FF2B5EF4-FFF2-40B4-BE49-F238E27FC236}">
                      <a16:creationId xmlns:a16="http://schemas.microsoft.com/office/drawing/2014/main" id="{927C8C85-7B06-3400-F0AA-625C612942EE}"/>
                    </a:ext>
                  </a:extLst>
                </p:cNvPr>
                <p:cNvSpPr/>
                <p:nvPr/>
              </p:nvSpPr>
              <p:spPr bwMode="gray">
                <a:xfrm rot="16200000">
                  <a:off x="1647358" y="283357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53" name="Group 1652">
                <a:extLst>
                  <a:ext uri="{FF2B5EF4-FFF2-40B4-BE49-F238E27FC236}">
                    <a16:creationId xmlns:a16="http://schemas.microsoft.com/office/drawing/2014/main" id="{0B6187A7-768C-3B7F-48ED-869712C7BEEC}"/>
                  </a:ext>
                </a:extLst>
              </p:cNvPr>
              <p:cNvGrpSpPr/>
              <p:nvPr/>
            </p:nvGrpSpPr>
            <p:grpSpPr bwMode="gray">
              <a:xfrm>
                <a:off x="1786689" y="2349974"/>
                <a:ext cx="217142" cy="217142"/>
                <a:chOff x="1564620" y="3081783"/>
                <a:chExt cx="330948" cy="330948"/>
              </a:xfrm>
            </p:grpSpPr>
            <p:sp>
              <p:nvSpPr>
                <p:cNvPr id="1708" name="dfine_grid_single_shape_frame">
                  <a:extLst>
                    <a:ext uri="{FF2B5EF4-FFF2-40B4-BE49-F238E27FC236}">
                      <a16:creationId xmlns:a16="http://schemas.microsoft.com/office/drawing/2014/main" id="{EA7C8909-1D66-AD88-CF5F-F901763138FE}"/>
                    </a:ext>
                  </a:extLst>
                </p:cNvPr>
                <p:cNvSpPr/>
                <p:nvPr/>
              </p:nvSpPr>
              <p:spPr bwMode="gray">
                <a:xfrm>
                  <a:off x="1564620" y="3081783"/>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09" name="Triangle_1">
                  <a:extLst>
                    <a:ext uri="{FF2B5EF4-FFF2-40B4-BE49-F238E27FC236}">
                      <a16:creationId xmlns:a16="http://schemas.microsoft.com/office/drawing/2014/main" id="{6FC31C64-96F3-D48E-0BE5-19295C8A37C9}"/>
                    </a:ext>
                  </a:extLst>
                </p:cNvPr>
                <p:cNvSpPr/>
                <p:nvPr/>
              </p:nvSpPr>
              <p:spPr bwMode="gray">
                <a:xfrm rot="10800000">
                  <a:off x="1564620" y="3081783"/>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10" name="Triangle_2">
                  <a:extLst>
                    <a:ext uri="{FF2B5EF4-FFF2-40B4-BE49-F238E27FC236}">
                      <a16:creationId xmlns:a16="http://schemas.microsoft.com/office/drawing/2014/main" id="{A582A3C1-295B-5677-3E27-A39B53B3C522}"/>
                    </a:ext>
                  </a:extLst>
                </p:cNvPr>
                <p:cNvSpPr/>
                <p:nvPr/>
              </p:nvSpPr>
              <p:spPr bwMode="gray">
                <a:xfrm>
                  <a:off x="1564620" y="324725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11" name="Triangle_3">
                  <a:extLst>
                    <a:ext uri="{FF2B5EF4-FFF2-40B4-BE49-F238E27FC236}">
                      <a16:creationId xmlns:a16="http://schemas.microsoft.com/office/drawing/2014/main" id="{C8A5B08A-4890-C19A-586F-B1F80E782425}"/>
                    </a:ext>
                  </a:extLst>
                </p:cNvPr>
                <p:cNvSpPr/>
                <p:nvPr/>
              </p:nvSpPr>
              <p:spPr bwMode="gray">
                <a:xfrm rot="5400000">
                  <a:off x="1481884" y="3164521"/>
                  <a:ext cx="330946" cy="165474"/>
                </a:xfrm>
                <a:prstGeom prst="triangle">
                  <a:avLst/>
                </a:pr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12" name="Triangle_4">
                  <a:extLst>
                    <a:ext uri="{FF2B5EF4-FFF2-40B4-BE49-F238E27FC236}">
                      <a16:creationId xmlns:a16="http://schemas.microsoft.com/office/drawing/2014/main" id="{9391DF2D-990A-6503-A1B3-AAAD7D7413F3}"/>
                    </a:ext>
                  </a:extLst>
                </p:cNvPr>
                <p:cNvSpPr/>
                <p:nvPr/>
              </p:nvSpPr>
              <p:spPr bwMode="gray">
                <a:xfrm rot="16200000">
                  <a:off x="1647358" y="3164521"/>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54" name="Group 1653">
                <a:extLst>
                  <a:ext uri="{FF2B5EF4-FFF2-40B4-BE49-F238E27FC236}">
                    <a16:creationId xmlns:a16="http://schemas.microsoft.com/office/drawing/2014/main" id="{61761428-3FDA-6928-E1A6-64EC8F13F227}"/>
                  </a:ext>
                </a:extLst>
              </p:cNvPr>
              <p:cNvGrpSpPr/>
              <p:nvPr/>
            </p:nvGrpSpPr>
            <p:grpSpPr bwMode="gray">
              <a:xfrm>
                <a:off x="1786689" y="2567115"/>
                <a:ext cx="217142" cy="217142"/>
                <a:chOff x="1564620" y="3412730"/>
                <a:chExt cx="330948" cy="330948"/>
              </a:xfrm>
            </p:grpSpPr>
            <p:sp>
              <p:nvSpPr>
                <p:cNvPr id="1703" name="dfine_grid_single_shape_frame">
                  <a:extLst>
                    <a:ext uri="{FF2B5EF4-FFF2-40B4-BE49-F238E27FC236}">
                      <a16:creationId xmlns:a16="http://schemas.microsoft.com/office/drawing/2014/main" id="{BD384A21-EE8F-2250-F165-0EA6B92B6299}"/>
                    </a:ext>
                  </a:extLst>
                </p:cNvPr>
                <p:cNvSpPr/>
                <p:nvPr/>
              </p:nvSpPr>
              <p:spPr bwMode="gray">
                <a:xfrm>
                  <a:off x="1564620" y="3412730"/>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04" name="Triangle_1">
                  <a:extLst>
                    <a:ext uri="{FF2B5EF4-FFF2-40B4-BE49-F238E27FC236}">
                      <a16:creationId xmlns:a16="http://schemas.microsoft.com/office/drawing/2014/main" id="{1E928988-E5C0-A0B3-EDA8-069491406DA8}"/>
                    </a:ext>
                  </a:extLst>
                </p:cNvPr>
                <p:cNvSpPr/>
                <p:nvPr/>
              </p:nvSpPr>
              <p:spPr bwMode="gray">
                <a:xfrm rot="10800000">
                  <a:off x="1564620" y="341273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05" name="Triangle_2">
                  <a:extLst>
                    <a:ext uri="{FF2B5EF4-FFF2-40B4-BE49-F238E27FC236}">
                      <a16:creationId xmlns:a16="http://schemas.microsoft.com/office/drawing/2014/main" id="{6A4CEC65-DF92-76A0-39A4-D370A8B90CA9}"/>
                    </a:ext>
                  </a:extLst>
                </p:cNvPr>
                <p:cNvSpPr/>
                <p:nvPr/>
              </p:nvSpPr>
              <p:spPr bwMode="gray">
                <a:xfrm>
                  <a:off x="1564620" y="357820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06" name="Triangle_3">
                  <a:extLst>
                    <a:ext uri="{FF2B5EF4-FFF2-40B4-BE49-F238E27FC236}">
                      <a16:creationId xmlns:a16="http://schemas.microsoft.com/office/drawing/2014/main" id="{976988E6-AF45-89DD-4DE3-64C93C3625F0}"/>
                    </a:ext>
                  </a:extLst>
                </p:cNvPr>
                <p:cNvSpPr/>
                <p:nvPr/>
              </p:nvSpPr>
              <p:spPr bwMode="gray">
                <a:xfrm rot="5400000">
                  <a:off x="1481884" y="349546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07" name="Triangle_4">
                  <a:extLst>
                    <a:ext uri="{FF2B5EF4-FFF2-40B4-BE49-F238E27FC236}">
                      <a16:creationId xmlns:a16="http://schemas.microsoft.com/office/drawing/2014/main" id="{BAE3AC49-42FE-2496-5C7C-A547B342BB02}"/>
                    </a:ext>
                  </a:extLst>
                </p:cNvPr>
                <p:cNvSpPr/>
                <p:nvPr/>
              </p:nvSpPr>
              <p:spPr bwMode="gray">
                <a:xfrm rot="16200000">
                  <a:off x="1647358" y="349546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55" name="Group 1654">
                <a:extLst>
                  <a:ext uri="{FF2B5EF4-FFF2-40B4-BE49-F238E27FC236}">
                    <a16:creationId xmlns:a16="http://schemas.microsoft.com/office/drawing/2014/main" id="{7AB2104E-092E-0450-8B8F-AA386E06F042}"/>
                  </a:ext>
                </a:extLst>
              </p:cNvPr>
              <p:cNvGrpSpPr/>
              <p:nvPr/>
            </p:nvGrpSpPr>
            <p:grpSpPr bwMode="gray">
              <a:xfrm>
                <a:off x="1786689" y="2784256"/>
                <a:ext cx="217142" cy="217142"/>
                <a:chOff x="1564620" y="3743677"/>
                <a:chExt cx="330948" cy="330948"/>
              </a:xfrm>
            </p:grpSpPr>
            <p:sp>
              <p:nvSpPr>
                <p:cNvPr id="1698" name="dfine_grid_single_shape_frame">
                  <a:extLst>
                    <a:ext uri="{FF2B5EF4-FFF2-40B4-BE49-F238E27FC236}">
                      <a16:creationId xmlns:a16="http://schemas.microsoft.com/office/drawing/2014/main" id="{A04F38CC-CC42-7F00-F504-61E9A7F5256D}"/>
                    </a:ext>
                  </a:extLst>
                </p:cNvPr>
                <p:cNvSpPr/>
                <p:nvPr/>
              </p:nvSpPr>
              <p:spPr bwMode="gray">
                <a:xfrm>
                  <a:off x="1564620" y="3743677"/>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99" name="Triangle_1">
                  <a:extLst>
                    <a:ext uri="{FF2B5EF4-FFF2-40B4-BE49-F238E27FC236}">
                      <a16:creationId xmlns:a16="http://schemas.microsoft.com/office/drawing/2014/main" id="{0884CC46-0618-1DDB-6AD0-65F695C707DF}"/>
                    </a:ext>
                  </a:extLst>
                </p:cNvPr>
                <p:cNvSpPr/>
                <p:nvPr/>
              </p:nvSpPr>
              <p:spPr bwMode="gray">
                <a:xfrm rot="10800000">
                  <a:off x="1564620" y="374367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00" name="Triangle_2">
                  <a:extLst>
                    <a:ext uri="{FF2B5EF4-FFF2-40B4-BE49-F238E27FC236}">
                      <a16:creationId xmlns:a16="http://schemas.microsoft.com/office/drawing/2014/main" id="{790A40F8-032F-3E0A-1196-60E681C9780A}"/>
                    </a:ext>
                  </a:extLst>
                </p:cNvPr>
                <p:cNvSpPr/>
                <p:nvPr/>
              </p:nvSpPr>
              <p:spPr bwMode="gray">
                <a:xfrm>
                  <a:off x="1564620" y="3909151"/>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01" name="Triangle_3">
                  <a:extLst>
                    <a:ext uri="{FF2B5EF4-FFF2-40B4-BE49-F238E27FC236}">
                      <a16:creationId xmlns:a16="http://schemas.microsoft.com/office/drawing/2014/main" id="{7D4A95A6-39D0-24CC-D6AC-DABD47A058CA}"/>
                    </a:ext>
                  </a:extLst>
                </p:cNvPr>
                <p:cNvSpPr/>
                <p:nvPr/>
              </p:nvSpPr>
              <p:spPr bwMode="gray">
                <a:xfrm rot="5400000">
                  <a:off x="1481884" y="3826415"/>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702" name="Triangle_4">
                  <a:extLst>
                    <a:ext uri="{FF2B5EF4-FFF2-40B4-BE49-F238E27FC236}">
                      <a16:creationId xmlns:a16="http://schemas.microsoft.com/office/drawing/2014/main" id="{173B6F06-7A49-B71E-8C09-C0EDCC521692}"/>
                    </a:ext>
                  </a:extLst>
                </p:cNvPr>
                <p:cNvSpPr/>
                <p:nvPr/>
              </p:nvSpPr>
              <p:spPr bwMode="gray">
                <a:xfrm rot="16200000">
                  <a:off x="1647358" y="3826415"/>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56" name="Group 1655">
                <a:extLst>
                  <a:ext uri="{FF2B5EF4-FFF2-40B4-BE49-F238E27FC236}">
                    <a16:creationId xmlns:a16="http://schemas.microsoft.com/office/drawing/2014/main" id="{AEE5A04F-E9B1-3975-8BA3-7870017BC2DB}"/>
                  </a:ext>
                </a:extLst>
              </p:cNvPr>
              <p:cNvGrpSpPr/>
              <p:nvPr/>
            </p:nvGrpSpPr>
            <p:grpSpPr bwMode="gray">
              <a:xfrm>
                <a:off x="1786689" y="3001397"/>
                <a:ext cx="217142" cy="217142"/>
                <a:chOff x="1564620" y="4074624"/>
                <a:chExt cx="330948" cy="330948"/>
              </a:xfrm>
            </p:grpSpPr>
            <p:sp>
              <p:nvSpPr>
                <p:cNvPr id="1693" name="dfine_grid_single_shape_frame">
                  <a:extLst>
                    <a:ext uri="{FF2B5EF4-FFF2-40B4-BE49-F238E27FC236}">
                      <a16:creationId xmlns:a16="http://schemas.microsoft.com/office/drawing/2014/main" id="{D0532110-A149-6ECA-E447-05CD15D0CDB9}"/>
                    </a:ext>
                  </a:extLst>
                </p:cNvPr>
                <p:cNvSpPr/>
                <p:nvPr/>
              </p:nvSpPr>
              <p:spPr bwMode="gray">
                <a:xfrm>
                  <a:off x="1564620" y="4074624"/>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94" name="Triangle_1">
                  <a:extLst>
                    <a:ext uri="{FF2B5EF4-FFF2-40B4-BE49-F238E27FC236}">
                      <a16:creationId xmlns:a16="http://schemas.microsoft.com/office/drawing/2014/main" id="{48DB3F49-07EA-E3A7-631C-C994B947C08B}"/>
                    </a:ext>
                  </a:extLst>
                </p:cNvPr>
                <p:cNvSpPr/>
                <p:nvPr/>
              </p:nvSpPr>
              <p:spPr bwMode="gray">
                <a:xfrm rot="10800000">
                  <a:off x="1564620" y="407462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95" name="Triangle_2">
                  <a:extLst>
                    <a:ext uri="{FF2B5EF4-FFF2-40B4-BE49-F238E27FC236}">
                      <a16:creationId xmlns:a16="http://schemas.microsoft.com/office/drawing/2014/main" id="{E88F356B-C52E-D670-4CC2-D9E2B7674CF7}"/>
                    </a:ext>
                  </a:extLst>
                </p:cNvPr>
                <p:cNvSpPr/>
                <p:nvPr/>
              </p:nvSpPr>
              <p:spPr bwMode="gray">
                <a:xfrm>
                  <a:off x="1564620" y="424009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96" name="Triangle_3">
                  <a:extLst>
                    <a:ext uri="{FF2B5EF4-FFF2-40B4-BE49-F238E27FC236}">
                      <a16:creationId xmlns:a16="http://schemas.microsoft.com/office/drawing/2014/main" id="{C3837E2B-F7AD-268D-39CC-7D1D371EEA2A}"/>
                    </a:ext>
                  </a:extLst>
                </p:cNvPr>
                <p:cNvSpPr/>
                <p:nvPr/>
              </p:nvSpPr>
              <p:spPr bwMode="gray">
                <a:xfrm rot="5400000">
                  <a:off x="1481884" y="4157362"/>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97" name="Triangle_4">
                  <a:extLst>
                    <a:ext uri="{FF2B5EF4-FFF2-40B4-BE49-F238E27FC236}">
                      <a16:creationId xmlns:a16="http://schemas.microsoft.com/office/drawing/2014/main" id="{9F3BFC94-9F77-8222-1E7A-9ADE5B82D658}"/>
                    </a:ext>
                  </a:extLst>
                </p:cNvPr>
                <p:cNvSpPr/>
                <p:nvPr/>
              </p:nvSpPr>
              <p:spPr bwMode="gray">
                <a:xfrm rot="16200000">
                  <a:off x="1647358" y="4157362"/>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57" name="Group 1656">
                <a:extLst>
                  <a:ext uri="{FF2B5EF4-FFF2-40B4-BE49-F238E27FC236}">
                    <a16:creationId xmlns:a16="http://schemas.microsoft.com/office/drawing/2014/main" id="{697D072C-5D57-B026-884F-591D7C1E1492}"/>
                  </a:ext>
                </a:extLst>
              </p:cNvPr>
              <p:cNvGrpSpPr/>
              <p:nvPr/>
            </p:nvGrpSpPr>
            <p:grpSpPr bwMode="gray">
              <a:xfrm>
                <a:off x="1786689" y="3218539"/>
                <a:ext cx="217142" cy="217142"/>
                <a:chOff x="1564620" y="2419889"/>
                <a:chExt cx="330948" cy="330948"/>
              </a:xfrm>
            </p:grpSpPr>
            <p:sp>
              <p:nvSpPr>
                <p:cNvPr id="1688" name="dfine_grid_single_shape_frame">
                  <a:extLst>
                    <a:ext uri="{FF2B5EF4-FFF2-40B4-BE49-F238E27FC236}">
                      <a16:creationId xmlns:a16="http://schemas.microsoft.com/office/drawing/2014/main" id="{C64D6C1E-2397-7524-D194-61B22A29D5D6}"/>
                    </a:ext>
                  </a:extLst>
                </p:cNvPr>
                <p:cNvSpPr/>
                <p:nvPr/>
              </p:nvSpPr>
              <p:spPr bwMode="gray">
                <a:xfrm>
                  <a:off x="1564620" y="2419889"/>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89" name="Triangle_1">
                  <a:extLst>
                    <a:ext uri="{FF2B5EF4-FFF2-40B4-BE49-F238E27FC236}">
                      <a16:creationId xmlns:a16="http://schemas.microsoft.com/office/drawing/2014/main" id="{11CC1FD3-26EC-25E0-BB1C-4D0A543FABA2}"/>
                    </a:ext>
                  </a:extLst>
                </p:cNvPr>
                <p:cNvSpPr/>
                <p:nvPr/>
              </p:nvSpPr>
              <p:spPr bwMode="gray">
                <a:xfrm rot="10800000">
                  <a:off x="1564620" y="2419889"/>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90" name="Triangle_2">
                  <a:extLst>
                    <a:ext uri="{FF2B5EF4-FFF2-40B4-BE49-F238E27FC236}">
                      <a16:creationId xmlns:a16="http://schemas.microsoft.com/office/drawing/2014/main" id="{4B9560F5-1051-01A6-5959-954012C76D93}"/>
                    </a:ext>
                  </a:extLst>
                </p:cNvPr>
                <p:cNvSpPr/>
                <p:nvPr/>
              </p:nvSpPr>
              <p:spPr bwMode="gray">
                <a:xfrm>
                  <a:off x="1564620" y="2585363"/>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91" name="Triangle_3">
                  <a:extLst>
                    <a:ext uri="{FF2B5EF4-FFF2-40B4-BE49-F238E27FC236}">
                      <a16:creationId xmlns:a16="http://schemas.microsoft.com/office/drawing/2014/main" id="{0E6758BA-CEC8-E021-4318-451DC827FD27}"/>
                    </a:ext>
                  </a:extLst>
                </p:cNvPr>
                <p:cNvSpPr/>
                <p:nvPr/>
              </p:nvSpPr>
              <p:spPr bwMode="gray">
                <a:xfrm rot="5400000">
                  <a:off x="1481884" y="250262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92" name="Triangle_4">
                  <a:extLst>
                    <a:ext uri="{FF2B5EF4-FFF2-40B4-BE49-F238E27FC236}">
                      <a16:creationId xmlns:a16="http://schemas.microsoft.com/office/drawing/2014/main" id="{B3656C07-6DE1-8A65-2D3A-1D49ADA3753D}"/>
                    </a:ext>
                  </a:extLst>
                </p:cNvPr>
                <p:cNvSpPr/>
                <p:nvPr/>
              </p:nvSpPr>
              <p:spPr bwMode="gray">
                <a:xfrm rot="16200000">
                  <a:off x="1647358" y="250262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58" name="Group 1657">
                <a:extLst>
                  <a:ext uri="{FF2B5EF4-FFF2-40B4-BE49-F238E27FC236}">
                    <a16:creationId xmlns:a16="http://schemas.microsoft.com/office/drawing/2014/main" id="{2A3E8362-72E8-F194-4622-418A005DD393}"/>
                  </a:ext>
                </a:extLst>
              </p:cNvPr>
              <p:cNvGrpSpPr/>
              <p:nvPr/>
            </p:nvGrpSpPr>
            <p:grpSpPr bwMode="gray">
              <a:xfrm>
                <a:off x="1786689" y="3435680"/>
                <a:ext cx="217142" cy="217142"/>
                <a:chOff x="1564620" y="2750836"/>
                <a:chExt cx="330948" cy="330948"/>
              </a:xfrm>
            </p:grpSpPr>
            <p:sp>
              <p:nvSpPr>
                <p:cNvPr id="1683" name="dfine_grid_single_shape_frame">
                  <a:extLst>
                    <a:ext uri="{FF2B5EF4-FFF2-40B4-BE49-F238E27FC236}">
                      <a16:creationId xmlns:a16="http://schemas.microsoft.com/office/drawing/2014/main" id="{690355BE-B36C-D3A0-AEEF-0EB883D5021F}"/>
                    </a:ext>
                  </a:extLst>
                </p:cNvPr>
                <p:cNvSpPr/>
                <p:nvPr/>
              </p:nvSpPr>
              <p:spPr bwMode="gray">
                <a:xfrm>
                  <a:off x="1564620" y="2750836"/>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84" name="Triangle_1">
                  <a:extLst>
                    <a:ext uri="{FF2B5EF4-FFF2-40B4-BE49-F238E27FC236}">
                      <a16:creationId xmlns:a16="http://schemas.microsoft.com/office/drawing/2014/main" id="{2EDDC295-4665-B951-ED7F-07E655577710}"/>
                    </a:ext>
                  </a:extLst>
                </p:cNvPr>
                <p:cNvSpPr/>
                <p:nvPr/>
              </p:nvSpPr>
              <p:spPr bwMode="gray">
                <a:xfrm rot="10800000">
                  <a:off x="1564620" y="2750836"/>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85" name="Triangle_2">
                  <a:extLst>
                    <a:ext uri="{FF2B5EF4-FFF2-40B4-BE49-F238E27FC236}">
                      <a16:creationId xmlns:a16="http://schemas.microsoft.com/office/drawing/2014/main" id="{9E0F7161-94E4-344E-4FB3-2B494B5EF255}"/>
                    </a:ext>
                  </a:extLst>
                </p:cNvPr>
                <p:cNvSpPr/>
                <p:nvPr/>
              </p:nvSpPr>
              <p:spPr bwMode="gray">
                <a:xfrm>
                  <a:off x="1564620" y="291631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86" name="Triangle_3">
                  <a:extLst>
                    <a:ext uri="{FF2B5EF4-FFF2-40B4-BE49-F238E27FC236}">
                      <a16:creationId xmlns:a16="http://schemas.microsoft.com/office/drawing/2014/main" id="{1A1B3963-1154-7DE6-6FC2-D3CF389DF49C}"/>
                    </a:ext>
                  </a:extLst>
                </p:cNvPr>
                <p:cNvSpPr/>
                <p:nvPr/>
              </p:nvSpPr>
              <p:spPr bwMode="gray">
                <a:xfrm rot="5400000">
                  <a:off x="1481884" y="283357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87" name="Triangle_4">
                  <a:extLst>
                    <a:ext uri="{FF2B5EF4-FFF2-40B4-BE49-F238E27FC236}">
                      <a16:creationId xmlns:a16="http://schemas.microsoft.com/office/drawing/2014/main" id="{7A6F15FD-FD6D-BBEA-0984-7B8CF728C64F}"/>
                    </a:ext>
                  </a:extLst>
                </p:cNvPr>
                <p:cNvSpPr/>
                <p:nvPr/>
              </p:nvSpPr>
              <p:spPr bwMode="gray">
                <a:xfrm rot="16200000">
                  <a:off x="1647358" y="283357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59" name="Group 1658">
                <a:extLst>
                  <a:ext uri="{FF2B5EF4-FFF2-40B4-BE49-F238E27FC236}">
                    <a16:creationId xmlns:a16="http://schemas.microsoft.com/office/drawing/2014/main" id="{A366D27E-45B5-C154-06ED-ADE21AE91B87}"/>
                  </a:ext>
                </a:extLst>
              </p:cNvPr>
              <p:cNvGrpSpPr/>
              <p:nvPr/>
            </p:nvGrpSpPr>
            <p:grpSpPr bwMode="gray">
              <a:xfrm>
                <a:off x="1786689" y="3652821"/>
                <a:ext cx="217142" cy="217142"/>
                <a:chOff x="1564620" y="3081783"/>
                <a:chExt cx="330948" cy="330948"/>
              </a:xfrm>
            </p:grpSpPr>
            <p:sp>
              <p:nvSpPr>
                <p:cNvPr id="1678" name="dfine_grid_single_shape_frame">
                  <a:extLst>
                    <a:ext uri="{FF2B5EF4-FFF2-40B4-BE49-F238E27FC236}">
                      <a16:creationId xmlns:a16="http://schemas.microsoft.com/office/drawing/2014/main" id="{79455F9B-5B48-5B9D-F911-4221CCA7C475}"/>
                    </a:ext>
                  </a:extLst>
                </p:cNvPr>
                <p:cNvSpPr/>
                <p:nvPr/>
              </p:nvSpPr>
              <p:spPr bwMode="gray">
                <a:xfrm>
                  <a:off x="1564620" y="3081783"/>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79" name="Triangle_1">
                  <a:extLst>
                    <a:ext uri="{FF2B5EF4-FFF2-40B4-BE49-F238E27FC236}">
                      <a16:creationId xmlns:a16="http://schemas.microsoft.com/office/drawing/2014/main" id="{FBBE97D6-7EA1-1BEC-C8D1-945476F8528E}"/>
                    </a:ext>
                  </a:extLst>
                </p:cNvPr>
                <p:cNvSpPr/>
                <p:nvPr/>
              </p:nvSpPr>
              <p:spPr bwMode="gray">
                <a:xfrm rot="10800000">
                  <a:off x="1564620" y="3081783"/>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80" name="Triangle_2">
                  <a:extLst>
                    <a:ext uri="{FF2B5EF4-FFF2-40B4-BE49-F238E27FC236}">
                      <a16:creationId xmlns:a16="http://schemas.microsoft.com/office/drawing/2014/main" id="{4A5D9F2C-0413-03C5-29ED-E0C83BE4C111}"/>
                    </a:ext>
                  </a:extLst>
                </p:cNvPr>
                <p:cNvSpPr/>
                <p:nvPr/>
              </p:nvSpPr>
              <p:spPr bwMode="gray">
                <a:xfrm>
                  <a:off x="1564620" y="324725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81" name="Triangle_3">
                  <a:extLst>
                    <a:ext uri="{FF2B5EF4-FFF2-40B4-BE49-F238E27FC236}">
                      <a16:creationId xmlns:a16="http://schemas.microsoft.com/office/drawing/2014/main" id="{FBDE72CA-1B6C-1221-2DA2-32AACD32B89E}"/>
                    </a:ext>
                  </a:extLst>
                </p:cNvPr>
                <p:cNvSpPr/>
                <p:nvPr/>
              </p:nvSpPr>
              <p:spPr bwMode="gray">
                <a:xfrm rot="5400000">
                  <a:off x="1481884" y="3164521"/>
                  <a:ext cx="330946" cy="165474"/>
                </a:xfrm>
                <a:prstGeom prst="triangle">
                  <a:avLst/>
                </a:pr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82" name="Triangle_4">
                  <a:extLst>
                    <a:ext uri="{FF2B5EF4-FFF2-40B4-BE49-F238E27FC236}">
                      <a16:creationId xmlns:a16="http://schemas.microsoft.com/office/drawing/2014/main" id="{97F162D6-0171-7ECF-B420-9C8E24BE08CB}"/>
                    </a:ext>
                  </a:extLst>
                </p:cNvPr>
                <p:cNvSpPr/>
                <p:nvPr/>
              </p:nvSpPr>
              <p:spPr bwMode="gray">
                <a:xfrm rot="16200000">
                  <a:off x="1647358" y="3164521"/>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60" name="Group 1659">
                <a:extLst>
                  <a:ext uri="{FF2B5EF4-FFF2-40B4-BE49-F238E27FC236}">
                    <a16:creationId xmlns:a16="http://schemas.microsoft.com/office/drawing/2014/main" id="{9FB92E5C-9C28-FC0D-C37F-DF9DE8C00E66}"/>
                  </a:ext>
                </a:extLst>
              </p:cNvPr>
              <p:cNvGrpSpPr/>
              <p:nvPr/>
            </p:nvGrpSpPr>
            <p:grpSpPr bwMode="gray">
              <a:xfrm>
                <a:off x="1786689" y="3869962"/>
                <a:ext cx="217142" cy="217142"/>
                <a:chOff x="1564620" y="3412730"/>
                <a:chExt cx="330948" cy="330948"/>
              </a:xfrm>
            </p:grpSpPr>
            <p:sp>
              <p:nvSpPr>
                <p:cNvPr id="1673" name="dfine_grid_single_shape_frame">
                  <a:extLst>
                    <a:ext uri="{FF2B5EF4-FFF2-40B4-BE49-F238E27FC236}">
                      <a16:creationId xmlns:a16="http://schemas.microsoft.com/office/drawing/2014/main" id="{7C009A6D-ABBA-8C3E-652E-B607BE341392}"/>
                    </a:ext>
                  </a:extLst>
                </p:cNvPr>
                <p:cNvSpPr/>
                <p:nvPr/>
              </p:nvSpPr>
              <p:spPr bwMode="gray">
                <a:xfrm>
                  <a:off x="1564620" y="3412730"/>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74" name="Triangle_1">
                  <a:extLst>
                    <a:ext uri="{FF2B5EF4-FFF2-40B4-BE49-F238E27FC236}">
                      <a16:creationId xmlns:a16="http://schemas.microsoft.com/office/drawing/2014/main" id="{2E3640B7-7E07-9553-DCDE-266A09DB8E3B}"/>
                    </a:ext>
                  </a:extLst>
                </p:cNvPr>
                <p:cNvSpPr/>
                <p:nvPr/>
              </p:nvSpPr>
              <p:spPr bwMode="gray">
                <a:xfrm rot="10800000">
                  <a:off x="1564620" y="3412730"/>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75" name="Triangle_2">
                  <a:extLst>
                    <a:ext uri="{FF2B5EF4-FFF2-40B4-BE49-F238E27FC236}">
                      <a16:creationId xmlns:a16="http://schemas.microsoft.com/office/drawing/2014/main" id="{CEE6B137-BDDB-F42A-3290-FEC3EEC1108B}"/>
                    </a:ext>
                  </a:extLst>
                </p:cNvPr>
                <p:cNvSpPr/>
                <p:nvPr/>
              </p:nvSpPr>
              <p:spPr bwMode="gray">
                <a:xfrm>
                  <a:off x="1564620" y="357820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76" name="Triangle_3">
                  <a:extLst>
                    <a:ext uri="{FF2B5EF4-FFF2-40B4-BE49-F238E27FC236}">
                      <a16:creationId xmlns:a16="http://schemas.microsoft.com/office/drawing/2014/main" id="{948C069D-6935-724D-6721-BB6BF2509141}"/>
                    </a:ext>
                  </a:extLst>
                </p:cNvPr>
                <p:cNvSpPr/>
                <p:nvPr/>
              </p:nvSpPr>
              <p:spPr bwMode="gray">
                <a:xfrm rot="5400000">
                  <a:off x="1481884" y="349546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77" name="Triangle_4">
                  <a:extLst>
                    <a:ext uri="{FF2B5EF4-FFF2-40B4-BE49-F238E27FC236}">
                      <a16:creationId xmlns:a16="http://schemas.microsoft.com/office/drawing/2014/main" id="{3BD38B05-BA32-FF76-393C-CDA7B78E73AF}"/>
                    </a:ext>
                  </a:extLst>
                </p:cNvPr>
                <p:cNvSpPr/>
                <p:nvPr/>
              </p:nvSpPr>
              <p:spPr bwMode="gray">
                <a:xfrm rot="16200000">
                  <a:off x="1647358" y="349546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61" name="Group 1660">
                <a:extLst>
                  <a:ext uri="{FF2B5EF4-FFF2-40B4-BE49-F238E27FC236}">
                    <a16:creationId xmlns:a16="http://schemas.microsoft.com/office/drawing/2014/main" id="{C4A1C1D9-092A-F041-D251-49FC81010972}"/>
                  </a:ext>
                </a:extLst>
              </p:cNvPr>
              <p:cNvGrpSpPr/>
              <p:nvPr/>
            </p:nvGrpSpPr>
            <p:grpSpPr bwMode="gray">
              <a:xfrm>
                <a:off x="1786689" y="4087103"/>
                <a:ext cx="217142" cy="217142"/>
                <a:chOff x="1564620" y="3743677"/>
                <a:chExt cx="330948" cy="330948"/>
              </a:xfrm>
            </p:grpSpPr>
            <p:sp>
              <p:nvSpPr>
                <p:cNvPr id="1668" name="dfine_grid_single_shape_frame">
                  <a:extLst>
                    <a:ext uri="{FF2B5EF4-FFF2-40B4-BE49-F238E27FC236}">
                      <a16:creationId xmlns:a16="http://schemas.microsoft.com/office/drawing/2014/main" id="{5E22A5A4-E0E4-882A-6FCD-BAD2FBB1E156}"/>
                    </a:ext>
                  </a:extLst>
                </p:cNvPr>
                <p:cNvSpPr/>
                <p:nvPr/>
              </p:nvSpPr>
              <p:spPr bwMode="gray">
                <a:xfrm>
                  <a:off x="1564620" y="3743677"/>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69" name="Triangle_1">
                  <a:extLst>
                    <a:ext uri="{FF2B5EF4-FFF2-40B4-BE49-F238E27FC236}">
                      <a16:creationId xmlns:a16="http://schemas.microsoft.com/office/drawing/2014/main" id="{BD87CA2D-5FA5-D965-BD20-0F3AB8DEFD75}"/>
                    </a:ext>
                  </a:extLst>
                </p:cNvPr>
                <p:cNvSpPr/>
                <p:nvPr/>
              </p:nvSpPr>
              <p:spPr bwMode="gray">
                <a:xfrm rot="10800000">
                  <a:off x="1564620" y="3743677"/>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70" name="Triangle_2">
                  <a:extLst>
                    <a:ext uri="{FF2B5EF4-FFF2-40B4-BE49-F238E27FC236}">
                      <a16:creationId xmlns:a16="http://schemas.microsoft.com/office/drawing/2014/main" id="{14C6EF66-C616-973A-4549-D36830DF5B50}"/>
                    </a:ext>
                  </a:extLst>
                </p:cNvPr>
                <p:cNvSpPr/>
                <p:nvPr/>
              </p:nvSpPr>
              <p:spPr bwMode="gray">
                <a:xfrm>
                  <a:off x="1564620" y="3909151"/>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71" name="Triangle_3">
                  <a:extLst>
                    <a:ext uri="{FF2B5EF4-FFF2-40B4-BE49-F238E27FC236}">
                      <a16:creationId xmlns:a16="http://schemas.microsoft.com/office/drawing/2014/main" id="{21D3A0D5-6A81-EE3D-22C7-5DC3A91A47F9}"/>
                    </a:ext>
                  </a:extLst>
                </p:cNvPr>
                <p:cNvSpPr/>
                <p:nvPr/>
              </p:nvSpPr>
              <p:spPr bwMode="gray">
                <a:xfrm rot="5400000">
                  <a:off x="1481884" y="3826415"/>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72" name="Triangle_4">
                  <a:extLst>
                    <a:ext uri="{FF2B5EF4-FFF2-40B4-BE49-F238E27FC236}">
                      <a16:creationId xmlns:a16="http://schemas.microsoft.com/office/drawing/2014/main" id="{85855592-AEDE-E259-0333-1B7524899A79}"/>
                    </a:ext>
                  </a:extLst>
                </p:cNvPr>
                <p:cNvSpPr/>
                <p:nvPr/>
              </p:nvSpPr>
              <p:spPr bwMode="gray">
                <a:xfrm rot="16200000">
                  <a:off x="1647358" y="3826415"/>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nvGrpSpPr>
              <p:cNvPr id="1662" name="Group 1661">
                <a:extLst>
                  <a:ext uri="{FF2B5EF4-FFF2-40B4-BE49-F238E27FC236}">
                    <a16:creationId xmlns:a16="http://schemas.microsoft.com/office/drawing/2014/main" id="{06E491BC-388E-B784-4094-E66B525F7128}"/>
                  </a:ext>
                </a:extLst>
              </p:cNvPr>
              <p:cNvGrpSpPr/>
              <p:nvPr/>
            </p:nvGrpSpPr>
            <p:grpSpPr bwMode="gray">
              <a:xfrm>
                <a:off x="1786689" y="4304244"/>
                <a:ext cx="217142" cy="217142"/>
                <a:chOff x="1564620" y="4074624"/>
                <a:chExt cx="330948" cy="330948"/>
              </a:xfrm>
            </p:grpSpPr>
            <p:sp>
              <p:nvSpPr>
                <p:cNvPr id="1663" name="dfine_grid_single_shape_frame">
                  <a:extLst>
                    <a:ext uri="{FF2B5EF4-FFF2-40B4-BE49-F238E27FC236}">
                      <a16:creationId xmlns:a16="http://schemas.microsoft.com/office/drawing/2014/main" id="{018CECEA-C877-3D55-F3B3-AFF41FC80BE0}"/>
                    </a:ext>
                  </a:extLst>
                </p:cNvPr>
                <p:cNvSpPr/>
                <p:nvPr/>
              </p:nvSpPr>
              <p:spPr bwMode="gray">
                <a:xfrm>
                  <a:off x="1564620" y="4074624"/>
                  <a:ext cx="330946" cy="330946"/>
                </a:xfrm>
                <a:prstGeom prst="rect">
                  <a:avLst/>
                </a:prstGeom>
                <a:noFill/>
                <a:ln w="6350">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64" name="Triangle_1">
                  <a:extLst>
                    <a:ext uri="{FF2B5EF4-FFF2-40B4-BE49-F238E27FC236}">
                      <a16:creationId xmlns:a16="http://schemas.microsoft.com/office/drawing/2014/main" id="{28410651-0264-EB65-9E12-CDB8B95560B8}"/>
                    </a:ext>
                  </a:extLst>
                </p:cNvPr>
                <p:cNvSpPr/>
                <p:nvPr/>
              </p:nvSpPr>
              <p:spPr bwMode="gray">
                <a:xfrm rot="10800000">
                  <a:off x="1564620" y="4074624"/>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65" name="Triangle_2">
                  <a:extLst>
                    <a:ext uri="{FF2B5EF4-FFF2-40B4-BE49-F238E27FC236}">
                      <a16:creationId xmlns:a16="http://schemas.microsoft.com/office/drawing/2014/main" id="{6BC5525D-D485-0DAB-AD92-EB47F19AD034}"/>
                    </a:ext>
                  </a:extLst>
                </p:cNvPr>
                <p:cNvSpPr/>
                <p:nvPr/>
              </p:nvSpPr>
              <p:spPr bwMode="gray">
                <a:xfrm>
                  <a:off x="1564620" y="4240098"/>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66" name="Triangle_3">
                  <a:extLst>
                    <a:ext uri="{FF2B5EF4-FFF2-40B4-BE49-F238E27FC236}">
                      <a16:creationId xmlns:a16="http://schemas.microsoft.com/office/drawing/2014/main" id="{57616D44-4478-5CA6-9CD0-DCB090DCCB85}"/>
                    </a:ext>
                  </a:extLst>
                </p:cNvPr>
                <p:cNvSpPr/>
                <p:nvPr/>
              </p:nvSpPr>
              <p:spPr bwMode="gray">
                <a:xfrm rot="5400000">
                  <a:off x="1481884" y="4157362"/>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sp>
              <p:nvSpPr>
                <p:cNvPr id="1667" name="Triangle_4">
                  <a:extLst>
                    <a:ext uri="{FF2B5EF4-FFF2-40B4-BE49-F238E27FC236}">
                      <a16:creationId xmlns:a16="http://schemas.microsoft.com/office/drawing/2014/main" id="{F8928BD2-D7EC-943A-B84A-E20500790262}"/>
                    </a:ext>
                  </a:extLst>
                </p:cNvPr>
                <p:cNvSpPr/>
                <p:nvPr/>
              </p:nvSpPr>
              <p:spPr bwMode="gray">
                <a:xfrm rot="16200000">
                  <a:off x="1647358" y="4157362"/>
                  <a:ext cx="330946" cy="165474"/>
                </a:xfrm>
                <a:prstGeom prst="triangle">
                  <a:avLst/>
                </a:prstGeom>
                <a:noFill/>
                <a:ln w="3175">
                  <a:solidFill>
                    <a:schemeClr val="accent4"/>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a:solidFill>
                      <a:schemeClr val="tx1"/>
                    </a:solidFill>
                  </a:endParaRPr>
                </a:p>
              </p:txBody>
            </p:sp>
          </p:grpSp>
        </p:grpSp>
      </p:grpSp>
      <p:sp>
        <p:nvSpPr>
          <p:cNvPr id="2965" name="text_1">
            <a:extLst>
              <a:ext uri="{FF2B5EF4-FFF2-40B4-BE49-F238E27FC236}">
                <a16:creationId xmlns:a16="http://schemas.microsoft.com/office/drawing/2014/main" id="{E6EE1307-9D1D-2577-5582-638973A51949}"/>
              </a:ext>
            </a:extLst>
          </p:cNvPr>
          <p:cNvSpPr/>
          <p:nvPr>
            <p:custDataLst>
              <p:tags r:id="rId6"/>
            </p:custDataLst>
          </p:nvPr>
        </p:nvSpPr>
        <p:spPr bwMode="gray">
          <a:xfrm>
            <a:off x="1622525" y="1603225"/>
            <a:ext cx="2300572" cy="5078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de-DE" sz="1100">
                <a:solidFill>
                  <a:schemeClr val="tx1"/>
                </a:solidFill>
              </a:rPr>
              <a:t>Wir geben Ihren Fragestellungen Struktur und untersuchen deren Treiber und Bausteine</a:t>
            </a:r>
            <a:r>
              <a:rPr lang="en-GB" sz="1100">
                <a:solidFill>
                  <a:schemeClr val="tx1"/>
                </a:solidFill>
              </a:rPr>
              <a:t>.</a:t>
            </a:r>
          </a:p>
        </p:txBody>
      </p:sp>
      <p:sp>
        <p:nvSpPr>
          <p:cNvPr id="2966" name="text_2">
            <a:extLst>
              <a:ext uri="{FF2B5EF4-FFF2-40B4-BE49-F238E27FC236}">
                <a16:creationId xmlns:a16="http://schemas.microsoft.com/office/drawing/2014/main" id="{9AFD7131-D57D-6826-6254-270548C84BAA}"/>
              </a:ext>
            </a:extLst>
          </p:cNvPr>
          <p:cNvSpPr/>
          <p:nvPr>
            <p:custDataLst>
              <p:tags r:id="rId7"/>
            </p:custDataLst>
          </p:nvPr>
        </p:nvSpPr>
        <p:spPr bwMode="gray">
          <a:xfrm>
            <a:off x="1622525" y="2541790"/>
            <a:ext cx="2300572" cy="3385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de-DE" sz="1100">
                <a:solidFill>
                  <a:schemeClr val="tx1"/>
                </a:solidFill>
              </a:rPr>
              <a:t>Wir unterstützen Ihre Prozesse mit neuen und etablierten Technologien</a:t>
            </a:r>
            <a:r>
              <a:rPr lang="en-GB" sz="1100">
                <a:solidFill>
                  <a:schemeClr val="tx1"/>
                </a:solidFill>
              </a:rPr>
              <a:t>.</a:t>
            </a:r>
          </a:p>
        </p:txBody>
      </p:sp>
      <p:sp>
        <p:nvSpPr>
          <p:cNvPr id="2967" name="text_3">
            <a:extLst>
              <a:ext uri="{FF2B5EF4-FFF2-40B4-BE49-F238E27FC236}">
                <a16:creationId xmlns:a16="http://schemas.microsoft.com/office/drawing/2014/main" id="{A36DDB9A-4BE3-E20E-D780-0607CFA02E20}"/>
              </a:ext>
            </a:extLst>
          </p:cNvPr>
          <p:cNvSpPr/>
          <p:nvPr>
            <p:custDataLst>
              <p:tags r:id="rId8"/>
            </p:custDataLst>
          </p:nvPr>
        </p:nvSpPr>
        <p:spPr bwMode="gray">
          <a:xfrm>
            <a:off x="1622524" y="3480356"/>
            <a:ext cx="2486431" cy="5078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de-DE" sz="1100">
                <a:solidFill>
                  <a:schemeClr val="tx1"/>
                </a:solidFill>
              </a:rPr>
              <a:t>Wir lösen komplexe Herausforderungen mit modernen Methoden aus Mathematik, Physik und Data Science.</a:t>
            </a:r>
            <a:endParaRPr lang="en-GB" sz="1100">
              <a:solidFill>
                <a:schemeClr val="tx1"/>
              </a:solidFill>
            </a:endParaRPr>
          </a:p>
        </p:txBody>
      </p:sp>
      <p:sp>
        <p:nvSpPr>
          <p:cNvPr id="2968" name="textbox_1">
            <a:extLst>
              <a:ext uri="{FF2B5EF4-FFF2-40B4-BE49-F238E27FC236}">
                <a16:creationId xmlns:a16="http://schemas.microsoft.com/office/drawing/2014/main" id="{F3352EDD-1840-8C7A-D3E4-EE191FC799CE}"/>
              </a:ext>
            </a:extLst>
          </p:cNvPr>
          <p:cNvSpPr/>
          <p:nvPr>
            <p:custDataLst>
              <p:tags r:id="rId9"/>
            </p:custDataLst>
          </p:nvPr>
        </p:nvSpPr>
        <p:spPr bwMode="gray">
          <a:xfrm>
            <a:off x="246316" y="1603225"/>
            <a:ext cx="922589" cy="275805"/>
          </a:xfrm>
          <a:prstGeom prst="rect">
            <a:avLst/>
          </a:prstGeom>
          <a:solidFill>
            <a:srgbClr val="FFFFFF">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b="1">
                <a:solidFill>
                  <a:schemeClr val="bg2"/>
                </a:solidFill>
              </a:rPr>
              <a:t>analytisch.</a:t>
            </a:r>
          </a:p>
        </p:txBody>
      </p:sp>
      <p:sp>
        <p:nvSpPr>
          <p:cNvPr id="2969" name="textbox_2">
            <a:extLst>
              <a:ext uri="{FF2B5EF4-FFF2-40B4-BE49-F238E27FC236}">
                <a16:creationId xmlns:a16="http://schemas.microsoft.com/office/drawing/2014/main" id="{EBEB5C5A-C516-EDA8-57F4-E055507E6C9D}"/>
              </a:ext>
            </a:extLst>
          </p:cNvPr>
          <p:cNvSpPr/>
          <p:nvPr>
            <p:custDataLst>
              <p:tags r:id="rId10"/>
            </p:custDataLst>
          </p:nvPr>
        </p:nvSpPr>
        <p:spPr bwMode="gray">
          <a:xfrm>
            <a:off x="246316" y="2541790"/>
            <a:ext cx="1185677" cy="275805"/>
          </a:xfrm>
          <a:prstGeom prst="rect">
            <a:avLst/>
          </a:prstGeom>
          <a:solidFill>
            <a:srgbClr val="FFFFFF">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b="1">
                <a:solidFill>
                  <a:schemeClr val="bg2"/>
                </a:solidFill>
              </a:rPr>
              <a:t>technologisch.</a:t>
            </a:r>
          </a:p>
        </p:txBody>
      </p:sp>
      <p:sp>
        <p:nvSpPr>
          <p:cNvPr id="2970" name="textbox_3">
            <a:extLst>
              <a:ext uri="{FF2B5EF4-FFF2-40B4-BE49-F238E27FC236}">
                <a16:creationId xmlns:a16="http://schemas.microsoft.com/office/drawing/2014/main" id="{B0E38957-A50B-FB2E-511C-722E5FCEA1BD}"/>
              </a:ext>
            </a:extLst>
          </p:cNvPr>
          <p:cNvSpPr/>
          <p:nvPr>
            <p:custDataLst>
              <p:tags r:id="rId11"/>
            </p:custDataLst>
          </p:nvPr>
        </p:nvSpPr>
        <p:spPr bwMode="gray">
          <a:xfrm>
            <a:off x="246317" y="3480356"/>
            <a:ext cx="922588" cy="275805"/>
          </a:xfrm>
          <a:prstGeom prst="rect">
            <a:avLst/>
          </a:prstGeom>
          <a:solidFill>
            <a:srgbClr val="FFFFFF">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b="1">
                <a:solidFill>
                  <a:schemeClr val="bg2"/>
                </a:solidFill>
              </a:rPr>
              <a:t>quantitativ.</a:t>
            </a:r>
          </a:p>
        </p:txBody>
      </p:sp>
      <p:pic>
        <p:nvPicPr>
          <p:cNvPr id="2971" name="Picture 2970">
            <a:extLst>
              <a:ext uri="{FF2B5EF4-FFF2-40B4-BE49-F238E27FC236}">
                <a16:creationId xmlns:a16="http://schemas.microsoft.com/office/drawing/2014/main" id="{87AA100A-DA01-0B2E-D22F-A317170551A8}"/>
              </a:ext>
            </a:extLst>
          </p:cNvPr>
          <p:cNvPicPr>
            <a:picLocks noChangeAspect="1"/>
          </p:cNvPicPr>
          <p:nvPr/>
        </p:nvPicPr>
        <p:blipFill>
          <a:blip r:embed="rId85" cstate="screen">
            <a:extLst>
              <a:ext uri="{28A0092B-C50C-407E-A947-70E740481C1C}">
                <a14:useLocalDpi xmlns:a14="http://schemas.microsoft.com/office/drawing/2010/main"/>
              </a:ext>
            </a:extLst>
          </a:blip>
          <a:srcRect/>
          <a:stretch>
            <a:fillRect/>
          </a:stretch>
        </p:blipFill>
        <p:spPr bwMode="auto">
          <a:xfrm>
            <a:off x="7705725" y="136779"/>
            <a:ext cx="1874901" cy="628849"/>
          </a:xfrm>
          <a:prstGeom prst="rect">
            <a:avLst/>
          </a:prstGeom>
          <a:noFill/>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3195425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0E586F-6541-B513-1B6B-927F9994A6F3}"/>
              </a:ext>
            </a:extLst>
          </p:cNvPr>
          <p:cNvSpPr>
            <a:spLocks noGrp="1"/>
          </p:cNvSpPr>
          <p:nvPr>
            <p:ph type="ctrTitle"/>
          </p:nvPr>
        </p:nvSpPr>
        <p:spPr>
          <a:xfrm>
            <a:off x="1203569" y="2095503"/>
            <a:ext cx="6601028" cy="789960"/>
          </a:xfrm>
        </p:spPr>
        <p:txBody>
          <a:bodyPr/>
          <a:lstStyle/>
          <a:p>
            <a:r>
              <a:rPr lang="de-DE" sz="2400"/>
              <a:t>Was ist die Kommunale Wärmeplanung (KWP)?​</a:t>
            </a:r>
            <a:endParaRPr lang="de-DE"/>
          </a:p>
        </p:txBody>
      </p:sp>
      <p:sp>
        <p:nvSpPr>
          <p:cNvPr id="5" name="Text Placeholder 4">
            <a:extLst>
              <a:ext uri="{FF2B5EF4-FFF2-40B4-BE49-F238E27FC236}">
                <a16:creationId xmlns:a16="http://schemas.microsoft.com/office/drawing/2014/main" id="{A4FDC44B-A2BE-5C02-1C6F-D654FA8AE766}"/>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31684272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7F633D8-6CC1-A5F4-1E45-838797CF54F8}"/>
              </a:ext>
            </a:extLst>
          </p:cNvPr>
          <p:cNvSpPr>
            <a:spLocks noGrp="1"/>
          </p:cNvSpPr>
          <p:nvPr>
            <p:ph type="sldNum" sz="quarter" idx="12"/>
          </p:nvPr>
        </p:nvSpPr>
        <p:spPr/>
        <p:txBody>
          <a:bodyPr/>
          <a:lstStyle/>
          <a:p>
            <a:fld id="{AD1E7D88-B9F0-490E-9127-FC8A160405D5}" type="slidenum">
              <a:rPr lang="de-DE" smtClean="0"/>
              <a:t>2</a:t>
            </a:fld>
            <a:endParaRPr lang="de-DE"/>
          </a:p>
        </p:txBody>
      </p:sp>
      <p:cxnSp>
        <p:nvCxnSpPr>
          <p:cNvPr id="4" name="TopLine">
            <a:extLst>
              <a:ext uri="{FF2B5EF4-FFF2-40B4-BE49-F238E27FC236}">
                <a16:creationId xmlns:a16="http://schemas.microsoft.com/office/drawing/2014/main" id="{2A2E2653-E5A3-6C00-975A-3828528931FF}"/>
              </a:ext>
            </a:extLst>
          </p:cNvPr>
          <p:cNvCxnSpPr/>
          <p:nvPr/>
        </p:nvCxnSpPr>
        <p:spPr>
          <a:xfrm>
            <a:off x="684000" y="1512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5" name="index_0">
            <a:hlinkClick r:id="rId2" action="ppaction://hlinksldjump"/>
            <a:extLst>
              <a:ext uri="{FF2B5EF4-FFF2-40B4-BE49-F238E27FC236}">
                <a16:creationId xmlns:a16="http://schemas.microsoft.com/office/drawing/2014/main" id="{49FC3013-0DB3-2D45-1754-9AEEA8917230}"/>
              </a:ext>
            </a:extLst>
          </p:cNvPr>
          <p:cNvSpPr txBox="1"/>
          <p:nvPr/>
        </p:nvSpPr>
        <p:spPr>
          <a:xfrm>
            <a:off x="684000" y="1520010"/>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Impulsvortrag: Hintergründe und Ziele der Kommunalen Wärmeplanung​</a:t>
            </a:r>
          </a:p>
        </p:txBody>
      </p:sp>
      <p:cxnSp>
        <p:nvCxnSpPr>
          <p:cNvPr id="6" name="Line_0">
            <a:extLst>
              <a:ext uri="{FF2B5EF4-FFF2-40B4-BE49-F238E27FC236}">
                <a16:creationId xmlns:a16="http://schemas.microsoft.com/office/drawing/2014/main" id="{10E1C699-369E-18A1-D09A-6701E755C8EF}"/>
              </a:ext>
            </a:extLst>
          </p:cNvPr>
          <p:cNvCxnSpPr/>
          <p:nvPr/>
        </p:nvCxnSpPr>
        <p:spPr>
          <a:xfrm>
            <a:off x="684000" y="1944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7" name="index_1">
            <a:hlinkClick r:id="rId3" action="ppaction://hlinksldjump"/>
            <a:extLst>
              <a:ext uri="{FF2B5EF4-FFF2-40B4-BE49-F238E27FC236}">
                <a16:creationId xmlns:a16="http://schemas.microsoft.com/office/drawing/2014/main" id="{32B6EEE5-B442-DE3E-2B9F-06F938CE80B1}"/>
              </a:ext>
            </a:extLst>
          </p:cNvPr>
          <p:cNvSpPr txBox="1"/>
          <p:nvPr/>
        </p:nvSpPr>
        <p:spPr>
          <a:xfrm>
            <a:off x="682400" y="1939800"/>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Was ist die Kommunale Wärmeplanung (KWP)?​</a:t>
            </a:r>
          </a:p>
        </p:txBody>
      </p:sp>
      <p:cxnSp>
        <p:nvCxnSpPr>
          <p:cNvPr id="12" name="Line_3">
            <a:extLst>
              <a:ext uri="{FF2B5EF4-FFF2-40B4-BE49-F238E27FC236}">
                <a16:creationId xmlns:a16="http://schemas.microsoft.com/office/drawing/2014/main" id="{80AB9168-23E2-30AE-A601-A20EEA55BA9B}"/>
              </a:ext>
            </a:extLst>
          </p:cNvPr>
          <p:cNvCxnSpPr/>
          <p:nvPr/>
        </p:nvCxnSpPr>
        <p:spPr>
          <a:xfrm>
            <a:off x="684000" y="3672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3" name="index_4">
            <a:hlinkClick r:id="rId4" action="ppaction://hlinksldjump"/>
            <a:extLst>
              <a:ext uri="{FF2B5EF4-FFF2-40B4-BE49-F238E27FC236}">
                <a16:creationId xmlns:a16="http://schemas.microsoft.com/office/drawing/2014/main" id="{40D1987E-1BE6-49AB-9775-91BC401B772E}"/>
              </a:ext>
            </a:extLst>
          </p:cNvPr>
          <p:cNvSpPr txBox="1"/>
          <p:nvPr/>
        </p:nvSpPr>
        <p:spPr>
          <a:xfrm>
            <a:off x="684000" y="2372207"/>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Rückblick: Ergebnisse der Bestands- und Potenzialanalyse der KWP in Rheda-Wiedenbrück​</a:t>
            </a:r>
          </a:p>
        </p:txBody>
      </p:sp>
      <p:sp>
        <p:nvSpPr>
          <p:cNvPr id="19" name="index_7">
            <a:hlinkClick r:id="rId5" action="ppaction://hlinksldjump"/>
            <a:extLst>
              <a:ext uri="{FF2B5EF4-FFF2-40B4-BE49-F238E27FC236}">
                <a16:creationId xmlns:a16="http://schemas.microsoft.com/office/drawing/2014/main" id="{5FE28069-E447-220D-A0C5-8893C1DECF18}"/>
              </a:ext>
            </a:extLst>
          </p:cNvPr>
          <p:cNvSpPr txBox="1"/>
          <p:nvPr/>
        </p:nvSpPr>
        <p:spPr>
          <a:xfrm>
            <a:off x="684000" y="2816063"/>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Zielszenario und Maßnahmen</a:t>
            </a:r>
          </a:p>
        </p:txBody>
      </p:sp>
      <p:sp>
        <p:nvSpPr>
          <p:cNvPr id="25" name="Title 1">
            <a:extLst>
              <a:ext uri="{FF2B5EF4-FFF2-40B4-BE49-F238E27FC236}">
                <a16:creationId xmlns:a16="http://schemas.microsoft.com/office/drawing/2014/main" id="{C65E2903-747D-7E51-7067-431AEB97F96D}"/>
              </a:ext>
            </a:extLst>
          </p:cNvPr>
          <p:cNvSpPr txBox="1">
            <a:spLocks/>
          </p:cNvSpPr>
          <p:nvPr/>
        </p:nvSpPr>
        <p:spPr>
          <a:xfrm>
            <a:off x="687600" y="644400"/>
            <a:ext cx="9799200" cy="360000"/>
          </a:xfrm>
          <a:prstGeom prst="rect">
            <a:avLst/>
          </a:prstGeom>
        </p:spPr>
        <p:txBody>
          <a:bodyPr/>
          <a:lstStyle>
            <a:lvl1pPr algn="l" defTabSz="116754" rtl="0" eaLnBrk="1" latinLnBrk="0" hangingPunct="1">
              <a:spcBef>
                <a:spcPct val="0"/>
              </a:spcBef>
              <a:buNone/>
              <a:defRPr sz="270" kern="1200">
                <a:solidFill>
                  <a:schemeClr val="tx1"/>
                </a:solidFill>
                <a:latin typeface="+mj-lt"/>
                <a:ea typeface="+mj-ea"/>
                <a:cs typeface="+mj-cs"/>
              </a:defRPr>
            </a:lvl1pPr>
          </a:lstStyle>
          <a:p>
            <a:r>
              <a:rPr lang="de-DE" sz="2800"/>
              <a:t>Programm</a:t>
            </a:r>
          </a:p>
        </p:txBody>
      </p:sp>
      <p:sp>
        <p:nvSpPr>
          <p:cNvPr id="26" name="index_10">
            <a:hlinkClick r:id="rId6" action="ppaction://hlinksldjump"/>
            <a:extLst>
              <a:ext uri="{FF2B5EF4-FFF2-40B4-BE49-F238E27FC236}">
                <a16:creationId xmlns:a16="http://schemas.microsoft.com/office/drawing/2014/main" id="{35991864-26F5-4372-9579-76E874B7FCF7}"/>
              </a:ext>
            </a:extLst>
          </p:cNvPr>
          <p:cNvSpPr txBox="1"/>
          <p:nvPr/>
        </p:nvSpPr>
        <p:spPr>
          <a:xfrm>
            <a:off x="684000" y="3231150"/>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Zusammenfassung und Fazit​</a:t>
            </a:r>
          </a:p>
        </p:txBody>
      </p:sp>
      <p:cxnSp>
        <p:nvCxnSpPr>
          <p:cNvPr id="27" name="Line_3">
            <a:extLst>
              <a:ext uri="{FF2B5EF4-FFF2-40B4-BE49-F238E27FC236}">
                <a16:creationId xmlns:a16="http://schemas.microsoft.com/office/drawing/2014/main" id="{CCC1A4A1-AF4B-5F41-BD1B-661778087065}"/>
              </a:ext>
            </a:extLst>
          </p:cNvPr>
          <p:cNvCxnSpPr/>
          <p:nvPr/>
        </p:nvCxnSpPr>
        <p:spPr>
          <a:xfrm>
            <a:off x="682400" y="2376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Line_3">
            <a:extLst>
              <a:ext uri="{FF2B5EF4-FFF2-40B4-BE49-F238E27FC236}">
                <a16:creationId xmlns:a16="http://schemas.microsoft.com/office/drawing/2014/main" id="{A2E4AF52-1915-ED16-457B-88684E7E84A5}"/>
              </a:ext>
            </a:extLst>
          </p:cNvPr>
          <p:cNvCxnSpPr/>
          <p:nvPr/>
        </p:nvCxnSpPr>
        <p:spPr>
          <a:xfrm>
            <a:off x="684000" y="2808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Line_3">
            <a:extLst>
              <a:ext uri="{FF2B5EF4-FFF2-40B4-BE49-F238E27FC236}">
                <a16:creationId xmlns:a16="http://schemas.microsoft.com/office/drawing/2014/main" id="{156572F5-A3AE-2496-BDD5-A9758CA87942}"/>
              </a:ext>
            </a:extLst>
          </p:cNvPr>
          <p:cNvCxnSpPr/>
          <p:nvPr/>
        </p:nvCxnSpPr>
        <p:spPr>
          <a:xfrm>
            <a:off x="684000" y="3240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31661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E3788168-4E10-3AD2-C952-09715FC798A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A04B27-E608-5012-A2EF-63A0B0F071A5}"/>
              </a:ext>
            </a:extLst>
          </p:cNvPr>
          <p:cNvSpPr>
            <a:spLocks noGrp="1"/>
          </p:cNvSpPr>
          <p:nvPr>
            <p:ph type="ctrTitle"/>
          </p:nvPr>
        </p:nvSpPr>
        <p:spPr/>
        <p:txBody>
          <a:bodyPr/>
          <a:lstStyle/>
          <a:p>
            <a:r>
              <a:rPr lang="de-DE" sz="2400"/>
              <a:t>Phasen und Vorgehensweise in der KWP</a:t>
            </a:r>
            <a:endParaRPr lang="en-US" sz="2400"/>
          </a:p>
        </p:txBody>
      </p:sp>
      <p:sp>
        <p:nvSpPr>
          <p:cNvPr id="4" name="Text Placeholder 3">
            <a:extLst>
              <a:ext uri="{FF2B5EF4-FFF2-40B4-BE49-F238E27FC236}">
                <a16:creationId xmlns:a16="http://schemas.microsoft.com/office/drawing/2014/main" id="{6A8447C9-252F-0441-7D12-982FA0AD45BD}"/>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866847333"/>
      </p:ext>
    </p:extLst>
  </p:cSld>
  <p:clrMapOvr>
    <a:overrideClrMapping bg1="lt1" tx1="dk1" bg2="lt2" tx2="dk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221287F-0352-2373-5F7B-930C4D93E31E}"/>
              </a:ext>
            </a:extLst>
          </p:cNvPr>
          <p:cNvSpPr>
            <a:spLocks noGrp="1"/>
          </p:cNvSpPr>
          <p:nvPr>
            <p:ph type="sldNum" sz="quarter" idx="11"/>
          </p:nvPr>
        </p:nvSpPr>
        <p:spPr/>
        <p:txBody>
          <a:bodyPr/>
          <a:lstStyle/>
          <a:p>
            <a:endParaRPr lang="de-DE"/>
          </a:p>
          <a:p>
            <a:fld id="{24C420F5-194C-40F2-A080-C5F3EDD89037}" type="slidenum">
              <a:rPr lang="de-DE" smtClean="0"/>
              <a:pPr/>
              <a:t>21</a:t>
            </a:fld>
            <a:endParaRPr lang="de-DE"/>
          </a:p>
        </p:txBody>
      </p:sp>
      <p:sp>
        <p:nvSpPr>
          <p:cNvPr id="129" name="Title 2">
            <a:extLst>
              <a:ext uri="{FF2B5EF4-FFF2-40B4-BE49-F238E27FC236}">
                <a16:creationId xmlns:a16="http://schemas.microsoft.com/office/drawing/2014/main" id="{4CA6D4D4-6206-1875-3EDF-72AF0B583B50}"/>
              </a:ext>
            </a:extLst>
          </p:cNvPr>
          <p:cNvSpPr>
            <a:spLocks noGrp="1"/>
          </p:cNvSpPr>
          <p:nvPr>
            <p:ph type="title"/>
          </p:nvPr>
        </p:nvSpPr>
        <p:spPr/>
        <p:txBody>
          <a:bodyPr/>
          <a:lstStyle/>
          <a:p>
            <a:r>
              <a:rPr lang="de-DE"/>
              <a:t>Der Digitale Zwilling dient als zentrales Planungselement für die Bestands- und Potenzialanalyse sowie die Definition eines Zielszenarios</a:t>
            </a:r>
            <a:endParaRPr lang="en-US"/>
          </a:p>
        </p:txBody>
      </p:sp>
      <p:sp>
        <p:nvSpPr>
          <p:cNvPr id="4" name="Footer Placeholder 3">
            <a:extLst>
              <a:ext uri="{FF2B5EF4-FFF2-40B4-BE49-F238E27FC236}">
                <a16:creationId xmlns:a16="http://schemas.microsoft.com/office/drawing/2014/main" id="{135ECB89-82F0-4176-A23E-C942D21F7E2A}"/>
              </a:ext>
            </a:extLst>
          </p:cNvPr>
          <p:cNvSpPr>
            <a:spLocks noGrp="1"/>
          </p:cNvSpPr>
          <p:nvPr>
            <p:ph type="ftr" sz="quarter" idx="12"/>
          </p:nvPr>
        </p:nvSpPr>
        <p:spPr/>
        <p:txBody>
          <a:bodyPr/>
          <a:lstStyle/>
          <a:p>
            <a:r>
              <a:rPr lang="de-DE"/>
              <a:t>© 2026</a:t>
            </a:r>
          </a:p>
          <a:p>
            <a:r>
              <a:rPr lang="de-DE"/>
              <a:t>d-fine</a:t>
            </a:r>
          </a:p>
        </p:txBody>
      </p:sp>
      <p:sp>
        <p:nvSpPr>
          <p:cNvPr id="2" name="Text Placeholder 1">
            <a:extLst>
              <a:ext uri="{FF2B5EF4-FFF2-40B4-BE49-F238E27FC236}">
                <a16:creationId xmlns:a16="http://schemas.microsoft.com/office/drawing/2014/main" id="{721AEB16-718F-6B33-1A4A-19A9B1200230}"/>
              </a:ext>
            </a:extLst>
          </p:cNvPr>
          <p:cNvSpPr>
            <a:spLocks noGrp="1"/>
          </p:cNvSpPr>
          <p:nvPr>
            <p:ph type="body" sz="quarter" idx="13"/>
          </p:nvPr>
        </p:nvSpPr>
        <p:spPr/>
        <p:txBody>
          <a:bodyPr/>
          <a:lstStyle/>
          <a:p>
            <a:endParaRPr lang="de-DE"/>
          </a:p>
        </p:txBody>
      </p:sp>
      <p:sp>
        <p:nvSpPr>
          <p:cNvPr id="6" name="Rectangle 5">
            <a:extLst>
              <a:ext uri="{FF2B5EF4-FFF2-40B4-BE49-F238E27FC236}">
                <a16:creationId xmlns:a16="http://schemas.microsoft.com/office/drawing/2014/main" id="{E630D8B7-AC21-AE8B-FAE9-8E7A5B3EFB9E}"/>
              </a:ext>
            </a:extLst>
          </p:cNvPr>
          <p:cNvSpPr/>
          <p:nvPr/>
        </p:nvSpPr>
        <p:spPr bwMode="gray">
          <a:xfrm>
            <a:off x="278844" y="1066800"/>
            <a:ext cx="2363554" cy="432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rPr>
              <a:t>Bestandsanalyse</a:t>
            </a:r>
          </a:p>
        </p:txBody>
      </p:sp>
      <p:sp>
        <p:nvSpPr>
          <p:cNvPr id="7" name="Rectangle 6">
            <a:extLst>
              <a:ext uri="{FF2B5EF4-FFF2-40B4-BE49-F238E27FC236}">
                <a16:creationId xmlns:a16="http://schemas.microsoft.com/office/drawing/2014/main" id="{13AAFE05-C945-A1CC-E855-D4DE6D603DC3}"/>
              </a:ext>
            </a:extLst>
          </p:cNvPr>
          <p:cNvSpPr/>
          <p:nvPr/>
        </p:nvSpPr>
        <p:spPr bwMode="gray">
          <a:xfrm>
            <a:off x="3532498" y="1083863"/>
            <a:ext cx="2232000" cy="432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rPr>
              <a:t>Potenzialanalyse</a:t>
            </a:r>
          </a:p>
        </p:txBody>
      </p:sp>
      <p:grpSp>
        <p:nvGrpSpPr>
          <p:cNvPr id="8" name="Group 7">
            <a:extLst>
              <a:ext uri="{FF2B5EF4-FFF2-40B4-BE49-F238E27FC236}">
                <a16:creationId xmlns:a16="http://schemas.microsoft.com/office/drawing/2014/main" id="{6B4C0910-074D-7C45-E035-0E1CB2F1C3A7}"/>
              </a:ext>
            </a:extLst>
          </p:cNvPr>
          <p:cNvGrpSpPr>
            <a:grpSpLocks noChangeAspect="1"/>
          </p:cNvGrpSpPr>
          <p:nvPr>
            <p:custDataLst>
              <p:tags r:id="rId1"/>
            </p:custDataLst>
          </p:nvPr>
        </p:nvGrpSpPr>
        <p:grpSpPr>
          <a:xfrm>
            <a:off x="3532498" y="1111988"/>
            <a:ext cx="324000" cy="324000"/>
            <a:chOff x="1270000" y="1270000"/>
            <a:chExt cx="889000" cy="889000"/>
          </a:xfrm>
          <a:solidFill>
            <a:schemeClr val="tx2"/>
          </a:solidFill>
        </p:grpSpPr>
        <p:sp>
          <p:nvSpPr>
            <p:cNvPr id="9" name="Rectangle 8" hidden="1">
              <a:extLst>
                <a:ext uri="{FF2B5EF4-FFF2-40B4-BE49-F238E27FC236}">
                  <a16:creationId xmlns:a16="http://schemas.microsoft.com/office/drawing/2014/main" id="{848F972A-7031-2C04-D2FE-D55F37E6874C}"/>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0" name="Graphic 9">
              <a:extLst>
                <a:ext uri="{FF2B5EF4-FFF2-40B4-BE49-F238E27FC236}">
                  <a16:creationId xmlns:a16="http://schemas.microsoft.com/office/drawing/2014/main" id="{FD09B866-E1BC-5927-CA5F-A3022FF5E137}"/>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270000" y="1270000"/>
              <a:ext cx="889000" cy="889000"/>
            </a:xfrm>
            <a:prstGeom prst="rect">
              <a:avLst/>
            </a:prstGeom>
          </p:spPr>
        </p:pic>
      </p:grpSp>
      <p:grpSp>
        <p:nvGrpSpPr>
          <p:cNvPr id="11" name="Group 10">
            <a:extLst>
              <a:ext uri="{FF2B5EF4-FFF2-40B4-BE49-F238E27FC236}">
                <a16:creationId xmlns:a16="http://schemas.microsoft.com/office/drawing/2014/main" id="{84291870-1721-7962-95D3-5D95BE8A67E1}"/>
              </a:ext>
            </a:extLst>
          </p:cNvPr>
          <p:cNvGrpSpPr>
            <a:grpSpLocks noChangeAspect="1"/>
          </p:cNvGrpSpPr>
          <p:nvPr>
            <p:custDataLst>
              <p:tags r:id="rId2"/>
            </p:custDataLst>
          </p:nvPr>
        </p:nvGrpSpPr>
        <p:grpSpPr>
          <a:xfrm>
            <a:off x="280056" y="1124888"/>
            <a:ext cx="324000" cy="324000"/>
            <a:chOff x="1270000" y="1270000"/>
            <a:chExt cx="889000" cy="889000"/>
          </a:xfrm>
          <a:solidFill>
            <a:schemeClr val="tx2"/>
          </a:solidFill>
        </p:grpSpPr>
        <p:sp>
          <p:nvSpPr>
            <p:cNvPr id="12" name="Rectangle 11" hidden="1">
              <a:extLst>
                <a:ext uri="{FF2B5EF4-FFF2-40B4-BE49-F238E27FC236}">
                  <a16:creationId xmlns:a16="http://schemas.microsoft.com/office/drawing/2014/main" id="{CF611B88-7893-FA3B-9B0B-4ED9CDD8ED49}"/>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3" name="Graphic 12">
              <a:extLst>
                <a:ext uri="{FF2B5EF4-FFF2-40B4-BE49-F238E27FC236}">
                  <a16:creationId xmlns:a16="http://schemas.microsoft.com/office/drawing/2014/main" id="{1B2E87C5-AB7B-D484-B834-E9EECCE7AFAA}"/>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270000" y="1270000"/>
              <a:ext cx="889000" cy="889000"/>
            </a:xfrm>
            <a:prstGeom prst="rect">
              <a:avLst/>
            </a:prstGeom>
          </p:spPr>
        </p:pic>
      </p:grpSp>
      <p:sp>
        <p:nvSpPr>
          <p:cNvPr id="14" name="Rectangle 13">
            <a:extLst>
              <a:ext uri="{FF2B5EF4-FFF2-40B4-BE49-F238E27FC236}">
                <a16:creationId xmlns:a16="http://schemas.microsoft.com/office/drawing/2014/main" id="{F2C5417C-59AA-2236-86CA-15A1160F275E}"/>
              </a:ext>
            </a:extLst>
          </p:cNvPr>
          <p:cNvSpPr/>
          <p:nvPr/>
        </p:nvSpPr>
        <p:spPr bwMode="gray">
          <a:xfrm>
            <a:off x="208025" y="1076248"/>
            <a:ext cx="3024000" cy="140040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Analyse von Gebäude- und Siedlungsstruktur</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Erfassung der Energieinfrastruktur</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BISKO-konforme Basisbilanz</a:t>
            </a:r>
          </a:p>
          <a:p>
            <a:pPr marL="144000" indent="-144000">
              <a:lnSpc>
                <a:spcPct val="95000"/>
              </a:lnSpc>
              <a:spcAft>
                <a:spcPts val="200"/>
              </a:spcAft>
              <a:buClr>
                <a:srgbClr val="003C50"/>
              </a:buClr>
              <a:buFont typeface="Wingdings" panose="05000000000000000000" pitchFamily="2" charset="2"/>
              <a:buChar char="§"/>
            </a:pPr>
            <a:endParaRPr lang="de-DE" sz="1100">
              <a:solidFill>
                <a:schemeClr val="tx1"/>
              </a:solidFill>
            </a:endParaRPr>
          </a:p>
          <a:p>
            <a:pPr marL="144000" indent="-144000">
              <a:lnSpc>
                <a:spcPct val="95000"/>
              </a:lnSpc>
              <a:spcAft>
                <a:spcPts val="200"/>
              </a:spcAft>
              <a:buClr>
                <a:srgbClr val="003C50"/>
              </a:buClr>
              <a:buFont typeface="Wingdings" panose="05000000000000000000" pitchFamily="2" charset="2"/>
              <a:buChar char="§"/>
            </a:pPr>
            <a:endParaRPr lang="de-DE" sz="1100">
              <a:solidFill>
                <a:schemeClr val="tx1"/>
              </a:solidFill>
            </a:endParaRPr>
          </a:p>
          <a:p>
            <a:pPr>
              <a:lnSpc>
                <a:spcPct val="95000"/>
              </a:lnSpc>
              <a:spcAft>
                <a:spcPts val="200"/>
              </a:spcAft>
              <a:buClr>
                <a:srgbClr val="003C50"/>
              </a:buClr>
            </a:pPr>
            <a:endParaRPr lang="de-DE" sz="1100">
              <a:solidFill>
                <a:schemeClr val="tx1"/>
              </a:solidFill>
            </a:endParaRPr>
          </a:p>
        </p:txBody>
      </p:sp>
      <p:sp>
        <p:nvSpPr>
          <p:cNvPr id="15" name="Rectangle 14">
            <a:extLst>
              <a:ext uri="{FF2B5EF4-FFF2-40B4-BE49-F238E27FC236}">
                <a16:creationId xmlns:a16="http://schemas.microsoft.com/office/drawing/2014/main" id="{5320B865-8CDF-C18A-85E2-BB24DE54B1E7}"/>
              </a:ext>
            </a:extLst>
          </p:cNvPr>
          <p:cNvSpPr/>
          <p:nvPr/>
        </p:nvSpPr>
        <p:spPr bwMode="gray">
          <a:xfrm>
            <a:off x="3382261" y="1076248"/>
            <a:ext cx="3024000" cy="140149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Steigerung der Energieeffizienz von Gebäuden und Industrie</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Nutzung unvermeidbarer Abwärme</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Ausbaupotenziale regenerativer Wärmeversorgung</a:t>
            </a:r>
          </a:p>
        </p:txBody>
      </p:sp>
      <p:grpSp>
        <p:nvGrpSpPr>
          <p:cNvPr id="16" name="Group 15">
            <a:extLst>
              <a:ext uri="{FF2B5EF4-FFF2-40B4-BE49-F238E27FC236}">
                <a16:creationId xmlns:a16="http://schemas.microsoft.com/office/drawing/2014/main" id="{484F5849-E7AA-2527-ABF1-B2B6CDB16191}"/>
              </a:ext>
            </a:extLst>
          </p:cNvPr>
          <p:cNvGrpSpPr/>
          <p:nvPr/>
        </p:nvGrpSpPr>
        <p:grpSpPr>
          <a:xfrm>
            <a:off x="240579" y="2747901"/>
            <a:ext cx="1678825" cy="1599879"/>
            <a:chOff x="3348699" y="1632336"/>
            <a:chExt cx="1869992" cy="1782060"/>
          </a:xfrm>
        </p:grpSpPr>
        <p:grpSp>
          <p:nvGrpSpPr>
            <p:cNvPr id="17" name="Group 16">
              <a:extLst>
                <a:ext uri="{FF2B5EF4-FFF2-40B4-BE49-F238E27FC236}">
                  <a16:creationId xmlns:a16="http://schemas.microsoft.com/office/drawing/2014/main" id="{9FD8B378-2CB9-0F93-5B77-8BDE36D4924E}"/>
                </a:ext>
              </a:extLst>
            </p:cNvPr>
            <p:cNvGrpSpPr/>
            <p:nvPr/>
          </p:nvGrpSpPr>
          <p:grpSpPr>
            <a:xfrm>
              <a:off x="3677797" y="2180911"/>
              <a:ext cx="586222" cy="676911"/>
              <a:chOff x="3662419" y="2180911"/>
              <a:chExt cx="586222" cy="676911"/>
            </a:xfrm>
          </p:grpSpPr>
          <p:sp>
            <p:nvSpPr>
              <p:cNvPr id="41" name="Hexagon 40">
                <a:extLst>
                  <a:ext uri="{FF2B5EF4-FFF2-40B4-BE49-F238E27FC236}">
                    <a16:creationId xmlns:a16="http://schemas.microsoft.com/office/drawing/2014/main" id="{A520A1CD-18E0-27EE-BD5D-4188BF68FDFD}"/>
                  </a:ext>
                </a:extLst>
              </p:cNvPr>
              <p:cNvSpPr>
                <a:spLocks noChangeAspect="1"/>
              </p:cNvSpPr>
              <p:nvPr/>
            </p:nvSpPr>
            <p:spPr bwMode="gray">
              <a:xfrm rot="5400000">
                <a:off x="3617074" y="2226256"/>
                <a:ext cx="676911" cy="586222"/>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noAutofit/>
              </a:bodyPr>
              <a:lstStyle/>
              <a:p>
                <a:pPr algn="ctr"/>
                <a:endParaRPr lang="de-DE" sz="700">
                  <a:solidFill>
                    <a:srgbClr val="003C50"/>
                  </a:solidFill>
                </a:endParaRPr>
              </a:p>
              <a:p>
                <a:pPr algn="ctr"/>
                <a:endParaRPr lang="de-DE" sz="700">
                  <a:solidFill>
                    <a:srgbClr val="003C50"/>
                  </a:solidFill>
                </a:endParaRPr>
              </a:p>
              <a:p>
                <a:pPr algn="ctr"/>
                <a:r>
                  <a:rPr lang="de-DE" sz="700">
                    <a:solidFill>
                      <a:srgbClr val="003C50"/>
                    </a:solidFill>
                  </a:rPr>
                  <a:t>Industrie</a:t>
                </a:r>
              </a:p>
            </p:txBody>
          </p:sp>
          <p:pic>
            <p:nvPicPr>
              <p:cNvPr id="42" name="Graphic 41">
                <a:extLst>
                  <a:ext uri="{FF2B5EF4-FFF2-40B4-BE49-F238E27FC236}">
                    <a16:creationId xmlns:a16="http://schemas.microsoft.com/office/drawing/2014/main" id="{AE4CA963-0EDB-8703-2B77-274596A52912}"/>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775205" y="2265692"/>
                <a:ext cx="288676" cy="288676"/>
              </a:xfrm>
              <a:prstGeom prst="rect">
                <a:avLst/>
              </a:prstGeom>
            </p:spPr>
          </p:pic>
        </p:grpSp>
        <p:grpSp>
          <p:nvGrpSpPr>
            <p:cNvPr id="18" name="Group 17">
              <a:extLst>
                <a:ext uri="{FF2B5EF4-FFF2-40B4-BE49-F238E27FC236}">
                  <a16:creationId xmlns:a16="http://schemas.microsoft.com/office/drawing/2014/main" id="{009AAF19-FDD1-897D-8FBC-022DEAF2C1BC}"/>
                </a:ext>
              </a:extLst>
            </p:cNvPr>
            <p:cNvGrpSpPr/>
            <p:nvPr/>
          </p:nvGrpSpPr>
          <p:grpSpPr>
            <a:xfrm>
              <a:off x="3998515" y="1632336"/>
              <a:ext cx="586224" cy="676913"/>
              <a:chOff x="3991531" y="1632589"/>
              <a:chExt cx="586224" cy="676913"/>
            </a:xfrm>
          </p:grpSpPr>
          <p:sp>
            <p:nvSpPr>
              <p:cNvPr id="37" name="Hexagon 36">
                <a:extLst>
                  <a:ext uri="{FF2B5EF4-FFF2-40B4-BE49-F238E27FC236}">
                    <a16:creationId xmlns:a16="http://schemas.microsoft.com/office/drawing/2014/main" id="{4FFA1748-DD11-29FB-215E-567B4D073F7D}"/>
                  </a:ext>
                </a:extLst>
              </p:cNvPr>
              <p:cNvSpPr>
                <a:spLocks noChangeAspect="1"/>
              </p:cNvSpPr>
              <p:nvPr/>
            </p:nvSpPr>
            <p:spPr bwMode="gray">
              <a:xfrm rot="5400000">
                <a:off x="3946186" y="1677934"/>
                <a:ext cx="676913" cy="586224"/>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noAutofit/>
              </a:bodyPr>
              <a:lstStyle/>
              <a:p>
                <a:pPr algn="ctr"/>
                <a:endParaRPr lang="de-DE" sz="700">
                  <a:solidFill>
                    <a:srgbClr val="003C50"/>
                  </a:solidFill>
                </a:endParaRPr>
              </a:p>
              <a:p>
                <a:pPr algn="ctr"/>
                <a:r>
                  <a:rPr lang="de-DE" sz="700">
                    <a:solidFill>
                      <a:srgbClr val="003C50"/>
                    </a:solidFill>
                  </a:rPr>
                  <a:t>Objekt-</a:t>
                </a:r>
              </a:p>
              <a:p>
                <a:pPr algn="ctr"/>
                <a:r>
                  <a:rPr lang="de-DE" sz="700">
                    <a:solidFill>
                      <a:srgbClr val="003C50"/>
                    </a:solidFill>
                  </a:rPr>
                  <a:t>wissen</a:t>
                </a:r>
              </a:p>
            </p:txBody>
          </p:sp>
          <p:grpSp>
            <p:nvGrpSpPr>
              <p:cNvPr id="38" name="Group 37">
                <a:extLst>
                  <a:ext uri="{FF2B5EF4-FFF2-40B4-BE49-F238E27FC236}">
                    <a16:creationId xmlns:a16="http://schemas.microsoft.com/office/drawing/2014/main" id="{77418508-1549-9144-6951-B29B3A3D5DFA}"/>
                  </a:ext>
                </a:extLst>
              </p:cNvPr>
              <p:cNvGrpSpPr>
                <a:grpSpLocks noChangeAspect="1"/>
              </p:cNvGrpSpPr>
              <p:nvPr>
                <p:custDataLst>
                  <p:tags r:id="rId19"/>
                </p:custDataLst>
              </p:nvPr>
            </p:nvGrpSpPr>
            <p:grpSpPr>
              <a:xfrm>
                <a:off x="4187478" y="1675430"/>
                <a:ext cx="194327" cy="194327"/>
                <a:chOff x="1270000" y="1270000"/>
                <a:chExt cx="889000" cy="889000"/>
              </a:xfrm>
            </p:grpSpPr>
            <p:sp>
              <p:nvSpPr>
                <p:cNvPr id="39" name="Rectangle 38" hidden="1">
                  <a:extLst>
                    <a:ext uri="{FF2B5EF4-FFF2-40B4-BE49-F238E27FC236}">
                      <a16:creationId xmlns:a16="http://schemas.microsoft.com/office/drawing/2014/main" id="{21327630-D803-179D-CA54-76119E661AA5}"/>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40" name="Graphic 39">
                  <a:extLst>
                    <a:ext uri="{FF2B5EF4-FFF2-40B4-BE49-F238E27FC236}">
                      <a16:creationId xmlns:a16="http://schemas.microsoft.com/office/drawing/2014/main" id="{7A6036D8-670E-FBE3-87F0-2A72B345C983}"/>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270000" y="1270000"/>
                  <a:ext cx="889000" cy="889000"/>
                </a:xfrm>
                <a:prstGeom prst="rect">
                  <a:avLst/>
                </a:prstGeom>
              </p:spPr>
            </p:pic>
          </p:grpSp>
        </p:grpSp>
        <p:grpSp>
          <p:nvGrpSpPr>
            <p:cNvPr id="19" name="Group 18">
              <a:extLst>
                <a:ext uri="{FF2B5EF4-FFF2-40B4-BE49-F238E27FC236}">
                  <a16:creationId xmlns:a16="http://schemas.microsoft.com/office/drawing/2014/main" id="{FDD78B47-E95D-5CA6-8BAF-AD4A9E9411DB}"/>
                </a:ext>
              </a:extLst>
            </p:cNvPr>
            <p:cNvGrpSpPr/>
            <p:nvPr/>
          </p:nvGrpSpPr>
          <p:grpSpPr>
            <a:xfrm>
              <a:off x="4312937" y="2180911"/>
              <a:ext cx="586222" cy="676911"/>
              <a:chOff x="4323224" y="2180912"/>
              <a:chExt cx="586222" cy="676911"/>
            </a:xfrm>
          </p:grpSpPr>
          <p:sp>
            <p:nvSpPr>
              <p:cNvPr id="35" name="Hexagon 34">
                <a:extLst>
                  <a:ext uri="{FF2B5EF4-FFF2-40B4-BE49-F238E27FC236}">
                    <a16:creationId xmlns:a16="http://schemas.microsoft.com/office/drawing/2014/main" id="{1B8541EA-1655-ECC6-7D59-C287FF1E0871}"/>
                  </a:ext>
                </a:extLst>
              </p:cNvPr>
              <p:cNvSpPr>
                <a:spLocks noChangeAspect="1"/>
              </p:cNvSpPr>
              <p:nvPr/>
            </p:nvSpPr>
            <p:spPr bwMode="gray">
              <a:xfrm rot="5400000">
                <a:off x="4277879" y="2226257"/>
                <a:ext cx="676911" cy="586222"/>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a:endParaRPr lang="de-DE" sz="700">
                  <a:solidFill>
                    <a:srgbClr val="003C50"/>
                  </a:solidFill>
                </a:endParaRPr>
              </a:p>
              <a:p>
                <a:pPr algn="ctr"/>
                <a:endParaRPr lang="de-DE" sz="700">
                  <a:solidFill>
                    <a:srgbClr val="003C50"/>
                  </a:solidFill>
                </a:endParaRPr>
              </a:p>
              <a:p>
                <a:pPr algn="ctr"/>
                <a:r>
                  <a:rPr lang="de-DE" sz="700">
                    <a:solidFill>
                      <a:srgbClr val="003C50"/>
                    </a:solidFill>
                  </a:rPr>
                  <a:t>Stadt</a:t>
                </a:r>
              </a:p>
            </p:txBody>
          </p:sp>
          <p:pic>
            <p:nvPicPr>
              <p:cNvPr id="36" name="Graphic 35">
                <a:extLst>
                  <a:ext uri="{FF2B5EF4-FFF2-40B4-BE49-F238E27FC236}">
                    <a16:creationId xmlns:a16="http://schemas.microsoft.com/office/drawing/2014/main" id="{5240A2B4-A545-A452-E766-6D432DDCB41F}"/>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4472334" y="2265692"/>
                <a:ext cx="288000" cy="288000"/>
              </a:xfrm>
              <a:prstGeom prst="rect">
                <a:avLst/>
              </a:prstGeom>
            </p:spPr>
          </p:pic>
        </p:grpSp>
        <p:grpSp>
          <p:nvGrpSpPr>
            <p:cNvPr id="20" name="Group 19">
              <a:extLst>
                <a:ext uri="{FF2B5EF4-FFF2-40B4-BE49-F238E27FC236}">
                  <a16:creationId xmlns:a16="http://schemas.microsoft.com/office/drawing/2014/main" id="{D7FC1C27-3DC7-F1AE-F623-D960039D7E23}"/>
                </a:ext>
              </a:extLst>
            </p:cNvPr>
            <p:cNvGrpSpPr/>
            <p:nvPr/>
          </p:nvGrpSpPr>
          <p:grpSpPr>
            <a:xfrm>
              <a:off x="3348699" y="2733357"/>
              <a:ext cx="586222" cy="676912"/>
              <a:chOff x="3333320" y="2733357"/>
              <a:chExt cx="586222" cy="676912"/>
            </a:xfrm>
          </p:grpSpPr>
          <p:sp>
            <p:nvSpPr>
              <p:cNvPr id="31" name="Hexagon 30">
                <a:extLst>
                  <a:ext uri="{FF2B5EF4-FFF2-40B4-BE49-F238E27FC236}">
                    <a16:creationId xmlns:a16="http://schemas.microsoft.com/office/drawing/2014/main" id="{2CB76810-1782-1B98-46DA-5F81DAFFCE77}"/>
                  </a:ext>
                </a:extLst>
              </p:cNvPr>
              <p:cNvSpPr>
                <a:spLocks noChangeAspect="1"/>
              </p:cNvSpPr>
              <p:nvPr/>
            </p:nvSpPr>
            <p:spPr bwMode="gray">
              <a:xfrm rot="5400000">
                <a:off x="3287975" y="2778702"/>
                <a:ext cx="676912" cy="586222"/>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a:endParaRPr lang="de-DE" sz="700">
                  <a:solidFill>
                    <a:srgbClr val="003C50"/>
                  </a:solidFill>
                </a:endParaRPr>
              </a:p>
              <a:p>
                <a:pPr algn="ctr"/>
                <a:endParaRPr lang="de-DE" sz="700">
                  <a:solidFill>
                    <a:srgbClr val="003C50"/>
                  </a:solidFill>
                </a:endParaRPr>
              </a:p>
              <a:p>
                <a:pPr algn="ctr"/>
                <a:r>
                  <a:rPr lang="de-DE" sz="700">
                    <a:solidFill>
                      <a:srgbClr val="003C50"/>
                    </a:solidFill>
                  </a:rPr>
                  <a:t>ALKIS</a:t>
                </a:r>
              </a:p>
            </p:txBody>
          </p:sp>
          <p:grpSp>
            <p:nvGrpSpPr>
              <p:cNvPr id="32" name="Group 31">
                <a:extLst>
                  <a:ext uri="{FF2B5EF4-FFF2-40B4-BE49-F238E27FC236}">
                    <a16:creationId xmlns:a16="http://schemas.microsoft.com/office/drawing/2014/main" id="{F8ED3327-CDF0-2D01-995D-005D6ACFCAEF}"/>
                  </a:ext>
                </a:extLst>
              </p:cNvPr>
              <p:cNvGrpSpPr>
                <a:grpSpLocks noChangeAspect="1"/>
              </p:cNvGrpSpPr>
              <p:nvPr>
                <p:custDataLst>
                  <p:tags r:id="rId18"/>
                </p:custDataLst>
              </p:nvPr>
            </p:nvGrpSpPr>
            <p:grpSpPr>
              <a:xfrm>
                <a:off x="3481127" y="2843627"/>
                <a:ext cx="288000" cy="288000"/>
                <a:chOff x="1270000" y="1270000"/>
                <a:chExt cx="889000" cy="889000"/>
              </a:xfrm>
            </p:grpSpPr>
            <p:sp>
              <p:nvSpPr>
                <p:cNvPr id="33" name="Rectangle 32" hidden="1">
                  <a:extLst>
                    <a:ext uri="{FF2B5EF4-FFF2-40B4-BE49-F238E27FC236}">
                      <a16:creationId xmlns:a16="http://schemas.microsoft.com/office/drawing/2014/main" id="{AB812114-C6F0-E6B2-AC09-747310542753}"/>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34" name="Graphic 33">
                  <a:extLst>
                    <a:ext uri="{FF2B5EF4-FFF2-40B4-BE49-F238E27FC236}">
                      <a16:creationId xmlns:a16="http://schemas.microsoft.com/office/drawing/2014/main" id="{B543C563-7EBD-F83E-5D91-3C44181ADA60}"/>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270000" y="1270000"/>
                  <a:ext cx="889000" cy="889000"/>
                </a:xfrm>
                <a:prstGeom prst="rect">
                  <a:avLst/>
                </a:prstGeom>
              </p:spPr>
            </p:pic>
          </p:grpSp>
        </p:grpSp>
        <p:grpSp>
          <p:nvGrpSpPr>
            <p:cNvPr id="21" name="Group 20">
              <a:extLst>
                <a:ext uri="{FF2B5EF4-FFF2-40B4-BE49-F238E27FC236}">
                  <a16:creationId xmlns:a16="http://schemas.microsoft.com/office/drawing/2014/main" id="{8AB6D9F5-E6AD-74C2-93E1-132FD2ACE2BE}"/>
                </a:ext>
              </a:extLst>
            </p:cNvPr>
            <p:cNvGrpSpPr/>
            <p:nvPr/>
          </p:nvGrpSpPr>
          <p:grpSpPr>
            <a:xfrm>
              <a:off x="3991532" y="2737485"/>
              <a:ext cx="586222" cy="676911"/>
              <a:chOff x="3991532" y="2737485"/>
              <a:chExt cx="586222" cy="676911"/>
            </a:xfrm>
          </p:grpSpPr>
          <p:sp>
            <p:nvSpPr>
              <p:cNvPr id="27" name="Hexagon 26">
                <a:extLst>
                  <a:ext uri="{FF2B5EF4-FFF2-40B4-BE49-F238E27FC236}">
                    <a16:creationId xmlns:a16="http://schemas.microsoft.com/office/drawing/2014/main" id="{4F8BBFC9-931E-190F-F0E0-0CAF11A157FA}"/>
                  </a:ext>
                </a:extLst>
              </p:cNvPr>
              <p:cNvSpPr>
                <a:spLocks noChangeAspect="1"/>
              </p:cNvSpPr>
              <p:nvPr/>
            </p:nvSpPr>
            <p:spPr bwMode="gray">
              <a:xfrm rot="5400000">
                <a:off x="3946187" y="2782830"/>
                <a:ext cx="676911" cy="586222"/>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a:endParaRPr lang="de-DE" sz="700">
                  <a:solidFill>
                    <a:srgbClr val="003C50"/>
                  </a:solidFill>
                </a:endParaRPr>
              </a:p>
              <a:p>
                <a:pPr algn="ctr"/>
                <a:endParaRPr lang="de-DE" sz="700">
                  <a:solidFill>
                    <a:srgbClr val="003C50"/>
                  </a:solidFill>
                </a:endParaRPr>
              </a:p>
              <a:p>
                <a:pPr algn="ctr"/>
                <a:r>
                  <a:rPr lang="de-DE" sz="700">
                    <a:solidFill>
                      <a:srgbClr val="003C50"/>
                    </a:solidFill>
                  </a:rPr>
                  <a:t>Infas</a:t>
                </a:r>
              </a:p>
            </p:txBody>
          </p:sp>
          <p:grpSp>
            <p:nvGrpSpPr>
              <p:cNvPr id="28" name="Group 27">
                <a:extLst>
                  <a:ext uri="{FF2B5EF4-FFF2-40B4-BE49-F238E27FC236}">
                    <a16:creationId xmlns:a16="http://schemas.microsoft.com/office/drawing/2014/main" id="{661444ED-3C6B-25B8-A0C1-18968A4BF315}"/>
                  </a:ext>
                </a:extLst>
              </p:cNvPr>
              <p:cNvGrpSpPr>
                <a:grpSpLocks noChangeAspect="1"/>
              </p:cNvGrpSpPr>
              <p:nvPr>
                <p:custDataLst>
                  <p:tags r:id="rId17"/>
                </p:custDataLst>
              </p:nvPr>
            </p:nvGrpSpPr>
            <p:grpSpPr>
              <a:xfrm>
                <a:off x="4143200" y="2831499"/>
                <a:ext cx="288000" cy="288000"/>
                <a:chOff x="1270000" y="1270000"/>
                <a:chExt cx="889000" cy="889000"/>
              </a:xfrm>
            </p:grpSpPr>
            <p:sp>
              <p:nvSpPr>
                <p:cNvPr id="29" name="Rectangle 28" hidden="1">
                  <a:extLst>
                    <a:ext uri="{FF2B5EF4-FFF2-40B4-BE49-F238E27FC236}">
                      <a16:creationId xmlns:a16="http://schemas.microsoft.com/office/drawing/2014/main" id="{B43B24E9-98DD-7B53-9F21-5560B07430D8}"/>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30" name="Graphic 29">
                  <a:extLst>
                    <a:ext uri="{FF2B5EF4-FFF2-40B4-BE49-F238E27FC236}">
                      <a16:creationId xmlns:a16="http://schemas.microsoft.com/office/drawing/2014/main" id="{B65B54FA-444D-69CA-2CA5-5B2B68792C60}"/>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1270000" y="1270000"/>
                  <a:ext cx="889000" cy="889000"/>
                </a:xfrm>
                <a:prstGeom prst="rect">
                  <a:avLst/>
                </a:prstGeom>
              </p:spPr>
            </p:pic>
          </p:grpSp>
        </p:grpSp>
        <p:grpSp>
          <p:nvGrpSpPr>
            <p:cNvPr id="22" name="Group 21">
              <a:extLst>
                <a:ext uri="{FF2B5EF4-FFF2-40B4-BE49-F238E27FC236}">
                  <a16:creationId xmlns:a16="http://schemas.microsoft.com/office/drawing/2014/main" id="{3BEB4162-5613-AF2F-A32D-C28BE029F10A}"/>
                </a:ext>
              </a:extLst>
            </p:cNvPr>
            <p:cNvGrpSpPr/>
            <p:nvPr/>
          </p:nvGrpSpPr>
          <p:grpSpPr>
            <a:xfrm>
              <a:off x="4632469" y="2733357"/>
              <a:ext cx="586222" cy="676911"/>
              <a:chOff x="4649756" y="2733357"/>
              <a:chExt cx="586222" cy="676911"/>
            </a:xfrm>
          </p:grpSpPr>
          <p:sp>
            <p:nvSpPr>
              <p:cNvPr id="23" name="Hexagon 22">
                <a:extLst>
                  <a:ext uri="{FF2B5EF4-FFF2-40B4-BE49-F238E27FC236}">
                    <a16:creationId xmlns:a16="http://schemas.microsoft.com/office/drawing/2014/main" id="{59402CFE-D712-01AE-3886-54AD75E33FD2}"/>
                  </a:ext>
                </a:extLst>
              </p:cNvPr>
              <p:cNvSpPr>
                <a:spLocks noChangeAspect="1"/>
              </p:cNvSpPr>
              <p:nvPr/>
            </p:nvSpPr>
            <p:spPr bwMode="gray">
              <a:xfrm rot="5400000">
                <a:off x="4604411" y="2778702"/>
                <a:ext cx="676911" cy="586222"/>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a:endParaRPr lang="de-DE" sz="700">
                  <a:solidFill>
                    <a:srgbClr val="003C50"/>
                  </a:solidFill>
                </a:endParaRPr>
              </a:p>
              <a:p>
                <a:pPr algn="ctr"/>
                <a:endParaRPr lang="de-DE" sz="700">
                  <a:solidFill>
                    <a:srgbClr val="003C50"/>
                  </a:solidFill>
                </a:endParaRPr>
              </a:p>
              <a:p>
                <a:pPr algn="ctr"/>
                <a:r>
                  <a:rPr lang="de-DE" sz="700">
                    <a:solidFill>
                      <a:srgbClr val="003C50"/>
                    </a:solidFill>
                  </a:rPr>
                  <a:t>Zensus</a:t>
                </a:r>
              </a:p>
            </p:txBody>
          </p:sp>
          <p:grpSp>
            <p:nvGrpSpPr>
              <p:cNvPr id="24" name="Group 23">
                <a:extLst>
                  <a:ext uri="{FF2B5EF4-FFF2-40B4-BE49-F238E27FC236}">
                    <a16:creationId xmlns:a16="http://schemas.microsoft.com/office/drawing/2014/main" id="{0CA047A7-2AA0-5185-2468-ABA3315ABE04}"/>
                  </a:ext>
                </a:extLst>
              </p:cNvPr>
              <p:cNvGrpSpPr>
                <a:grpSpLocks noChangeAspect="1"/>
              </p:cNvGrpSpPr>
              <p:nvPr>
                <p:custDataLst>
                  <p:tags r:id="rId16"/>
                </p:custDataLst>
              </p:nvPr>
            </p:nvGrpSpPr>
            <p:grpSpPr>
              <a:xfrm>
                <a:off x="4798866" y="2837192"/>
                <a:ext cx="288000" cy="288000"/>
                <a:chOff x="1270000" y="1270000"/>
                <a:chExt cx="889000" cy="889000"/>
              </a:xfrm>
            </p:grpSpPr>
            <p:sp>
              <p:nvSpPr>
                <p:cNvPr id="25" name="Rectangle 24" hidden="1">
                  <a:extLst>
                    <a:ext uri="{FF2B5EF4-FFF2-40B4-BE49-F238E27FC236}">
                      <a16:creationId xmlns:a16="http://schemas.microsoft.com/office/drawing/2014/main" id="{B6C57507-22F0-860F-E0C7-3B362F8DCCB0}"/>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26" name="Graphic 25">
                  <a:extLst>
                    <a:ext uri="{FF2B5EF4-FFF2-40B4-BE49-F238E27FC236}">
                      <a16:creationId xmlns:a16="http://schemas.microsoft.com/office/drawing/2014/main" id="{E57C93E5-BD9E-24A2-9960-CFC197F1D047}"/>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270000" y="1270000"/>
                  <a:ext cx="889000" cy="889000"/>
                </a:xfrm>
                <a:prstGeom prst="rect">
                  <a:avLst/>
                </a:prstGeom>
              </p:spPr>
            </p:pic>
          </p:grpSp>
        </p:grpSp>
      </p:grpSp>
      <p:sp>
        <p:nvSpPr>
          <p:cNvPr id="43" name="Isosceles Triangle 42">
            <a:extLst>
              <a:ext uri="{FF2B5EF4-FFF2-40B4-BE49-F238E27FC236}">
                <a16:creationId xmlns:a16="http://schemas.microsoft.com/office/drawing/2014/main" id="{417FCB23-7EB7-00EE-044E-9E7C8E661AAB}"/>
              </a:ext>
            </a:extLst>
          </p:cNvPr>
          <p:cNvSpPr/>
          <p:nvPr/>
        </p:nvSpPr>
        <p:spPr bwMode="gray">
          <a:xfrm rot="5400000">
            <a:off x="1777069" y="3473408"/>
            <a:ext cx="648000" cy="216000"/>
          </a:xfrm>
          <a:prstGeom prst="triangle">
            <a:avLst/>
          </a:prstGeom>
          <a:solidFill>
            <a:schemeClr val="accent6">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8725" tIns="28725" rIns="28725" bIns="28725" rtlCol="0" anchor="ctr">
            <a:noAutofit/>
          </a:bodyPr>
          <a:lstStyle/>
          <a:p>
            <a:pPr algn="ctr"/>
            <a:endParaRPr lang="de-DE" sz="1117">
              <a:solidFill>
                <a:schemeClr val="tx1"/>
              </a:solidFill>
            </a:endParaRPr>
          </a:p>
        </p:txBody>
      </p:sp>
      <p:grpSp>
        <p:nvGrpSpPr>
          <p:cNvPr id="44" name="Group 43">
            <a:extLst>
              <a:ext uri="{FF2B5EF4-FFF2-40B4-BE49-F238E27FC236}">
                <a16:creationId xmlns:a16="http://schemas.microsoft.com/office/drawing/2014/main" id="{D6598A12-BB40-C7CD-5AC5-5DDE69FA9275}"/>
              </a:ext>
            </a:extLst>
          </p:cNvPr>
          <p:cNvGrpSpPr/>
          <p:nvPr/>
        </p:nvGrpSpPr>
        <p:grpSpPr>
          <a:xfrm>
            <a:off x="6556498" y="1076248"/>
            <a:ext cx="3024000" cy="1401498"/>
            <a:chOff x="6556498" y="1076248"/>
            <a:chExt cx="3024000" cy="1401498"/>
          </a:xfrm>
        </p:grpSpPr>
        <p:sp>
          <p:nvSpPr>
            <p:cNvPr id="45" name="Rectangle 44">
              <a:extLst>
                <a:ext uri="{FF2B5EF4-FFF2-40B4-BE49-F238E27FC236}">
                  <a16:creationId xmlns:a16="http://schemas.microsoft.com/office/drawing/2014/main" id="{AF42BF5F-1C55-7796-9917-DD27D46610E8}"/>
                </a:ext>
              </a:extLst>
            </p:cNvPr>
            <p:cNvSpPr/>
            <p:nvPr/>
          </p:nvSpPr>
          <p:spPr bwMode="gray">
            <a:xfrm>
              <a:off x="6556498" y="1076248"/>
              <a:ext cx="3024000" cy="140149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Zielszenarien und Zielpfade für 2030, 2035, 2040 und 2045 </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Zentrale und Dezentrale Wärmeversorgungsgebiete</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Energie- und THG-Bilanz </a:t>
              </a:r>
            </a:p>
          </p:txBody>
        </p:sp>
        <p:sp>
          <p:nvSpPr>
            <p:cNvPr id="46" name="Rectangle 45">
              <a:extLst>
                <a:ext uri="{FF2B5EF4-FFF2-40B4-BE49-F238E27FC236}">
                  <a16:creationId xmlns:a16="http://schemas.microsoft.com/office/drawing/2014/main" id="{C68FCF07-B902-552F-1DF3-0F9EFE555BC6}"/>
                </a:ext>
              </a:extLst>
            </p:cNvPr>
            <p:cNvSpPr/>
            <p:nvPr/>
          </p:nvSpPr>
          <p:spPr bwMode="gray">
            <a:xfrm>
              <a:off x="6594597" y="1083863"/>
              <a:ext cx="2232000" cy="432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rPr>
                <a:t>Zielszenario</a:t>
              </a:r>
            </a:p>
          </p:txBody>
        </p:sp>
        <p:grpSp>
          <p:nvGrpSpPr>
            <p:cNvPr id="47" name="Group 46">
              <a:extLst>
                <a:ext uri="{FF2B5EF4-FFF2-40B4-BE49-F238E27FC236}">
                  <a16:creationId xmlns:a16="http://schemas.microsoft.com/office/drawing/2014/main" id="{1165CB81-1A2F-A09D-020E-E256B23733AA}"/>
                </a:ext>
              </a:extLst>
            </p:cNvPr>
            <p:cNvGrpSpPr>
              <a:grpSpLocks noChangeAspect="1"/>
            </p:cNvGrpSpPr>
            <p:nvPr>
              <p:custDataLst>
                <p:tags r:id="rId15"/>
              </p:custDataLst>
            </p:nvPr>
          </p:nvGrpSpPr>
          <p:grpSpPr>
            <a:xfrm rot="600000">
              <a:off x="6630868" y="1129307"/>
              <a:ext cx="324000" cy="324000"/>
              <a:chOff x="1270000" y="1270000"/>
              <a:chExt cx="889000" cy="889000"/>
            </a:xfrm>
            <a:solidFill>
              <a:schemeClr val="tx2"/>
            </a:solidFill>
          </p:grpSpPr>
          <p:sp>
            <p:nvSpPr>
              <p:cNvPr id="48" name="Rectangle 47" hidden="1">
                <a:extLst>
                  <a:ext uri="{FF2B5EF4-FFF2-40B4-BE49-F238E27FC236}">
                    <a16:creationId xmlns:a16="http://schemas.microsoft.com/office/drawing/2014/main" id="{247942EC-3F93-C005-01C4-DE6D6C035F4D}"/>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49" name="Graphic 48">
                <a:extLst>
                  <a:ext uri="{FF2B5EF4-FFF2-40B4-BE49-F238E27FC236}">
                    <a16:creationId xmlns:a16="http://schemas.microsoft.com/office/drawing/2014/main" id="{22702DBE-3153-AB4B-C377-FAB9D99C0171}"/>
                  </a:ext>
                </a:extLst>
              </p:cNvPr>
              <p:cNvPicPr>
                <a:picLocks noChangeAspect="1"/>
              </p:cNvPicPr>
              <p:nvPr/>
            </p:nvPicPr>
            <p:blipFill>
              <a:blip r:embed="rId37" cstate="print">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1270000" y="1270000"/>
                <a:ext cx="889000" cy="889000"/>
              </a:xfrm>
              <a:prstGeom prst="rect">
                <a:avLst/>
              </a:prstGeom>
            </p:spPr>
          </p:pic>
        </p:grpSp>
      </p:grpSp>
      <p:grpSp>
        <p:nvGrpSpPr>
          <p:cNvPr id="50" name="Group 49">
            <a:extLst>
              <a:ext uri="{FF2B5EF4-FFF2-40B4-BE49-F238E27FC236}">
                <a16:creationId xmlns:a16="http://schemas.microsoft.com/office/drawing/2014/main" id="{92618B62-144E-283A-B3DA-7C975C5EA21E}"/>
              </a:ext>
            </a:extLst>
          </p:cNvPr>
          <p:cNvGrpSpPr/>
          <p:nvPr/>
        </p:nvGrpSpPr>
        <p:grpSpPr>
          <a:xfrm>
            <a:off x="2263516" y="2649771"/>
            <a:ext cx="1815735" cy="1899454"/>
            <a:chOff x="2499748" y="3145533"/>
            <a:chExt cx="1905878" cy="2060431"/>
          </a:xfrm>
        </p:grpSpPr>
        <p:sp>
          <p:nvSpPr>
            <p:cNvPr id="51" name="Arc 50">
              <a:extLst>
                <a:ext uri="{FF2B5EF4-FFF2-40B4-BE49-F238E27FC236}">
                  <a16:creationId xmlns:a16="http://schemas.microsoft.com/office/drawing/2014/main" id="{0B97C448-86EA-B13F-6B96-B665564FF637}"/>
                </a:ext>
              </a:extLst>
            </p:cNvPr>
            <p:cNvSpPr/>
            <p:nvPr/>
          </p:nvSpPr>
          <p:spPr>
            <a:xfrm rot="7200000">
              <a:off x="2499748" y="3170362"/>
              <a:ext cx="1891612" cy="1891612"/>
            </a:xfrm>
            <a:prstGeom prst="arc">
              <a:avLst>
                <a:gd name="adj1" fmla="val 16200000"/>
                <a:gd name="adj2" fmla="val 1738621"/>
              </a:avLst>
            </a:prstGeom>
            <a:ln w="2857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2" name="Arc 51">
              <a:extLst>
                <a:ext uri="{FF2B5EF4-FFF2-40B4-BE49-F238E27FC236}">
                  <a16:creationId xmlns:a16="http://schemas.microsoft.com/office/drawing/2014/main" id="{11A34ACD-B44E-FD8A-3BCE-2D808FFF8B2B}"/>
                </a:ext>
              </a:extLst>
            </p:cNvPr>
            <p:cNvSpPr/>
            <p:nvPr/>
          </p:nvSpPr>
          <p:spPr>
            <a:xfrm rot="14400000">
              <a:off x="2505925" y="3163048"/>
              <a:ext cx="1891612" cy="1891612"/>
            </a:xfrm>
            <a:prstGeom prst="arc">
              <a:avLst>
                <a:gd name="adj1" fmla="val 16200000"/>
                <a:gd name="adj2" fmla="val 1738621"/>
              </a:avLst>
            </a:prstGeom>
            <a:ln w="2857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nvGrpSpPr>
            <p:cNvPr id="53" name="Group 52">
              <a:extLst>
                <a:ext uri="{FF2B5EF4-FFF2-40B4-BE49-F238E27FC236}">
                  <a16:creationId xmlns:a16="http://schemas.microsoft.com/office/drawing/2014/main" id="{BFCBD1F5-79B9-E18F-5B4B-E88AD53760FF}"/>
                </a:ext>
              </a:extLst>
            </p:cNvPr>
            <p:cNvGrpSpPr/>
            <p:nvPr/>
          </p:nvGrpSpPr>
          <p:grpSpPr>
            <a:xfrm>
              <a:off x="2514014" y="3145533"/>
              <a:ext cx="1891612" cy="2060431"/>
              <a:chOff x="2514014" y="3145533"/>
              <a:chExt cx="1891612" cy="2060431"/>
            </a:xfrm>
          </p:grpSpPr>
          <p:pic>
            <p:nvPicPr>
              <p:cNvPr id="54" name="Picture 53">
                <a:extLst>
                  <a:ext uri="{FF2B5EF4-FFF2-40B4-BE49-F238E27FC236}">
                    <a16:creationId xmlns:a16="http://schemas.microsoft.com/office/drawing/2014/main" id="{F4373C9A-18EA-E9B0-D330-02648357A735}"/>
                  </a:ext>
                </a:extLst>
              </p:cNvPr>
              <p:cNvPicPr>
                <a:picLocks noChangeAspect="1"/>
              </p:cNvPicPr>
              <p:nvPr/>
            </p:nvPicPr>
            <p:blipFill rotWithShape="1">
              <a:blip r:embed="rId39" cstate="screen">
                <a:extLst>
                  <a:ext uri="{28A0092B-C50C-407E-A947-70E740481C1C}">
                    <a14:useLocalDpi xmlns:a14="http://schemas.microsoft.com/office/drawing/2010/main"/>
                  </a:ext>
                </a:extLst>
              </a:blip>
              <a:srcRect/>
              <a:stretch/>
            </p:blipFill>
            <p:spPr>
              <a:xfrm>
                <a:off x="2655991" y="3305015"/>
                <a:ext cx="1613286" cy="1630573"/>
              </a:xfrm>
              <a:prstGeom prst="ellipse">
                <a:avLst/>
              </a:prstGeom>
              <a:ln/>
            </p:spPr>
          </p:pic>
          <p:sp>
            <p:nvSpPr>
              <p:cNvPr id="55" name="Rectangle 54">
                <a:extLst>
                  <a:ext uri="{FF2B5EF4-FFF2-40B4-BE49-F238E27FC236}">
                    <a16:creationId xmlns:a16="http://schemas.microsoft.com/office/drawing/2014/main" id="{F2F707B7-DB7B-530A-64F9-0D31376944D0}"/>
                  </a:ext>
                </a:extLst>
              </p:cNvPr>
              <p:cNvSpPr/>
              <p:nvPr/>
            </p:nvSpPr>
            <p:spPr bwMode="gray">
              <a:xfrm>
                <a:off x="3141611" y="4547032"/>
                <a:ext cx="696406" cy="400778"/>
              </a:xfrm>
              <a:prstGeom prst="rect">
                <a:avLst/>
              </a:prstGeom>
              <a:solidFill>
                <a:srgbClr val="FFFFFF">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r>
                  <a:rPr lang="de-DE" sz="1000" b="1">
                    <a:solidFill>
                      <a:schemeClr val="tx1"/>
                    </a:solidFill>
                  </a:rPr>
                  <a:t>Digitaler Zwilling</a:t>
                </a:r>
              </a:p>
            </p:txBody>
          </p:sp>
          <p:sp>
            <p:nvSpPr>
              <p:cNvPr id="56" name="Arc 55">
                <a:extLst>
                  <a:ext uri="{FF2B5EF4-FFF2-40B4-BE49-F238E27FC236}">
                    <a16:creationId xmlns:a16="http://schemas.microsoft.com/office/drawing/2014/main" id="{F66A47EF-BC14-9C28-B944-AB97BF0BEA2E}"/>
                  </a:ext>
                </a:extLst>
              </p:cNvPr>
              <p:cNvSpPr/>
              <p:nvPr/>
            </p:nvSpPr>
            <p:spPr>
              <a:xfrm>
                <a:off x="2514014" y="3153831"/>
                <a:ext cx="1891612" cy="1891612"/>
              </a:xfrm>
              <a:prstGeom prst="arc">
                <a:avLst>
                  <a:gd name="adj1" fmla="val 16200000"/>
                  <a:gd name="adj2" fmla="val 1738621"/>
                </a:avLst>
              </a:prstGeom>
              <a:ln w="2857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7" name="Rectangle 56">
                <a:extLst>
                  <a:ext uri="{FF2B5EF4-FFF2-40B4-BE49-F238E27FC236}">
                    <a16:creationId xmlns:a16="http://schemas.microsoft.com/office/drawing/2014/main" id="{B1198E05-023E-E7D0-45B1-BCAA3E0C6A01}"/>
                  </a:ext>
                </a:extLst>
              </p:cNvPr>
              <p:cNvSpPr/>
              <p:nvPr>
                <p:custDataLst>
                  <p:tags r:id="rId13"/>
                </p:custDataLst>
              </p:nvPr>
            </p:nvSpPr>
            <p:spPr bwMode="gray">
              <a:xfrm rot="18366090">
                <a:off x="2377316" y="3329611"/>
                <a:ext cx="1038031" cy="6698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prstTxWarp prst="textArchUp">
                  <a:avLst/>
                </a:prstTxWarp>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r>
                  <a:rPr lang="de-DE" sz="900" b="1">
                    <a:solidFill>
                      <a:schemeClr val="tx1"/>
                    </a:solidFill>
                  </a:rPr>
                  <a:t>Erfassung</a:t>
                </a:r>
                <a:endParaRPr lang="de-DE" sz="1000" b="1">
                  <a:solidFill>
                    <a:schemeClr val="tx1"/>
                  </a:solidFill>
                </a:endParaRPr>
              </a:p>
            </p:txBody>
          </p:sp>
          <p:sp>
            <p:nvSpPr>
              <p:cNvPr id="58" name="Rectangle 57">
                <a:extLst>
                  <a:ext uri="{FF2B5EF4-FFF2-40B4-BE49-F238E27FC236}">
                    <a16:creationId xmlns:a16="http://schemas.microsoft.com/office/drawing/2014/main" id="{7B661DCB-349D-D63B-83F8-7130C6536595}"/>
                  </a:ext>
                </a:extLst>
              </p:cNvPr>
              <p:cNvSpPr/>
              <p:nvPr/>
            </p:nvSpPr>
            <p:spPr bwMode="gray">
              <a:xfrm>
                <a:off x="2924717" y="4537436"/>
                <a:ext cx="1038031" cy="6685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prstTxWarp prst="textArchDown">
                  <a:avLst/>
                </a:prstTxWarp>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r>
                  <a:rPr lang="de-DE" sz="900" b="1">
                    <a:solidFill>
                      <a:schemeClr val="tx1"/>
                    </a:solidFill>
                  </a:rPr>
                  <a:t>Validierung</a:t>
                </a:r>
                <a:endParaRPr lang="de-DE" sz="1000" b="1">
                  <a:solidFill>
                    <a:schemeClr val="tx1"/>
                  </a:solidFill>
                </a:endParaRPr>
              </a:p>
            </p:txBody>
          </p:sp>
          <p:sp>
            <p:nvSpPr>
              <p:cNvPr id="59" name="Rectangle 58">
                <a:extLst>
                  <a:ext uri="{FF2B5EF4-FFF2-40B4-BE49-F238E27FC236}">
                    <a16:creationId xmlns:a16="http://schemas.microsoft.com/office/drawing/2014/main" id="{AE971BDD-A2A5-063E-0CC7-8BBB1DDE2B7B}"/>
                  </a:ext>
                </a:extLst>
              </p:cNvPr>
              <p:cNvSpPr/>
              <p:nvPr>
                <p:custDataLst>
                  <p:tags r:id="rId14"/>
                </p:custDataLst>
              </p:nvPr>
            </p:nvSpPr>
            <p:spPr bwMode="gray">
              <a:xfrm rot="3200378">
                <a:off x="3540232" y="3347597"/>
                <a:ext cx="1038031" cy="6698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prstTxWarp prst="textArchUp">
                  <a:avLst/>
                </a:prstTxWarp>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r>
                  <a:rPr lang="de-DE" sz="900" b="1">
                    <a:solidFill>
                      <a:schemeClr val="tx1"/>
                    </a:solidFill>
                  </a:rPr>
                  <a:t>Verarbeitung</a:t>
                </a:r>
                <a:endParaRPr lang="de-DE" sz="1000" b="1">
                  <a:solidFill>
                    <a:schemeClr val="tx1"/>
                  </a:solidFill>
                </a:endParaRPr>
              </a:p>
            </p:txBody>
          </p:sp>
        </p:grpSp>
      </p:grpSp>
      <p:sp>
        <p:nvSpPr>
          <p:cNvPr id="60" name="Isosceles Triangle 59">
            <a:extLst>
              <a:ext uri="{FF2B5EF4-FFF2-40B4-BE49-F238E27FC236}">
                <a16:creationId xmlns:a16="http://schemas.microsoft.com/office/drawing/2014/main" id="{6ECF030B-8598-3FE5-D550-74ECCC3E456A}"/>
              </a:ext>
            </a:extLst>
          </p:cNvPr>
          <p:cNvSpPr/>
          <p:nvPr/>
        </p:nvSpPr>
        <p:spPr bwMode="gray">
          <a:xfrm rot="5400000">
            <a:off x="4088271" y="2980305"/>
            <a:ext cx="648000" cy="216000"/>
          </a:xfrm>
          <a:prstGeom prst="triangle">
            <a:avLst/>
          </a:prstGeom>
          <a:solidFill>
            <a:schemeClr val="accent6">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8725" tIns="28725" rIns="28725" bIns="28725" rtlCol="0" anchor="ctr">
            <a:noAutofit/>
          </a:bodyPr>
          <a:lstStyle/>
          <a:p>
            <a:pPr algn="ctr"/>
            <a:endParaRPr lang="de-DE" sz="1117">
              <a:solidFill>
                <a:schemeClr val="tx1"/>
              </a:solidFill>
            </a:endParaRPr>
          </a:p>
        </p:txBody>
      </p:sp>
      <p:sp>
        <p:nvSpPr>
          <p:cNvPr id="61" name="Isosceles Triangle 60">
            <a:extLst>
              <a:ext uri="{FF2B5EF4-FFF2-40B4-BE49-F238E27FC236}">
                <a16:creationId xmlns:a16="http://schemas.microsoft.com/office/drawing/2014/main" id="{11BDBEDF-098A-C3AF-49EE-E0678F5F359D}"/>
              </a:ext>
            </a:extLst>
          </p:cNvPr>
          <p:cNvSpPr/>
          <p:nvPr/>
        </p:nvSpPr>
        <p:spPr bwMode="gray">
          <a:xfrm rot="16200000" flipH="1">
            <a:off x="4104115" y="3695856"/>
            <a:ext cx="648000" cy="216000"/>
          </a:xfrm>
          <a:prstGeom prst="triangle">
            <a:avLst/>
          </a:prstGeom>
          <a:solidFill>
            <a:schemeClr val="accent6">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8725" tIns="28725" rIns="28725" bIns="28725" rtlCol="0" anchor="ctr">
            <a:noAutofit/>
          </a:bodyPr>
          <a:lstStyle/>
          <a:p>
            <a:pPr algn="ctr"/>
            <a:endParaRPr lang="de-DE" sz="1117">
              <a:solidFill>
                <a:schemeClr val="tx1"/>
              </a:solidFill>
            </a:endParaRPr>
          </a:p>
        </p:txBody>
      </p:sp>
      <p:grpSp>
        <p:nvGrpSpPr>
          <p:cNvPr id="62" name="Group 61">
            <a:extLst>
              <a:ext uri="{FF2B5EF4-FFF2-40B4-BE49-F238E27FC236}">
                <a16:creationId xmlns:a16="http://schemas.microsoft.com/office/drawing/2014/main" id="{10DCAA8C-CF8A-034A-49BC-930324A3821C}"/>
              </a:ext>
            </a:extLst>
          </p:cNvPr>
          <p:cNvGrpSpPr>
            <a:grpSpLocks noChangeAspect="1"/>
          </p:cNvGrpSpPr>
          <p:nvPr/>
        </p:nvGrpSpPr>
        <p:grpSpPr>
          <a:xfrm>
            <a:off x="4692337" y="2838454"/>
            <a:ext cx="792000" cy="633393"/>
            <a:chOff x="4277541" y="4858935"/>
            <a:chExt cx="834030" cy="667004"/>
          </a:xfrm>
        </p:grpSpPr>
        <p:sp>
          <p:nvSpPr>
            <p:cNvPr id="63" name="Rectangle 62">
              <a:extLst>
                <a:ext uri="{FF2B5EF4-FFF2-40B4-BE49-F238E27FC236}">
                  <a16:creationId xmlns:a16="http://schemas.microsoft.com/office/drawing/2014/main" id="{0097B51E-7E3B-638D-5E62-860DAFFBE59F}"/>
                </a:ext>
              </a:extLst>
            </p:cNvPr>
            <p:cNvSpPr/>
            <p:nvPr/>
          </p:nvSpPr>
          <p:spPr bwMode="gray">
            <a:xfrm>
              <a:off x="4277541" y="4858935"/>
              <a:ext cx="834030" cy="667004"/>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t">
              <a:noAutofit/>
            </a:bodyPr>
            <a:lstStyle/>
            <a:p>
              <a:pPr algn="ctr">
                <a:lnSpc>
                  <a:spcPct val="95000"/>
                </a:lnSpc>
                <a:spcAft>
                  <a:spcPts val="200"/>
                </a:spcAft>
              </a:pPr>
              <a:r>
                <a:rPr lang="de-DE" sz="700">
                  <a:solidFill>
                    <a:schemeClr val="tx1"/>
                  </a:solidFill>
                </a:rPr>
                <a:t>Identifikation von Freiflächen</a:t>
              </a:r>
            </a:p>
          </p:txBody>
        </p:sp>
        <p:grpSp>
          <p:nvGrpSpPr>
            <p:cNvPr id="64" name="Group 63">
              <a:extLst>
                <a:ext uri="{FF2B5EF4-FFF2-40B4-BE49-F238E27FC236}">
                  <a16:creationId xmlns:a16="http://schemas.microsoft.com/office/drawing/2014/main" id="{187FE706-C2FC-4468-0452-1FD45C3A9BDA}"/>
                </a:ext>
              </a:extLst>
            </p:cNvPr>
            <p:cNvGrpSpPr>
              <a:grpSpLocks noChangeAspect="1"/>
            </p:cNvGrpSpPr>
            <p:nvPr>
              <p:custDataLst>
                <p:tags r:id="rId12"/>
              </p:custDataLst>
            </p:nvPr>
          </p:nvGrpSpPr>
          <p:grpSpPr>
            <a:xfrm>
              <a:off x="4486031" y="4869923"/>
              <a:ext cx="423127" cy="417052"/>
              <a:chOff x="1257051" y="1270000"/>
              <a:chExt cx="901949" cy="889000"/>
            </a:xfrm>
          </p:grpSpPr>
          <p:sp>
            <p:nvSpPr>
              <p:cNvPr id="65" name="Rectangle 64" hidden="1">
                <a:extLst>
                  <a:ext uri="{FF2B5EF4-FFF2-40B4-BE49-F238E27FC236}">
                    <a16:creationId xmlns:a16="http://schemas.microsoft.com/office/drawing/2014/main" id="{A2B4C4F9-B281-0BF8-8CC7-D2543A69B8AF}"/>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ctr">
                <a:noAutofit/>
              </a:bodyPr>
              <a:lstStyle/>
              <a:p>
                <a:pPr algn="ctr"/>
                <a:endParaRPr lang="de-DE" sz="700" err="1">
                  <a:solidFill>
                    <a:schemeClr val="tx1"/>
                  </a:solidFill>
                </a:endParaRPr>
              </a:p>
            </p:txBody>
          </p:sp>
          <p:pic>
            <p:nvPicPr>
              <p:cNvPr id="66" name="Graphic 65">
                <a:extLst>
                  <a:ext uri="{FF2B5EF4-FFF2-40B4-BE49-F238E27FC236}">
                    <a16:creationId xmlns:a16="http://schemas.microsoft.com/office/drawing/2014/main" id="{4501B196-66C1-233D-7A6D-4A09D2DF71C0}"/>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1257051" y="1270000"/>
                <a:ext cx="889000" cy="889000"/>
              </a:xfrm>
              <a:prstGeom prst="rect">
                <a:avLst/>
              </a:prstGeom>
            </p:spPr>
          </p:pic>
        </p:grpSp>
      </p:grpSp>
      <p:grpSp>
        <p:nvGrpSpPr>
          <p:cNvPr id="67" name="Group 66">
            <a:extLst>
              <a:ext uri="{FF2B5EF4-FFF2-40B4-BE49-F238E27FC236}">
                <a16:creationId xmlns:a16="http://schemas.microsoft.com/office/drawing/2014/main" id="{89E65070-FCC5-3D94-54D4-7CA4A617CBD5}"/>
              </a:ext>
            </a:extLst>
          </p:cNvPr>
          <p:cNvGrpSpPr>
            <a:grpSpLocks noChangeAspect="1"/>
          </p:cNvGrpSpPr>
          <p:nvPr/>
        </p:nvGrpSpPr>
        <p:grpSpPr>
          <a:xfrm>
            <a:off x="5556337" y="2806054"/>
            <a:ext cx="792000" cy="666915"/>
            <a:chOff x="3804782" y="4739109"/>
            <a:chExt cx="834030" cy="702308"/>
          </a:xfrm>
        </p:grpSpPr>
        <p:sp>
          <p:nvSpPr>
            <p:cNvPr id="68" name="Rectangle 67">
              <a:extLst>
                <a:ext uri="{FF2B5EF4-FFF2-40B4-BE49-F238E27FC236}">
                  <a16:creationId xmlns:a16="http://schemas.microsoft.com/office/drawing/2014/main" id="{FD526A02-AB02-CFA5-8F09-40A164AE209B}"/>
                </a:ext>
              </a:extLst>
            </p:cNvPr>
            <p:cNvSpPr/>
            <p:nvPr/>
          </p:nvSpPr>
          <p:spPr bwMode="gray">
            <a:xfrm>
              <a:off x="3804782" y="4774413"/>
              <a:ext cx="834030" cy="667004"/>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t">
              <a:noAutofit/>
            </a:bodyPr>
            <a:lstStyle/>
            <a:p>
              <a:pPr algn="ctr">
                <a:lnSpc>
                  <a:spcPct val="95000"/>
                </a:lnSpc>
                <a:spcAft>
                  <a:spcPts val="200"/>
                </a:spcAft>
              </a:pPr>
              <a:r>
                <a:rPr lang="de-DE" sz="700">
                  <a:solidFill>
                    <a:schemeClr val="tx1"/>
                  </a:solidFill>
                </a:rPr>
                <a:t>Sanierungs-potenzial</a:t>
              </a:r>
            </a:p>
          </p:txBody>
        </p:sp>
        <p:grpSp>
          <p:nvGrpSpPr>
            <p:cNvPr id="69" name="Group 68">
              <a:extLst>
                <a:ext uri="{FF2B5EF4-FFF2-40B4-BE49-F238E27FC236}">
                  <a16:creationId xmlns:a16="http://schemas.microsoft.com/office/drawing/2014/main" id="{ED86AB91-EA58-29D8-C1FF-02EAC7B0B81C}"/>
                </a:ext>
              </a:extLst>
            </p:cNvPr>
            <p:cNvGrpSpPr>
              <a:grpSpLocks noChangeAspect="1"/>
            </p:cNvGrpSpPr>
            <p:nvPr>
              <p:custDataLst>
                <p:tags r:id="rId11"/>
              </p:custDataLst>
            </p:nvPr>
          </p:nvGrpSpPr>
          <p:grpSpPr>
            <a:xfrm>
              <a:off x="3996287" y="4739109"/>
              <a:ext cx="437117" cy="458525"/>
              <a:chOff x="1270000" y="1195836"/>
              <a:chExt cx="918199" cy="963164"/>
            </a:xfrm>
          </p:grpSpPr>
          <p:sp>
            <p:nvSpPr>
              <p:cNvPr id="70" name="Rectangle 69" hidden="1">
                <a:extLst>
                  <a:ext uri="{FF2B5EF4-FFF2-40B4-BE49-F238E27FC236}">
                    <a16:creationId xmlns:a16="http://schemas.microsoft.com/office/drawing/2014/main" id="{648DD0FF-C05F-C33E-7E86-1DAE54C1B7D1}"/>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ctr">
                <a:noAutofit/>
              </a:bodyPr>
              <a:lstStyle/>
              <a:p>
                <a:pPr algn="ctr"/>
                <a:endParaRPr lang="de-DE" sz="700" err="1">
                  <a:solidFill>
                    <a:schemeClr val="tx1"/>
                  </a:solidFill>
                </a:endParaRPr>
              </a:p>
            </p:txBody>
          </p:sp>
          <p:pic>
            <p:nvPicPr>
              <p:cNvPr id="71" name="Graphic 70">
                <a:extLst>
                  <a:ext uri="{FF2B5EF4-FFF2-40B4-BE49-F238E27FC236}">
                    <a16:creationId xmlns:a16="http://schemas.microsoft.com/office/drawing/2014/main" id="{8889E83B-8C8F-90F6-5AF3-90E68E257CEE}"/>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1299199" y="1195836"/>
                <a:ext cx="889000" cy="888999"/>
              </a:xfrm>
              <a:prstGeom prst="rect">
                <a:avLst/>
              </a:prstGeom>
            </p:spPr>
          </p:pic>
        </p:grpSp>
      </p:grpSp>
      <p:grpSp>
        <p:nvGrpSpPr>
          <p:cNvPr id="72" name="Group 71">
            <a:extLst>
              <a:ext uri="{FF2B5EF4-FFF2-40B4-BE49-F238E27FC236}">
                <a16:creationId xmlns:a16="http://schemas.microsoft.com/office/drawing/2014/main" id="{2F14561A-B927-0594-9EDC-918DF83A8C5A}"/>
              </a:ext>
            </a:extLst>
          </p:cNvPr>
          <p:cNvGrpSpPr>
            <a:grpSpLocks noChangeAspect="1"/>
          </p:cNvGrpSpPr>
          <p:nvPr/>
        </p:nvGrpSpPr>
        <p:grpSpPr>
          <a:xfrm>
            <a:off x="4692337" y="3572850"/>
            <a:ext cx="792000" cy="633393"/>
            <a:chOff x="5453036" y="4956073"/>
            <a:chExt cx="834031" cy="667003"/>
          </a:xfrm>
        </p:grpSpPr>
        <p:sp>
          <p:nvSpPr>
            <p:cNvPr id="73" name="Rectangle 72">
              <a:extLst>
                <a:ext uri="{FF2B5EF4-FFF2-40B4-BE49-F238E27FC236}">
                  <a16:creationId xmlns:a16="http://schemas.microsoft.com/office/drawing/2014/main" id="{E759503D-13AA-A896-A2A2-7166D1C97105}"/>
                </a:ext>
              </a:extLst>
            </p:cNvPr>
            <p:cNvSpPr/>
            <p:nvPr/>
          </p:nvSpPr>
          <p:spPr bwMode="gray">
            <a:xfrm>
              <a:off x="5453036" y="4956073"/>
              <a:ext cx="834031" cy="667003"/>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t">
              <a:noAutofit/>
            </a:bodyPr>
            <a:lstStyle/>
            <a:p>
              <a:pPr algn="ctr">
                <a:lnSpc>
                  <a:spcPct val="95000"/>
                </a:lnSpc>
                <a:spcAft>
                  <a:spcPts val="200"/>
                </a:spcAft>
              </a:pPr>
              <a:r>
                <a:rPr lang="de-DE" sz="700">
                  <a:solidFill>
                    <a:schemeClr val="tx1"/>
                  </a:solidFill>
                </a:rPr>
                <a:t>Unvermeidbarer Abwärme</a:t>
              </a:r>
            </a:p>
          </p:txBody>
        </p:sp>
        <p:grpSp>
          <p:nvGrpSpPr>
            <p:cNvPr id="74" name="Group 73">
              <a:extLst>
                <a:ext uri="{FF2B5EF4-FFF2-40B4-BE49-F238E27FC236}">
                  <a16:creationId xmlns:a16="http://schemas.microsoft.com/office/drawing/2014/main" id="{0658110F-AAF6-2F0A-0181-7A6A50EB3255}"/>
                </a:ext>
              </a:extLst>
            </p:cNvPr>
            <p:cNvGrpSpPr>
              <a:grpSpLocks noChangeAspect="1"/>
            </p:cNvGrpSpPr>
            <p:nvPr>
              <p:custDataLst>
                <p:tags r:id="rId9"/>
              </p:custDataLst>
            </p:nvPr>
          </p:nvGrpSpPr>
          <p:grpSpPr>
            <a:xfrm>
              <a:off x="5691078" y="5004112"/>
              <a:ext cx="340966" cy="324000"/>
              <a:chOff x="1270000" y="1270000"/>
              <a:chExt cx="935551" cy="889000"/>
            </a:xfrm>
          </p:grpSpPr>
          <p:sp>
            <p:nvSpPr>
              <p:cNvPr id="75" name="Rectangle 74" hidden="1">
                <a:extLst>
                  <a:ext uri="{FF2B5EF4-FFF2-40B4-BE49-F238E27FC236}">
                    <a16:creationId xmlns:a16="http://schemas.microsoft.com/office/drawing/2014/main" id="{08FE863A-5D8C-C6A0-CC62-7B10816CDEF9}"/>
                  </a:ext>
                </a:extLst>
              </p:cNvPr>
              <p:cNvSpPr/>
              <p:nvPr>
                <p:custDataLst>
                  <p:tags r:id="rId10"/>
                </p:custDataLst>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ctr">
                <a:noAutofit/>
              </a:bodyPr>
              <a:lstStyle/>
              <a:p>
                <a:pPr algn="ctr"/>
                <a:endParaRPr lang="de-DE" sz="700" err="1">
                  <a:solidFill>
                    <a:schemeClr val="tx1"/>
                  </a:solidFill>
                </a:endParaRPr>
              </a:p>
            </p:txBody>
          </p:sp>
          <p:pic>
            <p:nvPicPr>
              <p:cNvPr id="76" name="Graphic 75">
                <a:extLst>
                  <a:ext uri="{FF2B5EF4-FFF2-40B4-BE49-F238E27FC236}">
                    <a16:creationId xmlns:a16="http://schemas.microsoft.com/office/drawing/2014/main" id="{80F7AB58-2360-1D3D-56EC-D61D033015AE}"/>
                  </a:ext>
                </a:extLst>
              </p:cNvPr>
              <p:cNvPicPr>
                <a:picLocks noChangeAspect="1"/>
              </p:cNvPicPr>
              <p:nvPr/>
            </p:nvPicPr>
            <p:blipFill>
              <a:blip r:embed="rId44" cstate="print">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1316551" y="1270000"/>
                <a:ext cx="889000" cy="889000"/>
              </a:xfrm>
              <a:prstGeom prst="rect">
                <a:avLst/>
              </a:prstGeom>
            </p:spPr>
          </p:pic>
        </p:grpSp>
      </p:grpSp>
      <p:grpSp>
        <p:nvGrpSpPr>
          <p:cNvPr id="77" name="Group 76">
            <a:extLst>
              <a:ext uri="{FF2B5EF4-FFF2-40B4-BE49-F238E27FC236}">
                <a16:creationId xmlns:a16="http://schemas.microsoft.com/office/drawing/2014/main" id="{78B90920-08F5-BEC9-190E-E0AA94F98A68}"/>
              </a:ext>
            </a:extLst>
          </p:cNvPr>
          <p:cNvGrpSpPr>
            <a:grpSpLocks noChangeAspect="1"/>
          </p:cNvGrpSpPr>
          <p:nvPr/>
        </p:nvGrpSpPr>
        <p:grpSpPr>
          <a:xfrm>
            <a:off x="5556337" y="3572851"/>
            <a:ext cx="792000" cy="633393"/>
            <a:chOff x="3804787" y="5526943"/>
            <a:chExt cx="834031" cy="667005"/>
          </a:xfrm>
        </p:grpSpPr>
        <p:sp>
          <p:nvSpPr>
            <p:cNvPr id="78" name="Rectangle 77">
              <a:extLst>
                <a:ext uri="{FF2B5EF4-FFF2-40B4-BE49-F238E27FC236}">
                  <a16:creationId xmlns:a16="http://schemas.microsoft.com/office/drawing/2014/main" id="{CCD2B124-1F76-0DAD-9DF8-6B550D7B5A6E}"/>
                </a:ext>
              </a:extLst>
            </p:cNvPr>
            <p:cNvSpPr/>
            <p:nvPr/>
          </p:nvSpPr>
          <p:spPr bwMode="gray">
            <a:xfrm>
              <a:off x="3804787" y="5526943"/>
              <a:ext cx="834031" cy="667005"/>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t">
              <a:noAutofit/>
            </a:bodyPr>
            <a:lstStyle/>
            <a:p>
              <a:pPr algn="ctr">
                <a:lnSpc>
                  <a:spcPct val="95000"/>
                </a:lnSpc>
                <a:spcAft>
                  <a:spcPts val="200"/>
                </a:spcAft>
              </a:pPr>
              <a:r>
                <a:rPr lang="de-DE" sz="700">
                  <a:solidFill>
                    <a:schemeClr val="tx1"/>
                  </a:solidFill>
                </a:rPr>
                <a:t>Wärmenetz-eignungsgebiete</a:t>
              </a:r>
            </a:p>
          </p:txBody>
        </p:sp>
        <p:pic>
          <p:nvPicPr>
            <p:cNvPr id="79" name="Graphic 78">
              <a:extLst>
                <a:ext uri="{FF2B5EF4-FFF2-40B4-BE49-F238E27FC236}">
                  <a16:creationId xmlns:a16="http://schemas.microsoft.com/office/drawing/2014/main" id="{3BCF9CE4-CEED-A07E-A6C8-EC708149B040}"/>
                </a:ext>
              </a:extLst>
            </p:cNvPr>
            <p:cNvPicPr>
              <a:picLocks noChangeAspect="1"/>
            </p:cNvPicPr>
            <p:nvPr/>
          </p:nvPicPr>
          <p:blipFill>
            <a:blip r:embed="rId46" cstate="print">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4059797" y="5569922"/>
              <a:ext cx="324000" cy="324000"/>
            </a:xfrm>
            <a:prstGeom prst="rect">
              <a:avLst/>
            </a:prstGeom>
          </p:spPr>
        </p:pic>
      </p:grpSp>
      <p:sp>
        <p:nvSpPr>
          <p:cNvPr id="80" name="Rectangle 79">
            <a:extLst>
              <a:ext uri="{FF2B5EF4-FFF2-40B4-BE49-F238E27FC236}">
                <a16:creationId xmlns:a16="http://schemas.microsoft.com/office/drawing/2014/main" id="{B8CBB15E-63E4-E5FD-768D-83178DA95668}"/>
              </a:ext>
            </a:extLst>
          </p:cNvPr>
          <p:cNvSpPr/>
          <p:nvPr/>
        </p:nvSpPr>
        <p:spPr bwMode="gray">
          <a:xfrm>
            <a:off x="208026" y="2542866"/>
            <a:ext cx="6198236" cy="2101718"/>
          </a:xfrm>
          <a:prstGeom prst="rect">
            <a:avLst/>
          </a:prstGeom>
          <a:noFill/>
          <a:ln w="12700">
            <a:solidFill>
              <a:srgbClr val="85CEEF">
                <a:alpha val="69804"/>
              </a:srgb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81" name="Isosceles Triangle 80">
            <a:extLst>
              <a:ext uri="{FF2B5EF4-FFF2-40B4-BE49-F238E27FC236}">
                <a16:creationId xmlns:a16="http://schemas.microsoft.com/office/drawing/2014/main" id="{1C4C00D5-9182-C5B6-BD40-71DE3B80BC7D}"/>
              </a:ext>
            </a:extLst>
          </p:cNvPr>
          <p:cNvSpPr/>
          <p:nvPr/>
        </p:nvSpPr>
        <p:spPr bwMode="gray">
          <a:xfrm rot="5400000">
            <a:off x="5556699" y="3487061"/>
            <a:ext cx="2074109" cy="240936"/>
          </a:xfrm>
          <a:prstGeom prst="triangle">
            <a:avLst/>
          </a:prstGeom>
          <a:solidFill>
            <a:schemeClr val="accent6">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8725" tIns="28725" rIns="28725" bIns="28725" rtlCol="0" anchor="ctr">
            <a:noAutofit/>
          </a:bodyPr>
          <a:lstStyle/>
          <a:p>
            <a:pPr algn="ctr"/>
            <a:endParaRPr lang="de-DE" sz="1117">
              <a:solidFill>
                <a:schemeClr val="tx1"/>
              </a:solidFill>
            </a:endParaRPr>
          </a:p>
        </p:txBody>
      </p:sp>
      <p:grpSp>
        <p:nvGrpSpPr>
          <p:cNvPr id="82" name="Group 81">
            <a:extLst>
              <a:ext uri="{FF2B5EF4-FFF2-40B4-BE49-F238E27FC236}">
                <a16:creationId xmlns:a16="http://schemas.microsoft.com/office/drawing/2014/main" id="{42F11AA3-932B-FE61-E723-D2682FF1CF4F}"/>
              </a:ext>
            </a:extLst>
          </p:cNvPr>
          <p:cNvGrpSpPr/>
          <p:nvPr/>
        </p:nvGrpSpPr>
        <p:grpSpPr>
          <a:xfrm>
            <a:off x="6941310" y="2542866"/>
            <a:ext cx="2636943" cy="2180427"/>
            <a:chOff x="6941310" y="2542866"/>
            <a:chExt cx="2636943" cy="2180427"/>
          </a:xfrm>
        </p:grpSpPr>
        <p:pic>
          <p:nvPicPr>
            <p:cNvPr id="83" name="Picture 82">
              <a:extLst>
                <a:ext uri="{FF2B5EF4-FFF2-40B4-BE49-F238E27FC236}">
                  <a16:creationId xmlns:a16="http://schemas.microsoft.com/office/drawing/2014/main" id="{87ECACA7-1B47-BFE4-8D53-8C39C18E26C9}"/>
                </a:ext>
              </a:extLst>
            </p:cNvPr>
            <p:cNvPicPr>
              <a:picLocks noChangeAspect="1"/>
            </p:cNvPicPr>
            <p:nvPr/>
          </p:nvPicPr>
          <p:blipFill rotWithShape="1">
            <a:blip r:embed="rId48" cstate="screen">
              <a:extLst>
                <a:ext uri="{28A0092B-C50C-407E-A947-70E740481C1C}">
                  <a14:useLocalDpi xmlns:a14="http://schemas.microsoft.com/office/drawing/2010/main"/>
                </a:ext>
              </a:extLst>
            </a:blip>
            <a:srcRect/>
            <a:stretch/>
          </p:blipFill>
          <p:spPr>
            <a:xfrm>
              <a:off x="6941310" y="3621697"/>
              <a:ext cx="1152000" cy="900129"/>
            </a:xfrm>
            <a:prstGeom prst="rect">
              <a:avLst/>
            </a:prstGeom>
            <a:ln/>
          </p:spPr>
        </p:pic>
        <p:pic>
          <p:nvPicPr>
            <p:cNvPr id="84" name="Picture 83">
              <a:extLst>
                <a:ext uri="{FF2B5EF4-FFF2-40B4-BE49-F238E27FC236}">
                  <a16:creationId xmlns:a16="http://schemas.microsoft.com/office/drawing/2014/main" id="{CD15DB54-F362-3D8B-9AE4-9CB6508ED4C2}"/>
                </a:ext>
              </a:extLst>
            </p:cNvPr>
            <p:cNvPicPr>
              <a:picLocks noChangeAspect="1"/>
            </p:cNvPicPr>
            <p:nvPr/>
          </p:nvPicPr>
          <p:blipFill rotWithShape="1">
            <a:blip r:embed="rId49" cstate="screen">
              <a:extLst>
                <a:ext uri="{28A0092B-C50C-407E-A947-70E740481C1C}">
                  <a14:useLocalDpi xmlns:a14="http://schemas.microsoft.com/office/drawing/2010/main"/>
                </a:ext>
              </a:extLst>
            </a:blip>
            <a:srcRect/>
            <a:stretch/>
          </p:blipFill>
          <p:spPr>
            <a:xfrm>
              <a:off x="8426253" y="3621697"/>
              <a:ext cx="1152000" cy="900129"/>
            </a:xfrm>
            <a:prstGeom prst="rect">
              <a:avLst/>
            </a:prstGeom>
            <a:ln/>
          </p:spPr>
        </p:pic>
        <p:sp>
          <p:nvSpPr>
            <p:cNvPr id="85" name="TextBox 84">
              <a:extLst>
                <a:ext uri="{FF2B5EF4-FFF2-40B4-BE49-F238E27FC236}">
                  <a16:creationId xmlns:a16="http://schemas.microsoft.com/office/drawing/2014/main" id="{35D4A4C2-4995-7C49-873C-9DAD8B291829}"/>
                </a:ext>
              </a:extLst>
            </p:cNvPr>
            <p:cNvSpPr txBox="1"/>
            <p:nvPr/>
          </p:nvSpPr>
          <p:spPr>
            <a:xfrm>
              <a:off x="6952369" y="4521826"/>
              <a:ext cx="433577" cy="201467"/>
            </a:xfrm>
            <a:prstGeom prst="rect">
              <a:avLst/>
            </a:prstGeom>
            <a:noFill/>
          </p:spPr>
          <p:txBody>
            <a:bodyPr wrap="none" lIns="0" tIns="0" rIns="0" bIns="0" rtlCol="0" anchor="t">
              <a:noAutofit/>
            </a:bodyPr>
            <a:lstStyle/>
            <a:p>
              <a:r>
                <a:rPr lang="de-DE" sz="1200"/>
                <a:t>2025</a:t>
              </a:r>
            </a:p>
          </p:txBody>
        </p:sp>
        <p:sp>
          <p:nvSpPr>
            <p:cNvPr id="86" name="TextBox 85">
              <a:extLst>
                <a:ext uri="{FF2B5EF4-FFF2-40B4-BE49-F238E27FC236}">
                  <a16:creationId xmlns:a16="http://schemas.microsoft.com/office/drawing/2014/main" id="{032D2945-5B7D-0AB0-1D5D-A775DC5D5EC8}"/>
                </a:ext>
              </a:extLst>
            </p:cNvPr>
            <p:cNvSpPr txBox="1"/>
            <p:nvPr/>
          </p:nvSpPr>
          <p:spPr>
            <a:xfrm>
              <a:off x="9137990" y="4514451"/>
              <a:ext cx="433577" cy="201467"/>
            </a:xfrm>
            <a:prstGeom prst="rect">
              <a:avLst/>
            </a:prstGeom>
            <a:noFill/>
          </p:spPr>
          <p:txBody>
            <a:bodyPr wrap="none" lIns="0" tIns="0" rIns="0" bIns="0" rtlCol="0" anchor="t">
              <a:noAutofit/>
            </a:bodyPr>
            <a:lstStyle/>
            <a:p>
              <a:pPr algn="r"/>
              <a:r>
                <a:rPr lang="de-DE" sz="1200"/>
                <a:t>2045</a:t>
              </a:r>
            </a:p>
          </p:txBody>
        </p:sp>
        <p:grpSp>
          <p:nvGrpSpPr>
            <p:cNvPr id="87" name="Group 86">
              <a:extLst>
                <a:ext uri="{FF2B5EF4-FFF2-40B4-BE49-F238E27FC236}">
                  <a16:creationId xmlns:a16="http://schemas.microsoft.com/office/drawing/2014/main" id="{827F64CE-D4DC-3607-D50C-BC5BC213F6DF}"/>
                </a:ext>
              </a:extLst>
            </p:cNvPr>
            <p:cNvGrpSpPr/>
            <p:nvPr/>
          </p:nvGrpSpPr>
          <p:grpSpPr>
            <a:xfrm>
              <a:off x="7452758" y="2542866"/>
              <a:ext cx="1549495" cy="941528"/>
              <a:chOff x="7779601" y="2538328"/>
              <a:chExt cx="1549495" cy="941528"/>
            </a:xfrm>
          </p:grpSpPr>
          <p:pic>
            <p:nvPicPr>
              <p:cNvPr id="90" name="Picture 89" descr="A map of a city&#10;&#10;AI-generated content may be incorrect.">
                <a:extLst>
                  <a:ext uri="{FF2B5EF4-FFF2-40B4-BE49-F238E27FC236}">
                    <a16:creationId xmlns:a16="http://schemas.microsoft.com/office/drawing/2014/main" id="{D9D0C511-D46F-CF02-B08F-CC06C2708722}"/>
                  </a:ext>
                </a:extLst>
              </p:cNvPr>
              <p:cNvPicPr>
                <a:picLocks noChangeAspect="1"/>
              </p:cNvPicPr>
              <p:nvPr/>
            </p:nvPicPr>
            <p:blipFill>
              <a:blip r:embed="rId50" cstate="screen">
                <a:extLst>
                  <a:ext uri="{28A0092B-C50C-407E-A947-70E740481C1C}">
                    <a14:useLocalDpi xmlns:a14="http://schemas.microsoft.com/office/drawing/2010/main"/>
                  </a:ext>
                </a:extLst>
              </a:blip>
              <a:srcRect/>
              <a:stretch/>
            </p:blipFill>
            <p:spPr>
              <a:xfrm>
                <a:off x="7779601" y="2538328"/>
                <a:ext cx="1548000" cy="941528"/>
              </a:xfrm>
              <a:prstGeom prst="rect">
                <a:avLst/>
              </a:prstGeom>
            </p:spPr>
          </p:pic>
          <p:sp>
            <p:nvSpPr>
              <p:cNvPr id="91" name="TextBox 90">
                <a:extLst>
                  <a:ext uri="{FF2B5EF4-FFF2-40B4-BE49-F238E27FC236}">
                    <a16:creationId xmlns:a16="http://schemas.microsoft.com/office/drawing/2014/main" id="{AF112954-90D2-4523-6EE7-11F8EE701A40}"/>
                  </a:ext>
                </a:extLst>
              </p:cNvPr>
              <p:cNvSpPr txBox="1"/>
              <p:nvPr/>
            </p:nvSpPr>
            <p:spPr>
              <a:xfrm>
                <a:off x="7779601" y="2538862"/>
                <a:ext cx="1549495" cy="180207"/>
              </a:xfrm>
              <a:prstGeom prst="rect">
                <a:avLst/>
              </a:prstGeom>
              <a:solidFill>
                <a:srgbClr val="FFFFFF">
                  <a:alpha val="74902"/>
                </a:srgbClr>
              </a:solidFill>
              <a:ln>
                <a:noFill/>
              </a:ln>
            </p:spPr>
            <p:txBody>
              <a:bodyPr wrap="square" lIns="36000" tIns="18000" rIns="36000" bIns="0" rtlCol="0" anchor="t">
                <a:normAutofit/>
              </a:bodyPr>
              <a:lstStyle/>
              <a:p>
                <a:pPr algn="ctr"/>
                <a:r>
                  <a:rPr lang="de-DE" sz="700">
                    <a:solidFill>
                      <a:schemeClr val="accent4">
                        <a:lumMod val="10000"/>
                      </a:schemeClr>
                    </a:solidFill>
                    <a:ea typeface="Roboto Slab" pitchFamily="2" charset="0"/>
                  </a:rPr>
                  <a:t>Eignung für Wärmenetzversorgung</a:t>
                </a:r>
                <a:endParaRPr lang="en-US" sz="700">
                  <a:solidFill>
                    <a:schemeClr val="accent4">
                      <a:lumMod val="10000"/>
                    </a:schemeClr>
                  </a:solidFill>
                  <a:ea typeface="Roboto Slab" pitchFamily="2" charset="0"/>
                </a:endParaRPr>
              </a:p>
            </p:txBody>
          </p:sp>
        </p:grpSp>
        <p:cxnSp>
          <p:nvCxnSpPr>
            <p:cNvPr id="88" name="Connector: Elbow 87">
              <a:extLst>
                <a:ext uri="{FF2B5EF4-FFF2-40B4-BE49-F238E27FC236}">
                  <a16:creationId xmlns:a16="http://schemas.microsoft.com/office/drawing/2014/main" id="{EF4BA2C4-21F1-D19B-FB83-AB960FB15DC9}"/>
                </a:ext>
              </a:extLst>
            </p:cNvPr>
            <p:cNvCxnSpPr/>
            <p:nvPr/>
          </p:nvCxnSpPr>
          <p:spPr>
            <a:xfrm rot="5400000" flipH="1" flipV="1">
              <a:off x="6967259" y="3162722"/>
              <a:ext cx="620584" cy="216789"/>
            </a:xfrm>
            <a:prstGeom prst="bentConnector3">
              <a:avLst>
                <a:gd name="adj1" fmla="val 10034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Connector: Elbow 88">
              <a:extLst>
                <a:ext uri="{FF2B5EF4-FFF2-40B4-BE49-F238E27FC236}">
                  <a16:creationId xmlns:a16="http://schemas.microsoft.com/office/drawing/2014/main" id="{7E847F26-2979-D409-EBC1-A6801FA28025}"/>
                </a:ext>
              </a:extLst>
            </p:cNvPr>
            <p:cNvCxnSpPr>
              <a:cxnSpLocks/>
            </p:cNvCxnSpPr>
            <p:nvPr/>
          </p:nvCxnSpPr>
          <p:spPr>
            <a:xfrm rot="16200000" flipH="1">
              <a:off x="8817883" y="3168896"/>
              <a:ext cx="612027" cy="195879"/>
            </a:xfrm>
            <a:prstGeom prst="bentConnector3">
              <a:avLst>
                <a:gd name="adj1" fmla="val -1047"/>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F00046CD-A062-E5A5-D4B4-FFB964D38456}"/>
              </a:ext>
            </a:extLst>
          </p:cNvPr>
          <p:cNvGrpSpPr/>
          <p:nvPr/>
        </p:nvGrpSpPr>
        <p:grpSpPr>
          <a:xfrm>
            <a:off x="208564" y="4715918"/>
            <a:ext cx="9371934" cy="1306440"/>
            <a:chOff x="208564" y="4715918"/>
            <a:chExt cx="9371934" cy="1306440"/>
          </a:xfrm>
        </p:grpSpPr>
        <p:grpSp>
          <p:nvGrpSpPr>
            <p:cNvPr id="93" name="Group 92">
              <a:extLst>
                <a:ext uri="{FF2B5EF4-FFF2-40B4-BE49-F238E27FC236}">
                  <a16:creationId xmlns:a16="http://schemas.microsoft.com/office/drawing/2014/main" id="{C6A813FB-4870-D9E8-8013-2006768E8070}"/>
                </a:ext>
              </a:extLst>
            </p:cNvPr>
            <p:cNvGrpSpPr/>
            <p:nvPr/>
          </p:nvGrpSpPr>
          <p:grpSpPr>
            <a:xfrm>
              <a:off x="502106" y="4823348"/>
              <a:ext cx="1476000" cy="1132776"/>
              <a:chOff x="502106" y="4823348"/>
              <a:chExt cx="1476000" cy="1132776"/>
            </a:xfrm>
          </p:grpSpPr>
          <p:grpSp>
            <p:nvGrpSpPr>
              <p:cNvPr id="121" name="Group 120">
                <a:extLst>
                  <a:ext uri="{FF2B5EF4-FFF2-40B4-BE49-F238E27FC236}">
                    <a16:creationId xmlns:a16="http://schemas.microsoft.com/office/drawing/2014/main" id="{1C48169F-2DB6-BBFC-A6CE-83E495C76AB5}"/>
                  </a:ext>
                </a:extLst>
              </p:cNvPr>
              <p:cNvGrpSpPr>
                <a:grpSpLocks noChangeAspect="1"/>
              </p:cNvGrpSpPr>
              <p:nvPr>
                <p:custDataLst>
                  <p:tags r:id="rId8"/>
                </p:custDataLst>
              </p:nvPr>
            </p:nvGrpSpPr>
            <p:grpSpPr>
              <a:xfrm>
                <a:off x="1024106" y="4823348"/>
                <a:ext cx="432000" cy="460575"/>
                <a:chOff x="1270000" y="1211197"/>
                <a:chExt cx="889000" cy="947803"/>
              </a:xfrm>
            </p:grpSpPr>
            <p:sp>
              <p:nvSpPr>
                <p:cNvPr id="123" name="Rectangle 122" hidden="1">
                  <a:extLst>
                    <a:ext uri="{FF2B5EF4-FFF2-40B4-BE49-F238E27FC236}">
                      <a16:creationId xmlns:a16="http://schemas.microsoft.com/office/drawing/2014/main" id="{0294E25A-4D42-DACB-B93B-DFC06BEC37CC}"/>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24" name="Graphic 123">
                  <a:extLst>
                    <a:ext uri="{FF2B5EF4-FFF2-40B4-BE49-F238E27FC236}">
                      <a16:creationId xmlns:a16="http://schemas.microsoft.com/office/drawing/2014/main" id="{8C846DD9-0CFF-7C79-3744-F594C7A2423E}"/>
                    </a:ext>
                  </a:extLst>
                </p:cNvPr>
                <p:cNvPicPr>
                  <a:picLocks noChangeAspect="1"/>
                </p:cNvPicPr>
                <p:nvPr/>
              </p:nvPicPr>
              <p:blipFill>
                <a:blip r:embed="rId51" cstate="print">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1270000" y="1211197"/>
                  <a:ext cx="889000" cy="888999"/>
                </a:xfrm>
                <a:prstGeom prst="rect">
                  <a:avLst/>
                </a:prstGeom>
              </p:spPr>
            </p:pic>
          </p:grpSp>
          <p:sp>
            <p:nvSpPr>
              <p:cNvPr id="122" name="Rectangle 121">
                <a:extLst>
                  <a:ext uri="{FF2B5EF4-FFF2-40B4-BE49-F238E27FC236}">
                    <a16:creationId xmlns:a16="http://schemas.microsoft.com/office/drawing/2014/main" id="{13C4803E-4D2B-088E-CFE1-3BB50F522A20}"/>
                  </a:ext>
                </a:extLst>
              </p:cNvPr>
              <p:cNvSpPr/>
              <p:nvPr/>
            </p:nvSpPr>
            <p:spPr bwMode="gray">
              <a:xfrm>
                <a:off x="502106" y="5306457"/>
                <a:ext cx="1476000" cy="649667"/>
              </a:xfrm>
              <a:prstGeom prst="rect">
                <a:avLst/>
              </a:prstGeom>
              <a:solidFill>
                <a:srgbClr val="FFFFFF">
                  <a:alpha val="4784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tabLst>
                    <a:tab pos="266700" algn="l"/>
                  </a:tabLst>
                </a:pPr>
                <a:r>
                  <a:rPr lang="de-DE" sz="1000" b="1">
                    <a:solidFill>
                      <a:srgbClr val="003C50"/>
                    </a:solidFill>
                    <a:latin typeface="Roboto" panose="02000000000000000000" pitchFamily="2" charset="0"/>
                    <a:sym typeface="Wingdings 3" panose="05040102010807070707" pitchFamily="18" charset="2"/>
                  </a:rPr>
                  <a:t>Gebäudezentrierte</a:t>
                </a:r>
                <a:r>
                  <a:rPr lang="de-DE" sz="1000">
                    <a:solidFill>
                      <a:srgbClr val="003C50"/>
                    </a:solidFill>
                    <a:latin typeface="Roboto" panose="02000000000000000000" pitchFamily="2" charset="0"/>
                    <a:sym typeface="Wingdings 3" panose="05040102010807070707" pitchFamily="18" charset="2"/>
                  </a:rPr>
                  <a:t> Datenerfassung und </a:t>
                </a:r>
                <a:r>
                  <a:rPr lang="de-DE" sz="1000" b="1">
                    <a:solidFill>
                      <a:srgbClr val="003C50"/>
                    </a:solidFill>
                    <a:latin typeface="Roboto" panose="02000000000000000000" pitchFamily="2" charset="0"/>
                    <a:sym typeface="Wingdings 3" panose="05040102010807070707" pitchFamily="18" charset="2"/>
                  </a:rPr>
                  <a:t>automatisierte Datenanreicherung</a:t>
                </a:r>
                <a:endParaRPr lang="de-DE" sz="1000" b="1">
                  <a:solidFill>
                    <a:srgbClr val="003C50"/>
                  </a:solidFill>
                  <a:latin typeface="Roboto" panose="02000000000000000000" pitchFamily="2" charset="0"/>
                </a:endParaRPr>
              </a:p>
            </p:txBody>
          </p:sp>
        </p:grpSp>
        <p:grpSp>
          <p:nvGrpSpPr>
            <p:cNvPr id="94" name="Group 93">
              <a:extLst>
                <a:ext uri="{FF2B5EF4-FFF2-40B4-BE49-F238E27FC236}">
                  <a16:creationId xmlns:a16="http://schemas.microsoft.com/office/drawing/2014/main" id="{4286073D-E71F-59F8-56C7-72E69423512A}"/>
                </a:ext>
              </a:extLst>
            </p:cNvPr>
            <p:cNvGrpSpPr/>
            <p:nvPr/>
          </p:nvGrpSpPr>
          <p:grpSpPr>
            <a:xfrm>
              <a:off x="2009114" y="4851923"/>
              <a:ext cx="1476000" cy="1104201"/>
              <a:chOff x="2009114" y="4851923"/>
              <a:chExt cx="1476000" cy="1104201"/>
            </a:xfrm>
          </p:grpSpPr>
          <p:grpSp>
            <p:nvGrpSpPr>
              <p:cNvPr id="117" name="Group 116">
                <a:extLst>
                  <a:ext uri="{FF2B5EF4-FFF2-40B4-BE49-F238E27FC236}">
                    <a16:creationId xmlns:a16="http://schemas.microsoft.com/office/drawing/2014/main" id="{6727BD9D-DC66-28F0-2BDB-E4698D401A22}"/>
                  </a:ext>
                </a:extLst>
              </p:cNvPr>
              <p:cNvGrpSpPr>
                <a:grpSpLocks noChangeAspect="1"/>
              </p:cNvGrpSpPr>
              <p:nvPr>
                <p:custDataLst>
                  <p:tags r:id="rId7"/>
                </p:custDataLst>
              </p:nvPr>
            </p:nvGrpSpPr>
            <p:grpSpPr>
              <a:xfrm>
                <a:off x="2531114" y="4851923"/>
                <a:ext cx="432000" cy="432000"/>
                <a:chOff x="1270000" y="1270000"/>
                <a:chExt cx="889000" cy="889000"/>
              </a:xfrm>
            </p:grpSpPr>
            <p:sp>
              <p:nvSpPr>
                <p:cNvPr id="119" name="Rectangle 118" hidden="1">
                  <a:extLst>
                    <a:ext uri="{FF2B5EF4-FFF2-40B4-BE49-F238E27FC236}">
                      <a16:creationId xmlns:a16="http://schemas.microsoft.com/office/drawing/2014/main" id="{085960A8-BBA1-C0F8-08F0-F13BD662F18F}"/>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20" name="Graphic 119">
                  <a:extLst>
                    <a:ext uri="{FF2B5EF4-FFF2-40B4-BE49-F238E27FC236}">
                      <a16:creationId xmlns:a16="http://schemas.microsoft.com/office/drawing/2014/main" id="{88C30FCD-D7A1-7139-F9B1-1C152051AA92}"/>
                    </a:ext>
                  </a:extLst>
                </p:cNvPr>
                <p:cNvPicPr>
                  <a:picLocks noChangeAspect="1"/>
                </p:cNvPicPr>
                <p:nvPr/>
              </p:nvPicPr>
              <p:blipFill>
                <a:blip r:embed="rId53" cstate="print">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1270000" y="1270000"/>
                  <a:ext cx="889000" cy="889000"/>
                </a:xfrm>
                <a:prstGeom prst="rect">
                  <a:avLst/>
                </a:prstGeom>
              </p:spPr>
            </p:pic>
          </p:grpSp>
          <p:sp>
            <p:nvSpPr>
              <p:cNvPr id="118" name="Rectangle 117">
                <a:extLst>
                  <a:ext uri="{FF2B5EF4-FFF2-40B4-BE49-F238E27FC236}">
                    <a16:creationId xmlns:a16="http://schemas.microsoft.com/office/drawing/2014/main" id="{E05BF3A2-5203-25E9-1111-7D947C1486A0}"/>
                  </a:ext>
                </a:extLst>
              </p:cNvPr>
              <p:cNvSpPr/>
              <p:nvPr/>
            </p:nvSpPr>
            <p:spPr bwMode="gray">
              <a:xfrm>
                <a:off x="2009114" y="5306457"/>
                <a:ext cx="1476000" cy="649667"/>
              </a:xfrm>
              <a:prstGeom prst="rect">
                <a:avLst/>
              </a:prstGeom>
              <a:solidFill>
                <a:srgbClr val="FFFFFF">
                  <a:alpha val="4784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tabLst>
                    <a:tab pos="266700" algn="l"/>
                  </a:tabLst>
                </a:pPr>
                <a:r>
                  <a:rPr lang="de-DE" sz="1000">
                    <a:solidFill>
                      <a:srgbClr val="003C50"/>
                    </a:solidFill>
                    <a:latin typeface="Roboto" panose="02000000000000000000" pitchFamily="2" charset="0"/>
                    <a:sym typeface="Wingdings 3" panose="05040102010807070707" pitchFamily="18" charset="2"/>
                  </a:rPr>
                  <a:t>Räumliche und zeitliche </a:t>
                </a:r>
                <a:r>
                  <a:rPr lang="de-DE" sz="1000" b="1">
                    <a:solidFill>
                      <a:srgbClr val="003C50"/>
                    </a:solidFill>
                    <a:latin typeface="Roboto" panose="02000000000000000000" pitchFamily="2" charset="0"/>
                    <a:sym typeface="Wingdings 3" panose="05040102010807070707" pitchFamily="18" charset="2"/>
                  </a:rPr>
                  <a:t>Skalierbarkeit</a:t>
                </a:r>
                <a:r>
                  <a:rPr lang="de-DE" sz="1000">
                    <a:solidFill>
                      <a:srgbClr val="003C50"/>
                    </a:solidFill>
                    <a:latin typeface="Roboto" panose="02000000000000000000" pitchFamily="2" charset="0"/>
                    <a:sym typeface="Wingdings 3" panose="05040102010807070707" pitchFamily="18" charset="2"/>
                  </a:rPr>
                  <a:t> durch </a:t>
                </a:r>
                <a:r>
                  <a:rPr lang="de-DE" sz="1000" i="1">
                    <a:solidFill>
                      <a:srgbClr val="003C50"/>
                    </a:solidFill>
                    <a:latin typeface="Roboto" panose="02000000000000000000" pitchFamily="2" charset="0"/>
                    <a:sym typeface="Wingdings 3" panose="05040102010807070707" pitchFamily="18" charset="2"/>
                  </a:rPr>
                  <a:t>Bottom-Up</a:t>
                </a:r>
                <a:r>
                  <a:rPr lang="de-DE" sz="1000">
                    <a:solidFill>
                      <a:srgbClr val="003C50"/>
                    </a:solidFill>
                    <a:latin typeface="Roboto" panose="02000000000000000000" pitchFamily="2" charset="0"/>
                    <a:sym typeface="Wingdings 3" panose="05040102010807070707" pitchFamily="18" charset="2"/>
                  </a:rPr>
                  <a:t>-Ansatz</a:t>
                </a:r>
                <a:endParaRPr lang="de-DE" sz="1000" b="1">
                  <a:solidFill>
                    <a:srgbClr val="003C50"/>
                  </a:solidFill>
                  <a:latin typeface="Roboto" panose="02000000000000000000" pitchFamily="2" charset="0"/>
                </a:endParaRPr>
              </a:p>
            </p:txBody>
          </p:sp>
        </p:grpSp>
        <p:grpSp>
          <p:nvGrpSpPr>
            <p:cNvPr id="95" name="Group 94">
              <a:extLst>
                <a:ext uri="{FF2B5EF4-FFF2-40B4-BE49-F238E27FC236}">
                  <a16:creationId xmlns:a16="http://schemas.microsoft.com/office/drawing/2014/main" id="{5A420D30-9C4C-1394-D301-9CC396379974}"/>
                </a:ext>
              </a:extLst>
            </p:cNvPr>
            <p:cNvGrpSpPr/>
            <p:nvPr/>
          </p:nvGrpSpPr>
          <p:grpSpPr>
            <a:xfrm>
              <a:off x="6529774" y="4861448"/>
              <a:ext cx="1475636" cy="1094676"/>
              <a:chOff x="6529774" y="4861448"/>
              <a:chExt cx="1475636" cy="1094676"/>
            </a:xfrm>
          </p:grpSpPr>
          <p:grpSp>
            <p:nvGrpSpPr>
              <p:cNvPr id="113" name="Group 112">
                <a:extLst>
                  <a:ext uri="{FF2B5EF4-FFF2-40B4-BE49-F238E27FC236}">
                    <a16:creationId xmlns:a16="http://schemas.microsoft.com/office/drawing/2014/main" id="{09E5A0AD-9B35-E88C-1A92-815BAE59AD4D}"/>
                  </a:ext>
                </a:extLst>
              </p:cNvPr>
              <p:cNvGrpSpPr>
                <a:grpSpLocks noChangeAspect="1"/>
              </p:cNvGrpSpPr>
              <p:nvPr>
                <p:custDataLst>
                  <p:tags r:id="rId6"/>
                </p:custDataLst>
              </p:nvPr>
            </p:nvGrpSpPr>
            <p:grpSpPr>
              <a:xfrm>
                <a:off x="7051592" y="4861448"/>
                <a:ext cx="432000" cy="432000"/>
                <a:chOff x="1270000" y="1270000"/>
                <a:chExt cx="889000" cy="889000"/>
              </a:xfrm>
            </p:grpSpPr>
            <p:sp>
              <p:nvSpPr>
                <p:cNvPr id="115" name="Rectangle 114" hidden="1">
                  <a:extLst>
                    <a:ext uri="{FF2B5EF4-FFF2-40B4-BE49-F238E27FC236}">
                      <a16:creationId xmlns:a16="http://schemas.microsoft.com/office/drawing/2014/main" id="{D1164D54-7933-FD6F-B39E-950E295E951F}"/>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16" name="Graphic 115">
                  <a:extLst>
                    <a:ext uri="{FF2B5EF4-FFF2-40B4-BE49-F238E27FC236}">
                      <a16:creationId xmlns:a16="http://schemas.microsoft.com/office/drawing/2014/main" id="{585E1098-ADD8-3FA2-0789-79C664F9752B}"/>
                    </a:ext>
                  </a:extLst>
                </p:cNvPr>
                <p:cNvPicPr>
                  <a:picLocks noChangeAspect="1"/>
                </p:cNvPicPr>
                <p:nvPr/>
              </p:nvPicPr>
              <p:blipFill>
                <a:blip r:embed="rId55" cstate="print">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1270000" y="1270000"/>
                  <a:ext cx="889000" cy="889000"/>
                </a:xfrm>
                <a:prstGeom prst="rect">
                  <a:avLst/>
                </a:prstGeom>
              </p:spPr>
            </p:pic>
          </p:grpSp>
          <p:sp>
            <p:nvSpPr>
              <p:cNvPr id="114" name="Rectangle 113">
                <a:extLst>
                  <a:ext uri="{FF2B5EF4-FFF2-40B4-BE49-F238E27FC236}">
                    <a16:creationId xmlns:a16="http://schemas.microsoft.com/office/drawing/2014/main" id="{1072D7E4-DFC5-DF73-1FE7-241B680C7288}"/>
                  </a:ext>
                </a:extLst>
              </p:cNvPr>
              <p:cNvSpPr/>
              <p:nvPr/>
            </p:nvSpPr>
            <p:spPr bwMode="gray">
              <a:xfrm>
                <a:off x="6529774" y="5306457"/>
                <a:ext cx="1475636" cy="649667"/>
              </a:xfrm>
              <a:prstGeom prst="rect">
                <a:avLst/>
              </a:prstGeom>
              <a:solidFill>
                <a:srgbClr val="FFFFFF">
                  <a:alpha val="4784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tabLst>
                    <a:tab pos="266700" algn="l"/>
                  </a:tabLst>
                </a:pPr>
                <a:r>
                  <a:rPr lang="de-DE" sz="1000" b="1">
                    <a:solidFill>
                      <a:srgbClr val="003C50"/>
                    </a:solidFill>
                    <a:latin typeface="Roboto" panose="02000000000000000000" pitchFamily="2" charset="0"/>
                    <a:sym typeface="Wingdings 3" panose="05040102010807070707" pitchFamily="18" charset="2"/>
                  </a:rPr>
                  <a:t>Intuitive Navigation </a:t>
                </a:r>
                <a:r>
                  <a:rPr lang="de-DE" sz="1000">
                    <a:solidFill>
                      <a:srgbClr val="003C50"/>
                    </a:solidFill>
                    <a:latin typeface="Roboto" panose="02000000000000000000" pitchFamily="2" charset="0"/>
                    <a:sym typeface="Wingdings 3" panose="05040102010807070707" pitchFamily="18" charset="2"/>
                  </a:rPr>
                  <a:t>und automatisierte </a:t>
                </a:r>
                <a:r>
                  <a:rPr lang="de-DE" sz="1000" b="1">
                    <a:solidFill>
                      <a:srgbClr val="003C50"/>
                    </a:solidFill>
                    <a:latin typeface="Roboto" panose="02000000000000000000" pitchFamily="2" charset="0"/>
                    <a:sym typeface="Wingdings 3" panose="05040102010807070707" pitchFamily="18" charset="2"/>
                  </a:rPr>
                  <a:t>Visualisierung</a:t>
                </a:r>
                <a:r>
                  <a:rPr lang="de-DE" sz="1000">
                    <a:solidFill>
                      <a:srgbClr val="003C50"/>
                    </a:solidFill>
                    <a:latin typeface="Roboto" panose="02000000000000000000" pitchFamily="2" charset="0"/>
                    <a:sym typeface="Wingdings 3" panose="05040102010807070707" pitchFamily="18" charset="2"/>
                  </a:rPr>
                  <a:t> </a:t>
                </a:r>
                <a:endParaRPr lang="de-DE" sz="1000" b="1">
                  <a:solidFill>
                    <a:srgbClr val="003C50"/>
                  </a:solidFill>
                  <a:latin typeface="Roboto" panose="02000000000000000000" pitchFamily="2" charset="0"/>
                </a:endParaRPr>
              </a:p>
            </p:txBody>
          </p:sp>
        </p:grpSp>
        <p:grpSp>
          <p:nvGrpSpPr>
            <p:cNvPr id="96" name="Group 95">
              <a:extLst>
                <a:ext uri="{FF2B5EF4-FFF2-40B4-BE49-F238E27FC236}">
                  <a16:creationId xmlns:a16="http://schemas.microsoft.com/office/drawing/2014/main" id="{E1A19A49-CBF7-F4B7-871B-28A1174665D1}"/>
                </a:ext>
              </a:extLst>
            </p:cNvPr>
            <p:cNvGrpSpPr/>
            <p:nvPr/>
          </p:nvGrpSpPr>
          <p:grpSpPr>
            <a:xfrm>
              <a:off x="5022766" y="4886539"/>
              <a:ext cx="1476000" cy="1069585"/>
              <a:chOff x="5022766" y="4886539"/>
              <a:chExt cx="1476000" cy="1069585"/>
            </a:xfrm>
          </p:grpSpPr>
          <p:grpSp>
            <p:nvGrpSpPr>
              <p:cNvPr id="109" name="Group 108">
                <a:extLst>
                  <a:ext uri="{FF2B5EF4-FFF2-40B4-BE49-F238E27FC236}">
                    <a16:creationId xmlns:a16="http://schemas.microsoft.com/office/drawing/2014/main" id="{994F72FB-3556-9961-18C5-3D98A4BDB054}"/>
                  </a:ext>
                </a:extLst>
              </p:cNvPr>
              <p:cNvGrpSpPr>
                <a:grpSpLocks noChangeAspect="1"/>
              </p:cNvGrpSpPr>
              <p:nvPr>
                <p:custDataLst>
                  <p:tags r:id="rId5"/>
                </p:custDataLst>
              </p:nvPr>
            </p:nvGrpSpPr>
            <p:grpSpPr>
              <a:xfrm>
                <a:off x="5544766" y="4886539"/>
                <a:ext cx="432000" cy="432000"/>
                <a:chOff x="1270000" y="1270000"/>
                <a:chExt cx="889000" cy="889000"/>
              </a:xfrm>
            </p:grpSpPr>
            <p:sp>
              <p:nvSpPr>
                <p:cNvPr id="111" name="Rectangle 110" hidden="1">
                  <a:extLst>
                    <a:ext uri="{FF2B5EF4-FFF2-40B4-BE49-F238E27FC236}">
                      <a16:creationId xmlns:a16="http://schemas.microsoft.com/office/drawing/2014/main" id="{EB873D11-869B-8435-0376-307140FC1FEF}"/>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12" name="Graphic 111">
                  <a:extLst>
                    <a:ext uri="{FF2B5EF4-FFF2-40B4-BE49-F238E27FC236}">
                      <a16:creationId xmlns:a16="http://schemas.microsoft.com/office/drawing/2014/main" id="{B26C98B0-E425-D05B-43AE-8548C9EB3932}"/>
                    </a:ext>
                  </a:extLst>
                </p:cNvPr>
                <p:cNvPicPr>
                  <a:picLocks noChangeAspect="1"/>
                </p:cNvPicPr>
                <p:nvPr/>
              </p:nvPicPr>
              <p:blipFill>
                <a:blip r:embed="rId57" cstate="print">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1270000" y="1270000"/>
                  <a:ext cx="889000" cy="889000"/>
                </a:xfrm>
                <a:prstGeom prst="rect">
                  <a:avLst/>
                </a:prstGeom>
              </p:spPr>
            </p:pic>
          </p:grpSp>
          <p:sp>
            <p:nvSpPr>
              <p:cNvPr id="110" name="Rectangle 109">
                <a:extLst>
                  <a:ext uri="{FF2B5EF4-FFF2-40B4-BE49-F238E27FC236}">
                    <a16:creationId xmlns:a16="http://schemas.microsoft.com/office/drawing/2014/main" id="{7F3B7CB2-D357-CA28-ADB4-DFBEFA4B181A}"/>
                  </a:ext>
                </a:extLst>
              </p:cNvPr>
              <p:cNvSpPr/>
              <p:nvPr/>
            </p:nvSpPr>
            <p:spPr bwMode="gray">
              <a:xfrm>
                <a:off x="5022766" y="5306457"/>
                <a:ext cx="1476000" cy="649667"/>
              </a:xfrm>
              <a:prstGeom prst="rect">
                <a:avLst/>
              </a:prstGeom>
              <a:solidFill>
                <a:srgbClr val="FFFFFF">
                  <a:alpha val="4784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tabLst>
                    <a:tab pos="266700" algn="l"/>
                  </a:tabLst>
                </a:pPr>
                <a:r>
                  <a:rPr lang="de-DE" sz="1000" b="1">
                    <a:solidFill>
                      <a:srgbClr val="003C50"/>
                    </a:solidFill>
                    <a:latin typeface="Roboto" panose="02000000000000000000" pitchFamily="2" charset="0"/>
                    <a:sym typeface="Wingdings 3" panose="05040102010807070707" pitchFamily="18" charset="2"/>
                  </a:rPr>
                  <a:t>Iterativer Planungsprozess </a:t>
                </a:r>
                <a:r>
                  <a:rPr lang="de-DE" sz="1000">
                    <a:solidFill>
                      <a:srgbClr val="003C50"/>
                    </a:solidFill>
                    <a:latin typeface="Roboto" panose="02000000000000000000" pitchFamily="2" charset="0"/>
                    <a:sym typeface="Wingdings 3" panose="05040102010807070707" pitchFamily="18" charset="2"/>
                  </a:rPr>
                  <a:t>inklusive Feedback-Schleifen</a:t>
                </a:r>
                <a:r>
                  <a:rPr lang="de-DE" sz="1000" b="1">
                    <a:solidFill>
                      <a:srgbClr val="003C50"/>
                    </a:solidFill>
                    <a:latin typeface="Roboto" panose="02000000000000000000" pitchFamily="2" charset="0"/>
                    <a:sym typeface="Wingdings 3" panose="05040102010807070707" pitchFamily="18" charset="2"/>
                  </a:rPr>
                  <a:t> </a:t>
                </a:r>
                <a:endParaRPr lang="de-DE" sz="1000" b="1">
                  <a:solidFill>
                    <a:srgbClr val="003C50"/>
                  </a:solidFill>
                  <a:latin typeface="Roboto" panose="02000000000000000000" pitchFamily="2" charset="0"/>
                </a:endParaRPr>
              </a:p>
            </p:txBody>
          </p:sp>
        </p:grpSp>
        <p:sp>
          <p:nvSpPr>
            <p:cNvPr id="97" name="Rectangle 96">
              <a:extLst>
                <a:ext uri="{FF2B5EF4-FFF2-40B4-BE49-F238E27FC236}">
                  <a16:creationId xmlns:a16="http://schemas.microsoft.com/office/drawing/2014/main" id="{82FAE7F9-5CB1-FDD1-BF34-09CC79D7A049}"/>
                </a:ext>
              </a:extLst>
            </p:cNvPr>
            <p:cNvSpPr/>
            <p:nvPr/>
          </p:nvSpPr>
          <p:spPr bwMode="gray">
            <a:xfrm rot="16200000">
              <a:off x="-246910" y="5171392"/>
              <a:ext cx="1306440" cy="39549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200"/>
                </a:spcAft>
              </a:pPr>
              <a:r>
                <a:rPr lang="de-DE" sz="1000" b="1">
                  <a:solidFill>
                    <a:schemeClr val="tx1"/>
                  </a:solidFill>
                </a:rPr>
                <a:t>Methodische Merkmale</a:t>
              </a:r>
              <a:endParaRPr lang="de-DE" sz="800" b="1">
                <a:solidFill>
                  <a:schemeClr val="tx1"/>
                </a:solidFill>
              </a:endParaRPr>
            </a:p>
          </p:txBody>
        </p:sp>
        <p:sp>
          <p:nvSpPr>
            <p:cNvPr id="98" name="Rectangle 97">
              <a:extLst>
                <a:ext uri="{FF2B5EF4-FFF2-40B4-BE49-F238E27FC236}">
                  <a16:creationId xmlns:a16="http://schemas.microsoft.com/office/drawing/2014/main" id="{B5D15192-BB74-69EB-3154-C055157EA975}"/>
                </a:ext>
              </a:extLst>
            </p:cNvPr>
            <p:cNvSpPr/>
            <p:nvPr/>
          </p:nvSpPr>
          <p:spPr bwMode="gray">
            <a:xfrm>
              <a:off x="214304" y="4715918"/>
              <a:ext cx="9366194" cy="130644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endParaRPr lang="de-DE" sz="1100">
                <a:solidFill>
                  <a:schemeClr val="tx1"/>
                </a:solidFill>
              </a:endParaRPr>
            </a:p>
          </p:txBody>
        </p:sp>
        <p:grpSp>
          <p:nvGrpSpPr>
            <p:cNvPr id="99" name="Group 98">
              <a:extLst>
                <a:ext uri="{FF2B5EF4-FFF2-40B4-BE49-F238E27FC236}">
                  <a16:creationId xmlns:a16="http://schemas.microsoft.com/office/drawing/2014/main" id="{E5652DE2-6523-D932-DBE8-A4C5381F8719}"/>
                </a:ext>
              </a:extLst>
            </p:cNvPr>
            <p:cNvGrpSpPr/>
            <p:nvPr/>
          </p:nvGrpSpPr>
          <p:grpSpPr>
            <a:xfrm>
              <a:off x="8036420" y="4851923"/>
              <a:ext cx="1475636" cy="1104201"/>
              <a:chOff x="8036420" y="4851923"/>
              <a:chExt cx="1475636" cy="1104201"/>
            </a:xfrm>
          </p:grpSpPr>
          <p:grpSp>
            <p:nvGrpSpPr>
              <p:cNvPr id="105" name="Group 104">
                <a:extLst>
                  <a:ext uri="{FF2B5EF4-FFF2-40B4-BE49-F238E27FC236}">
                    <a16:creationId xmlns:a16="http://schemas.microsoft.com/office/drawing/2014/main" id="{5867E0BD-5CD7-CF71-8FB8-59FA6D711F03}"/>
                  </a:ext>
                </a:extLst>
              </p:cNvPr>
              <p:cNvGrpSpPr>
                <a:grpSpLocks noChangeAspect="1"/>
              </p:cNvGrpSpPr>
              <p:nvPr>
                <p:custDataLst>
                  <p:tags r:id="rId4"/>
                </p:custDataLst>
              </p:nvPr>
            </p:nvGrpSpPr>
            <p:grpSpPr>
              <a:xfrm>
                <a:off x="8558238" y="4851923"/>
                <a:ext cx="432000" cy="432000"/>
                <a:chOff x="1270000" y="1270000"/>
                <a:chExt cx="889000" cy="889000"/>
              </a:xfrm>
            </p:grpSpPr>
            <p:sp>
              <p:nvSpPr>
                <p:cNvPr id="107" name="Rectangle 106" hidden="1">
                  <a:extLst>
                    <a:ext uri="{FF2B5EF4-FFF2-40B4-BE49-F238E27FC236}">
                      <a16:creationId xmlns:a16="http://schemas.microsoft.com/office/drawing/2014/main" id="{83B74381-A419-35AE-7CD9-B3D105FBE862}"/>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08" name="Graphic 107">
                  <a:extLst>
                    <a:ext uri="{FF2B5EF4-FFF2-40B4-BE49-F238E27FC236}">
                      <a16:creationId xmlns:a16="http://schemas.microsoft.com/office/drawing/2014/main" id="{A5EF5814-9EC8-6053-0358-00FB1922A576}"/>
                    </a:ext>
                  </a:extLst>
                </p:cNvPr>
                <p:cNvPicPr>
                  <a:picLocks noChangeAspect="1"/>
                </p:cNvPicPr>
                <p:nvPr/>
              </p:nvPicPr>
              <p:blipFill>
                <a:blip r:embed="rId59" cstate="print">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1270000" y="1270000"/>
                  <a:ext cx="889000" cy="889000"/>
                </a:xfrm>
                <a:prstGeom prst="rect">
                  <a:avLst/>
                </a:prstGeom>
              </p:spPr>
            </p:pic>
          </p:grpSp>
          <p:sp>
            <p:nvSpPr>
              <p:cNvPr id="106" name="Rectangle 105">
                <a:extLst>
                  <a:ext uri="{FF2B5EF4-FFF2-40B4-BE49-F238E27FC236}">
                    <a16:creationId xmlns:a16="http://schemas.microsoft.com/office/drawing/2014/main" id="{3D0C7425-0FC4-17CE-8EEC-3D48AB8E4B6A}"/>
                  </a:ext>
                </a:extLst>
              </p:cNvPr>
              <p:cNvSpPr/>
              <p:nvPr/>
            </p:nvSpPr>
            <p:spPr bwMode="gray">
              <a:xfrm>
                <a:off x="8036420" y="5306457"/>
                <a:ext cx="1475636" cy="649667"/>
              </a:xfrm>
              <a:prstGeom prst="rect">
                <a:avLst/>
              </a:prstGeom>
              <a:solidFill>
                <a:srgbClr val="FFFFFF">
                  <a:alpha val="4784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lnSpc>
                    <a:spcPct val="95000"/>
                  </a:lnSpc>
                  <a:tabLst>
                    <a:tab pos="266700" algn="l"/>
                  </a:tabLst>
                </a:pPr>
                <a:r>
                  <a:rPr lang="de-DE" sz="1000" b="1">
                    <a:solidFill>
                      <a:srgbClr val="003C50"/>
                    </a:solidFill>
                    <a:latin typeface="Roboto" panose="02000000000000000000" pitchFamily="2" charset="0"/>
                    <a:sym typeface="Wingdings 3" panose="05040102010807070707" pitchFamily="18" charset="2"/>
                  </a:rPr>
                  <a:t>Gemeinsame Erarbeitung </a:t>
                </a:r>
                <a:r>
                  <a:rPr lang="de-DE" sz="1000">
                    <a:solidFill>
                      <a:srgbClr val="003C50"/>
                    </a:solidFill>
                    <a:latin typeface="Roboto" panose="02000000000000000000" pitchFamily="2" charset="0"/>
                    <a:sym typeface="Wingdings 3" panose="05040102010807070707" pitchFamily="18" charset="2"/>
                  </a:rPr>
                  <a:t>von Szenarien und Maßnahmenpaketen</a:t>
                </a:r>
              </a:p>
            </p:txBody>
          </p:sp>
        </p:grpSp>
        <p:grpSp>
          <p:nvGrpSpPr>
            <p:cNvPr id="100" name="Group 99">
              <a:extLst>
                <a:ext uri="{FF2B5EF4-FFF2-40B4-BE49-F238E27FC236}">
                  <a16:creationId xmlns:a16="http://schemas.microsoft.com/office/drawing/2014/main" id="{2BE42457-FE45-8EA0-8F51-D856E17E36D9}"/>
                </a:ext>
              </a:extLst>
            </p:cNvPr>
            <p:cNvGrpSpPr/>
            <p:nvPr/>
          </p:nvGrpSpPr>
          <p:grpSpPr>
            <a:xfrm>
              <a:off x="3516122" y="4858769"/>
              <a:ext cx="1475636" cy="1097355"/>
              <a:chOff x="3516122" y="4858769"/>
              <a:chExt cx="1475636" cy="1097355"/>
            </a:xfrm>
          </p:grpSpPr>
          <p:sp>
            <p:nvSpPr>
              <p:cNvPr id="101" name="Rectangle 100">
                <a:extLst>
                  <a:ext uri="{FF2B5EF4-FFF2-40B4-BE49-F238E27FC236}">
                    <a16:creationId xmlns:a16="http://schemas.microsoft.com/office/drawing/2014/main" id="{FD21381E-F94A-F511-1B3E-E5F85EC87C51}"/>
                  </a:ext>
                </a:extLst>
              </p:cNvPr>
              <p:cNvSpPr/>
              <p:nvPr/>
            </p:nvSpPr>
            <p:spPr bwMode="gray">
              <a:xfrm>
                <a:off x="3516122" y="5306457"/>
                <a:ext cx="1475636" cy="649667"/>
              </a:xfrm>
              <a:prstGeom prst="rect">
                <a:avLst/>
              </a:prstGeom>
              <a:solidFill>
                <a:srgbClr val="FFFFFF">
                  <a:alpha val="4784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lnSpc>
                    <a:spcPct val="95000"/>
                  </a:lnSpc>
                  <a:tabLst>
                    <a:tab pos="266700" algn="l"/>
                  </a:tabLst>
                </a:pPr>
                <a:r>
                  <a:rPr lang="de-DE" sz="1000" b="1">
                    <a:solidFill>
                      <a:srgbClr val="003C50"/>
                    </a:solidFill>
                    <a:latin typeface="Roboto" panose="02000000000000000000" pitchFamily="2" charset="0"/>
                    <a:sym typeface="Wingdings 3" panose="05040102010807070707" pitchFamily="18" charset="2"/>
                  </a:rPr>
                  <a:t>Datenschutz-Konformität </a:t>
                </a:r>
                <a:r>
                  <a:rPr lang="de-DE" sz="1000">
                    <a:solidFill>
                      <a:srgbClr val="003C50"/>
                    </a:solidFill>
                    <a:latin typeface="Roboto" panose="02000000000000000000" pitchFamily="2" charset="0"/>
                    <a:sym typeface="Wingdings 3" panose="05040102010807070707" pitchFamily="18" charset="2"/>
                  </a:rPr>
                  <a:t>durch Anonymisierungs-Routinen </a:t>
                </a:r>
              </a:p>
            </p:txBody>
          </p:sp>
          <p:grpSp>
            <p:nvGrpSpPr>
              <p:cNvPr id="102" name="Group 101">
                <a:extLst>
                  <a:ext uri="{FF2B5EF4-FFF2-40B4-BE49-F238E27FC236}">
                    <a16:creationId xmlns:a16="http://schemas.microsoft.com/office/drawing/2014/main" id="{E5C0E9CF-C64F-884D-975F-8D8AF0637582}"/>
                  </a:ext>
                </a:extLst>
              </p:cNvPr>
              <p:cNvGrpSpPr>
                <a:grpSpLocks noChangeAspect="1"/>
              </p:cNvGrpSpPr>
              <p:nvPr>
                <p:custDataLst>
                  <p:tags r:id="rId3"/>
                </p:custDataLst>
              </p:nvPr>
            </p:nvGrpSpPr>
            <p:grpSpPr>
              <a:xfrm>
                <a:off x="4037940" y="4858769"/>
                <a:ext cx="432000" cy="432000"/>
                <a:chOff x="1270000" y="1270000"/>
                <a:chExt cx="889000" cy="889000"/>
              </a:xfrm>
            </p:grpSpPr>
            <p:sp>
              <p:nvSpPr>
                <p:cNvPr id="103" name="Rectangle 102" hidden="1">
                  <a:extLst>
                    <a:ext uri="{FF2B5EF4-FFF2-40B4-BE49-F238E27FC236}">
                      <a16:creationId xmlns:a16="http://schemas.microsoft.com/office/drawing/2014/main" id="{0D14448C-58E6-8B1C-AEE7-A1DC70CDA86D}"/>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04" name="Graphic 103">
                  <a:extLst>
                    <a:ext uri="{FF2B5EF4-FFF2-40B4-BE49-F238E27FC236}">
                      <a16:creationId xmlns:a16="http://schemas.microsoft.com/office/drawing/2014/main" id="{F21D29CE-D758-32A3-31C4-4B03340D19A5}"/>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1270000" y="1270000"/>
                  <a:ext cx="889000" cy="889000"/>
                </a:xfrm>
                <a:prstGeom prst="rect">
                  <a:avLst/>
                </a:prstGeom>
              </p:spPr>
            </p:pic>
          </p:grpSp>
        </p:grpSp>
      </p:grpSp>
      <p:sp>
        <p:nvSpPr>
          <p:cNvPr id="125" name="Rectangle 124">
            <a:extLst>
              <a:ext uri="{FF2B5EF4-FFF2-40B4-BE49-F238E27FC236}">
                <a16:creationId xmlns:a16="http://schemas.microsoft.com/office/drawing/2014/main" id="{80346DEC-07CF-152C-6509-7804F05B20D5}"/>
              </a:ext>
            </a:extLst>
          </p:cNvPr>
          <p:cNvSpPr/>
          <p:nvPr/>
        </p:nvSpPr>
        <p:spPr bwMode="gray">
          <a:xfrm>
            <a:off x="3344161" y="990600"/>
            <a:ext cx="6259139" cy="1522468"/>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126" name="Rectangle 125">
            <a:extLst>
              <a:ext uri="{FF2B5EF4-FFF2-40B4-BE49-F238E27FC236}">
                <a16:creationId xmlns:a16="http://schemas.microsoft.com/office/drawing/2014/main" id="{DB2A3F07-C161-EBB9-F962-2DE7257A5B28}"/>
              </a:ext>
            </a:extLst>
          </p:cNvPr>
          <p:cNvSpPr/>
          <p:nvPr/>
        </p:nvSpPr>
        <p:spPr bwMode="gray">
          <a:xfrm>
            <a:off x="6445166" y="2522652"/>
            <a:ext cx="3158133" cy="2157944"/>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127" name="Rectangle 126">
            <a:extLst>
              <a:ext uri="{FF2B5EF4-FFF2-40B4-BE49-F238E27FC236}">
                <a16:creationId xmlns:a16="http://schemas.microsoft.com/office/drawing/2014/main" id="{3EDB0346-D910-A2BD-922B-6E7D795B2EBE}"/>
              </a:ext>
            </a:extLst>
          </p:cNvPr>
          <p:cNvSpPr/>
          <p:nvPr/>
        </p:nvSpPr>
        <p:spPr bwMode="gray">
          <a:xfrm>
            <a:off x="149199" y="4686830"/>
            <a:ext cx="9492201" cy="1350370"/>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128" name="Rectangle 127">
            <a:extLst>
              <a:ext uri="{FF2B5EF4-FFF2-40B4-BE49-F238E27FC236}">
                <a16:creationId xmlns:a16="http://schemas.microsoft.com/office/drawing/2014/main" id="{9C3E3FE1-2AF1-3C11-59E0-3541489D0A46}"/>
              </a:ext>
            </a:extLst>
          </p:cNvPr>
          <p:cNvSpPr/>
          <p:nvPr/>
        </p:nvSpPr>
        <p:spPr bwMode="gray">
          <a:xfrm>
            <a:off x="4250224" y="2579286"/>
            <a:ext cx="2125109" cy="2018913"/>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Tree>
    <p:extLst>
      <p:ext uri="{BB962C8B-B14F-4D97-AF65-F5344CB8AC3E}">
        <p14:creationId xmlns:p14="http://schemas.microsoft.com/office/powerpoint/2010/main" val="10751125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Slide Number Placeholder 128">
            <a:extLst>
              <a:ext uri="{FF2B5EF4-FFF2-40B4-BE49-F238E27FC236}">
                <a16:creationId xmlns:a16="http://schemas.microsoft.com/office/drawing/2014/main" id="{7290BCC4-AA33-E00F-F2D9-9DA690B4962E}"/>
              </a:ext>
            </a:extLst>
          </p:cNvPr>
          <p:cNvSpPr>
            <a:spLocks noGrp="1"/>
          </p:cNvSpPr>
          <p:nvPr>
            <p:ph type="sldNum" sz="quarter" idx="11"/>
          </p:nvPr>
        </p:nvSpPr>
        <p:spPr/>
        <p:txBody>
          <a:bodyPr/>
          <a:lstStyle/>
          <a:p>
            <a:endParaRPr lang="de-DE"/>
          </a:p>
          <a:p>
            <a:fld id="{24C420F5-194C-40F2-A080-C5F3EDD89037}" type="slidenum">
              <a:rPr lang="de-DE" smtClean="0"/>
              <a:pPr/>
              <a:t>22</a:t>
            </a:fld>
            <a:endParaRPr lang="de-DE"/>
          </a:p>
        </p:txBody>
      </p:sp>
      <p:sp>
        <p:nvSpPr>
          <p:cNvPr id="128" name="Title 2">
            <a:extLst>
              <a:ext uri="{FF2B5EF4-FFF2-40B4-BE49-F238E27FC236}">
                <a16:creationId xmlns:a16="http://schemas.microsoft.com/office/drawing/2014/main" id="{F54A965C-5A21-2306-D2F9-E73D9795D345}"/>
              </a:ext>
            </a:extLst>
          </p:cNvPr>
          <p:cNvSpPr>
            <a:spLocks noGrp="1"/>
          </p:cNvSpPr>
          <p:nvPr>
            <p:ph type="title"/>
          </p:nvPr>
        </p:nvSpPr>
        <p:spPr/>
        <p:txBody>
          <a:bodyPr/>
          <a:lstStyle/>
          <a:p>
            <a:r>
              <a:rPr lang="de-DE"/>
              <a:t>Der Digitale Zwilling dient als zentrales Planungselement für die Bestands- und Potenzialanalyse sowie die Definition eines Zielszenarios</a:t>
            </a:r>
            <a:endParaRPr lang="en-US"/>
          </a:p>
        </p:txBody>
      </p:sp>
      <p:sp>
        <p:nvSpPr>
          <p:cNvPr id="5" name="Footer Placeholder 4">
            <a:extLst>
              <a:ext uri="{FF2B5EF4-FFF2-40B4-BE49-F238E27FC236}">
                <a16:creationId xmlns:a16="http://schemas.microsoft.com/office/drawing/2014/main" id="{38D8CE20-1F00-B670-D2AF-A6B189A24160}"/>
              </a:ext>
            </a:extLst>
          </p:cNvPr>
          <p:cNvSpPr>
            <a:spLocks noGrp="1"/>
          </p:cNvSpPr>
          <p:nvPr>
            <p:ph type="ftr" sz="quarter" idx="12"/>
          </p:nvPr>
        </p:nvSpPr>
        <p:spPr/>
        <p:txBody>
          <a:bodyPr/>
          <a:lstStyle/>
          <a:p>
            <a:r>
              <a:rPr lang="de-DE"/>
              <a:t>© 2026</a:t>
            </a:r>
          </a:p>
          <a:p>
            <a:r>
              <a:rPr lang="de-DE"/>
              <a:t>d-fine</a:t>
            </a:r>
          </a:p>
        </p:txBody>
      </p:sp>
      <p:sp>
        <p:nvSpPr>
          <p:cNvPr id="2" name="Text Placeholder 1">
            <a:extLst>
              <a:ext uri="{FF2B5EF4-FFF2-40B4-BE49-F238E27FC236}">
                <a16:creationId xmlns:a16="http://schemas.microsoft.com/office/drawing/2014/main" id="{7A01FAAE-B959-115B-D97A-0D97761E7759}"/>
              </a:ext>
            </a:extLst>
          </p:cNvPr>
          <p:cNvSpPr>
            <a:spLocks noGrp="1"/>
          </p:cNvSpPr>
          <p:nvPr>
            <p:ph type="body" sz="quarter" idx="13"/>
          </p:nvPr>
        </p:nvSpPr>
        <p:spPr/>
        <p:txBody>
          <a:bodyPr/>
          <a:lstStyle/>
          <a:p>
            <a:endParaRPr lang="de-DE"/>
          </a:p>
        </p:txBody>
      </p:sp>
      <p:sp>
        <p:nvSpPr>
          <p:cNvPr id="6" name="Rectangle 5">
            <a:extLst>
              <a:ext uri="{FF2B5EF4-FFF2-40B4-BE49-F238E27FC236}">
                <a16:creationId xmlns:a16="http://schemas.microsoft.com/office/drawing/2014/main" id="{B1BA6C5B-30B8-E8AA-BAD9-DD821234F44F}"/>
              </a:ext>
            </a:extLst>
          </p:cNvPr>
          <p:cNvSpPr/>
          <p:nvPr/>
        </p:nvSpPr>
        <p:spPr bwMode="gray">
          <a:xfrm>
            <a:off x="278844" y="1066800"/>
            <a:ext cx="2363554" cy="432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rPr>
              <a:t>Bestandsanalyse</a:t>
            </a:r>
          </a:p>
        </p:txBody>
      </p:sp>
      <p:sp>
        <p:nvSpPr>
          <p:cNvPr id="7" name="Rectangle 6">
            <a:extLst>
              <a:ext uri="{FF2B5EF4-FFF2-40B4-BE49-F238E27FC236}">
                <a16:creationId xmlns:a16="http://schemas.microsoft.com/office/drawing/2014/main" id="{2C480AAF-6A96-D9F7-6EC9-829654D7687C}"/>
              </a:ext>
            </a:extLst>
          </p:cNvPr>
          <p:cNvSpPr/>
          <p:nvPr/>
        </p:nvSpPr>
        <p:spPr bwMode="gray">
          <a:xfrm>
            <a:off x="3532498" y="1083863"/>
            <a:ext cx="2232000" cy="432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rPr>
              <a:t>Potenzialanalyse</a:t>
            </a:r>
          </a:p>
        </p:txBody>
      </p:sp>
      <p:grpSp>
        <p:nvGrpSpPr>
          <p:cNvPr id="8" name="Group 7">
            <a:extLst>
              <a:ext uri="{FF2B5EF4-FFF2-40B4-BE49-F238E27FC236}">
                <a16:creationId xmlns:a16="http://schemas.microsoft.com/office/drawing/2014/main" id="{DC0277B3-3F68-3C36-1E4B-7F8D6971C8EB}"/>
              </a:ext>
            </a:extLst>
          </p:cNvPr>
          <p:cNvGrpSpPr>
            <a:grpSpLocks noChangeAspect="1"/>
          </p:cNvGrpSpPr>
          <p:nvPr>
            <p:custDataLst>
              <p:tags r:id="rId1"/>
            </p:custDataLst>
          </p:nvPr>
        </p:nvGrpSpPr>
        <p:grpSpPr>
          <a:xfrm>
            <a:off x="3532498" y="1111988"/>
            <a:ext cx="324000" cy="324000"/>
            <a:chOff x="1270000" y="1270000"/>
            <a:chExt cx="889000" cy="889000"/>
          </a:xfrm>
          <a:solidFill>
            <a:schemeClr val="tx2"/>
          </a:solidFill>
        </p:grpSpPr>
        <p:sp>
          <p:nvSpPr>
            <p:cNvPr id="9" name="Rectangle 8" hidden="1">
              <a:extLst>
                <a:ext uri="{FF2B5EF4-FFF2-40B4-BE49-F238E27FC236}">
                  <a16:creationId xmlns:a16="http://schemas.microsoft.com/office/drawing/2014/main" id="{AF053BB8-5DC5-BE6B-F359-5B72ED352952}"/>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0" name="Graphic 9">
              <a:extLst>
                <a:ext uri="{FF2B5EF4-FFF2-40B4-BE49-F238E27FC236}">
                  <a16:creationId xmlns:a16="http://schemas.microsoft.com/office/drawing/2014/main" id="{6BD0573B-49DA-B7B0-BD11-37DB0E415F0B}"/>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270000" y="1270000"/>
              <a:ext cx="889000" cy="889000"/>
            </a:xfrm>
            <a:prstGeom prst="rect">
              <a:avLst/>
            </a:prstGeom>
          </p:spPr>
        </p:pic>
      </p:grpSp>
      <p:grpSp>
        <p:nvGrpSpPr>
          <p:cNvPr id="11" name="Group 10">
            <a:extLst>
              <a:ext uri="{FF2B5EF4-FFF2-40B4-BE49-F238E27FC236}">
                <a16:creationId xmlns:a16="http://schemas.microsoft.com/office/drawing/2014/main" id="{AC9C6E07-2CB6-F935-ECC3-6BA21F390C42}"/>
              </a:ext>
            </a:extLst>
          </p:cNvPr>
          <p:cNvGrpSpPr>
            <a:grpSpLocks noChangeAspect="1"/>
          </p:cNvGrpSpPr>
          <p:nvPr>
            <p:custDataLst>
              <p:tags r:id="rId2"/>
            </p:custDataLst>
          </p:nvPr>
        </p:nvGrpSpPr>
        <p:grpSpPr>
          <a:xfrm>
            <a:off x="280056" y="1124888"/>
            <a:ext cx="324000" cy="324000"/>
            <a:chOff x="1270000" y="1270000"/>
            <a:chExt cx="889000" cy="889000"/>
          </a:xfrm>
          <a:solidFill>
            <a:schemeClr val="tx2"/>
          </a:solidFill>
        </p:grpSpPr>
        <p:sp>
          <p:nvSpPr>
            <p:cNvPr id="12" name="Rectangle 11" hidden="1">
              <a:extLst>
                <a:ext uri="{FF2B5EF4-FFF2-40B4-BE49-F238E27FC236}">
                  <a16:creationId xmlns:a16="http://schemas.microsoft.com/office/drawing/2014/main" id="{5EDA1710-F49A-A0AF-D0C8-B1048C501FA2}"/>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3" name="Graphic 12">
              <a:extLst>
                <a:ext uri="{FF2B5EF4-FFF2-40B4-BE49-F238E27FC236}">
                  <a16:creationId xmlns:a16="http://schemas.microsoft.com/office/drawing/2014/main" id="{72898867-89B0-D9D1-FEB1-F994FA46F21C}"/>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270000" y="1270000"/>
              <a:ext cx="889000" cy="889000"/>
            </a:xfrm>
            <a:prstGeom prst="rect">
              <a:avLst/>
            </a:prstGeom>
          </p:spPr>
        </p:pic>
      </p:grpSp>
      <p:sp>
        <p:nvSpPr>
          <p:cNvPr id="14" name="Rectangle 13">
            <a:extLst>
              <a:ext uri="{FF2B5EF4-FFF2-40B4-BE49-F238E27FC236}">
                <a16:creationId xmlns:a16="http://schemas.microsoft.com/office/drawing/2014/main" id="{1779CC65-3771-3AC7-DD1E-B227B1896118}"/>
              </a:ext>
            </a:extLst>
          </p:cNvPr>
          <p:cNvSpPr/>
          <p:nvPr/>
        </p:nvSpPr>
        <p:spPr bwMode="gray">
          <a:xfrm>
            <a:off x="208025" y="1076248"/>
            <a:ext cx="3024000" cy="140040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Analyse von Gebäude- und Siedlungsstruktur</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Erfassung der Energieinfrastruktur</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BISKO-konforme Basisbilanz</a:t>
            </a:r>
          </a:p>
          <a:p>
            <a:pPr marL="144000" indent="-144000">
              <a:lnSpc>
                <a:spcPct val="95000"/>
              </a:lnSpc>
              <a:spcAft>
                <a:spcPts val="200"/>
              </a:spcAft>
              <a:buClr>
                <a:srgbClr val="003C50"/>
              </a:buClr>
              <a:buFont typeface="Wingdings" panose="05000000000000000000" pitchFamily="2" charset="2"/>
              <a:buChar char="§"/>
            </a:pPr>
            <a:endParaRPr lang="de-DE" sz="1100">
              <a:solidFill>
                <a:schemeClr val="tx1"/>
              </a:solidFill>
            </a:endParaRPr>
          </a:p>
          <a:p>
            <a:pPr marL="144000" indent="-144000">
              <a:lnSpc>
                <a:spcPct val="95000"/>
              </a:lnSpc>
              <a:spcAft>
                <a:spcPts val="200"/>
              </a:spcAft>
              <a:buClr>
                <a:srgbClr val="003C50"/>
              </a:buClr>
              <a:buFont typeface="Wingdings" panose="05000000000000000000" pitchFamily="2" charset="2"/>
              <a:buChar char="§"/>
            </a:pPr>
            <a:endParaRPr lang="de-DE" sz="1100">
              <a:solidFill>
                <a:schemeClr val="tx1"/>
              </a:solidFill>
            </a:endParaRPr>
          </a:p>
          <a:p>
            <a:pPr>
              <a:lnSpc>
                <a:spcPct val="95000"/>
              </a:lnSpc>
              <a:spcAft>
                <a:spcPts val="200"/>
              </a:spcAft>
              <a:buClr>
                <a:srgbClr val="003C50"/>
              </a:buClr>
            </a:pPr>
            <a:endParaRPr lang="de-DE" sz="1100">
              <a:solidFill>
                <a:schemeClr val="tx1"/>
              </a:solidFill>
            </a:endParaRPr>
          </a:p>
        </p:txBody>
      </p:sp>
      <p:sp>
        <p:nvSpPr>
          <p:cNvPr id="15" name="Rectangle 14">
            <a:extLst>
              <a:ext uri="{FF2B5EF4-FFF2-40B4-BE49-F238E27FC236}">
                <a16:creationId xmlns:a16="http://schemas.microsoft.com/office/drawing/2014/main" id="{24A477FB-4370-81D6-EBBC-778E144A48E4}"/>
              </a:ext>
            </a:extLst>
          </p:cNvPr>
          <p:cNvSpPr/>
          <p:nvPr/>
        </p:nvSpPr>
        <p:spPr bwMode="gray">
          <a:xfrm>
            <a:off x="3382261" y="1076248"/>
            <a:ext cx="3024000" cy="140149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Steigerung der Energieeffizienz von Gebäuden und Industrie</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Nutzung unvermeidbarer Abwärme</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Ausbaupotenziale regenerativer Wärmeversorgung</a:t>
            </a:r>
          </a:p>
        </p:txBody>
      </p:sp>
      <p:grpSp>
        <p:nvGrpSpPr>
          <p:cNvPr id="16" name="Group 15">
            <a:extLst>
              <a:ext uri="{FF2B5EF4-FFF2-40B4-BE49-F238E27FC236}">
                <a16:creationId xmlns:a16="http://schemas.microsoft.com/office/drawing/2014/main" id="{D0C640B4-11B4-F971-8511-ADE9A519D9A9}"/>
              </a:ext>
            </a:extLst>
          </p:cNvPr>
          <p:cNvGrpSpPr/>
          <p:nvPr/>
        </p:nvGrpSpPr>
        <p:grpSpPr>
          <a:xfrm>
            <a:off x="240579" y="2747901"/>
            <a:ext cx="1678825" cy="1599879"/>
            <a:chOff x="3348699" y="1632336"/>
            <a:chExt cx="1869992" cy="1782060"/>
          </a:xfrm>
        </p:grpSpPr>
        <p:grpSp>
          <p:nvGrpSpPr>
            <p:cNvPr id="17" name="Group 16">
              <a:extLst>
                <a:ext uri="{FF2B5EF4-FFF2-40B4-BE49-F238E27FC236}">
                  <a16:creationId xmlns:a16="http://schemas.microsoft.com/office/drawing/2014/main" id="{F4AC750E-EB37-AB11-A067-34DDA60C709E}"/>
                </a:ext>
              </a:extLst>
            </p:cNvPr>
            <p:cNvGrpSpPr/>
            <p:nvPr/>
          </p:nvGrpSpPr>
          <p:grpSpPr>
            <a:xfrm>
              <a:off x="3677797" y="2180911"/>
              <a:ext cx="586222" cy="676911"/>
              <a:chOff x="3662419" y="2180911"/>
              <a:chExt cx="586222" cy="676911"/>
            </a:xfrm>
          </p:grpSpPr>
          <p:sp>
            <p:nvSpPr>
              <p:cNvPr id="41" name="Hexagon 40">
                <a:extLst>
                  <a:ext uri="{FF2B5EF4-FFF2-40B4-BE49-F238E27FC236}">
                    <a16:creationId xmlns:a16="http://schemas.microsoft.com/office/drawing/2014/main" id="{7151E036-B67E-5712-B148-BA67073E8C39}"/>
                  </a:ext>
                </a:extLst>
              </p:cNvPr>
              <p:cNvSpPr>
                <a:spLocks noChangeAspect="1"/>
              </p:cNvSpPr>
              <p:nvPr/>
            </p:nvSpPr>
            <p:spPr bwMode="gray">
              <a:xfrm rot="5400000">
                <a:off x="3617074" y="2226256"/>
                <a:ext cx="676911" cy="586222"/>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noAutofit/>
              </a:bodyPr>
              <a:lstStyle/>
              <a:p>
                <a:pPr algn="ctr"/>
                <a:endParaRPr lang="de-DE" sz="700">
                  <a:solidFill>
                    <a:srgbClr val="003C50"/>
                  </a:solidFill>
                </a:endParaRPr>
              </a:p>
              <a:p>
                <a:pPr algn="ctr"/>
                <a:endParaRPr lang="de-DE" sz="700">
                  <a:solidFill>
                    <a:srgbClr val="003C50"/>
                  </a:solidFill>
                </a:endParaRPr>
              </a:p>
              <a:p>
                <a:pPr algn="ctr"/>
                <a:r>
                  <a:rPr lang="de-DE" sz="700">
                    <a:solidFill>
                      <a:srgbClr val="003C50"/>
                    </a:solidFill>
                  </a:rPr>
                  <a:t>Industrie</a:t>
                </a:r>
              </a:p>
            </p:txBody>
          </p:sp>
          <p:pic>
            <p:nvPicPr>
              <p:cNvPr id="42" name="Graphic 41">
                <a:extLst>
                  <a:ext uri="{FF2B5EF4-FFF2-40B4-BE49-F238E27FC236}">
                    <a16:creationId xmlns:a16="http://schemas.microsoft.com/office/drawing/2014/main" id="{74180964-2FE4-DFCF-E762-5CB1610EC90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775205" y="2265692"/>
                <a:ext cx="288676" cy="288676"/>
              </a:xfrm>
              <a:prstGeom prst="rect">
                <a:avLst/>
              </a:prstGeom>
            </p:spPr>
          </p:pic>
        </p:grpSp>
        <p:grpSp>
          <p:nvGrpSpPr>
            <p:cNvPr id="18" name="Group 17">
              <a:extLst>
                <a:ext uri="{FF2B5EF4-FFF2-40B4-BE49-F238E27FC236}">
                  <a16:creationId xmlns:a16="http://schemas.microsoft.com/office/drawing/2014/main" id="{3C304689-59D5-DCF5-6867-EEBCFE9923A1}"/>
                </a:ext>
              </a:extLst>
            </p:cNvPr>
            <p:cNvGrpSpPr/>
            <p:nvPr/>
          </p:nvGrpSpPr>
          <p:grpSpPr>
            <a:xfrm>
              <a:off x="3998515" y="1632336"/>
              <a:ext cx="586224" cy="676913"/>
              <a:chOff x="3991531" y="1632589"/>
              <a:chExt cx="586224" cy="676913"/>
            </a:xfrm>
          </p:grpSpPr>
          <p:sp>
            <p:nvSpPr>
              <p:cNvPr id="37" name="Hexagon 36">
                <a:extLst>
                  <a:ext uri="{FF2B5EF4-FFF2-40B4-BE49-F238E27FC236}">
                    <a16:creationId xmlns:a16="http://schemas.microsoft.com/office/drawing/2014/main" id="{F9B3262C-E785-4AAD-5813-2811553DC264}"/>
                  </a:ext>
                </a:extLst>
              </p:cNvPr>
              <p:cNvSpPr>
                <a:spLocks noChangeAspect="1"/>
              </p:cNvSpPr>
              <p:nvPr/>
            </p:nvSpPr>
            <p:spPr bwMode="gray">
              <a:xfrm rot="5400000">
                <a:off x="3946186" y="1677934"/>
                <a:ext cx="676913" cy="586224"/>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noAutofit/>
              </a:bodyPr>
              <a:lstStyle/>
              <a:p>
                <a:pPr algn="ctr"/>
                <a:endParaRPr lang="de-DE" sz="700">
                  <a:solidFill>
                    <a:srgbClr val="003C50"/>
                  </a:solidFill>
                </a:endParaRPr>
              </a:p>
              <a:p>
                <a:pPr algn="ctr"/>
                <a:r>
                  <a:rPr lang="de-DE" sz="700">
                    <a:solidFill>
                      <a:srgbClr val="003C50"/>
                    </a:solidFill>
                  </a:rPr>
                  <a:t>Objekt-</a:t>
                </a:r>
              </a:p>
              <a:p>
                <a:pPr algn="ctr"/>
                <a:r>
                  <a:rPr lang="de-DE" sz="700">
                    <a:solidFill>
                      <a:srgbClr val="003C50"/>
                    </a:solidFill>
                  </a:rPr>
                  <a:t>wissen</a:t>
                </a:r>
              </a:p>
            </p:txBody>
          </p:sp>
          <p:grpSp>
            <p:nvGrpSpPr>
              <p:cNvPr id="38" name="Group 37">
                <a:extLst>
                  <a:ext uri="{FF2B5EF4-FFF2-40B4-BE49-F238E27FC236}">
                    <a16:creationId xmlns:a16="http://schemas.microsoft.com/office/drawing/2014/main" id="{980116A7-5134-3B9E-5D2F-158D2FDBF8B7}"/>
                  </a:ext>
                </a:extLst>
              </p:cNvPr>
              <p:cNvGrpSpPr>
                <a:grpSpLocks noChangeAspect="1"/>
              </p:cNvGrpSpPr>
              <p:nvPr>
                <p:custDataLst>
                  <p:tags r:id="rId19"/>
                </p:custDataLst>
              </p:nvPr>
            </p:nvGrpSpPr>
            <p:grpSpPr>
              <a:xfrm>
                <a:off x="4187478" y="1675430"/>
                <a:ext cx="194327" cy="194327"/>
                <a:chOff x="1270000" y="1270000"/>
                <a:chExt cx="889000" cy="889000"/>
              </a:xfrm>
            </p:grpSpPr>
            <p:sp>
              <p:nvSpPr>
                <p:cNvPr id="39" name="Rectangle 38" hidden="1">
                  <a:extLst>
                    <a:ext uri="{FF2B5EF4-FFF2-40B4-BE49-F238E27FC236}">
                      <a16:creationId xmlns:a16="http://schemas.microsoft.com/office/drawing/2014/main" id="{B319F71A-81F8-49DF-EA07-F1D3B3711D64}"/>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40" name="Graphic 39">
                  <a:extLst>
                    <a:ext uri="{FF2B5EF4-FFF2-40B4-BE49-F238E27FC236}">
                      <a16:creationId xmlns:a16="http://schemas.microsoft.com/office/drawing/2014/main" id="{A740BAC6-F2B7-FF4B-202E-8BE35C7C7545}"/>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270000" y="1270000"/>
                  <a:ext cx="889000" cy="889000"/>
                </a:xfrm>
                <a:prstGeom prst="rect">
                  <a:avLst/>
                </a:prstGeom>
              </p:spPr>
            </p:pic>
          </p:grpSp>
        </p:grpSp>
        <p:grpSp>
          <p:nvGrpSpPr>
            <p:cNvPr id="19" name="Group 18">
              <a:extLst>
                <a:ext uri="{FF2B5EF4-FFF2-40B4-BE49-F238E27FC236}">
                  <a16:creationId xmlns:a16="http://schemas.microsoft.com/office/drawing/2014/main" id="{DB20126D-5A42-901F-47B0-7BA68981A48E}"/>
                </a:ext>
              </a:extLst>
            </p:cNvPr>
            <p:cNvGrpSpPr/>
            <p:nvPr/>
          </p:nvGrpSpPr>
          <p:grpSpPr>
            <a:xfrm>
              <a:off x="4312937" y="2180911"/>
              <a:ext cx="586222" cy="676911"/>
              <a:chOff x="4323224" y="2180912"/>
              <a:chExt cx="586222" cy="676911"/>
            </a:xfrm>
          </p:grpSpPr>
          <p:sp>
            <p:nvSpPr>
              <p:cNvPr id="35" name="Hexagon 34">
                <a:extLst>
                  <a:ext uri="{FF2B5EF4-FFF2-40B4-BE49-F238E27FC236}">
                    <a16:creationId xmlns:a16="http://schemas.microsoft.com/office/drawing/2014/main" id="{5286D3D8-E2B4-B229-433D-E154A052F519}"/>
                  </a:ext>
                </a:extLst>
              </p:cNvPr>
              <p:cNvSpPr>
                <a:spLocks noChangeAspect="1"/>
              </p:cNvSpPr>
              <p:nvPr/>
            </p:nvSpPr>
            <p:spPr bwMode="gray">
              <a:xfrm rot="5400000">
                <a:off x="4277879" y="2226257"/>
                <a:ext cx="676911" cy="586222"/>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a:endParaRPr lang="de-DE" sz="700">
                  <a:solidFill>
                    <a:srgbClr val="003C50"/>
                  </a:solidFill>
                </a:endParaRPr>
              </a:p>
              <a:p>
                <a:pPr algn="ctr"/>
                <a:endParaRPr lang="de-DE" sz="700">
                  <a:solidFill>
                    <a:srgbClr val="003C50"/>
                  </a:solidFill>
                </a:endParaRPr>
              </a:p>
              <a:p>
                <a:pPr algn="ctr"/>
                <a:r>
                  <a:rPr lang="de-DE" sz="700">
                    <a:solidFill>
                      <a:srgbClr val="003C50"/>
                    </a:solidFill>
                  </a:rPr>
                  <a:t>Stadt</a:t>
                </a:r>
              </a:p>
            </p:txBody>
          </p:sp>
          <p:pic>
            <p:nvPicPr>
              <p:cNvPr id="36" name="Graphic 35">
                <a:extLst>
                  <a:ext uri="{FF2B5EF4-FFF2-40B4-BE49-F238E27FC236}">
                    <a16:creationId xmlns:a16="http://schemas.microsoft.com/office/drawing/2014/main" id="{25A0B927-1E23-2DB7-EDC2-D6AAA5F59551}"/>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4472334" y="2265692"/>
                <a:ext cx="288000" cy="288000"/>
              </a:xfrm>
              <a:prstGeom prst="rect">
                <a:avLst/>
              </a:prstGeom>
            </p:spPr>
          </p:pic>
        </p:grpSp>
        <p:grpSp>
          <p:nvGrpSpPr>
            <p:cNvPr id="20" name="Group 19">
              <a:extLst>
                <a:ext uri="{FF2B5EF4-FFF2-40B4-BE49-F238E27FC236}">
                  <a16:creationId xmlns:a16="http://schemas.microsoft.com/office/drawing/2014/main" id="{D40A574D-BA19-FB09-37DD-0A31F2F91359}"/>
                </a:ext>
              </a:extLst>
            </p:cNvPr>
            <p:cNvGrpSpPr/>
            <p:nvPr/>
          </p:nvGrpSpPr>
          <p:grpSpPr>
            <a:xfrm>
              <a:off x="3348699" y="2733357"/>
              <a:ext cx="586222" cy="676912"/>
              <a:chOff x="3333320" y="2733357"/>
              <a:chExt cx="586222" cy="676912"/>
            </a:xfrm>
          </p:grpSpPr>
          <p:sp>
            <p:nvSpPr>
              <p:cNvPr id="31" name="Hexagon 30">
                <a:extLst>
                  <a:ext uri="{FF2B5EF4-FFF2-40B4-BE49-F238E27FC236}">
                    <a16:creationId xmlns:a16="http://schemas.microsoft.com/office/drawing/2014/main" id="{DE990EE5-38C2-E8D5-8144-5B217FF1E2C9}"/>
                  </a:ext>
                </a:extLst>
              </p:cNvPr>
              <p:cNvSpPr>
                <a:spLocks noChangeAspect="1"/>
              </p:cNvSpPr>
              <p:nvPr/>
            </p:nvSpPr>
            <p:spPr bwMode="gray">
              <a:xfrm rot="5400000">
                <a:off x="3287975" y="2778702"/>
                <a:ext cx="676912" cy="586222"/>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a:endParaRPr lang="de-DE" sz="700">
                  <a:solidFill>
                    <a:srgbClr val="003C50"/>
                  </a:solidFill>
                </a:endParaRPr>
              </a:p>
              <a:p>
                <a:pPr algn="ctr"/>
                <a:endParaRPr lang="de-DE" sz="700">
                  <a:solidFill>
                    <a:srgbClr val="003C50"/>
                  </a:solidFill>
                </a:endParaRPr>
              </a:p>
              <a:p>
                <a:pPr algn="ctr"/>
                <a:r>
                  <a:rPr lang="de-DE" sz="700">
                    <a:solidFill>
                      <a:srgbClr val="003C50"/>
                    </a:solidFill>
                  </a:rPr>
                  <a:t>ALKIS</a:t>
                </a:r>
              </a:p>
            </p:txBody>
          </p:sp>
          <p:grpSp>
            <p:nvGrpSpPr>
              <p:cNvPr id="32" name="Group 31">
                <a:extLst>
                  <a:ext uri="{FF2B5EF4-FFF2-40B4-BE49-F238E27FC236}">
                    <a16:creationId xmlns:a16="http://schemas.microsoft.com/office/drawing/2014/main" id="{61C8EA9A-96A1-1DBA-8384-B5DC3162B1A4}"/>
                  </a:ext>
                </a:extLst>
              </p:cNvPr>
              <p:cNvGrpSpPr>
                <a:grpSpLocks noChangeAspect="1"/>
              </p:cNvGrpSpPr>
              <p:nvPr>
                <p:custDataLst>
                  <p:tags r:id="rId18"/>
                </p:custDataLst>
              </p:nvPr>
            </p:nvGrpSpPr>
            <p:grpSpPr>
              <a:xfrm>
                <a:off x="3481127" y="2843627"/>
                <a:ext cx="288000" cy="288000"/>
                <a:chOff x="1270000" y="1270000"/>
                <a:chExt cx="889000" cy="889000"/>
              </a:xfrm>
            </p:grpSpPr>
            <p:sp>
              <p:nvSpPr>
                <p:cNvPr id="33" name="Rectangle 32" hidden="1">
                  <a:extLst>
                    <a:ext uri="{FF2B5EF4-FFF2-40B4-BE49-F238E27FC236}">
                      <a16:creationId xmlns:a16="http://schemas.microsoft.com/office/drawing/2014/main" id="{BA4CD4D7-9FA7-93D2-98FA-8BEF240C84C2}"/>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34" name="Graphic 33">
                  <a:extLst>
                    <a:ext uri="{FF2B5EF4-FFF2-40B4-BE49-F238E27FC236}">
                      <a16:creationId xmlns:a16="http://schemas.microsoft.com/office/drawing/2014/main" id="{04185D0C-7915-918C-2473-BDE4BCA84ACD}"/>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270000" y="1270000"/>
                  <a:ext cx="889000" cy="889000"/>
                </a:xfrm>
                <a:prstGeom prst="rect">
                  <a:avLst/>
                </a:prstGeom>
              </p:spPr>
            </p:pic>
          </p:grpSp>
        </p:grpSp>
        <p:grpSp>
          <p:nvGrpSpPr>
            <p:cNvPr id="21" name="Group 20">
              <a:extLst>
                <a:ext uri="{FF2B5EF4-FFF2-40B4-BE49-F238E27FC236}">
                  <a16:creationId xmlns:a16="http://schemas.microsoft.com/office/drawing/2014/main" id="{F3CD28E6-E9F7-F6B1-288E-F9104EE2BEAC}"/>
                </a:ext>
              </a:extLst>
            </p:cNvPr>
            <p:cNvGrpSpPr/>
            <p:nvPr/>
          </p:nvGrpSpPr>
          <p:grpSpPr>
            <a:xfrm>
              <a:off x="3991532" y="2737485"/>
              <a:ext cx="586222" cy="676911"/>
              <a:chOff x="3991532" y="2737485"/>
              <a:chExt cx="586222" cy="676911"/>
            </a:xfrm>
          </p:grpSpPr>
          <p:sp>
            <p:nvSpPr>
              <p:cNvPr id="27" name="Hexagon 26">
                <a:extLst>
                  <a:ext uri="{FF2B5EF4-FFF2-40B4-BE49-F238E27FC236}">
                    <a16:creationId xmlns:a16="http://schemas.microsoft.com/office/drawing/2014/main" id="{F311FA55-AA86-27D0-0155-6110F2209069}"/>
                  </a:ext>
                </a:extLst>
              </p:cNvPr>
              <p:cNvSpPr>
                <a:spLocks noChangeAspect="1"/>
              </p:cNvSpPr>
              <p:nvPr/>
            </p:nvSpPr>
            <p:spPr bwMode="gray">
              <a:xfrm rot="5400000">
                <a:off x="3946187" y="2782830"/>
                <a:ext cx="676911" cy="586222"/>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a:endParaRPr lang="de-DE" sz="700">
                  <a:solidFill>
                    <a:srgbClr val="003C50"/>
                  </a:solidFill>
                </a:endParaRPr>
              </a:p>
              <a:p>
                <a:pPr algn="ctr"/>
                <a:endParaRPr lang="de-DE" sz="700">
                  <a:solidFill>
                    <a:srgbClr val="003C50"/>
                  </a:solidFill>
                </a:endParaRPr>
              </a:p>
              <a:p>
                <a:pPr algn="ctr"/>
                <a:r>
                  <a:rPr lang="de-DE" sz="700">
                    <a:solidFill>
                      <a:srgbClr val="003C50"/>
                    </a:solidFill>
                  </a:rPr>
                  <a:t>Infas</a:t>
                </a:r>
              </a:p>
            </p:txBody>
          </p:sp>
          <p:grpSp>
            <p:nvGrpSpPr>
              <p:cNvPr id="28" name="Group 27">
                <a:extLst>
                  <a:ext uri="{FF2B5EF4-FFF2-40B4-BE49-F238E27FC236}">
                    <a16:creationId xmlns:a16="http://schemas.microsoft.com/office/drawing/2014/main" id="{45B73F4D-CFDF-6F7B-0609-295D880B029A}"/>
                  </a:ext>
                </a:extLst>
              </p:cNvPr>
              <p:cNvGrpSpPr>
                <a:grpSpLocks noChangeAspect="1"/>
              </p:cNvGrpSpPr>
              <p:nvPr>
                <p:custDataLst>
                  <p:tags r:id="rId17"/>
                </p:custDataLst>
              </p:nvPr>
            </p:nvGrpSpPr>
            <p:grpSpPr>
              <a:xfrm>
                <a:off x="4143200" y="2831499"/>
                <a:ext cx="288000" cy="288000"/>
                <a:chOff x="1270000" y="1270000"/>
                <a:chExt cx="889000" cy="889000"/>
              </a:xfrm>
            </p:grpSpPr>
            <p:sp>
              <p:nvSpPr>
                <p:cNvPr id="29" name="Rectangle 28" hidden="1">
                  <a:extLst>
                    <a:ext uri="{FF2B5EF4-FFF2-40B4-BE49-F238E27FC236}">
                      <a16:creationId xmlns:a16="http://schemas.microsoft.com/office/drawing/2014/main" id="{EAC83189-689E-47B8-5216-51468EB81522}"/>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30" name="Graphic 29">
                  <a:extLst>
                    <a:ext uri="{FF2B5EF4-FFF2-40B4-BE49-F238E27FC236}">
                      <a16:creationId xmlns:a16="http://schemas.microsoft.com/office/drawing/2014/main" id="{58E5E93E-9C0F-7ED0-95BD-C88E56385CE9}"/>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1270000" y="1270000"/>
                  <a:ext cx="889000" cy="889000"/>
                </a:xfrm>
                <a:prstGeom prst="rect">
                  <a:avLst/>
                </a:prstGeom>
              </p:spPr>
            </p:pic>
          </p:grpSp>
        </p:grpSp>
        <p:grpSp>
          <p:nvGrpSpPr>
            <p:cNvPr id="22" name="Group 21">
              <a:extLst>
                <a:ext uri="{FF2B5EF4-FFF2-40B4-BE49-F238E27FC236}">
                  <a16:creationId xmlns:a16="http://schemas.microsoft.com/office/drawing/2014/main" id="{84835BE7-4CC2-23E1-8677-4BF2E063F980}"/>
                </a:ext>
              </a:extLst>
            </p:cNvPr>
            <p:cNvGrpSpPr/>
            <p:nvPr/>
          </p:nvGrpSpPr>
          <p:grpSpPr>
            <a:xfrm>
              <a:off x="4632469" y="2733357"/>
              <a:ext cx="586222" cy="676911"/>
              <a:chOff x="4649756" y="2733357"/>
              <a:chExt cx="586222" cy="676911"/>
            </a:xfrm>
          </p:grpSpPr>
          <p:sp>
            <p:nvSpPr>
              <p:cNvPr id="23" name="Hexagon 22">
                <a:extLst>
                  <a:ext uri="{FF2B5EF4-FFF2-40B4-BE49-F238E27FC236}">
                    <a16:creationId xmlns:a16="http://schemas.microsoft.com/office/drawing/2014/main" id="{AC52838B-45B2-9FCE-4886-AF1FA19A15E6}"/>
                  </a:ext>
                </a:extLst>
              </p:cNvPr>
              <p:cNvSpPr>
                <a:spLocks noChangeAspect="1"/>
              </p:cNvSpPr>
              <p:nvPr/>
            </p:nvSpPr>
            <p:spPr bwMode="gray">
              <a:xfrm rot="5400000">
                <a:off x="4604411" y="2778702"/>
                <a:ext cx="676911" cy="586222"/>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a:endParaRPr lang="de-DE" sz="700">
                  <a:solidFill>
                    <a:srgbClr val="003C50"/>
                  </a:solidFill>
                </a:endParaRPr>
              </a:p>
              <a:p>
                <a:pPr algn="ctr"/>
                <a:endParaRPr lang="de-DE" sz="700">
                  <a:solidFill>
                    <a:srgbClr val="003C50"/>
                  </a:solidFill>
                </a:endParaRPr>
              </a:p>
              <a:p>
                <a:pPr algn="ctr"/>
                <a:r>
                  <a:rPr lang="de-DE" sz="700">
                    <a:solidFill>
                      <a:srgbClr val="003C50"/>
                    </a:solidFill>
                  </a:rPr>
                  <a:t>Zensus</a:t>
                </a:r>
              </a:p>
            </p:txBody>
          </p:sp>
          <p:grpSp>
            <p:nvGrpSpPr>
              <p:cNvPr id="24" name="Group 23">
                <a:extLst>
                  <a:ext uri="{FF2B5EF4-FFF2-40B4-BE49-F238E27FC236}">
                    <a16:creationId xmlns:a16="http://schemas.microsoft.com/office/drawing/2014/main" id="{E2331E8B-4448-2ED9-1AC2-4C8B56CCF01C}"/>
                  </a:ext>
                </a:extLst>
              </p:cNvPr>
              <p:cNvGrpSpPr>
                <a:grpSpLocks noChangeAspect="1"/>
              </p:cNvGrpSpPr>
              <p:nvPr>
                <p:custDataLst>
                  <p:tags r:id="rId16"/>
                </p:custDataLst>
              </p:nvPr>
            </p:nvGrpSpPr>
            <p:grpSpPr>
              <a:xfrm>
                <a:off x="4798866" y="2837192"/>
                <a:ext cx="288000" cy="288000"/>
                <a:chOff x="1270000" y="1270000"/>
                <a:chExt cx="889000" cy="889000"/>
              </a:xfrm>
            </p:grpSpPr>
            <p:sp>
              <p:nvSpPr>
                <p:cNvPr id="25" name="Rectangle 24" hidden="1">
                  <a:extLst>
                    <a:ext uri="{FF2B5EF4-FFF2-40B4-BE49-F238E27FC236}">
                      <a16:creationId xmlns:a16="http://schemas.microsoft.com/office/drawing/2014/main" id="{1D6AE0A6-379A-1CA2-43A3-73AA02CA4F9A}"/>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26" name="Graphic 25">
                  <a:extLst>
                    <a:ext uri="{FF2B5EF4-FFF2-40B4-BE49-F238E27FC236}">
                      <a16:creationId xmlns:a16="http://schemas.microsoft.com/office/drawing/2014/main" id="{C0BDD84E-E07D-1DA1-96AD-F41822EDDCE8}"/>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270000" y="1270000"/>
                  <a:ext cx="889000" cy="889000"/>
                </a:xfrm>
                <a:prstGeom prst="rect">
                  <a:avLst/>
                </a:prstGeom>
              </p:spPr>
            </p:pic>
          </p:grpSp>
        </p:grpSp>
      </p:grpSp>
      <p:sp>
        <p:nvSpPr>
          <p:cNvPr id="43" name="Isosceles Triangle 42">
            <a:extLst>
              <a:ext uri="{FF2B5EF4-FFF2-40B4-BE49-F238E27FC236}">
                <a16:creationId xmlns:a16="http://schemas.microsoft.com/office/drawing/2014/main" id="{3828532B-BBD5-0066-4191-69E1A56A7B38}"/>
              </a:ext>
            </a:extLst>
          </p:cNvPr>
          <p:cNvSpPr/>
          <p:nvPr/>
        </p:nvSpPr>
        <p:spPr bwMode="gray">
          <a:xfrm rot="5400000">
            <a:off x="1777069" y="3473408"/>
            <a:ext cx="648000" cy="216000"/>
          </a:xfrm>
          <a:prstGeom prst="triangle">
            <a:avLst/>
          </a:prstGeom>
          <a:solidFill>
            <a:schemeClr val="accent6">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8725" tIns="28725" rIns="28725" bIns="28725" rtlCol="0" anchor="ctr">
            <a:noAutofit/>
          </a:bodyPr>
          <a:lstStyle/>
          <a:p>
            <a:pPr algn="ctr"/>
            <a:endParaRPr lang="de-DE" sz="1117">
              <a:solidFill>
                <a:schemeClr val="tx1"/>
              </a:solidFill>
            </a:endParaRPr>
          </a:p>
        </p:txBody>
      </p:sp>
      <p:grpSp>
        <p:nvGrpSpPr>
          <p:cNvPr id="44" name="Group 43">
            <a:extLst>
              <a:ext uri="{FF2B5EF4-FFF2-40B4-BE49-F238E27FC236}">
                <a16:creationId xmlns:a16="http://schemas.microsoft.com/office/drawing/2014/main" id="{74CD0FAC-683F-11DE-1519-8B4336BED530}"/>
              </a:ext>
            </a:extLst>
          </p:cNvPr>
          <p:cNvGrpSpPr/>
          <p:nvPr/>
        </p:nvGrpSpPr>
        <p:grpSpPr>
          <a:xfrm>
            <a:off x="6556498" y="1076248"/>
            <a:ext cx="3024000" cy="1401498"/>
            <a:chOff x="6556498" y="1076248"/>
            <a:chExt cx="3024000" cy="1401498"/>
          </a:xfrm>
        </p:grpSpPr>
        <p:sp>
          <p:nvSpPr>
            <p:cNvPr id="45" name="Rectangle 44">
              <a:extLst>
                <a:ext uri="{FF2B5EF4-FFF2-40B4-BE49-F238E27FC236}">
                  <a16:creationId xmlns:a16="http://schemas.microsoft.com/office/drawing/2014/main" id="{F2D9779E-7077-7E49-0000-BF5DE925CF3E}"/>
                </a:ext>
              </a:extLst>
            </p:cNvPr>
            <p:cNvSpPr/>
            <p:nvPr/>
          </p:nvSpPr>
          <p:spPr bwMode="gray">
            <a:xfrm>
              <a:off x="6556498" y="1076248"/>
              <a:ext cx="3024000" cy="140149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Zielszenarien und Zielpfade für 2030, 2035, 2040 und 2045 </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Zentrale und Dezentrale Wärmeversorgungsgebiete</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Energie- und THG-Bilanz </a:t>
              </a:r>
            </a:p>
          </p:txBody>
        </p:sp>
        <p:sp>
          <p:nvSpPr>
            <p:cNvPr id="46" name="Rectangle 45">
              <a:extLst>
                <a:ext uri="{FF2B5EF4-FFF2-40B4-BE49-F238E27FC236}">
                  <a16:creationId xmlns:a16="http://schemas.microsoft.com/office/drawing/2014/main" id="{3C845DE4-6A1B-8B7B-3647-C9C27BCA6682}"/>
                </a:ext>
              </a:extLst>
            </p:cNvPr>
            <p:cNvSpPr/>
            <p:nvPr/>
          </p:nvSpPr>
          <p:spPr bwMode="gray">
            <a:xfrm>
              <a:off x="6594597" y="1083863"/>
              <a:ext cx="2232000" cy="432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rPr>
                <a:t>Zielszenario</a:t>
              </a:r>
            </a:p>
          </p:txBody>
        </p:sp>
        <p:grpSp>
          <p:nvGrpSpPr>
            <p:cNvPr id="47" name="Group 46">
              <a:extLst>
                <a:ext uri="{FF2B5EF4-FFF2-40B4-BE49-F238E27FC236}">
                  <a16:creationId xmlns:a16="http://schemas.microsoft.com/office/drawing/2014/main" id="{2556EDB5-DE42-34CA-C792-96899566D5BF}"/>
                </a:ext>
              </a:extLst>
            </p:cNvPr>
            <p:cNvGrpSpPr>
              <a:grpSpLocks noChangeAspect="1"/>
            </p:cNvGrpSpPr>
            <p:nvPr>
              <p:custDataLst>
                <p:tags r:id="rId15"/>
              </p:custDataLst>
            </p:nvPr>
          </p:nvGrpSpPr>
          <p:grpSpPr>
            <a:xfrm rot="600000">
              <a:off x="6630868" y="1129307"/>
              <a:ext cx="324000" cy="324000"/>
              <a:chOff x="1270000" y="1270000"/>
              <a:chExt cx="889000" cy="889000"/>
            </a:xfrm>
            <a:solidFill>
              <a:schemeClr val="tx2"/>
            </a:solidFill>
          </p:grpSpPr>
          <p:sp>
            <p:nvSpPr>
              <p:cNvPr id="48" name="Rectangle 47" hidden="1">
                <a:extLst>
                  <a:ext uri="{FF2B5EF4-FFF2-40B4-BE49-F238E27FC236}">
                    <a16:creationId xmlns:a16="http://schemas.microsoft.com/office/drawing/2014/main" id="{3D52E83B-0536-21A6-8A44-372356BF7C63}"/>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49" name="Graphic 48">
                <a:extLst>
                  <a:ext uri="{FF2B5EF4-FFF2-40B4-BE49-F238E27FC236}">
                    <a16:creationId xmlns:a16="http://schemas.microsoft.com/office/drawing/2014/main" id="{38C034D4-E0C1-A54A-35BA-BF71FADE9E16}"/>
                  </a:ext>
                </a:extLst>
              </p:cNvPr>
              <p:cNvPicPr>
                <a:picLocks noChangeAspect="1"/>
              </p:cNvPicPr>
              <p:nvPr/>
            </p:nvPicPr>
            <p:blipFill>
              <a:blip r:embed="rId37" cstate="print">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1270000" y="1270000"/>
                <a:ext cx="889000" cy="889000"/>
              </a:xfrm>
              <a:prstGeom prst="rect">
                <a:avLst/>
              </a:prstGeom>
            </p:spPr>
          </p:pic>
        </p:grpSp>
      </p:grpSp>
      <p:grpSp>
        <p:nvGrpSpPr>
          <p:cNvPr id="50" name="Group 49">
            <a:extLst>
              <a:ext uri="{FF2B5EF4-FFF2-40B4-BE49-F238E27FC236}">
                <a16:creationId xmlns:a16="http://schemas.microsoft.com/office/drawing/2014/main" id="{32162ED9-B013-8579-E0C1-1A55F19E497A}"/>
              </a:ext>
            </a:extLst>
          </p:cNvPr>
          <p:cNvGrpSpPr/>
          <p:nvPr/>
        </p:nvGrpSpPr>
        <p:grpSpPr>
          <a:xfrm>
            <a:off x="2263516" y="2649771"/>
            <a:ext cx="1815735" cy="1899454"/>
            <a:chOff x="2499748" y="3145533"/>
            <a:chExt cx="1905878" cy="2060431"/>
          </a:xfrm>
        </p:grpSpPr>
        <p:sp>
          <p:nvSpPr>
            <p:cNvPr id="51" name="Arc 50">
              <a:extLst>
                <a:ext uri="{FF2B5EF4-FFF2-40B4-BE49-F238E27FC236}">
                  <a16:creationId xmlns:a16="http://schemas.microsoft.com/office/drawing/2014/main" id="{5B92214C-7926-3465-BC35-95384616401C}"/>
                </a:ext>
              </a:extLst>
            </p:cNvPr>
            <p:cNvSpPr/>
            <p:nvPr/>
          </p:nvSpPr>
          <p:spPr>
            <a:xfrm rot="7200000">
              <a:off x="2499748" y="3170362"/>
              <a:ext cx="1891612" cy="1891612"/>
            </a:xfrm>
            <a:prstGeom prst="arc">
              <a:avLst>
                <a:gd name="adj1" fmla="val 16200000"/>
                <a:gd name="adj2" fmla="val 1738621"/>
              </a:avLst>
            </a:prstGeom>
            <a:ln w="2857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2" name="Arc 51">
              <a:extLst>
                <a:ext uri="{FF2B5EF4-FFF2-40B4-BE49-F238E27FC236}">
                  <a16:creationId xmlns:a16="http://schemas.microsoft.com/office/drawing/2014/main" id="{9DB43009-26AC-C82E-6753-30FD5844860B}"/>
                </a:ext>
              </a:extLst>
            </p:cNvPr>
            <p:cNvSpPr/>
            <p:nvPr/>
          </p:nvSpPr>
          <p:spPr>
            <a:xfrm rot="14400000">
              <a:off x="2505925" y="3163048"/>
              <a:ext cx="1891612" cy="1891612"/>
            </a:xfrm>
            <a:prstGeom prst="arc">
              <a:avLst>
                <a:gd name="adj1" fmla="val 16200000"/>
                <a:gd name="adj2" fmla="val 1738621"/>
              </a:avLst>
            </a:prstGeom>
            <a:ln w="2857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nvGrpSpPr>
            <p:cNvPr id="53" name="Group 52">
              <a:extLst>
                <a:ext uri="{FF2B5EF4-FFF2-40B4-BE49-F238E27FC236}">
                  <a16:creationId xmlns:a16="http://schemas.microsoft.com/office/drawing/2014/main" id="{3FBCB36D-ED2D-B3C0-140C-1BA8B39E7BE8}"/>
                </a:ext>
              </a:extLst>
            </p:cNvPr>
            <p:cNvGrpSpPr/>
            <p:nvPr/>
          </p:nvGrpSpPr>
          <p:grpSpPr>
            <a:xfrm>
              <a:off x="2514014" y="3145533"/>
              <a:ext cx="1891612" cy="2060431"/>
              <a:chOff x="2514014" y="3145533"/>
              <a:chExt cx="1891612" cy="2060431"/>
            </a:xfrm>
          </p:grpSpPr>
          <p:pic>
            <p:nvPicPr>
              <p:cNvPr id="54" name="Picture 53">
                <a:extLst>
                  <a:ext uri="{FF2B5EF4-FFF2-40B4-BE49-F238E27FC236}">
                    <a16:creationId xmlns:a16="http://schemas.microsoft.com/office/drawing/2014/main" id="{822B9B82-91A8-2A83-BC1D-6D2F5484B0B2}"/>
                  </a:ext>
                </a:extLst>
              </p:cNvPr>
              <p:cNvPicPr>
                <a:picLocks noChangeAspect="1"/>
              </p:cNvPicPr>
              <p:nvPr/>
            </p:nvPicPr>
            <p:blipFill rotWithShape="1">
              <a:blip r:embed="rId39" cstate="screen">
                <a:extLst>
                  <a:ext uri="{28A0092B-C50C-407E-A947-70E740481C1C}">
                    <a14:useLocalDpi xmlns:a14="http://schemas.microsoft.com/office/drawing/2010/main"/>
                  </a:ext>
                </a:extLst>
              </a:blip>
              <a:srcRect/>
              <a:stretch/>
            </p:blipFill>
            <p:spPr>
              <a:xfrm>
                <a:off x="2655991" y="3305015"/>
                <a:ext cx="1613286" cy="1630573"/>
              </a:xfrm>
              <a:prstGeom prst="ellipse">
                <a:avLst/>
              </a:prstGeom>
              <a:ln/>
            </p:spPr>
          </p:pic>
          <p:sp>
            <p:nvSpPr>
              <p:cNvPr id="55" name="Rectangle 54">
                <a:extLst>
                  <a:ext uri="{FF2B5EF4-FFF2-40B4-BE49-F238E27FC236}">
                    <a16:creationId xmlns:a16="http://schemas.microsoft.com/office/drawing/2014/main" id="{718C74AD-8D60-9BD3-AB9B-F34A9134ACCF}"/>
                  </a:ext>
                </a:extLst>
              </p:cNvPr>
              <p:cNvSpPr/>
              <p:nvPr/>
            </p:nvSpPr>
            <p:spPr bwMode="gray">
              <a:xfrm>
                <a:off x="3141611" y="4547032"/>
                <a:ext cx="696406" cy="400778"/>
              </a:xfrm>
              <a:prstGeom prst="rect">
                <a:avLst/>
              </a:prstGeom>
              <a:solidFill>
                <a:srgbClr val="FFFFFF">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r>
                  <a:rPr lang="de-DE" sz="1000" b="1">
                    <a:solidFill>
                      <a:schemeClr val="tx1"/>
                    </a:solidFill>
                  </a:rPr>
                  <a:t>Digitaler Zwilling</a:t>
                </a:r>
              </a:p>
            </p:txBody>
          </p:sp>
          <p:sp>
            <p:nvSpPr>
              <p:cNvPr id="56" name="Arc 55">
                <a:extLst>
                  <a:ext uri="{FF2B5EF4-FFF2-40B4-BE49-F238E27FC236}">
                    <a16:creationId xmlns:a16="http://schemas.microsoft.com/office/drawing/2014/main" id="{55F28829-3959-B122-CCBB-FA29A563F3F7}"/>
                  </a:ext>
                </a:extLst>
              </p:cNvPr>
              <p:cNvSpPr/>
              <p:nvPr/>
            </p:nvSpPr>
            <p:spPr>
              <a:xfrm>
                <a:off x="2514014" y="3153831"/>
                <a:ext cx="1891612" cy="1891612"/>
              </a:xfrm>
              <a:prstGeom prst="arc">
                <a:avLst>
                  <a:gd name="adj1" fmla="val 16200000"/>
                  <a:gd name="adj2" fmla="val 1738621"/>
                </a:avLst>
              </a:prstGeom>
              <a:ln w="2857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7" name="Rectangle 56">
                <a:extLst>
                  <a:ext uri="{FF2B5EF4-FFF2-40B4-BE49-F238E27FC236}">
                    <a16:creationId xmlns:a16="http://schemas.microsoft.com/office/drawing/2014/main" id="{C81B3D59-5AE0-F6D7-C677-9A4D609ACE23}"/>
                  </a:ext>
                </a:extLst>
              </p:cNvPr>
              <p:cNvSpPr/>
              <p:nvPr>
                <p:custDataLst>
                  <p:tags r:id="rId13"/>
                </p:custDataLst>
              </p:nvPr>
            </p:nvSpPr>
            <p:spPr bwMode="gray">
              <a:xfrm rot="18366090">
                <a:off x="2377316" y="3329611"/>
                <a:ext cx="1038031" cy="6698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prstTxWarp prst="textArchUp">
                  <a:avLst/>
                </a:prstTxWarp>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r>
                  <a:rPr lang="de-DE" sz="900" b="1">
                    <a:solidFill>
                      <a:schemeClr val="tx1"/>
                    </a:solidFill>
                  </a:rPr>
                  <a:t>Erfassung</a:t>
                </a:r>
                <a:endParaRPr lang="de-DE" sz="1000" b="1">
                  <a:solidFill>
                    <a:schemeClr val="tx1"/>
                  </a:solidFill>
                </a:endParaRPr>
              </a:p>
            </p:txBody>
          </p:sp>
          <p:sp>
            <p:nvSpPr>
              <p:cNvPr id="58" name="Rectangle 57">
                <a:extLst>
                  <a:ext uri="{FF2B5EF4-FFF2-40B4-BE49-F238E27FC236}">
                    <a16:creationId xmlns:a16="http://schemas.microsoft.com/office/drawing/2014/main" id="{6A6CD86A-3AF7-84B9-835A-130AEEC13ADB}"/>
                  </a:ext>
                </a:extLst>
              </p:cNvPr>
              <p:cNvSpPr/>
              <p:nvPr/>
            </p:nvSpPr>
            <p:spPr bwMode="gray">
              <a:xfrm>
                <a:off x="2924717" y="4537436"/>
                <a:ext cx="1038031" cy="6685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prstTxWarp prst="textArchDown">
                  <a:avLst/>
                </a:prstTxWarp>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r>
                  <a:rPr lang="de-DE" sz="900" b="1">
                    <a:solidFill>
                      <a:schemeClr val="tx1"/>
                    </a:solidFill>
                  </a:rPr>
                  <a:t>Validierung</a:t>
                </a:r>
                <a:endParaRPr lang="de-DE" sz="1000" b="1">
                  <a:solidFill>
                    <a:schemeClr val="tx1"/>
                  </a:solidFill>
                </a:endParaRPr>
              </a:p>
            </p:txBody>
          </p:sp>
          <p:sp>
            <p:nvSpPr>
              <p:cNvPr id="59" name="Rectangle 58">
                <a:extLst>
                  <a:ext uri="{FF2B5EF4-FFF2-40B4-BE49-F238E27FC236}">
                    <a16:creationId xmlns:a16="http://schemas.microsoft.com/office/drawing/2014/main" id="{BD869F88-A785-7E62-202F-E6B161101696}"/>
                  </a:ext>
                </a:extLst>
              </p:cNvPr>
              <p:cNvSpPr/>
              <p:nvPr>
                <p:custDataLst>
                  <p:tags r:id="rId14"/>
                </p:custDataLst>
              </p:nvPr>
            </p:nvSpPr>
            <p:spPr bwMode="gray">
              <a:xfrm rot="3200378">
                <a:off x="3540232" y="3347597"/>
                <a:ext cx="1038031" cy="6698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prstTxWarp prst="textArchUp">
                  <a:avLst/>
                </a:prstTxWarp>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r>
                  <a:rPr lang="de-DE" sz="900" b="1">
                    <a:solidFill>
                      <a:schemeClr val="tx1"/>
                    </a:solidFill>
                  </a:rPr>
                  <a:t>Verarbeitung</a:t>
                </a:r>
                <a:endParaRPr lang="de-DE" sz="1000" b="1">
                  <a:solidFill>
                    <a:schemeClr val="tx1"/>
                  </a:solidFill>
                </a:endParaRPr>
              </a:p>
            </p:txBody>
          </p:sp>
        </p:grpSp>
      </p:grpSp>
      <p:sp>
        <p:nvSpPr>
          <p:cNvPr id="60" name="Isosceles Triangle 59">
            <a:extLst>
              <a:ext uri="{FF2B5EF4-FFF2-40B4-BE49-F238E27FC236}">
                <a16:creationId xmlns:a16="http://schemas.microsoft.com/office/drawing/2014/main" id="{EE3802F0-2A37-5F67-7B3C-97080031AB27}"/>
              </a:ext>
            </a:extLst>
          </p:cNvPr>
          <p:cNvSpPr/>
          <p:nvPr/>
        </p:nvSpPr>
        <p:spPr bwMode="gray">
          <a:xfrm rot="5400000">
            <a:off x="4088271" y="2980305"/>
            <a:ext cx="648000" cy="216000"/>
          </a:xfrm>
          <a:prstGeom prst="triangle">
            <a:avLst/>
          </a:prstGeom>
          <a:solidFill>
            <a:schemeClr val="accent6">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8725" tIns="28725" rIns="28725" bIns="28725" rtlCol="0" anchor="ctr">
            <a:noAutofit/>
          </a:bodyPr>
          <a:lstStyle/>
          <a:p>
            <a:pPr algn="ctr"/>
            <a:endParaRPr lang="de-DE" sz="1117">
              <a:solidFill>
                <a:schemeClr val="tx1"/>
              </a:solidFill>
            </a:endParaRPr>
          </a:p>
        </p:txBody>
      </p:sp>
      <p:sp>
        <p:nvSpPr>
          <p:cNvPr id="61" name="Isosceles Triangle 60">
            <a:extLst>
              <a:ext uri="{FF2B5EF4-FFF2-40B4-BE49-F238E27FC236}">
                <a16:creationId xmlns:a16="http://schemas.microsoft.com/office/drawing/2014/main" id="{328321F8-C118-CBAD-6958-3AB622066219}"/>
              </a:ext>
            </a:extLst>
          </p:cNvPr>
          <p:cNvSpPr/>
          <p:nvPr/>
        </p:nvSpPr>
        <p:spPr bwMode="gray">
          <a:xfrm rot="16200000" flipH="1">
            <a:off x="4104115" y="3695856"/>
            <a:ext cx="648000" cy="216000"/>
          </a:xfrm>
          <a:prstGeom prst="triangle">
            <a:avLst/>
          </a:prstGeom>
          <a:solidFill>
            <a:schemeClr val="accent6">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8725" tIns="28725" rIns="28725" bIns="28725" rtlCol="0" anchor="ctr">
            <a:noAutofit/>
          </a:bodyPr>
          <a:lstStyle/>
          <a:p>
            <a:pPr algn="ctr"/>
            <a:endParaRPr lang="de-DE" sz="1117">
              <a:solidFill>
                <a:schemeClr val="tx1"/>
              </a:solidFill>
            </a:endParaRPr>
          </a:p>
        </p:txBody>
      </p:sp>
      <p:grpSp>
        <p:nvGrpSpPr>
          <p:cNvPr id="62" name="Group 61">
            <a:extLst>
              <a:ext uri="{FF2B5EF4-FFF2-40B4-BE49-F238E27FC236}">
                <a16:creationId xmlns:a16="http://schemas.microsoft.com/office/drawing/2014/main" id="{FE2B0942-0BB7-AC8B-56AD-1A08055B2D45}"/>
              </a:ext>
            </a:extLst>
          </p:cNvPr>
          <p:cNvGrpSpPr>
            <a:grpSpLocks noChangeAspect="1"/>
          </p:cNvGrpSpPr>
          <p:nvPr/>
        </p:nvGrpSpPr>
        <p:grpSpPr>
          <a:xfrm>
            <a:off x="4692337" y="2838454"/>
            <a:ext cx="792000" cy="633393"/>
            <a:chOff x="4277541" y="4858935"/>
            <a:chExt cx="834030" cy="667004"/>
          </a:xfrm>
        </p:grpSpPr>
        <p:sp>
          <p:nvSpPr>
            <p:cNvPr id="63" name="Rectangle 62">
              <a:extLst>
                <a:ext uri="{FF2B5EF4-FFF2-40B4-BE49-F238E27FC236}">
                  <a16:creationId xmlns:a16="http://schemas.microsoft.com/office/drawing/2014/main" id="{AC280543-6717-FCE6-9799-D85CECB65E2E}"/>
                </a:ext>
              </a:extLst>
            </p:cNvPr>
            <p:cNvSpPr/>
            <p:nvPr/>
          </p:nvSpPr>
          <p:spPr bwMode="gray">
            <a:xfrm>
              <a:off x="4277541" y="4858935"/>
              <a:ext cx="834030" cy="667004"/>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t">
              <a:noAutofit/>
            </a:bodyPr>
            <a:lstStyle/>
            <a:p>
              <a:pPr algn="ctr">
                <a:lnSpc>
                  <a:spcPct val="95000"/>
                </a:lnSpc>
                <a:spcAft>
                  <a:spcPts val="200"/>
                </a:spcAft>
              </a:pPr>
              <a:r>
                <a:rPr lang="de-DE" sz="700">
                  <a:solidFill>
                    <a:schemeClr val="tx1"/>
                  </a:solidFill>
                </a:rPr>
                <a:t>Identifikation von Freiflächen</a:t>
              </a:r>
            </a:p>
          </p:txBody>
        </p:sp>
        <p:grpSp>
          <p:nvGrpSpPr>
            <p:cNvPr id="64" name="Group 63">
              <a:extLst>
                <a:ext uri="{FF2B5EF4-FFF2-40B4-BE49-F238E27FC236}">
                  <a16:creationId xmlns:a16="http://schemas.microsoft.com/office/drawing/2014/main" id="{D1E61E22-2398-BD98-DBAE-F58BF577ACCE}"/>
                </a:ext>
              </a:extLst>
            </p:cNvPr>
            <p:cNvGrpSpPr>
              <a:grpSpLocks noChangeAspect="1"/>
            </p:cNvGrpSpPr>
            <p:nvPr>
              <p:custDataLst>
                <p:tags r:id="rId12"/>
              </p:custDataLst>
            </p:nvPr>
          </p:nvGrpSpPr>
          <p:grpSpPr>
            <a:xfrm>
              <a:off x="4486031" y="4869923"/>
              <a:ext cx="423127" cy="417052"/>
              <a:chOff x="1257051" y="1270000"/>
              <a:chExt cx="901949" cy="889000"/>
            </a:xfrm>
          </p:grpSpPr>
          <p:sp>
            <p:nvSpPr>
              <p:cNvPr id="65" name="Rectangle 64" hidden="1">
                <a:extLst>
                  <a:ext uri="{FF2B5EF4-FFF2-40B4-BE49-F238E27FC236}">
                    <a16:creationId xmlns:a16="http://schemas.microsoft.com/office/drawing/2014/main" id="{96105594-DE39-EB6D-8553-F0978F74A51F}"/>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ctr">
                <a:noAutofit/>
              </a:bodyPr>
              <a:lstStyle/>
              <a:p>
                <a:pPr algn="ctr"/>
                <a:endParaRPr lang="de-DE" sz="700" err="1">
                  <a:solidFill>
                    <a:schemeClr val="tx1"/>
                  </a:solidFill>
                </a:endParaRPr>
              </a:p>
            </p:txBody>
          </p:sp>
          <p:pic>
            <p:nvPicPr>
              <p:cNvPr id="66" name="Graphic 65">
                <a:extLst>
                  <a:ext uri="{FF2B5EF4-FFF2-40B4-BE49-F238E27FC236}">
                    <a16:creationId xmlns:a16="http://schemas.microsoft.com/office/drawing/2014/main" id="{7E441256-9FF2-2F9F-2CC3-5A6A2B4DADDB}"/>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1257051" y="1270000"/>
                <a:ext cx="889000" cy="889000"/>
              </a:xfrm>
              <a:prstGeom prst="rect">
                <a:avLst/>
              </a:prstGeom>
            </p:spPr>
          </p:pic>
        </p:grpSp>
      </p:grpSp>
      <p:grpSp>
        <p:nvGrpSpPr>
          <p:cNvPr id="67" name="Group 66">
            <a:extLst>
              <a:ext uri="{FF2B5EF4-FFF2-40B4-BE49-F238E27FC236}">
                <a16:creationId xmlns:a16="http://schemas.microsoft.com/office/drawing/2014/main" id="{146707B4-1DDC-D438-0831-A4E8D1E68C61}"/>
              </a:ext>
            </a:extLst>
          </p:cNvPr>
          <p:cNvGrpSpPr>
            <a:grpSpLocks noChangeAspect="1"/>
          </p:cNvGrpSpPr>
          <p:nvPr/>
        </p:nvGrpSpPr>
        <p:grpSpPr>
          <a:xfrm>
            <a:off x="5556337" y="2806054"/>
            <a:ext cx="792000" cy="666915"/>
            <a:chOff x="3804782" y="4739109"/>
            <a:chExt cx="834030" cy="702308"/>
          </a:xfrm>
        </p:grpSpPr>
        <p:sp>
          <p:nvSpPr>
            <p:cNvPr id="68" name="Rectangle 67">
              <a:extLst>
                <a:ext uri="{FF2B5EF4-FFF2-40B4-BE49-F238E27FC236}">
                  <a16:creationId xmlns:a16="http://schemas.microsoft.com/office/drawing/2014/main" id="{183D6EAB-8949-3EB6-4319-8A768955900E}"/>
                </a:ext>
              </a:extLst>
            </p:cNvPr>
            <p:cNvSpPr/>
            <p:nvPr/>
          </p:nvSpPr>
          <p:spPr bwMode="gray">
            <a:xfrm>
              <a:off x="3804782" y="4774413"/>
              <a:ext cx="834030" cy="667004"/>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t">
              <a:noAutofit/>
            </a:bodyPr>
            <a:lstStyle/>
            <a:p>
              <a:pPr algn="ctr">
                <a:lnSpc>
                  <a:spcPct val="95000"/>
                </a:lnSpc>
                <a:spcAft>
                  <a:spcPts val="200"/>
                </a:spcAft>
              </a:pPr>
              <a:r>
                <a:rPr lang="de-DE" sz="700">
                  <a:solidFill>
                    <a:schemeClr val="tx1"/>
                  </a:solidFill>
                </a:rPr>
                <a:t>Sanierungs-potenzial</a:t>
              </a:r>
            </a:p>
          </p:txBody>
        </p:sp>
        <p:grpSp>
          <p:nvGrpSpPr>
            <p:cNvPr id="69" name="Group 68">
              <a:extLst>
                <a:ext uri="{FF2B5EF4-FFF2-40B4-BE49-F238E27FC236}">
                  <a16:creationId xmlns:a16="http://schemas.microsoft.com/office/drawing/2014/main" id="{A9A66D13-43D8-3F29-F338-57A7B7EDB9A8}"/>
                </a:ext>
              </a:extLst>
            </p:cNvPr>
            <p:cNvGrpSpPr>
              <a:grpSpLocks noChangeAspect="1"/>
            </p:cNvGrpSpPr>
            <p:nvPr>
              <p:custDataLst>
                <p:tags r:id="rId11"/>
              </p:custDataLst>
            </p:nvPr>
          </p:nvGrpSpPr>
          <p:grpSpPr>
            <a:xfrm>
              <a:off x="3996287" y="4739109"/>
              <a:ext cx="437117" cy="458525"/>
              <a:chOff x="1270000" y="1195836"/>
              <a:chExt cx="918199" cy="963164"/>
            </a:xfrm>
          </p:grpSpPr>
          <p:sp>
            <p:nvSpPr>
              <p:cNvPr id="70" name="Rectangle 69" hidden="1">
                <a:extLst>
                  <a:ext uri="{FF2B5EF4-FFF2-40B4-BE49-F238E27FC236}">
                    <a16:creationId xmlns:a16="http://schemas.microsoft.com/office/drawing/2014/main" id="{37D9B7A2-FF9F-AFB1-FBFA-3D5C3073A4EF}"/>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ctr">
                <a:noAutofit/>
              </a:bodyPr>
              <a:lstStyle/>
              <a:p>
                <a:pPr algn="ctr"/>
                <a:endParaRPr lang="de-DE" sz="700" err="1">
                  <a:solidFill>
                    <a:schemeClr val="tx1"/>
                  </a:solidFill>
                </a:endParaRPr>
              </a:p>
            </p:txBody>
          </p:sp>
          <p:pic>
            <p:nvPicPr>
              <p:cNvPr id="71" name="Graphic 70">
                <a:extLst>
                  <a:ext uri="{FF2B5EF4-FFF2-40B4-BE49-F238E27FC236}">
                    <a16:creationId xmlns:a16="http://schemas.microsoft.com/office/drawing/2014/main" id="{D64E5470-26BC-4513-162A-B857AC42DE11}"/>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1299199" y="1195836"/>
                <a:ext cx="889000" cy="888999"/>
              </a:xfrm>
              <a:prstGeom prst="rect">
                <a:avLst/>
              </a:prstGeom>
            </p:spPr>
          </p:pic>
        </p:grpSp>
      </p:grpSp>
      <p:grpSp>
        <p:nvGrpSpPr>
          <p:cNvPr id="72" name="Group 71">
            <a:extLst>
              <a:ext uri="{FF2B5EF4-FFF2-40B4-BE49-F238E27FC236}">
                <a16:creationId xmlns:a16="http://schemas.microsoft.com/office/drawing/2014/main" id="{5EFF6D9C-BF7D-2491-6171-846195F8415B}"/>
              </a:ext>
            </a:extLst>
          </p:cNvPr>
          <p:cNvGrpSpPr>
            <a:grpSpLocks noChangeAspect="1"/>
          </p:cNvGrpSpPr>
          <p:nvPr/>
        </p:nvGrpSpPr>
        <p:grpSpPr>
          <a:xfrm>
            <a:off x="4692337" y="3572850"/>
            <a:ext cx="792000" cy="633393"/>
            <a:chOff x="5453036" y="4956073"/>
            <a:chExt cx="834031" cy="667003"/>
          </a:xfrm>
        </p:grpSpPr>
        <p:sp>
          <p:nvSpPr>
            <p:cNvPr id="73" name="Rectangle 72">
              <a:extLst>
                <a:ext uri="{FF2B5EF4-FFF2-40B4-BE49-F238E27FC236}">
                  <a16:creationId xmlns:a16="http://schemas.microsoft.com/office/drawing/2014/main" id="{12B9C9AB-AFD2-C680-44D4-56DA88712060}"/>
                </a:ext>
              </a:extLst>
            </p:cNvPr>
            <p:cNvSpPr/>
            <p:nvPr/>
          </p:nvSpPr>
          <p:spPr bwMode="gray">
            <a:xfrm>
              <a:off x="5453036" y="4956073"/>
              <a:ext cx="834031" cy="667003"/>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t">
              <a:noAutofit/>
            </a:bodyPr>
            <a:lstStyle/>
            <a:p>
              <a:pPr algn="ctr">
                <a:lnSpc>
                  <a:spcPct val="95000"/>
                </a:lnSpc>
                <a:spcAft>
                  <a:spcPts val="200"/>
                </a:spcAft>
              </a:pPr>
              <a:r>
                <a:rPr lang="de-DE" sz="700">
                  <a:solidFill>
                    <a:schemeClr val="tx1"/>
                  </a:solidFill>
                </a:rPr>
                <a:t>Unvermeidbarer Abwärme</a:t>
              </a:r>
            </a:p>
          </p:txBody>
        </p:sp>
        <p:grpSp>
          <p:nvGrpSpPr>
            <p:cNvPr id="74" name="Group 73">
              <a:extLst>
                <a:ext uri="{FF2B5EF4-FFF2-40B4-BE49-F238E27FC236}">
                  <a16:creationId xmlns:a16="http://schemas.microsoft.com/office/drawing/2014/main" id="{DBA85FE2-D28E-222D-4A8A-279FCF25A09B}"/>
                </a:ext>
              </a:extLst>
            </p:cNvPr>
            <p:cNvGrpSpPr>
              <a:grpSpLocks noChangeAspect="1"/>
            </p:cNvGrpSpPr>
            <p:nvPr>
              <p:custDataLst>
                <p:tags r:id="rId9"/>
              </p:custDataLst>
            </p:nvPr>
          </p:nvGrpSpPr>
          <p:grpSpPr>
            <a:xfrm>
              <a:off x="5691078" y="5004112"/>
              <a:ext cx="340966" cy="324000"/>
              <a:chOff x="1270000" y="1270000"/>
              <a:chExt cx="935551" cy="889000"/>
            </a:xfrm>
          </p:grpSpPr>
          <p:sp>
            <p:nvSpPr>
              <p:cNvPr id="75" name="Rectangle 74" hidden="1">
                <a:extLst>
                  <a:ext uri="{FF2B5EF4-FFF2-40B4-BE49-F238E27FC236}">
                    <a16:creationId xmlns:a16="http://schemas.microsoft.com/office/drawing/2014/main" id="{403D7A6B-B128-62AD-AA00-21BB2CCE89FB}"/>
                  </a:ext>
                </a:extLst>
              </p:cNvPr>
              <p:cNvSpPr/>
              <p:nvPr>
                <p:custDataLst>
                  <p:tags r:id="rId10"/>
                </p:custDataLst>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ctr">
                <a:noAutofit/>
              </a:bodyPr>
              <a:lstStyle/>
              <a:p>
                <a:pPr algn="ctr"/>
                <a:endParaRPr lang="de-DE" sz="700" err="1">
                  <a:solidFill>
                    <a:schemeClr val="tx1"/>
                  </a:solidFill>
                </a:endParaRPr>
              </a:p>
            </p:txBody>
          </p:sp>
          <p:pic>
            <p:nvPicPr>
              <p:cNvPr id="76" name="Graphic 75">
                <a:extLst>
                  <a:ext uri="{FF2B5EF4-FFF2-40B4-BE49-F238E27FC236}">
                    <a16:creationId xmlns:a16="http://schemas.microsoft.com/office/drawing/2014/main" id="{F66D2835-2855-C097-5879-58C4EA5052A3}"/>
                  </a:ext>
                </a:extLst>
              </p:cNvPr>
              <p:cNvPicPr>
                <a:picLocks noChangeAspect="1"/>
              </p:cNvPicPr>
              <p:nvPr/>
            </p:nvPicPr>
            <p:blipFill>
              <a:blip r:embed="rId44" cstate="print">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1316551" y="1270000"/>
                <a:ext cx="889000" cy="889000"/>
              </a:xfrm>
              <a:prstGeom prst="rect">
                <a:avLst/>
              </a:prstGeom>
            </p:spPr>
          </p:pic>
        </p:grpSp>
      </p:grpSp>
      <p:grpSp>
        <p:nvGrpSpPr>
          <p:cNvPr id="77" name="Group 76">
            <a:extLst>
              <a:ext uri="{FF2B5EF4-FFF2-40B4-BE49-F238E27FC236}">
                <a16:creationId xmlns:a16="http://schemas.microsoft.com/office/drawing/2014/main" id="{46E5CE29-9B72-DC6F-A3DB-61B828E2D490}"/>
              </a:ext>
            </a:extLst>
          </p:cNvPr>
          <p:cNvGrpSpPr>
            <a:grpSpLocks noChangeAspect="1"/>
          </p:cNvGrpSpPr>
          <p:nvPr/>
        </p:nvGrpSpPr>
        <p:grpSpPr>
          <a:xfrm>
            <a:off x="5556337" y="3572851"/>
            <a:ext cx="792000" cy="633393"/>
            <a:chOff x="3804787" y="5526943"/>
            <a:chExt cx="834031" cy="667005"/>
          </a:xfrm>
        </p:grpSpPr>
        <p:sp>
          <p:nvSpPr>
            <p:cNvPr id="78" name="Rectangle 77">
              <a:extLst>
                <a:ext uri="{FF2B5EF4-FFF2-40B4-BE49-F238E27FC236}">
                  <a16:creationId xmlns:a16="http://schemas.microsoft.com/office/drawing/2014/main" id="{A3BC04E5-5B61-665D-9D6E-2E2EA52B5F4E}"/>
                </a:ext>
              </a:extLst>
            </p:cNvPr>
            <p:cNvSpPr/>
            <p:nvPr/>
          </p:nvSpPr>
          <p:spPr bwMode="gray">
            <a:xfrm>
              <a:off x="3804787" y="5526943"/>
              <a:ext cx="834031" cy="667005"/>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t">
              <a:noAutofit/>
            </a:bodyPr>
            <a:lstStyle/>
            <a:p>
              <a:pPr algn="ctr">
                <a:lnSpc>
                  <a:spcPct val="95000"/>
                </a:lnSpc>
                <a:spcAft>
                  <a:spcPts val="200"/>
                </a:spcAft>
              </a:pPr>
              <a:r>
                <a:rPr lang="de-DE" sz="700">
                  <a:solidFill>
                    <a:schemeClr val="tx1"/>
                  </a:solidFill>
                </a:rPr>
                <a:t>Wärmenetz-eignungsgebiete</a:t>
              </a:r>
            </a:p>
          </p:txBody>
        </p:sp>
        <p:pic>
          <p:nvPicPr>
            <p:cNvPr id="79" name="Graphic 78">
              <a:extLst>
                <a:ext uri="{FF2B5EF4-FFF2-40B4-BE49-F238E27FC236}">
                  <a16:creationId xmlns:a16="http://schemas.microsoft.com/office/drawing/2014/main" id="{6E5AC430-9FC1-51F8-31E0-0397EBF18C5F}"/>
                </a:ext>
              </a:extLst>
            </p:cNvPr>
            <p:cNvPicPr>
              <a:picLocks noChangeAspect="1"/>
            </p:cNvPicPr>
            <p:nvPr/>
          </p:nvPicPr>
          <p:blipFill>
            <a:blip r:embed="rId46" cstate="print">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4059797" y="5569922"/>
              <a:ext cx="324000" cy="324000"/>
            </a:xfrm>
            <a:prstGeom prst="rect">
              <a:avLst/>
            </a:prstGeom>
          </p:spPr>
        </p:pic>
      </p:grpSp>
      <p:sp>
        <p:nvSpPr>
          <p:cNvPr id="80" name="Rectangle 79">
            <a:extLst>
              <a:ext uri="{FF2B5EF4-FFF2-40B4-BE49-F238E27FC236}">
                <a16:creationId xmlns:a16="http://schemas.microsoft.com/office/drawing/2014/main" id="{97CDCCFD-A1A4-2C57-AB23-7931B5341C2E}"/>
              </a:ext>
            </a:extLst>
          </p:cNvPr>
          <p:cNvSpPr/>
          <p:nvPr/>
        </p:nvSpPr>
        <p:spPr bwMode="gray">
          <a:xfrm>
            <a:off x="208026" y="2542866"/>
            <a:ext cx="6198236" cy="2101718"/>
          </a:xfrm>
          <a:prstGeom prst="rect">
            <a:avLst/>
          </a:prstGeom>
          <a:noFill/>
          <a:ln w="12700">
            <a:solidFill>
              <a:srgbClr val="85CEEF">
                <a:alpha val="69804"/>
              </a:srgb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81" name="Isosceles Triangle 80">
            <a:extLst>
              <a:ext uri="{FF2B5EF4-FFF2-40B4-BE49-F238E27FC236}">
                <a16:creationId xmlns:a16="http://schemas.microsoft.com/office/drawing/2014/main" id="{0E613289-9F4A-81A3-A955-82149F793854}"/>
              </a:ext>
            </a:extLst>
          </p:cNvPr>
          <p:cNvSpPr/>
          <p:nvPr/>
        </p:nvSpPr>
        <p:spPr bwMode="gray">
          <a:xfrm rot="5400000">
            <a:off x="5556699" y="3487061"/>
            <a:ext cx="2074109" cy="240936"/>
          </a:xfrm>
          <a:prstGeom prst="triangle">
            <a:avLst/>
          </a:prstGeom>
          <a:solidFill>
            <a:schemeClr val="accent6">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8725" tIns="28725" rIns="28725" bIns="28725" rtlCol="0" anchor="ctr">
            <a:noAutofit/>
          </a:bodyPr>
          <a:lstStyle/>
          <a:p>
            <a:pPr algn="ctr"/>
            <a:endParaRPr lang="de-DE" sz="1117">
              <a:solidFill>
                <a:schemeClr val="tx1"/>
              </a:solidFill>
            </a:endParaRPr>
          </a:p>
        </p:txBody>
      </p:sp>
      <p:grpSp>
        <p:nvGrpSpPr>
          <p:cNvPr id="82" name="Group 81">
            <a:extLst>
              <a:ext uri="{FF2B5EF4-FFF2-40B4-BE49-F238E27FC236}">
                <a16:creationId xmlns:a16="http://schemas.microsoft.com/office/drawing/2014/main" id="{7C5B1373-06AE-05CA-219A-D9ED905E2532}"/>
              </a:ext>
            </a:extLst>
          </p:cNvPr>
          <p:cNvGrpSpPr/>
          <p:nvPr/>
        </p:nvGrpSpPr>
        <p:grpSpPr>
          <a:xfrm>
            <a:off x="6941310" y="2542866"/>
            <a:ext cx="2636943" cy="2180427"/>
            <a:chOff x="6941310" y="2542866"/>
            <a:chExt cx="2636943" cy="2180427"/>
          </a:xfrm>
        </p:grpSpPr>
        <p:pic>
          <p:nvPicPr>
            <p:cNvPr id="83" name="Picture 82">
              <a:extLst>
                <a:ext uri="{FF2B5EF4-FFF2-40B4-BE49-F238E27FC236}">
                  <a16:creationId xmlns:a16="http://schemas.microsoft.com/office/drawing/2014/main" id="{E1666A9D-C0C1-1358-973B-2735AA619BFD}"/>
                </a:ext>
              </a:extLst>
            </p:cNvPr>
            <p:cNvPicPr>
              <a:picLocks noChangeAspect="1"/>
            </p:cNvPicPr>
            <p:nvPr/>
          </p:nvPicPr>
          <p:blipFill rotWithShape="1">
            <a:blip r:embed="rId48" cstate="screen">
              <a:extLst>
                <a:ext uri="{28A0092B-C50C-407E-A947-70E740481C1C}">
                  <a14:useLocalDpi xmlns:a14="http://schemas.microsoft.com/office/drawing/2010/main"/>
                </a:ext>
              </a:extLst>
            </a:blip>
            <a:srcRect/>
            <a:stretch/>
          </p:blipFill>
          <p:spPr>
            <a:xfrm>
              <a:off x="6941310" y="3621697"/>
              <a:ext cx="1152000" cy="900129"/>
            </a:xfrm>
            <a:prstGeom prst="rect">
              <a:avLst/>
            </a:prstGeom>
            <a:ln/>
          </p:spPr>
        </p:pic>
        <p:pic>
          <p:nvPicPr>
            <p:cNvPr id="84" name="Picture 83">
              <a:extLst>
                <a:ext uri="{FF2B5EF4-FFF2-40B4-BE49-F238E27FC236}">
                  <a16:creationId xmlns:a16="http://schemas.microsoft.com/office/drawing/2014/main" id="{D4DE3582-9DC0-D177-BC2D-3829A9259AA9}"/>
                </a:ext>
              </a:extLst>
            </p:cNvPr>
            <p:cNvPicPr>
              <a:picLocks noChangeAspect="1"/>
            </p:cNvPicPr>
            <p:nvPr/>
          </p:nvPicPr>
          <p:blipFill rotWithShape="1">
            <a:blip r:embed="rId49" cstate="screen">
              <a:extLst>
                <a:ext uri="{28A0092B-C50C-407E-A947-70E740481C1C}">
                  <a14:useLocalDpi xmlns:a14="http://schemas.microsoft.com/office/drawing/2010/main"/>
                </a:ext>
              </a:extLst>
            </a:blip>
            <a:srcRect/>
            <a:stretch/>
          </p:blipFill>
          <p:spPr>
            <a:xfrm>
              <a:off x="8426253" y="3621697"/>
              <a:ext cx="1152000" cy="900129"/>
            </a:xfrm>
            <a:prstGeom prst="rect">
              <a:avLst/>
            </a:prstGeom>
            <a:ln/>
          </p:spPr>
        </p:pic>
        <p:sp>
          <p:nvSpPr>
            <p:cNvPr id="85" name="TextBox 84">
              <a:extLst>
                <a:ext uri="{FF2B5EF4-FFF2-40B4-BE49-F238E27FC236}">
                  <a16:creationId xmlns:a16="http://schemas.microsoft.com/office/drawing/2014/main" id="{59277314-111F-4CF2-7164-2972DC67F022}"/>
                </a:ext>
              </a:extLst>
            </p:cNvPr>
            <p:cNvSpPr txBox="1"/>
            <p:nvPr/>
          </p:nvSpPr>
          <p:spPr>
            <a:xfrm>
              <a:off x="6952369" y="4521826"/>
              <a:ext cx="433577" cy="201467"/>
            </a:xfrm>
            <a:prstGeom prst="rect">
              <a:avLst/>
            </a:prstGeom>
            <a:noFill/>
          </p:spPr>
          <p:txBody>
            <a:bodyPr wrap="none" lIns="0" tIns="0" rIns="0" bIns="0" rtlCol="0" anchor="t">
              <a:noAutofit/>
            </a:bodyPr>
            <a:lstStyle/>
            <a:p>
              <a:r>
                <a:rPr lang="de-DE" sz="1200"/>
                <a:t>2025</a:t>
              </a:r>
            </a:p>
          </p:txBody>
        </p:sp>
        <p:sp>
          <p:nvSpPr>
            <p:cNvPr id="86" name="TextBox 85">
              <a:extLst>
                <a:ext uri="{FF2B5EF4-FFF2-40B4-BE49-F238E27FC236}">
                  <a16:creationId xmlns:a16="http://schemas.microsoft.com/office/drawing/2014/main" id="{1C445F95-C871-54F6-50B2-065A3E671196}"/>
                </a:ext>
              </a:extLst>
            </p:cNvPr>
            <p:cNvSpPr txBox="1"/>
            <p:nvPr/>
          </p:nvSpPr>
          <p:spPr>
            <a:xfrm>
              <a:off x="9137990" y="4514451"/>
              <a:ext cx="433577" cy="201467"/>
            </a:xfrm>
            <a:prstGeom prst="rect">
              <a:avLst/>
            </a:prstGeom>
            <a:noFill/>
          </p:spPr>
          <p:txBody>
            <a:bodyPr wrap="none" lIns="0" tIns="0" rIns="0" bIns="0" rtlCol="0" anchor="t">
              <a:noAutofit/>
            </a:bodyPr>
            <a:lstStyle/>
            <a:p>
              <a:pPr algn="r"/>
              <a:r>
                <a:rPr lang="de-DE" sz="1200"/>
                <a:t>2045</a:t>
              </a:r>
            </a:p>
          </p:txBody>
        </p:sp>
        <p:grpSp>
          <p:nvGrpSpPr>
            <p:cNvPr id="87" name="Group 86">
              <a:extLst>
                <a:ext uri="{FF2B5EF4-FFF2-40B4-BE49-F238E27FC236}">
                  <a16:creationId xmlns:a16="http://schemas.microsoft.com/office/drawing/2014/main" id="{8349EA4C-EC4B-7127-4790-ECFD9D48C24D}"/>
                </a:ext>
              </a:extLst>
            </p:cNvPr>
            <p:cNvGrpSpPr/>
            <p:nvPr/>
          </p:nvGrpSpPr>
          <p:grpSpPr>
            <a:xfrm>
              <a:off x="7452758" y="2542866"/>
              <a:ext cx="1549495" cy="941528"/>
              <a:chOff x="7779601" y="2538328"/>
              <a:chExt cx="1549495" cy="941528"/>
            </a:xfrm>
          </p:grpSpPr>
          <p:pic>
            <p:nvPicPr>
              <p:cNvPr id="90" name="Picture 89" descr="A map of a city&#10;&#10;AI-generated content may be incorrect.">
                <a:extLst>
                  <a:ext uri="{FF2B5EF4-FFF2-40B4-BE49-F238E27FC236}">
                    <a16:creationId xmlns:a16="http://schemas.microsoft.com/office/drawing/2014/main" id="{BC9DE1C5-12DD-F11C-7EB2-B3E98E8748D4}"/>
                  </a:ext>
                </a:extLst>
              </p:cNvPr>
              <p:cNvPicPr>
                <a:picLocks noChangeAspect="1"/>
              </p:cNvPicPr>
              <p:nvPr/>
            </p:nvPicPr>
            <p:blipFill>
              <a:blip r:embed="rId50" cstate="screen">
                <a:extLst>
                  <a:ext uri="{28A0092B-C50C-407E-A947-70E740481C1C}">
                    <a14:useLocalDpi xmlns:a14="http://schemas.microsoft.com/office/drawing/2010/main"/>
                  </a:ext>
                </a:extLst>
              </a:blip>
              <a:srcRect/>
              <a:stretch/>
            </p:blipFill>
            <p:spPr>
              <a:xfrm>
                <a:off x="7779601" y="2538328"/>
                <a:ext cx="1548000" cy="941528"/>
              </a:xfrm>
              <a:prstGeom prst="rect">
                <a:avLst/>
              </a:prstGeom>
            </p:spPr>
          </p:pic>
          <p:sp>
            <p:nvSpPr>
              <p:cNvPr id="91" name="TextBox 90">
                <a:extLst>
                  <a:ext uri="{FF2B5EF4-FFF2-40B4-BE49-F238E27FC236}">
                    <a16:creationId xmlns:a16="http://schemas.microsoft.com/office/drawing/2014/main" id="{79CE0A72-9945-536F-9F04-804884C1C44A}"/>
                  </a:ext>
                </a:extLst>
              </p:cNvPr>
              <p:cNvSpPr txBox="1"/>
              <p:nvPr/>
            </p:nvSpPr>
            <p:spPr>
              <a:xfrm>
                <a:off x="7779601" y="2538862"/>
                <a:ext cx="1549495" cy="180207"/>
              </a:xfrm>
              <a:prstGeom prst="rect">
                <a:avLst/>
              </a:prstGeom>
              <a:solidFill>
                <a:srgbClr val="FFFFFF">
                  <a:alpha val="74902"/>
                </a:srgbClr>
              </a:solidFill>
              <a:ln>
                <a:noFill/>
              </a:ln>
            </p:spPr>
            <p:txBody>
              <a:bodyPr wrap="square" lIns="36000" tIns="18000" rIns="36000" bIns="0" rtlCol="0" anchor="t">
                <a:normAutofit/>
              </a:bodyPr>
              <a:lstStyle/>
              <a:p>
                <a:pPr algn="ctr"/>
                <a:r>
                  <a:rPr lang="de-DE" sz="700">
                    <a:solidFill>
                      <a:schemeClr val="accent4">
                        <a:lumMod val="10000"/>
                      </a:schemeClr>
                    </a:solidFill>
                    <a:ea typeface="Roboto Slab" pitchFamily="2" charset="0"/>
                  </a:rPr>
                  <a:t>Eignung für Wärmenetzversorgung</a:t>
                </a:r>
                <a:endParaRPr lang="en-US" sz="700">
                  <a:solidFill>
                    <a:schemeClr val="accent4">
                      <a:lumMod val="10000"/>
                    </a:schemeClr>
                  </a:solidFill>
                  <a:ea typeface="Roboto Slab" pitchFamily="2" charset="0"/>
                </a:endParaRPr>
              </a:p>
            </p:txBody>
          </p:sp>
        </p:grpSp>
        <p:cxnSp>
          <p:nvCxnSpPr>
            <p:cNvPr id="88" name="Connector: Elbow 87">
              <a:extLst>
                <a:ext uri="{FF2B5EF4-FFF2-40B4-BE49-F238E27FC236}">
                  <a16:creationId xmlns:a16="http://schemas.microsoft.com/office/drawing/2014/main" id="{013C8833-AD25-E83C-0538-EB6DEEF79739}"/>
                </a:ext>
              </a:extLst>
            </p:cNvPr>
            <p:cNvCxnSpPr/>
            <p:nvPr/>
          </p:nvCxnSpPr>
          <p:spPr>
            <a:xfrm rot="5400000" flipH="1" flipV="1">
              <a:off x="6967259" y="3162722"/>
              <a:ext cx="620584" cy="216789"/>
            </a:xfrm>
            <a:prstGeom prst="bentConnector3">
              <a:avLst>
                <a:gd name="adj1" fmla="val 10034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Connector: Elbow 88">
              <a:extLst>
                <a:ext uri="{FF2B5EF4-FFF2-40B4-BE49-F238E27FC236}">
                  <a16:creationId xmlns:a16="http://schemas.microsoft.com/office/drawing/2014/main" id="{BE788AEB-D265-DD15-296F-CA4006AC7B26}"/>
                </a:ext>
              </a:extLst>
            </p:cNvPr>
            <p:cNvCxnSpPr>
              <a:cxnSpLocks/>
            </p:cNvCxnSpPr>
            <p:nvPr/>
          </p:nvCxnSpPr>
          <p:spPr>
            <a:xfrm rot="16200000" flipH="1">
              <a:off x="8817883" y="3168896"/>
              <a:ext cx="612027" cy="195879"/>
            </a:xfrm>
            <a:prstGeom prst="bentConnector3">
              <a:avLst>
                <a:gd name="adj1" fmla="val -1047"/>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E830AAC1-00C3-C68D-D666-6201B7B83692}"/>
              </a:ext>
            </a:extLst>
          </p:cNvPr>
          <p:cNvGrpSpPr/>
          <p:nvPr/>
        </p:nvGrpSpPr>
        <p:grpSpPr>
          <a:xfrm>
            <a:off x="208564" y="4715918"/>
            <a:ext cx="9371934" cy="1306440"/>
            <a:chOff x="208564" y="4715918"/>
            <a:chExt cx="9371934" cy="1306440"/>
          </a:xfrm>
        </p:grpSpPr>
        <p:grpSp>
          <p:nvGrpSpPr>
            <p:cNvPr id="93" name="Group 92">
              <a:extLst>
                <a:ext uri="{FF2B5EF4-FFF2-40B4-BE49-F238E27FC236}">
                  <a16:creationId xmlns:a16="http://schemas.microsoft.com/office/drawing/2014/main" id="{E0F610A9-3EB7-75F6-896D-5EF965C020F0}"/>
                </a:ext>
              </a:extLst>
            </p:cNvPr>
            <p:cNvGrpSpPr/>
            <p:nvPr/>
          </p:nvGrpSpPr>
          <p:grpSpPr>
            <a:xfrm>
              <a:off x="502106" y="4823348"/>
              <a:ext cx="1476000" cy="1132776"/>
              <a:chOff x="502106" y="4823348"/>
              <a:chExt cx="1476000" cy="1132776"/>
            </a:xfrm>
          </p:grpSpPr>
          <p:grpSp>
            <p:nvGrpSpPr>
              <p:cNvPr id="121" name="Group 120">
                <a:extLst>
                  <a:ext uri="{FF2B5EF4-FFF2-40B4-BE49-F238E27FC236}">
                    <a16:creationId xmlns:a16="http://schemas.microsoft.com/office/drawing/2014/main" id="{21D16F97-6567-09C1-AFD7-311082570B15}"/>
                  </a:ext>
                </a:extLst>
              </p:cNvPr>
              <p:cNvGrpSpPr>
                <a:grpSpLocks noChangeAspect="1"/>
              </p:cNvGrpSpPr>
              <p:nvPr>
                <p:custDataLst>
                  <p:tags r:id="rId8"/>
                </p:custDataLst>
              </p:nvPr>
            </p:nvGrpSpPr>
            <p:grpSpPr>
              <a:xfrm>
                <a:off x="1024106" y="4823348"/>
                <a:ext cx="432000" cy="460575"/>
                <a:chOff x="1270000" y="1211197"/>
                <a:chExt cx="889000" cy="947803"/>
              </a:xfrm>
            </p:grpSpPr>
            <p:sp>
              <p:nvSpPr>
                <p:cNvPr id="123" name="Rectangle 122" hidden="1">
                  <a:extLst>
                    <a:ext uri="{FF2B5EF4-FFF2-40B4-BE49-F238E27FC236}">
                      <a16:creationId xmlns:a16="http://schemas.microsoft.com/office/drawing/2014/main" id="{BC51A96E-8526-2E8E-82D6-CF56BDBC5E62}"/>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24" name="Graphic 123">
                  <a:extLst>
                    <a:ext uri="{FF2B5EF4-FFF2-40B4-BE49-F238E27FC236}">
                      <a16:creationId xmlns:a16="http://schemas.microsoft.com/office/drawing/2014/main" id="{7706E729-5A09-B7BF-606F-628453802A87}"/>
                    </a:ext>
                  </a:extLst>
                </p:cNvPr>
                <p:cNvPicPr>
                  <a:picLocks noChangeAspect="1"/>
                </p:cNvPicPr>
                <p:nvPr/>
              </p:nvPicPr>
              <p:blipFill>
                <a:blip r:embed="rId51" cstate="print">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1270000" y="1211197"/>
                  <a:ext cx="889000" cy="888999"/>
                </a:xfrm>
                <a:prstGeom prst="rect">
                  <a:avLst/>
                </a:prstGeom>
              </p:spPr>
            </p:pic>
          </p:grpSp>
          <p:sp>
            <p:nvSpPr>
              <p:cNvPr id="122" name="Rectangle 121">
                <a:extLst>
                  <a:ext uri="{FF2B5EF4-FFF2-40B4-BE49-F238E27FC236}">
                    <a16:creationId xmlns:a16="http://schemas.microsoft.com/office/drawing/2014/main" id="{1A06E95D-7B62-1F13-E652-A34910482749}"/>
                  </a:ext>
                </a:extLst>
              </p:cNvPr>
              <p:cNvSpPr/>
              <p:nvPr/>
            </p:nvSpPr>
            <p:spPr bwMode="gray">
              <a:xfrm>
                <a:off x="502106" y="5306457"/>
                <a:ext cx="1476000" cy="649667"/>
              </a:xfrm>
              <a:prstGeom prst="rect">
                <a:avLst/>
              </a:prstGeom>
              <a:solidFill>
                <a:srgbClr val="FFFFFF">
                  <a:alpha val="4784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tabLst>
                    <a:tab pos="266700" algn="l"/>
                  </a:tabLst>
                </a:pPr>
                <a:r>
                  <a:rPr lang="de-DE" sz="1000" b="1">
                    <a:solidFill>
                      <a:srgbClr val="003C50"/>
                    </a:solidFill>
                    <a:latin typeface="Roboto" panose="02000000000000000000" pitchFamily="2" charset="0"/>
                    <a:sym typeface="Wingdings 3" panose="05040102010807070707" pitchFamily="18" charset="2"/>
                  </a:rPr>
                  <a:t>Gebäudezentrierte</a:t>
                </a:r>
                <a:r>
                  <a:rPr lang="de-DE" sz="1000">
                    <a:solidFill>
                      <a:srgbClr val="003C50"/>
                    </a:solidFill>
                    <a:latin typeface="Roboto" panose="02000000000000000000" pitchFamily="2" charset="0"/>
                    <a:sym typeface="Wingdings 3" panose="05040102010807070707" pitchFamily="18" charset="2"/>
                  </a:rPr>
                  <a:t> Datenerfassung und </a:t>
                </a:r>
                <a:r>
                  <a:rPr lang="de-DE" sz="1000" b="1">
                    <a:solidFill>
                      <a:srgbClr val="003C50"/>
                    </a:solidFill>
                    <a:latin typeface="Roboto" panose="02000000000000000000" pitchFamily="2" charset="0"/>
                    <a:sym typeface="Wingdings 3" panose="05040102010807070707" pitchFamily="18" charset="2"/>
                  </a:rPr>
                  <a:t>automatisierte Datenanreicherung</a:t>
                </a:r>
                <a:endParaRPr lang="de-DE" sz="1000" b="1">
                  <a:solidFill>
                    <a:srgbClr val="003C50"/>
                  </a:solidFill>
                  <a:latin typeface="Roboto" panose="02000000000000000000" pitchFamily="2" charset="0"/>
                </a:endParaRPr>
              </a:p>
            </p:txBody>
          </p:sp>
        </p:grpSp>
        <p:grpSp>
          <p:nvGrpSpPr>
            <p:cNvPr id="94" name="Group 93">
              <a:extLst>
                <a:ext uri="{FF2B5EF4-FFF2-40B4-BE49-F238E27FC236}">
                  <a16:creationId xmlns:a16="http://schemas.microsoft.com/office/drawing/2014/main" id="{102FEB88-A251-3129-E979-B079E99157DF}"/>
                </a:ext>
              </a:extLst>
            </p:cNvPr>
            <p:cNvGrpSpPr/>
            <p:nvPr/>
          </p:nvGrpSpPr>
          <p:grpSpPr>
            <a:xfrm>
              <a:off x="2009114" y="4851923"/>
              <a:ext cx="1476000" cy="1104201"/>
              <a:chOff x="2009114" y="4851923"/>
              <a:chExt cx="1476000" cy="1104201"/>
            </a:xfrm>
          </p:grpSpPr>
          <p:grpSp>
            <p:nvGrpSpPr>
              <p:cNvPr id="117" name="Group 116">
                <a:extLst>
                  <a:ext uri="{FF2B5EF4-FFF2-40B4-BE49-F238E27FC236}">
                    <a16:creationId xmlns:a16="http://schemas.microsoft.com/office/drawing/2014/main" id="{07D7AB74-784C-4CC8-2C2E-B749BEEDF0F1}"/>
                  </a:ext>
                </a:extLst>
              </p:cNvPr>
              <p:cNvGrpSpPr>
                <a:grpSpLocks noChangeAspect="1"/>
              </p:cNvGrpSpPr>
              <p:nvPr>
                <p:custDataLst>
                  <p:tags r:id="rId7"/>
                </p:custDataLst>
              </p:nvPr>
            </p:nvGrpSpPr>
            <p:grpSpPr>
              <a:xfrm>
                <a:off x="2531114" y="4851923"/>
                <a:ext cx="432000" cy="432000"/>
                <a:chOff x="1270000" y="1270000"/>
                <a:chExt cx="889000" cy="889000"/>
              </a:xfrm>
            </p:grpSpPr>
            <p:sp>
              <p:nvSpPr>
                <p:cNvPr id="119" name="Rectangle 118" hidden="1">
                  <a:extLst>
                    <a:ext uri="{FF2B5EF4-FFF2-40B4-BE49-F238E27FC236}">
                      <a16:creationId xmlns:a16="http://schemas.microsoft.com/office/drawing/2014/main" id="{11F24518-7D87-CAAB-7EF1-D00E3344E0CF}"/>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20" name="Graphic 119">
                  <a:extLst>
                    <a:ext uri="{FF2B5EF4-FFF2-40B4-BE49-F238E27FC236}">
                      <a16:creationId xmlns:a16="http://schemas.microsoft.com/office/drawing/2014/main" id="{BDAA8966-8FDE-9171-04A2-4A06075FB0D2}"/>
                    </a:ext>
                  </a:extLst>
                </p:cNvPr>
                <p:cNvPicPr>
                  <a:picLocks noChangeAspect="1"/>
                </p:cNvPicPr>
                <p:nvPr/>
              </p:nvPicPr>
              <p:blipFill>
                <a:blip r:embed="rId53" cstate="print">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1270000" y="1270000"/>
                  <a:ext cx="889000" cy="889000"/>
                </a:xfrm>
                <a:prstGeom prst="rect">
                  <a:avLst/>
                </a:prstGeom>
              </p:spPr>
            </p:pic>
          </p:grpSp>
          <p:sp>
            <p:nvSpPr>
              <p:cNvPr id="118" name="Rectangle 117">
                <a:extLst>
                  <a:ext uri="{FF2B5EF4-FFF2-40B4-BE49-F238E27FC236}">
                    <a16:creationId xmlns:a16="http://schemas.microsoft.com/office/drawing/2014/main" id="{33140D4C-0806-8930-648B-620EF456CD73}"/>
                  </a:ext>
                </a:extLst>
              </p:cNvPr>
              <p:cNvSpPr/>
              <p:nvPr/>
            </p:nvSpPr>
            <p:spPr bwMode="gray">
              <a:xfrm>
                <a:off x="2009114" y="5306457"/>
                <a:ext cx="1476000" cy="649667"/>
              </a:xfrm>
              <a:prstGeom prst="rect">
                <a:avLst/>
              </a:prstGeom>
              <a:solidFill>
                <a:srgbClr val="FFFFFF">
                  <a:alpha val="4784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tabLst>
                    <a:tab pos="266700" algn="l"/>
                  </a:tabLst>
                </a:pPr>
                <a:r>
                  <a:rPr lang="de-DE" sz="1000">
                    <a:solidFill>
                      <a:srgbClr val="003C50"/>
                    </a:solidFill>
                    <a:latin typeface="Roboto" panose="02000000000000000000" pitchFamily="2" charset="0"/>
                    <a:sym typeface="Wingdings 3" panose="05040102010807070707" pitchFamily="18" charset="2"/>
                  </a:rPr>
                  <a:t>Räumliche und zeitliche </a:t>
                </a:r>
                <a:r>
                  <a:rPr lang="de-DE" sz="1000" b="1">
                    <a:solidFill>
                      <a:srgbClr val="003C50"/>
                    </a:solidFill>
                    <a:latin typeface="Roboto" panose="02000000000000000000" pitchFamily="2" charset="0"/>
                    <a:sym typeface="Wingdings 3" panose="05040102010807070707" pitchFamily="18" charset="2"/>
                  </a:rPr>
                  <a:t>Skalierbarkeit</a:t>
                </a:r>
                <a:r>
                  <a:rPr lang="de-DE" sz="1000">
                    <a:solidFill>
                      <a:srgbClr val="003C50"/>
                    </a:solidFill>
                    <a:latin typeface="Roboto" panose="02000000000000000000" pitchFamily="2" charset="0"/>
                    <a:sym typeface="Wingdings 3" panose="05040102010807070707" pitchFamily="18" charset="2"/>
                  </a:rPr>
                  <a:t> durch </a:t>
                </a:r>
                <a:r>
                  <a:rPr lang="de-DE" sz="1000" i="1">
                    <a:solidFill>
                      <a:srgbClr val="003C50"/>
                    </a:solidFill>
                    <a:latin typeface="Roboto" panose="02000000000000000000" pitchFamily="2" charset="0"/>
                    <a:sym typeface="Wingdings 3" panose="05040102010807070707" pitchFamily="18" charset="2"/>
                  </a:rPr>
                  <a:t>Bottom-Up</a:t>
                </a:r>
                <a:r>
                  <a:rPr lang="de-DE" sz="1000">
                    <a:solidFill>
                      <a:srgbClr val="003C50"/>
                    </a:solidFill>
                    <a:latin typeface="Roboto" panose="02000000000000000000" pitchFamily="2" charset="0"/>
                    <a:sym typeface="Wingdings 3" panose="05040102010807070707" pitchFamily="18" charset="2"/>
                  </a:rPr>
                  <a:t>-Ansatz</a:t>
                </a:r>
                <a:endParaRPr lang="de-DE" sz="1000" b="1">
                  <a:solidFill>
                    <a:srgbClr val="003C50"/>
                  </a:solidFill>
                  <a:latin typeface="Roboto" panose="02000000000000000000" pitchFamily="2" charset="0"/>
                </a:endParaRPr>
              </a:p>
            </p:txBody>
          </p:sp>
        </p:grpSp>
        <p:grpSp>
          <p:nvGrpSpPr>
            <p:cNvPr id="95" name="Group 94">
              <a:extLst>
                <a:ext uri="{FF2B5EF4-FFF2-40B4-BE49-F238E27FC236}">
                  <a16:creationId xmlns:a16="http://schemas.microsoft.com/office/drawing/2014/main" id="{9134B864-9184-0B6D-6A21-C60BB99E1CE7}"/>
                </a:ext>
              </a:extLst>
            </p:cNvPr>
            <p:cNvGrpSpPr/>
            <p:nvPr/>
          </p:nvGrpSpPr>
          <p:grpSpPr>
            <a:xfrm>
              <a:off x="6529774" y="4861448"/>
              <a:ext cx="1475636" cy="1094676"/>
              <a:chOff x="6529774" y="4861448"/>
              <a:chExt cx="1475636" cy="1094676"/>
            </a:xfrm>
          </p:grpSpPr>
          <p:grpSp>
            <p:nvGrpSpPr>
              <p:cNvPr id="113" name="Group 112">
                <a:extLst>
                  <a:ext uri="{FF2B5EF4-FFF2-40B4-BE49-F238E27FC236}">
                    <a16:creationId xmlns:a16="http://schemas.microsoft.com/office/drawing/2014/main" id="{08828F50-68FC-95B0-3528-17BBF5378814}"/>
                  </a:ext>
                </a:extLst>
              </p:cNvPr>
              <p:cNvGrpSpPr>
                <a:grpSpLocks noChangeAspect="1"/>
              </p:cNvGrpSpPr>
              <p:nvPr>
                <p:custDataLst>
                  <p:tags r:id="rId6"/>
                </p:custDataLst>
              </p:nvPr>
            </p:nvGrpSpPr>
            <p:grpSpPr>
              <a:xfrm>
                <a:off x="7051592" y="4861448"/>
                <a:ext cx="432000" cy="432000"/>
                <a:chOff x="1270000" y="1270000"/>
                <a:chExt cx="889000" cy="889000"/>
              </a:xfrm>
            </p:grpSpPr>
            <p:sp>
              <p:nvSpPr>
                <p:cNvPr id="115" name="Rectangle 114" hidden="1">
                  <a:extLst>
                    <a:ext uri="{FF2B5EF4-FFF2-40B4-BE49-F238E27FC236}">
                      <a16:creationId xmlns:a16="http://schemas.microsoft.com/office/drawing/2014/main" id="{4807F3A7-8D68-A5AC-7B93-85B8AC1BAC38}"/>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16" name="Graphic 115">
                  <a:extLst>
                    <a:ext uri="{FF2B5EF4-FFF2-40B4-BE49-F238E27FC236}">
                      <a16:creationId xmlns:a16="http://schemas.microsoft.com/office/drawing/2014/main" id="{C28F856A-0D81-E660-9AC8-1153FC4397C3}"/>
                    </a:ext>
                  </a:extLst>
                </p:cNvPr>
                <p:cNvPicPr>
                  <a:picLocks noChangeAspect="1"/>
                </p:cNvPicPr>
                <p:nvPr/>
              </p:nvPicPr>
              <p:blipFill>
                <a:blip r:embed="rId55" cstate="print">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1270000" y="1270000"/>
                  <a:ext cx="889000" cy="889000"/>
                </a:xfrm>
                <a:prstGeom prst="rect">
                  <a:avLst/>
                </a:prstGeom>
              </p:spPr>
            </p:pic>
          </p:grpSp>
          <p:sp>
            <p:nvSpPr>
              <p:cNvPr id="114" name="Rectangle 113">
                <a:extLst>
                  <a:ext uri="{FF2B5EF4-FFF2-40B4-BE49-F238E27FC236}">
                    <a16:creationId xmlns:a16="http://schemas.microsoft.com/office/drawing/2014/main" id="{E0BA4324-4275-5821-ED0D-2B3C399E7BE2}"/>
                  </a:ext>
                </a:extLst>
              </p:cNvPr>
              <p:cNvSpPr/>
              <p:nvPr/>
            </p:nvSpPr>
            <p:spPr bwMode="gray">
              <a:xfrm>
                <a:off x="6529774" y="5306457"/>
                <a:ext cx="1475636" cy="649667"/>
              </a:xfrm>
              <a:prstGeom prst="rect">
                <a:avLst/>
              </a:prstGeom>
              <a:solidFill>
                <a:srgbClr val="FFFFFF">
                  <a:alpha val="4784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tabLst>
                    <a:tab pos="266700" algn="l"/>
                  </a:tabLst>
                </a:pPr>
                <a:r>
                  <a:rPr lang="de-DE" sz="1000" b="1">
                    <a:solidFill>
                      <a:srgbClr val="003C50"/>
                    </a:solidFill>
                    <a:latin typeface="Roboto" panose="02000000000000000000" pitchFamily="2" charset="0"/>
                    <a:sym typeface="Wingdings 3" panose="05040102010807070707" pitchFamily="18" charset="2"/>
                  </a:rPr>
                  <a:t>Intuitive Navigation </a:t>
                </a:r>
                <a:r>
                  <a:rPr lang="de-DE" sz="1000">
                    <a:solidFill>
                      <a:srgbClr val="003C50"/>
                    </a:solidFill>
                    <a:latin typeface="Roboto" panose="02000000000000000000" pitchFamily="2" charset="0"/>
                    <a:sym typeface="Wingdings 3" panose="05040102010807070707" pitchFamily="18" charset="2"/>
                  </a:rPr>
                  <a:t>und automatisierte </a:t>
                </a:r>
                <a:r>
                  <a:rPr lang="de-DE" sz="1000" b="1">
                    <a:solidFill>
                      <a:srgbClr val="003C50"/>
                    </a:solidFill>
                    <a:latin typeface="Roboto" panose="02000000000000000000" pitchFamily="2" charset="0"/>
                    <a:sym typeface="Wingdings 3" panose="05040102010807070707" pitchFamily="18" charset="2"/>
                  </a:rPr>
                  <a:t>Visualisierung</a:t>
                </a:r>
                <a:r>
                  <a:rPr lang="de-DE" sz="1000">
                    <a:solidFill>
                      <a:srgbClr val="003C50"/>
                    </a:solidFill>
                    <a:latin typeface="Roboto" panose="02000000000000000000" pitchFamily="2" charset="0"/>
                    <a:sym typeface="Wingdings 3" panose="05040102010807070707" pitchFamily="18" charset="2"/>
                  </a:rPr>
                  <a:t> </a:t>
                </a:r>
                <a:endParaRPr lang="de-DE" sz="1000" b="1">
                  <a:solidFill>
                    <a:srgbClr val="003C50"/>
                  </a:solidFill>
                  <a:latin typeface="Roboto" panose="02000000000000000000" pitchFamily="2" charset="0"/>
                </a:endParaRPr>
              </a:p>
            </p:txBody>
          </p:sp>
        </p:grpSp>
        <p:grpSp>
          <p:nvGrpSpPr>
            <p:cNvPr id="96" name="Group 95">
              <a:extLst>
                <a:ext uri="{FF2B5EF4-FFF2-40B4-BE49-F238E27FC236}">
                  <a16:creationId xmlns:a16="http://schemas.microsoft.com/office/drawing/2014/main" id="{0E5B7E04-B448-C597-D9A6-8C9CDDC90A4A}"/>
                </a:ext>
              </a:extLst>
            </p:cNvPr>
            <p:cNvGrpSpPr/>
            <p:nvPr/>
          </p:nvGrpSpPr>
          <p:grpSpPr>
            <a:xfrm>
              <a:off x="5022766" y="4886539"/>
              <a:ext cx="1476000" cy="1069585"/>
              <a:chOff x="5022766" y="4886539"/>
              <a:chExt cx="1476000" cy="1069585"/>
            </a:xfrm>
          </p:grpSpPr>
          <p:grpSp>
            <p:nvGrpSpPr>
              <p:cNvPr id="109" name="Group 108">
                <a:extLst>
                  <a:ext uri="{FF2B5EF4-FFF2-40B4-BE49-F238E27FC236}">
                    <a16:creationId xmlns:a16="http://schemas.microsoft.com/office/drawing/2014/main" id="{EAF07C63-1DF7-D41B-3D5C-858AADB36F6F}"/>
                  </a:ext>
                </a:extLst>
              </p:cNvPr>
              <p:cNvGrpSpPr>
                <a:grpSpLocks noChangeAspect="1"/>
              </p:cNvGrpSpPr>
              <p:nvPr>
                <p:custDataLst>
                  <p:tags r:id="rId5"/>
                </p:custDataLst>
              </p:nvPr>
            </p:nvGrpSpPr>
            <p:grpSpPr>
              <a:xfrm>
                <a:off x="5544766" y="4886539"/>
                <a:ext cx="432000" cy="432000"/>
                <a:chOff x="1270000" y="1270000"/>
                <a:chExt cx="889000" cy="889000"/>
              </a:xfrm>
            </p:grpSpPr>
            <p:sp>
              <p:nvSpPr>
                <p:cNvPr id="111" name="Rectangle 110" hidden="1">
                  <a:extLst>
                    <a:ext uri="{FF2B5EF4-FFF2-40B4-BE49-F238E27FC236}">
                      <a16:creationId xmlns:a16="http://schemas.microsoft.com/office/drawing/2014/main" id="{D0BF401C-A800-C4BC-707A-EF5A5596C121}"/>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12" name="Graphic 111">
                  <a:extLst>
                    <a:ext uri="{FF2B5EF4-FFF2-40B4-BE49-F238E27FC236}">
                      <a16:creationId xmlns:a16="http://schemas.microsoft.com/office/drawing/2014/main" id="{20EF5430-330B-A473-0561-8D93CEACB8B5}"/>
                    </a:ext>
                  </a:extLst>
                </p:cNvPr>
                <p:cNvPicPr>
                  <a:picLocks noChangeAspect="1"/>
                </p:cNvPicPr>
                <p:nvPr/>
              </p:nvPicPr>
              <p:blipFill>
                <a:blip r:embed="rId57" cstate="print">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1270000" y="1270000"/>
                  <a:ext cx="889000" cy="889000"/>
                </a:xfrm>
                <a:prstGeom prst="rect">
                  <a:avLst/>
                </a:prstGeom>
              </p:spPr>
            </p:pic>
          </p:grpSp>
          <p:sp>
            <p:nvSpPr>
              <p:cNvPr id="110" name="Rectangle 109">
                <a:extLst>
                  <a:ext uri="{FF2B5EF4-FFF2-40B4-BE49-F238E27FC236}">
                    <a16:creationId xmlns:a16="http://schemas.microsoft.com/office/drawing/2014/main" id="{2551CDAB-C0C4-2E9F-E5ED-6C9B31571219}"/>
                  </a:ext>
                </a:extLst>
              </p:cNvPr>
              <p:cNvSpPr/>
              <p:nvPr/>
            </p:nvSpPr>
            <p:spPr bwMode="gray">
              <a:xfrm>
                <a:off x="5022766" y="5306457"/>
                <a:ext cx="1476000" cy="649667"/>
              </a:xfrm>
              <a:prstGeom prst="rect">
                <a:avLst/>
              </a:prstGeom>
              <a:solidFill>
                <a:srgbClr val="FFFFFF">
                  <a:alpha val="4784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tabLst>
                    <a:tab pos="266700" algn="l"/>
                  </a:tabLst>
                </a:pPr>
                <a:r>
                  <a:rPr lang="de-DE" sz="1000" b="1">
                    <a:solidFill>
                      <a:srgbClr val="003C50"/>
                    </a:solidFill>
                    <a:latin typeface="Roboto" panose="02000000000000000000" pitchFamily="2" charset="0"/>
                    <a:sym typeface="Wingdings 3" panose="05040102010807070707" pitchFamily="18" charset="2"/>
                  </a:rPr>
                  <a:t>Iterativer Planungsprozess </a:t>
                </a:r>
                <a:r>
                  <a:rPr lang="de-DE" sz="1000">
                    <a:solidFill>
                      <a:srgbClr val="003C50"/>
                    </a:solidFill>
                    <a:latin typeface="Roboto" panose="02000000000000000000" pitchFamily="2" charset="0"/>
                    <a:sym typeface="Wingdings 3" panose="05040102010807070707" pitchFamily="18" charset="2"/>
                  </a:rPr>
                  <a:t>inklusive Feedback-Schleifen</a:t>
                </a:r>
                <a:r>
                  <a:rPr lang="de-DE" sz="1000" b="1">
                    <a:solidFill>
                      <a:srgbClr val="003C50"/>
                    </a:solidFill>
                    <a:latin typeface="Roboto" panose="02000000000000000000" pitchFamily="2" charset="0"/>
                    <a:sym typeface="Wingdings 3" panose="05040102010807070707" pitchFamily="18" charset="2"/>
                  </a:rPr>
                  <a:t> </a:t>
                </a:r>
                <a:endParaRPr lang="de-DE" sz="1000" b="1">
                  <a:solidFill>
                    <a:srgbClr val="003C50"/>
                  </a:solidFill>
                  <a:latin typeface="Roboto" panose="02000000000000000000" pitchFamily="2" charset="0"/>
                </a:endParaRPr>
              </a:p>
            </p:txBody>
          </p:sp>
        </p:grpSp>
        <p:sp>
          <p:nvSpPr>
            <p:cNvPr id="97" name="Rectangle 96">
              <a:extLst>
                <a:ext uri="{FF2B5EF4-FFF2-40B4-BE49-F238E27FC236}">
                  <a16:creationId xmlns:a16="http://schemas.microsoft.com/office/drawing/2014/main" id="{5616D372-07B7-4A56-2270-AAF573BBD4DD}"/>
                </a:ext>
              </a:extLst>
            </p:cNvPr>
            <p:cNvSpPr/>
            <p:nvPr/>
          </p:nvSpPr>
          <p:spPr bwMode="gray">
            <a:xfrm rot="16200000">
              <a:off x="-246910" y="5171392"/>
              <a:ext cx="1306440" cy="39549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200"/>
                </a:spcAft>
              </a:pPr>
              <a:r>
                <a:rPr lang="de-DE" sz="1000" b="1">
                  <a:solidFill>
                    <a:schemeClr val="tx1"/>
                  </a:solidFill>
                </a:rPr>
                <a:t>Methodische Merkmale</a:t>
              </a:r>
              <a:endParaRPr lang="de-DE" sz="800" b="1">
                <a:solidFill>
                  <a:schemeClr val="tx1"/>
                </a:solidFill>
              </a:endParaRPr>
            </a:p>
          </p:txBody>
        </p:sp>
        <p:sp>
          <p:nvSpPr>
            <p:cNvPr id="98" name="Rectangle 97">
              <a:extLst>
                <a:ext uri="{FF2B5EF4-FFF2-40B4-BE49-F238E27FC236}">
                  <a16:creationId xmlns:a16="http://schemas.microsoft.com/office/drawing/2014/main" id="{4F29B1DD-96B6-6D4A-6383-24CD3FB2BED5}"/>
                </a:ext>
              </a:extLst>
            </p:cNvPr>
            <p:cNvSpPr/>
            <p:nvPr/>
          </p:nvSpPr>
          <p:spPr bwMode="gray">
            <a:xfrm>
              <a:off x="214304" y="4715918"/>
              <a:ext cx="9366194" cy="130644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endParaRPr lang="de-DE" sz="1100">
                <a:solidFill>
                  <a:schemeClr val="tx1"/>
                </a:solidFill>
              </a:endParaRPr>
            </a:p>
          </p:txBody>
        </p:sp>
        <p:grpSp>
          <p:nvGrpSpPr>
            <p:cNvPr id="99" name="Group 98">
              <a:extLst>
                <a:ext uri="{FF2B5EF4-FFF2-40B4-BE49-F238E27FC236}">
                  <a16:creationId xmlns:a16="http://schemas.microsoft.com/office/drawing/2014/main" id="{B252D7F3-0DAA-DF08-EEDD-957C6C1F2518}"/>
                </a:ext>
              </a:extLst>
            </p:cNvPr>
            <p:cNvGrpSpPr/>
            <p:nvPr/>
          </p:nvGrpSpPr>
          <p:grpSpPr>
            <a:xfrm>
              <a:off x="8036420" y="4851923"/>
              <a:ext cx="1475636" cy="1104201"/>
              <a:chOff x="8036420" y="4851923"/>
              <a:chExt cx="1475636" cy="1104201"/>
            </a:xfrm>
          </p:grpSpPr>
          <p:grpSp>
            <p:nvGrpSpPr>
              <p:cNvPr id="105" name="Group 104">
                <a:extLst>
                  <a:ext uri="{FF2B5EF4-FFF2-40B4-BE49-F238E27FC236}">
                    <a16:creationId xmlns:a16="http://schemas.microsoft.com/office/drawing/2014/main" id="{9013377F-474F-4633-9020-890EC8058BF6}"/>
                  </a:ext>
                </a:extLst>
              </p:cNvPr>
              <p:cNvGrpSpPr>
                <a:grpSpLocks noChangeAspect="1"/>
              </p:cNvGrpSpPr>
              <p:nvPr>
                <p:custDataLst>
                  <p:tags r:id="rId4"/>
                </p:custDataLst>
              </p:nvPr>
            </p:nvGrpSpPr>
            <p:grpSpPr>
              <a:xfrm>
                <a:off x="8558238" y="4851923"/>
                <a:ext cx="432000" cy="432000"/>
                <a:chOff x="1270000" y="1270000"/>
                <a:chExt cx="889000" cy="889000"/>
              </a:xfrm>
            </p:grpSpPr>
            <p:sp>
              <p:nvSpPr>
                <p:cNvPr id="107" name="Rectangle 106" hidden="1">
                  <a:extLst>
                    <a:ext uri="{FF2B5EF4-FFF2-40B4-BE49-F238E27FC236}">
                      <a16:creationId xmlns:a16="http://schemas.microsoft.com/office/drawing/2014/main" id="{38A1A6D2-0D30-C5E8-14F2-8F7B54D1822B}"/>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08" name="Graphic 107">
                  <a:extLst>
                    <a:ext uri="{FF2B5EF4-FFF2-40B4-BE49-F238E27FC236}">
                      <a16:creationId xmlns:a16="http://schemas.microsoft.com/office/drawing/2014/main" id="{758086C3-F933-0157-0E6C-52A538C062DB}"/>
                    </a:ext>
                  </a:extLst>
                </p:cNvPr>
                <p:cNvPicPr>
                  <a:picLocks noChangeAspect="1"/>
                </p:cNvPicPr>
                <p:nvPr/>
              </p:nvPicPr>
              <p:blipFill>
                <a:blip r:embed="rId59" cstate="print">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1270000" y="1270000"/>
                  <a:ext cx="889000" cy="889000"/>
                </a:xfrm>
                <a:prstGeom prst="rect">
                  <a:avLst/>
                </a:prstGeom>
              </p:spPr>
            </p:pic>
          </p:grpSp>
          <p:sp>
            <p:nvSpPr>
              <p:cNvPr id="106" name="Rectangle 105">
                <a:extLst>
                  <a:ext uri="{FF2B5EF4-FFF2-40B4-BE49-F238E27FC236}">
                    <a16:creationId xmlns:a16="http://schemas.microsoft.com/office/drawing/2014/main" id="{7A1D23B0-B9F1-899E-D38F-714EA9EB9BE9}"/>
                  </a:ext>
                </a:extLst>
              </p:cNvPr>
              <p:cNvSpPr/>
              <p:nvPr/>
            </p:nvSpPr>
            <p:spPr bwMode="gray">
              <a:xfrm>
                <a:off x="8036420" y="5306457"/>
                <a:ext cx="1475636" cy="649667"/>
              </a:xfrm>
              <a:prstGeom prst="rect">
                <a:avLst/>
              </a:prstGeom>
              <a:solidFill>
                <a:srgbClr val="FFFFFF">
                  <a:alpha val="4784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lnSpc>
                    <a:spcPct val="95000"/>
                  </a:lnSpc>
                  <a:tabLst>
                    <a:tab pos="266700" algn="l"/>
                  </a:tabLst>
                </a:pPr>
                <a:r>
                  <a:rPr lang="de-DE" sz="1000" b="1">
                    <a:solidFill>
                      <a:srgbClr val="003C50"/>
                    </a:solidFill>
                    <a:latin typeface="Roboto" panose="02000000000000000000" pitchFamily="2" charset="0"/>
                    <a:sym typeface="Wingdings 3" panose="05040102010807070707" pitchFamily="18" charset="2"/>
                  </a:rPr>
                  <a:t>Gemeinsame Erarbeitung </a:t>
                </a:r>
                <a:r>
                  <a:rPr lang="de-DE" sz="1000">
                    <a:solidFill>
                      <a:srgbClr val="003C50"/>
                    </a:solidFill>
                    <a:latin typeface="Roboto" panose="02000000000000000000" pitchFamily="2" charset="0"/>
                    <a:sym typeface="Wingdings 3" panose="05040102010807070707" pitchFamily="18" charset="2"/>
                  </a:rPr>
                  <a:t>von Szenarien und Maßnahmenpaketen</a:t>
                </a:r>
              </a:p>
            </p:txBody>
          </p:sp>
        </p:grpSp>
        <p:grpSp>
          <p:nvGrpSpPr>
            <p:cNvPr id="100" name="Group 99">
              <a:extLst>
                <a:ext uri="{FF2B5EF4-FFF2-40B4-BE49-F238E27FC236}">
                  <a16:creationId xmlns:a16="http://schemas.microsoft.com/office/drawing/2014/main" id="{59EF2259-E1FD-CDC6-DB8F-BC09A671FA68}"/>
                </a:ext>
              </a:extLst>
            </p:cNvPr>
            <p:cNvGrpSpPr/>
            <p:nvPr/>
          </p:nvGrpSpPr>
          <p:grpSpPr>
            <a:xfrm>
              <a:off x="3516122" y="4858769"/>
              <a:ext cx="1475636" cy="1097355"/>
              <a:chOff x="3516122" y="4858769"/>
              <a:chExt cx="1475636" cy="1097355"/>
            </a:xfrm>
          </p:grpSpPr>
          <p:sp>
            <p:nvSpPr>
              <p:cNvPr id="101" name="Rectangle 100">
                <a:extLst>
                  <a:ext uri="{FF2B5EF4-FFF2-40B4-BE49-F238E27FC236}">
                    <a16:creationId xmlns:a16="http://schemas.microsoft.com/office/drawing/2014/main" id="{8F907D49-ED19-1AB6-2191-91484F633BB1}"/>
                  </a:ext>
                </a:extLst>
              </p:cNvPr>
              <p:cNvSpPr/>
              <p:nvPr/>
            </p:nvSpPr>
            <p:spPr bwMode="gray">
              <a:xfrm>
                <a:off x="3516122" y="5306457"/>
                <a:ext cx="1475636" cy="649667"/>
              </a:xfrm>
              <a:prstGeom prst="rect">
                <a:avLst/>
              </a:prstGeom>
              <a:solidFill>
                <a:srgbClr val="FFFFFF">
                  <a:alpha val="4784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lnSpc>
                    <a:spcPct val="95000"/>
                  </a:lnSpc>
                  <a:tabLst>
                    <a:tab pos="266700" algn="l"/>
                  </a:tabLst>
                </a:pPr>
                <a:r>
                  <a:rPr lang="de-DE" sz="1000" b="1">
                    <a:solidFill>
                      <a:srgbClr val="003C50"/>
                    </a:solidFill>
                    <a:latin typeface="Roboto" panose="02000000000000000000" pitchFamily="2" charset="0"/>
                    <a:sym typeface="Wingdings 3" panose="05040102010807070707" pitchFamily="18" charset="2"/>
                  </a:rPr>
                  <a:t>Datenschutz-Konformität </a:t>
                </a:r>
                <a:r>
                  <a:rPr lang="de-DE" sz="1000">
                    <a:solidFill>
                      <a:srgbClr val="003C50"/>
                    </a:solidFill>
                    <a:latin typeface="Roboto" panose="02000000000000000000" pitchFamily="2" charset="0"/>
                    <a:sym typeface="Wingdings 3" panose="05040102010807070707" pitchFamily="18" charset="2"/>
                  </a:rPr>
                  <a:t>durch Anonymisierungs-Routinen </a:t>
                </a:r>
              </a:p>
            </p:txBody>
          </p:sp>
          <p:grpSp>
            <p:nvGrpSpPr>
              <p:cNvPr id="102" name="Group 101">
                <a:extLst>
                  <a:ext uri="{FF2B5EF4-FFF2-40B4-BE49-F238E27FC236}">
                    <a16:creationId xmlns:a16="http://schemas.microsoft.com/office/drawing/2014/main" id="{D6267DBA-8491-062E-966B-6E593C5B87EB}"/>
                  </a:ext>
                </a:extLst>
              </p:cNvPr>
              <p:cNvGrpSpPr>
                <a:grpSpLocks noChangeAspect="1"/>
              </p:cNvGrpSpPr>
              <p:nvPr>
                <p:custDataLst>
                  <p:tags r:id="rId3"/>
                </p:custDataLst>
              </p:nvPr>
            </p:nvGrpSpPr>
            <p:grpSpPr>
              <a:xfrm>
                <a:off x="4037940" y="4858769"/>
                <a:ext cx="432000" cy="432000"/>
                <a:chOff x="1270000" y="1270000"/>
                <a:chExt cx="889000" cy="889000"/>
              </a:xfrm>
            </p:grpSpPr>
            <p:sp>
              <p:nvSpPr>
                <p:cNvPr id="103" name="Rectangle 102" hidden="1">
                  <a:extLst>
                    <a:ext uri="{FF2B5EF4-FFF2-40B4-BE49-F238E27FC236}">
                      <a16:creationId xmlns:a16="http://schemas.microsoft.com/office/drawing/2014/main" id="{AAA364F0-B7A9-3307-FAB5-8DD0B2A0CEA7}"/>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04" name="Graphic 103">
                  <a:extLst>
                    <a:ext uri="{FF2B5EF4-FFF2-40B4-BE49-F238E27FC236}">
                      <a16:creationId xmlns:a16="http://schemas.microsoft.com/office/drawing/2014/main" id="{45B7792B-AE78-197C-B8BF-2B9724CF8F84}"/>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1270000" y="1270000"/>
                  <a:ext cx="889000" cy="889000"/>
                </a:xfrm>
                <a:prstGeom prst="rect">
                  <a:avLst/>
                </a:prstGeom>
              </p:spPr>
            </p:pic>
          </p:grpSp>
        </p:grpSp>
      </p:grpSp>
      <p:sp>
        <p:nvSpPr>
          <p:cNvPr id="125" name="Rectangle 124">
            <a:extLst>
              <a:ext uri="{FF2B5EF4-FFF2-40B4-BE49-F238E27FC236}">
                <a16:creationId xmlns:a16="http://schemas.microsoft.com/office/drawing/2014/main" id="{D66C69E4-F92E-641E-DC7F-F4A0D05797EA}"/>
              </a:ext>
            </a:extLst>
          </p:cNvPr>
          <p:cNvSpPr/>
          <p:nvPr/>
        </p:nvSpPr>
        <p:spPr bwMode="gray">
          <a:xfrm>
            <a:off x="6514243" y="1009131"/>
            <a:ext cx="3158134" cy="1522468"/>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126" name="Rectangle 125">
            <a:extLst>
              <a:ext uri="{FF2B5EF4-FFF2-40B4-BE49-F238E27FC236}">
                <a16:creationId xmlns:a16="http://schemas.microsoft.com/office/drawing/2014/main" id="{D5A3AF4A-F801-6EF6-0944-047868021090}"/>
              </a:ext>
            </a:extLst>
          </p:cNvPr>
          <p:cNvSpPr/>
          <p:nvPr/>
        </p:nvSpPr>
        <p:spPr bwMode="gray">
          <a:xfrm>
            <a:off x="6445166" y="2522652"/>
            <a:ext cx="3158133" cy="2157944"/>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127" name="Rectangle 126">
            <a:extLst>
              <a:ext uri="{FF2B5EF4-FFF2-40B4-BE49-F238E27FC236}">
                <a16:creationId xmlns:a16="http://schemas.microsoft.com/office/drawing/2014/main" id="{C0FA355E-FB9A-5906-DE69-6686F55B4460}"/>
              </a:ext>
            </a:extLst>
          </p:cNvPr>
          <p:cNvSpPr/>
          <p:nvPr/>
        </p:nvSpPr>
        <p:spPr bwMode="gray">
          <a:xfrm>
            <a:off x="149199" y="4686830"/>
            <a:ext cx="9492201" cy="1350370"/>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3" name="Rectangle 2">
            <a:extLst>
              <a:ext uri="{FF2B5EF4-FFF2-40B4-BE49-F238E27FC236}">
                <a16:creationId xmlns:a16="http://schemas.microsoft.com/office/drawing/2014/main" id="{4E33A37C-7EAA-E762-781B-A0D69353EB6C}"/>
              </a:ext>
            </a:extLst>
          </p:cNvPr>
          <p:cNvSpPr/>
          <p:nvPr/>
        </p:nvSpPr>
        <p:spPr bwMode="gray">
          <a:xfrm>
            <a:off x="116145" y="979091"/>
            <a:ext cx="3158134" cy="1522468"/>
          </a:xfrm>
          <a:prstGeom prst="rect">
            <a:avLst/>
          </a:prstGeom>
          <a:solidFill>
            <a:srgbClr val="FFFFFF">
              <a:alpha val="6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Tree>
    <p:extLst>
      <p:ext uri="{BB962C8B-B14F-4D97-AF65-F5344CB8AC3E}">
        <p14:creationId xmlns:p14="http://schemas.microsoft.com/office/powerpoint/2010/main" val="30072590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Slide Number Placeholder 126">
            <a:extLst>
              <a:ext uri="{FF2B5EF4-FFF2-40B4-BE49-F238E27FC236}">
                <a16:creationId xmlns:a16="http://schemas.microsoft.com/office/drawing/2014/main" id="{F775050D-E031-7685-E91E-392E761D22DC}"/>
              </a:ext>
            </a:extLst>
          </p:cNvPr>
          <p:cNvSpPr>
            <a:spLocks noGrp="1"/>
          </p:cNvSpPr>
          <p:nvPr>
            <p:ph type="sldNum" sz="quarter" idx="11"/>
          </p:nvPr>
        </p:nvSpPr>
        <p:spPr/>
        <p:txBody>
          <a:bodyPr/>
          <a:lstStyle/>
          <a:p>
            <a:endParaRPr lang="de-DE"/>
          </a:p>
          <a:p>
            <a:fld id="{24C420F5-194C-40F2-A080-C5F3EDD89037}" type="slidenum">
              <a:rPr lang="de-DE" smtClean="0"/>
              <a:pPr/>
              <a:t>23</a:t>
            </a:fld>
            <a:endParaRPr lang="de-DE"/>
          </a:p>
        </p:txBody>
      </p:sp>
      <p:sp>
        <p:nvSpPr>
          <p:cNvPr id="126" name="Title 2">
            <a:extLst>
              <a:ext uri="{FF2B5EF4-FFF2-40B4-BE49-F238E27FC236}">
                <a16:creationId xmlns:a16="http://schemas.microsoft.com/office/drawing/2014/main" id="{0DAB04F9-304C-F869-D99A-B7D538A31791}"/>
              </a:ext>
            </a:extLst>
          </p:cNvPr>
          <p:cNvSpPr>
            <a:spLocks noGrp="1"/>
          </p:cNvSpPr>
          <p:nvPr>
            <p:ph type="title"/>
          </p:nvPr>
        </p:nvSpPr>
        <p:spPr/>
        <p:txBody>
          <a:bodyPr/>
          <a:lstStyle/>
          <a:p>
            <a:r>
              <a:rPr lang="de-DE"/>
              <a:t>Der Digitale Zwilling dient als zentrales Planungselement für die Bestands- und Potenzialanalyse sowie die Definition eines Zielszenarios</a:t>
            </a:r>
          </a:p>
        </p:txBody>
      </p:sp>
      <p:sp>
        <p:nvSpPr>
          <p:cNvPr id="5" name="Footer Placeholder 4">
            <a:extLst>
              <a:ext uri="{FF2B5EF4-FFF2-40B4-BE49-F238E27FC236}">
                <a16:creationId xmlns:a16="http://schemas.microsoft.com/office/drawing/2014/main" id="{D1A77F7B-D5E2-C3A8-06BA-6961DDB62E1A}"/>
              </a:ext>
            </a:extLst>
          </p:cNvPr>
          <p:cNvSpPr>
            <a:spLocks noGrp="1"/>
          </p:cNvSpPr>
          <p:nvPr>
            <p:ph type="ftr" sz="quarter" idx="12"/>
          </p:nvPr>
        </p:nvSpPr>
        <p:spPr/>
        <p:txBody>
          <a:bodyPr/>
          <a:lstStyle/>
          <a:p>
            <a:r>
              <a:rPr lang="de-DE"/>
              <a:t>© 2026</a:t>
            </a:r>
          </a:p>
          <a:p>
            <a:r>
              <a:rPr lang="de-DE"/>
              <a:t>d-fine</a:t>
            </a:r>
          </a:p>
        </p:txBody>
      </p:sp>
      <p:sp>
        <p:nvSpPr>
          <p:cNvPr id="2" name="Text Placeholder 1">
            <a:extLst>
              <a:ext uri="{FF2B5EF4-FFF2-40B4-BE49-F238E27FC236}">
                <a16:creationId xmlns:a16="http://schemas.microsoft.com/office/drawing/2014/main" id="{10706F68-9E2F-F592-8DC8-54A72D6A9997}"/>
              </a:ext>
            </a:extLst>
          </p:cNvPr>
          <p:cNvSpPr>
            <a:spLocks noGrp="1"/>
          </p:cNvSpPr>
          <p:nvPr>
            <p:ph type="body" sz="quarter" idx="13"/>
          </p:nvPr>
        </p:nvSpPr>
        <p:spPr/>
        <p:txBody>
          <a:bodyPr/>
          <a:lstStyle/>
          <a:p>
            <a:endParaRPr lang="de-DE"/>
          </a:p>
        </p:txBody>
      </p:sp>
      <p:sp>
        <p:nvSpPr>
          <p:cNvPr id="6" name="Rectangle 5">
            <a:extLst>
              <a:ext uri="{FF2B5EF4-FFF2-40B4-BE49-F238E27FC236}">
                <a16:creationId xmlns:a16="http://schemas.microsoft.com/office/drawing/2014/main" id="{A651320E-9A83-AD5D-2D36-162F3558F21E}"/>
              </a:ext>
            </a:extLst>
          </p:cNvPr>
          <p:cNvSpPr/>
          <p:nvPr/>
        </p:nvSpPr>
        <p:spPr bwMode="gray">
          <a:xfrm>
            <a:off x="278844" y="1066800"/>
            <a:ext cx="2363554" cy="432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rPr>
              <a:t>Bestandsanalyse</a:t>
            </a:r>
          </a:p>
        </p:txBody>
      </p:sp>
      <p:sp>
        <p:nvSpPr>
          <p:cNvPr id="7" name="Rectangle 6">
            <a:extLst>
              <a:ext uri="{FF2B5EF4-FFF2-40B4-BE49-F238E27FC236}">
                <a16:creationId xmlns:a16="http://schemas.microsoft.com/office/drawing/2014/main" id="{4E803A31-1FA7-0CDC-DD4F-741BA2738E30}"/>
              </a:ext>
            </a:extLst>
          </p:cNvPr>
          <p:cNvSpPr/>
          <p:nvPr/>
        </p:nvSpPr>
        <p:spPr bwMode="gray">
          <a:xfrm>
            <a:off x="3532498" y="1083863"/>
            <a:ext cx="2232000" cy="432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rPr>
              <a:t>Potenzialanalyse</a:t>
            </a:r>
          </a:p>
        </p:txBody>
      </p:sp>
      <p:grpSp>
        <p:nvGrpSpPr>
          <p:cNvPr id="8" name="Group 7">
            <a:extLst>
              <a:ext uri="{FF2B5EF4-FFF2-40B4-BE49-F238E27FC236}">
                <a16:creationId xmlns:a16="http://schemas.microsoft.com/office/drawing/2014/main" id="{60F6BB46-4F5D-F73C-0CA2-727597AD5D1A}"/>
              </a:ext>
            </a:extLst>
          </p:cNvPr>
          <p:cNvGrpSpPr>
            <a:grpSpLocks noChangeAspect="1"/>
          </p:cNvGrpSpPr>
          <p:nvPr>
            <p:custDataLst>
              <p:tags r:id="rId1"/>
            </p:custDataLst>
          </p:nvPr>
        </p:nvGrpSpPr>
        <p:grpSpPr>
          <a:xfrm>
            <a:off x="3532498" y="1111988"/>
            <a:ext cx="324000" cy="324000"/>
            <a:chOff x="1270000" y="1270000"/>
            <a:chExt cx="889000" cy="889000"/>
          </a:xfrm>
          <a:solidFill>
            <a:schemeClr val="tx2"/>
          </a:solidFill>
        </p:grpSpPr>
        <p:sp>
          <p:nvSpPr>
            <p:cNvPr id="9" name="Rectangle 8" hidden="1">
              <a:extLst>
                <a:ext uri="{FF2B5EF4-FFF2-40B4-BE49-F238E27FC236}">
                  <a16:creationId xmlns:a16="http://schemas.microsoft.com/office/drawing/2014/main" id="{AFC4408A-8490-2278-3CF1-49565E1A5A21}"/>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0" name="Graphic 9">
              <a:extLst>
                <a:ext uri="{FF2B5EF4-FFF2-40B4-BE49-F238E27FC236}">
                  <a16:creationId xmlns:a16="http://schemas.microsoft.com/office/drawing/2014/main" id="{39DDFE1A-D2B6-6327-F37C-46E92C822C79}"/>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270000" y="1270000"/>
              <a:ext cx="889000" cy="889000"/>
            </a:xfrm>
            <a:prstGeom prst="rect">
              <a:avLst/>
            </a:prstGeom>
          </p:spPr>
        </p:pic>
      </p:grpSp>
      <p:grpSp>
        <p:nvGrpSpPr>
          <p:cNvPr id="11" name="Group 10">
            <a:extLst>
              <a:ext uri="{FF2B5EF4-FFF2-40B4-BE49-F238E27FC236}">
                <a16:creationId xmlns:a16="http://schemas.microsoft.com/office/drawing/2014/main" id="{4EDF7489-BB86-2D7C-2A24-4734BA2E878E}"/>
              </a:ext>
            </a:extLst>
          </p:cNvPr>
          <p:cNvGrpSpPr>
            <a:grpSpLocks noChangeAspect="1"/>
          </p:cNvGrpSpPr>
          <p:nvPr>
            <p:custDataLst>
              <p:tags r:id="rId2"/>
            </p:custDataLst>
          </p:nvPr>
        </p:nvGrpSpPr>
        <p:grpSpPr>
          <a:xfrm>
            <a:off x="280056" y="1124888"/>
            <a:ext cx="324000" cy="324000"/>
            <a:chOff x="1270000" y="1270000"/>
            <a:chExt cx="889000" cy="889000"/>
          </a:xfrm>
          <a:solidFill>
            <a:schemeClr val="tx2"/>
          </a:solidFill>
        </p:grpSpPr>
        <p:sp>
          <p:nvSpPr>
            <p:cNvPr id="12" name="Rectangle 11" hidden="1">
              <a:extLst>
                <a:ext uri="{FF2B5EF4-FFF2-40B4-BE49-F238E27FC236}">
                  <a16:creationId xmlns:a16="http://schemas.microsoft.com/office/drawing/2014/main" id="{863556E8-2487-2946-9B35-C7F811A14D00}"/>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3" name="Graphic 12">
              <a:extLst>
                <a:ext uri="{FF2B5EF4-FFF2-40B4-BE49-F238E27FC236}">
                  <a16:creationId xmlns:a16="http://schemas.microsoft.com/office/drawing/2014/main" id="{1800C144-F5E7-A6BF-24C0-69A2B3368FA5}"/>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270000" y="1270000"/>
              <a:ext cx="889000" cy="889000"/>
            </a:xfrm>
            <a:prstGeom prst="rect">
              <a:avLst/>
            </a:prstGeom>
          </p:spPr>
        </p:pic>
      </p:grpSp>
      <p:sp>
        <p:nvSpPr>
          <p:cNvPr id="14" name="Rectangle 13">
            <a:extLst>
              <a:ext uri="{FF2B5EF4-FFF2-40B4-BE49-F238E27FC236}">
                <a16:creationId xmlns:a16="http://schemas.microsoft.com/office/drawing/2014/main" id="{6DB8E9EA-68D7-22FC-D5B0-EA293A7296AA}"/>
              </a:ext>
            </a:extLst>
          </p:cNvPr>
          <p:cNvSpPr/>
          <p:nvPr/>
        </p:nvSpPr>
        <p:spPr bwMode="gray">
          <a:xfrm>
            <a:off x="208025" y="1076248"/>
            <a:ext cx="3024000" cy="140040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Analyse von Gebäude- und Siedlungsstruktur</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Erfassung der Energieinfrastruktur</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BISKO-konforme Basisbilanz</a:t>
            </a:r>
          </a:p>
          <a:p>
            <a:pPr marL="144000" indent="-144000">
              <a:lnSpc>
                <a:spcPct val="95000"/>
              </a:lnSpc>
              <a:spcAft>
                <a:spcPts val="200"/>
              </a:spcAft>
              <a:buClr>
                <a:srgbClr val="003C50"/>
              </a:buClr>
              <a:buFont typeface="Wingdings" panose="05000000000000000000" pitchFamily="2" charset="2"/>
              <a:buChar char="§"/>
            </a:pPr>
            <a:endParaRPr lang="de-DE" sz="1100">
              <a:solidFill>
                <a:schemeClr val="tx1"/>
              </a:solidFill>
            </a:endParaRPr>
          </a:p>
          <a:p>
            <a:pPr marL="144000" indent="-144000">
              <a:lnSpc>
                <a:spcPct val="95000"/>
              </a:lnSpc>
              <a:spcAft>
                <a:spcPts val="200"/>
              </a:spcAft>
              <a:buClr>
                <a:srgbClr val="003C50"/>
              </a:buClr>
              <a:buFont typeface="Wingdings" panose="05000000000000000000" pitchFamily="2" charset="2"/>
              <a:buChar char="§"/>
            </a:pPr>
            <a:endParaRPr lang="de-DE" sz="1100">
              <a:solidFill>
                <a:schemeClr val="tx1"/>
              </a:solidFill>
            </a:endParaRPr>
          </a:p>
          <a:p>
            <a:pPr>
              <a:lnSpc>
                <a:spcPct val="95000"/>
              </a:lnSpc>
              <a:spcAft>
                <a:spcPts val="200"/>
              </a:spcAft>
              <a:buClr>
                <a:srgbClr val="003C50"/>
              </a:buClr>
            </a:pPr>
            <a:endParaRPr lang="de-DE" sz="1100">
              <a:solidFill>
                <a:schemeClr val="tx1"/>
              </a:solidFill>
            </a:endParaRPr>
          </a:p>
        </p:txBody>
      </p:sp>
      <p:sp>
        <p:nvSpPr>
          <p:cNvPr id="15" name="Rectangle 14">
            <a:extLst>
              <a:ext uri="{FF2B5EF4-FFF2-40B4-BE49-F238E27FC236}">
                <a16:creationId xmlns:a16="http://schemas.microsoft.com/office/drawing/2014/main" id="{25C82316-6A84-799C-6766-8B99F4222936}"/>
              </a:ext>
            </a:extLst>
          </p:cNvPr>
          <p:cNvSpPr/>
          <p:nvPr/>
        </p:nvSpPr>
        <p:spPr bwMode="gray">
          <a:xfrm>
            <a:off x="3382261" y="1076248"/>
            <a:ext cx="3024000" cy="140149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Steigerung der Energieeffizienz von Gebäuden und Industrie</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Nutzung unvermeidbarer Abwärme</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Ausbaupotenziale regenerativer Wärmeversorgung</a:t>
            </a:r>
          </a:p>
        </p:txBody>
      </p:sp>
      <p:grpSp>
        <p:nvGrpSpPr>
          <p:cNvPr id="16" name="Group 15">
            <a:extLst>
              <a:ext uri="{FF2B5EF4-FFF2-40B4-BE49-F238E27FC236}">
                <a16:creationId xmlns:a16="http://schemas.microsoft.com/office/drawing/2014/main" id="{2BA4B1B5-8CE1-7CA0-4FA7-1D87003718DE}"/>
              </a:ext>
            </a:extLst>
          </p:cNvPr>
          <p:cNvGrpSpPr/>
          <p:nvPr/>
        </p:nvGrpSpPr>
        <p:grpSpPr>
          <a:xfrm>
            <a:off x="240579" y="2747901"/>
            <a:ext cx="1678825" cy="1599879"/>
            <a:chOff x="3348699" y="1632336"/>
            <a:chExt cx="1869992" cy="1782060"/>
          </a:xfrm>
        </p:grpSpPr>
        <p:grpSp>
          <p:nvGrpSpPr>
            <p:cNvPr id="17" name="Group 16">
              <a:extLst>
                <a:ext uri="{FF2B5EF4-FFF2-40B4-BE49-F238E27FC236}">
                  <a16:creationId xmlns:a16="http://schemas.microsoft.com/office/drawing/2014/main" id="{1F5BAED7-60AA-7E2B-7FFC-6743D2730153}"/>
                </a:ext>
              </a:extLst>
            </p:cNvPr>
            <p:cNvGrpSpPr/>
            <p:nvPr/>
          </p:nvGrpSpPr>
          <p:grpSpPr>
            <a:xfrm>
              <a:off x="3677797" y="2180911"/>
              <a:ext cx="586222" cy="676911"/>
              <a:chOff x="3662419" y="2180911"/>
              <a:chExt cx="586222" cy="676911"/>
            </a:xfrm>
          </p:grpSpPr>
          <p:sp>
            <p:nvSpPr>
              <p:cNvPr id="41" name="Hexagon 40">
                <a:extLst>
                  <a:ext uri="{FF2B5EF4-FFF2-40B4-BE49-F238E27FC236}">
                    <a16:creationId xmlns:a16="http://schemas.microsoft.com/office/drawing/2014/main" id="{9FE4ED05-6A1C-25CA-4EBA-81E858F37AA1}"/>
                  </a:ext>
                </a:extLst>
              </p:cNvPr>
              <p:cNvSpPr>
                <a:spLocks noChangeAspect="1"/>
              </p:cNvSpPr>
              <p:nvPr/>
            </p:nvSpPr>
            <p:spPr bwMode="gray">
              <a:xfrm rot="5400000">
                <a:off x="3617074" y="2226256"/>
                <a:ext cx="676911" cy="586222"/>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noAutofit/>
              </a:bodyPr>
              <a:lstStyle/>
              <a:p>
                <a:pPr algn="ctr"/>
                <a:endParaRPr lang="de-DE" sz="700">
                  <a:solidFill>
                    <a:srgbClr val="003C50"/>
                  </a:solidFill>
                </a:endParaRPr>
              </a:p>
              <a:p>
                <a:pPr algn="ctr"/>
                <a:endParaRPr lang="de-DE" sz="700">
                  <a:solidFill>
                    <a:srgbClr val="003C50"/>
                  </a:solidFill>
                </a:endParaRPr>
              </a:p>
              <a:p>
                <a:pPr algn="ctr"/>
                <a:r>
                  <a:rPr lang="de-DE" sz="700">
                    <a:solidFill>
                      <a:srgbClr val="003C50"/>
                    </a:solidFill>
                  </a:rPr>
                  <a:t>Industrie</a:t>
                </a:r>
              </a:p>
            </p:txBody>
          </p:sp>
          <p:pic>
            <p:nvPicPr>
              <p:cNvPr id="42" name="Graphic 41">
                <a:extLst>
                  <a:ext uri="{FF2B5EF4-FFF2-40B4-BE49-F238E27FC236}">
                    <a16:creationId xmlns:a16="http://schemas.microsoft.com/office/drawing/2014/main" id="{B43C1D63-443D-4BEC-88B7-CF491CBF1589}"/>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775205" y="2265692"/>
                <a:ext cx="288676" cy="288676"/>
              </a:xfrm>
              <a:prstGeom prst="rect">
                <a:avLst/>
              </a:prstGeom>
            </p:spPr>
          </p:pic>
        </p:grpSp>
        <p:grpSp>
          <p:nvGrpSpPr>
            <p:cNvPr id="18" name="Group 17">
              <a:extLst>
                <a:ext uri="{FF2B5EF4-FFF2-40B4-BE49-F238E27FC236}">
                  <a16:creationId xmlns:a16="http://schemas.microsoft.com/office/drawing/2014/main" id="{F9C47CA3-F3E9-07C2-DFFF-B19C651C3EF0}"/>
                </a:ext>
              </a:extLst>
            </p:cNvPr>
            <p:cNvGrpSpPr/>
            <p:nvPr/>
          </p:nvGrpSpPr>
          <p:grpSpPr>
            <a:xfrm>
              <a:off x="3998515" y="1632336"/>
              <a:ext cx="586224" cy="676913"/>
              <a:chOff x="3991531" y="1632589"/>
              <a:chExt cx="586224" cy="676913"/>
            </a:xfrm>
          </p:grpSpPr>
          <p:sp>
            <p:nvSpPr>
              <p:cNvPr id="37" name="Hexagon 36">
                <a:extLst>
                  <a:ext uri="{FF2B5EF4-FFF2-40B4-BE49-F238E27FC236}">
                    <a16:creationId xmlns:a16="http://schemas.microsoft.com/office/drawing/2014/main" id="{852D2381-AC4E-6B63-C206-E0628A65ED54}"/>
                  </a:ext>
                </a:extLst>
              </p:cNvPr>
              <p:cNvSpPr>
                <a:spLocks noChangeAspect="1"/>
              </p:cNvSpPr>
              <p:nvPr/>
            </p:nvSpPr>
            <p:spPr bwMode="gray">
              <a:xfrm rot="5400000">
                <a:off x="3946186" y="1677934"/>
                <a:ext cx="676913" cy="586224"/>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noAutofit/>
              </a:bodyPr>
              <a:lstStyle/>
              <a:p>
                <a:pPr algn="ctr"/>
                <a:endParaRPr lang="de-DE" sz="700">
                  <a:solidFill>
                    <a:srgbClr val="003C50"/>
                  </a:solidFill>
                </a:endParaRPr>
              </a:p>
              <a:p>
                <a:pPr algn="ctr"/>
                <a:r>
                  <a:rPr lang="de-DE" sz="700">
                    <a:solidFill>
                      <a:srgbClr val="003C50"/>
                    </a:solidFill>
                  </a:rPr>
                  <a:t>Objekt-</a:t>
                </a:r>
              </a:p>
              <a:p>
                <a:pPr algn="ctr"/>
                <a:r>
                  <a:rPr lang="de-DE" sz="700">
                    <a:solidFill>
                      <a:srgbClr val="003C50"/>
                    </a:solidFill>
                  </a:rPr>
                  <a:t>wissen</a:t>
                </a:r>
              </a:p>
            </p:txBody>
          </p:sp>
          <p:grpSp>
            <p:nvGrpSpPr>
              <p:cNvPr id="38" name="Group 37">
                <a:extLst>
                  <a:ext uri="{FF2B5EF4-FFF2-40B4-BE49-F238E27FC236}">
                    <a16:creationId xmlns:a16="http://schemas.microsoft.com/office/drawing/2014/main" id="{8B1372CE-7F16-7109-528A-6A3CC4A73832}"/>
                  </a:ext>
                </a:extLst>
              </p:cNvPr>
              <p:cNvGrpSpPr>
                <a:grpSpLocks noChangeAspect="1"/>
              </p:cNvGrpSpPr>
              <p:nvPr>
                <p:custDataLst>
                  <p:tags r:id="rId19"/>
                </p:custDataLst>
              </p:nvPr>
            </p:nvGrpSpPr>
            <p:grpSpPr>
              <a:xfrm>
                <a:off x="4187478" y="1675430"/>
                <a:ext cx="194327" cy="194327"/>
                <a:chOff x="1270000" y="1270000"/>
                <a:chExt cx="889000" cy="889000"/>
              </a:xfrm>
            </p:grpSpPr>
            <p:sp>
              <p:nvSpPr>
                <p:cNvPr id="39" name="Rectangle 38" hidden="1">
                  <a:extLst>
                    <a:ext uri="{FF2B5EF4-FFF2-40B4-BE49-F238E27FC236}">
                      <a16:creationId xmlns:a16="http://schemas.microsoft.com/office/drawing/2014/main" id="{DD86D9A5-14F7-BDF4-C035-AE04CBA916AE}"/>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40" name="Graphic 39">
                  <a:extLst>
                    <a:ext uri="{FF2B5EF4-FFF2-40B4-BE49-F238E27FC236}">
                      <a16:creationId xmlns:a16="http://schemas.microsoft.com/office/drawing/2014/main" id="{7BF53515-816D-0525-FD28-50E2D43E4145}"/>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270000" y="1270000"/>
                  <a:ext cx="889000" cy="889000"/>
                </a:xfrm>
                <a:prstGeom prst="rect">
                  <a:avLst/>
                </a:prstGeom>
              </p:spPr>
            </p:pic>
          </p:grpSp>
        </p:grpSp>
        <p:grpSp>
          <p:nvGrpSpPr>
            <p:cNvPr id="19" name="Group 18">
              <a:extLst>
                <a:ext uri="{FF2B5EF4-FFF2-40B4-BE49-F238E27FC236}">
                  <a16:creationId xmlns:a16="http://schemas.microsoft.com/office/drawing/2014/main" id="{A907271F-838F-EA5E-9A16-6F6CA2AB787F}"/>
                </a:ext>
              </a:extLst>
            </p:cNvPr>
            <p:cNvGrpSpPr/>
            <p:nvPr/>
          </p:nvGrpSpPr>
          <p:grpSpPr>
            <a:xfrm>
              <a:off x="4312937" y="2180911"/>
              <a:ext cx="586222" cy="676911"/>
              <a:chOff x="4323224" y="2180912"/>
              <a:chExt cx="586222" cy="676911"/>
            </a:xfrm>
          </p:grpSpPr>
          <p:sp>
            <p:nvSpPr>
              <p:cNvPr id="35" name="Hexagon 34">
                <a:extLst>
                  <a:ext uri="{FF2B5EF4-FFF2-40B4-BE49-F238E27FC236}">
                    <a16:creationId xmlns:a16="http://schemas.microsoft.com/office/drawing/2014/main" id="{98CBF37A-2FBB-42CA-9706-903C1A1C291E}"/>
                  </a:ext>
                </a:extLst>
              </p:cNvPr>
              <p:cNvSpPr>
                <a:spLocks noChangeAspect="1"/>
              </p:cNvSpPr>
              <p:nvPr/>
            </p:nvSpPr>
            <p:spPr bwMode="gray">
              <a:xfrm rot="5400000">
                <a:off x="4277879" y="2226257"/>
                <a:ext cx="676911" cy="586222"/>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a:endParaRPr lang="de-DE" sz="700">
                  <a:solidFill>
                    <a:srgbClr val="003C50"/>
                  </a:solidFill>
                </a:endParaRPr>
              </a:p>
              <a:p>
                <a:pPr algn="ctr"/>
                <a:endParaRPr lang="de-DE" sz="700">
                  <a:solidFill>
                    <a:srgbClr val="003C50"/>
                  </a:solidFill>
                </a:endParaRPr>
              </a:p>
              <a:p>
                <a:pPr algn="ctr"/>
                <a:r>
                  <a:rPr lang="de-DE" sz="700">
                    <a:solidFill>
                      <a:srgbClr val="003C50"/>
                    </a:solidFill>
                  </a:rPr>
                  <a:t>Stadt</a:t>
                </a:r>
              </a:p>
            </p:txBody>
          </p:sp>
          <p:pic>
            <p:nvPicPr>
              <p:cNvPr id="36" name="Graphic 35">
                <a:extLst>
                  <a:ext uri="{FF2B5EF4-FFF2-40B4-BE49-F238E27FC236}">
                    <a16:creationId xmlns:a16="http://schemas.microsoft.com/office/drawing/2014/main" id="{498250D3-CFA2-E072-FC00-59648732B6FF}"/>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4472334" y="2265692"/>
                <a:ext cx="288000" cy="288000"/>
              </a:xfrm>
              <a:prstGeom prst="rect">
                <a:avLst/>
              </a:prstGeom>
            </p:spPr>
          </p:pic>
        </p:grpSp>
        <p:grpSp>
          <p:nvGrpSpPr>
            <p:cNvPr id="20" name="Group 19">
              <a:extLst>
                <a:ext uri="{FF2B5EF4-FFF2-40B4-BE49-F238E27FC236}">
                  <a16:creationId xmlns:a16="http://schemas.microsoft.com/office/drawing/2014/main" id="{0AFE28F3-09D2-9DCC-2BC5-06827551DFA9}"/>
                </a:ext>
              </a:extLst>
            </p:cNvPr>
            <p:cNvGrpSpPr/>
            <p:nvPr/>
          </p:nvGrpSpPr>
          <p:grpSpPr>
            <a:xfrm>
              <a:off x="3348699" y="2733357"/>
              <a:ext cx="586222" cy="676912"/>
              <a:chOff x="3333320" y="2733357"/>
              <a:chExt cx="586222" cy="676912"/>
            </a:xfrm>
          </p:grpSpPr>
          <p:sp>
            <p:nvSpPr>
              <p:cNvPr id="31" name="Hexagon 30">
                <a:extLst>
                  <a:ext uri="{FF2B5EF4-FFF2-40B4-BE49-F238E27FC236}">
                    <a16:creationId xmlns:a16="http://schemas.microsoft.com/office/drawing/2014/main" id="{18867585-E2DD-5DA4-F1A9-75C9D5268F0F}"/>
                  </a:ext>
                </a:extLst>
              </p:cNvPr>
              <p:cNvSpPr>
                <a:spLocks noChangeAspect="1"/>
              </p:cNvSpPr>
              <p:nvPr/>
            </p:nvSpPr>
            <p:spPr bwMode="gray">
              <a:xfrm rot="5400000">
                <a:off x="3287975" y="2778702"/>
                <a:ext cx="676912" cy="586222"/>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a:endParaRPr lang="de-DE" sz="700">
                  <a:solidFill>
                    <a:srgbClr val="003C50"/>
                  </a:solidFill>
                </a:endParaRPr>
              </a:p>
              <a:p>
                <a:pPr algn="ctr"/>
                <a:endParaRPr lang="de-DE" sz="700">
                  <a:solidFill>
                    <a:srgbClr val="003C50"/>
                  </a:solidFill>
                </a:endParaRPr>
              </a:p>
              <a:p>
                <a:pPr algn="ctr"/>
                <a:r>
                  <a:rPr lang="de-DE" sz="700">
                    <a:solidFill>
                      <a:srgbClr val="003C50"/>
                    </a:solidFill>
                  </a:rPr>
                  <a:t>ALKIS</a:t>
                </a:r>
              </a:p>
            </p:txBody>
          </p:sp>
          <p:grpSp>
            <p:nvGrpSpPr>
              <p:cNvPr id="32" name="Group 31">
                <a:extLst>
                  <a:ext uri="{FF2B5EF4-FFF2-40B4-BE49-F238E27FC236}">
                    <a16:creationId xmlns:a16="http://schemas.microsoft.com/office/drawing/2014/main" id="{B7F52CAF-9275-0D11-CB8C-D4FC531C0C2E}"/>
                  </a:ext>
                </a:extLst>
              </p:cNvPr>
              <p:cNvGrpSpPr>
                <a:grpSpLocks noChangeAspect="1"/>
              </p:cNvGrpSpPr>
              <p:nvPr>
                <p:custDataLst>
                  <p:tags r:id="rId18"/>
                </p:custDataLst>
              </p:nvPr>
            </p:nvGrpSpPr>
            <p:grpSpPr>
              <a:xfrm>
                <a:off x="3481127" y="2843627"/>
                <a:ext cx="288000" cy="288000"/>
                <a:chOff x="1270000" y="1270000"/>
                <a:chExt cx="889000" cy="889000"/>
              </a:xfrm>
            </p:grpSpPr>
            <p:sp>
              <p:nvSpPr>
                <p:cNvPr id="33" name="Rectangle 32" hidden="1">
                  <a:extLst>
                    <a:ext uri="{FF2B5EF4-FFF2-40B4-BE49-F238E27FC236}">
                      <a16:creationId xmlns:a16="http://schemas.microsoft.com/office/drawing/2014/main" id="{93028C7E-0DE5-8E07-B9D1-1D94ADEF3E41}"/>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34" name="Graphic 33">
                  <a:extLst>
                    <a:ext uri="{FF2B5EF4-FFF2-40B4-BE49-F238E27FC236}">
                      <a16:creationId xmlns:a16="http://schemas.microsoft.com/office/drawing/2014/main" id="{31B75BEA-9FBA-6AF8-FC4F-B93BA4665CE3}"/>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270000" y="1270000"/>
                  <a:ext cx="889000" cy="889000"/>
                </a:xfrm>
                <a:prstGeom prst="rect">
                  <a:avLst/>
                </a:prstGeom>
              </p:spPr>
            </p:pic>
          </p:grpSp>
        </p:grpSp>
        <p:grpSp>
          <p:nvGrpSpPr>
            <p:cNvPr id="21" name="Group 20">
              <a:extLst>
                <a:ext uri="{FF2B5EF4-FFF2-40B4-BE49-F238E27FC236}">
                  <a16:creationId xmlns:a16="http://schemas.microsoft.com/office/drawing/2014/main" id="{9A29AF0A-B531-336D-E70F-9516A28F4F07}"/>
                </a:ext>
              </a:extLst>
            </p:cNvPr>
            <p:cNvGrpSpPr/>
            <p:nvPr/>
          </p:nvGrpSpPr>
          <p:grpSpPr>
            <a:xfrm>
              <a:off x="3991532" y="2737485"/>
              <a:ext cx="586222" cy="676911"/>
              <a:chOff x="3991532" y="2737485"/>
              <a:chExt cx="586222" cy="676911"/>
            </a:xfrm>
          </p:grpSpPr>
          <p:sp>
            <p:nvSpPr>
              <p:cNvPr id="27" name="Hexagon 26">
                <a:extLst>
                  <a:ext uri="{FF2B5EF4-FFF2-40B4-BE49-F238E27FC236}">
                    <a16:creationId xmlns:a16="http://schemas.microsoft.com/office/drawing/2014/main" id="{884E7A6F-1566-B585-B388-79BE8B7FB2E2}"/>
                  </a:ext>
                </a:extLst>
              </p:cNvPr>
              <p:cNvSpPr>
                <a:spLocks noChangeAspect="1"/>
              </p:cNvSpPr>
              <p:nvPr/>
            </p:nvSpPr>
            <p:spPr bwMode="gray">
              <a:xfrm rot="5400000">
                <a:off x="3946187" y="2782830"/>
                <a:ext cx="676911" cy="586222"/>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a:endParaRPr lang="de-DE" sz="700">
                  <a:solidFill>
                    <a:srgbClr val="003C50"/>
                  </a:solidFill>
                </a:endParaRPr>
              </a:p>
              <a:p>
                <a:pPr algn="ctr"/>
                <a:endParaRPr lang="de-DE" sz="700">
                  <a:solidFill>
                    <a:srgbClr val="003C50"/>
                  </a:solidFill>
                </a:endParaRPr>
              </a:p>
              <a:p>
                <a:pPr algn="ctr"/>
                <a:r>
                  <a:rPr lang="de-DE" sz="700">
                    <a:solidFill>
                      <a:srgbClr val="003C50"/>
                    </a:solidFill>
                  </a:rPr>
                  <a:t>Infas</a:t>
                </a:r>
              </a:p>
            </p:txBody>
          </p:sp>
          <p:grpSp>
            <p:nvGrpSpPr>
              <p:cNvPr id="28" name="Group 27">
                <a:extLst>
                  <a:ext uri="{FF2B5EF4-FFF2-40B4-BE49-F238E27FC236}">
                    <a16:creationId xmlns:a16="http://schemas.microsoft.com/office/drawing/2014/main" id="{BEEE5B05-65B3-7BBF-3127-238458CC0AF6}"/>
                  </a:ext>
                </a:extLst>
              </p:cNvPr>
              <p:cNvGrpSpPr>
                <a:grpSpLocks noChangeAspect="1"/>
              </p:cNvGrpSpPr>
              <p:nvPr>
                <p:custDataLst>
                  <p:tags r:id="rId17"/>
                </p:custDataLst>
              </p:nvPr>
            </p:nvGrpSpPr>
            <p:grpSpPr>
              <a:xfrm>
                <a:off x="4143200" y="2831499"/>
                <a:ext cx="288000" cy="288000"/>
                <a:chOff x="1270000" y="1270000"/>
                <a:chExt cx="889000" cy="889000"/>
              </a:xfrm>
            </p:grpSpPr>
            <p:sp>
              <p:nvSpPr>
                <p:cNvPr id="29" name="Rectangle 28" hidden="1">
                  <a:extLst>
                    <a:ext uri="{FF2B5EF4-FFF2-40B4-BE49-F238E27FC236}">
                      <a16:creationId xmlns:a16="http://schemas.microsoft.com/office/drawing/2014/main" id="{B4FE6A06-C732-EA5C-C18D-11FB60943258}"/>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30" name="Graphic 29">
                  <a:extLst>
                    <a:ext uri="{FF2B5EF4-FFF2-40B4-BE49-F238E27FC236}">
                      <a16:creationId xmlns:a16="http://schemas.microsoft.com/office/drawing/2014/main" id="{FE2850ED-E06A-1371-05DB-79F9E1846E48}"/>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1270000" y="1270000"/>
                  <a:ext cx="889000" cy="889000"/>
                </a:xfrm>
                <a:prstGeom prst="rect">
                  <a:avLst/>
                </a:prstGeom>
              </p:spPr>
            </p:pic>
          </p:grpSp>
        </p:grpSp>
        <p:grpSp>
          <p:nvGrpSpPr>
            <p:cNvPr id="22" name="Group 21">
              <a:extLst>
                <a:ext uri="{FF2B5EF4-FFF2-40B4-BE49-F238E27FC236}">
                  <a16:creationId xmlns:a16="http://schemas.microsoft.com/office/drawing/2014/main" id="{7396B621-DFC0-AAE8-B536-6811A128963C}"/>
                </a:ext>
              </a:extLst>
            </p:cNvPr>
            <p:cNvGrpSpPr/>
            <p:nvPr/>
          </p:nvGrpSpPr>
          <p:grpSpPr>
            <a:xfrm>
              <a:off x="4632469" y="2733357"/>
              <a:ext cx="586222" cy="676911"/>
              <a:chOff x="4649756" y="2733357"/>
              <a:chExt cx="586222" cy="676911"/>
            </a:xfrm>
          </p:grpSpPr>
          <p:sp>
            <p:nvSpPr>
              <p:cNvPr id="23" name="Hexagon 22">
                <a:extLst>
                  <a:ext uri="{FF2B5EF4-FFF2-40B4-BE49-F238E27FC236}">
                    <a16:creationId xmlns:a16="http://schemas.microsoft.com/office/drawing/2014/main" id="{7DF9B352-53EB-DBD7-1ED4-DB33A25AC131}"/>
                  </a:ext>
                </a:extLst>
              </p:cNvPr>
              <p:cNvSpPr>
                <a:spLocks noChangeAspect="1"/>
              </p:cNvSpPr>
              <p:nvPr/>
            </p:nvSpPr>
            <p:spPr bwMode="gray">
              <a:xfrm rot="5400000">
                <a:off x="4604411" y="2778702"/>
                <a:ext cx="676911" cy="586222"/>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a:endParaRPr lang="de-DE" sz="700">
                  <a:solidFill>
                    <a:srgbClr val="003C50"/>
                  </a:solidFill>
                </a:endParaRPr>
              </a:p>
              <a:p>
                <a:pPr algn="ctr"/>
                <a:endParaRPr lang="de-DE" sz="700">
                  <a:solidFill>
                    <a:srgbClr val="003C50"/>
                  </a:solidFill>
                </a:endParaRPr>
              </a:p>
              <a:p>
                <a:pPr algn="ctr"/>
                <a:r>
                  <a:rPr lang="de-DE" sz="700">
                    <a:solidFill>
                      <a:srgbClr val="003C50"/>
                    </a:solidFill>
                  </a:rPr>
                  <a:t>Zensus</a:t>
                </a:r>
              </a:p>
            </p:txBody>
          </p:sp>
          <p:grpSp>
            <p:nvGrpSpPr>
              <p:cNvPr id="24" name="Group 23">
                <a:extLst>
                  <a:ext uri="{FF2B5EF4-FFF2-40B4-BE49-F238E27FC236}">
                    <a16:creationId xmlns:a16="http://schemas.microsoft.com/office/drawing/2014/main" id="{6EDE11E4-8857-EA5D-C14F-4DDEC192B67D}"/>
                  </a:ext>
                </a:extLst>
              </p:cNvPr>
              <p:cNvGrpSpPr>
                <a:grpSpLocks noChangeAspect="1"/>
              </p:cNvGrpSpPr>
              <p:nvPr>
                <p:custDataLst>
                  <p:tags r:id="rId16"/>
                </p:custDataLst>
              </p:nvPr>
            </p:nvGrpSpPr>
            <p:grpSpPr>
              <a:xfrm>
                <a:off x="4798866" y="2837192"/>
                <a:ext cx="288000" cy="288000"/>
                <a:chOff x="1270000" y="1270000"/>
                <a:chExt cx="889000" cy="889000"/>
              </a:xfrm>
            </p:grpSpPr>
            <p:sp>
              <p:nvSpPr>
                <p:cNvPr id="25" name="Rectangle 24" hidden="1">
                  <a:extLst>
                    <a:ext uri="{FF2B5EF4-FFF2-40B4-BE49-F238E27FC236}">
                      <a16:creationId xmlns:a16="http://schemas.microsoft.com/office/drawing/2014/main" id="{C9F956D2-87CF-F854-A396-B263413C489E}"/>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26" name="Graphic 25">
                  <a:extLst>
                    <a:ext uri="{FF2B5EF4-FFF2-40B4-BE49-F238E27FC236}">
                      <a16:creationId xmlns:a16="http://schemas.microsoft.com/office/drawing/2014/main" id="{A67EDCBD-BABF-60E7-E9C3-E87071E0E1FC}"/>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270000" y="1270000"/>
                  <a:ext cx="889000" cy="889000"/>
                </a:xfrm>
                <a:prstGeom prst="rect">
                  <a:avLst/>
                </a:prstGeom>
              </p:spPr>
            </p:pic>
          </p:grpSp>
        </p:grpSp>
      </p:grpSp>
      <p:sp>
        <p:nvSpPr>
          <p:cNvPr id="43" name="Isosceles Triangle 42">
            <a:extLst>
              <a:ext uri="{FF2B5EF4-FFF2-40B4-BE49-F238E27FC236}">
                <a16:creationId xmlns:a16="http://schemas.microsoft.com/office/drawing/2014/main" id="{15F1BF34-E7C8-8E63-BD38-D6FEC3E2A381}"/>
              </a:ext>
            </a:extLst>
          </p:cNvPr>
          <p:cNvSpPr/>
          <p:nvPr/>
        </p:nvSpPr>
        <p:spPr bwMode="gray">
          <a:xfrm rot="5400000">
            <a:off x="1777069" y="3473408"/>
            <a:ext cx="648000" cy="216000"/>
          </a:xfrm>
          <a:prstGeom prst="triangle">
            <a:avLst/>
          </a:prstGeom>
          <a:solidFill>
            <a:schemeClr val="accent6">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8725" tIns="28725" rIns="28725" bIns="28725" rtlCol="0" anchor="ctr">
            <a:noAutofit/>
          </a:bodyPr>
          <a:lstStyle/>
          <a:p>
            <a:pPr algn="ctr"/>
            <a:endParaRPr lang="de-DE" sz="1117">
              <a:solidFill>
                <a:schemeClr val="tx1"/>
              </a:solidFill>
            </a:endParaRPr>
          </a:p>
        </p:txBody>
      </p:sp>
      <p:grpSp>
        <p:nvGrpSpPr>
          <p:cNvPr id="44" name="Group 43">
            <a:extLst>
              <a:ext uri="{FF2B5EF4-FFF2-40B4-BE49-F238E27FC236}">
                <a16:creationId xmlns:a16="http://schemas.microsoft.com/office/drawing/2014/main" id="{8BDE9449-4A39-2E55-5021-25DE94D62D6B}"/>
              </a:ext>
            </a:extLst>
          </p:cNvPr>
          <p:cNvGrpSpPr/>
          <p:nvPr/>
        </p:nvGrpSpPr>
        <p:grpSpPr>
          <a:xfrm>
            <a:off x="6556498" y="1076248"/>
            <a:ext cx="3024000" cy="1401498"/>
            <a:chOff x="6556498" y="1076248"/>
            <a:chExt cx="3024000" cy="1401498"/>
          </a:xfrm>
        </p:grpSpPr>
        <p:sp>
          <p:nvSpPr>
            <p:cNvPr id="45" name="Rectangle 44">
              <a:extLst>
                <a:ext uri="{FF2B5EF4-FFF2-40B4-BE49-F238E27FC236}">
                  <a16:creationId xmlns:a16="http://schemas.microsoft.com/office/drawing/2014/main" id="{7CF08CE1-4116-04B9-B8BF-54CBFEEB0C48}"/>
                </a:ext>
              </a:extLst>
            </p:cNvPr>
            <p:cNvSpPr/>
            <p:nvPr/>
          </p:nvSpPr>
          <p:spPr bwMode="gray">
            <a:xfrm>
              <a:off x="6556498" y="1076248"/>
              <a:ext cx="3024000" cy="140149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Zielszenarien und Zielpfade für 2030, 2035, 2040 und 2045 </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Zentrale und Dezentrale Wärmeversorgungsgebiete</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Energie- und THG-Bilanz </a:t>
              </a:r>
            </a:p>
          </p:txBody>
        </p:sp>
        <p:sp>
          <p:nvSpPr>
            <p:cNvPr id="46" name="Rectangle 45">
              <a:extLst>
                <a:ext uri="{FF2B5EF4-FFF2-40B4-BE49-F238E27FC236}">
                  <a16:creationId xmlns:a16="http://schemas.microsoft.com/office/drawing/2014/main" id="{551CECE4-6BB9-FD65-72E3-4492468513B6}"/>
                </a:ext>
              </a:extLst>
            </p:cNvPr>
            <p:cNvSpPr/>
            <p:nvPr/>
          </p:nvSpPr>
          <p:spPr bwMode="gray">
            <a:xfrm>
              <a:off x="6594597" y="1083863"/>
              <a:ext cx="2232000" cy="432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rPr>
                <a:t>Zielszenario</a:t>
              </a:r>
            </a:p>
          </p:txBody>
        </p:sp>
        <p:grpSp>
          <p:nvGrpSpPr>
            <p:cNvPr id="47" name="Group 46">
              <a:extLst>
                <a:ext uri="{FF2B5EF4-FFF2-40B4-BE49-F238E27FC236}">
                  <a16:creationId xmlns:a16="http://schemas.microsoft.com/office/drawing/2014/main" id="{1A32AC63-C0F7-5F03-F949-62BC1E1901A5}"/>
                </a:ext>
              </a:extLst>
            </p:cNvPr>
            <p:cNvGrpSpPr>
              <a:grpSpLocks noChangeAspect="1"/>
            </p:cNvGrpSpPr>
            <p:nvPr>
              <p:custDataLst>
                <p:tags r:id="rId15"/>
              </p:custDataLst>
            </p:nvPr>
          </p:nvGrpSpPr>
          <p:grpSpPr>
            <a:xfrm rot="600000">
              <a:off x="6630868" y="1129307"/>
              <a:ext cx="324000" cy="324000"/>
              <a:chOff x="1270000" y="1270000"/>
              <a:chExt cx="889000" cy="889000"/>
            </a:xfrm>
            <a:solidFill>
              <a:schemeClr val="tx2"/>
            </a:solidFill>
          </p:grpSpPr>
          <p:sp>
            <p:nvSpPr>
              <p:cNvPr id="48" name="Rectangle 47" hidden="1">
                <a:extLst>
                  <a:ext uri="{FF2B5EF4-FFF2-40B4-BE49-F238E27FC236}">
                    <a16:creationId xmlns:a16="http://schemas.microsoft.com/office/drawing/2014/main" id="{23847AE3-2D17-B0F9-065D-57B1F34D06D4}"/>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49" name="Graphic 48">
                <a:extLst>
                  <a:ext uri="{FF2B5EF4-FFF2-40B4-BE49-F238E27FC236}">
                    <a16:creationId xmlns:a16="http://schemas.microsoft.com/office/drawing/2014/main" id="{7FA2A56A-F8CE-4FAC-4AF1-E2164BEB0ED4}"/>
                  </a:ext>
                </a:extLst>
              </p:cNvPr>
              <p:cNvPicPr>
                <a:picLocks noChangeAspect="1"/>
              </p:cNvPicPr>
              <p:nvPr/>
            </p:nvPicPr>
            <p:blipFill>
              <a:blip r:embed="rId37" cstate="print">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1270000" y="1270000"/>
                <a:ext cx="889000" cy="889000"/>
              </a:xfrm>
              <a:prstGeom prst="rect">
                <a:avLst/>
              </a:prstGeom>
            </p:spPr>
          </p:pic>
        </p:grpSp>
      </p:grpSp>
      <p:grpSp>
        <p:nvGrpSpPr>
          <p:cNvPr id="50" name="Group 49">
            <a:extLst>
              <a:ext uri="{FF2B5EF4-FFF2-40B4-BE49-F238E27FC236}">
                <a16:creationId xmlns:a16="http://schemas.microsoft.com/office/drawing/2014/main" id="{D3A35521-4087-0EBA-00B1-D699EAB4DF40}"/>
              </a:ext>
            </a:extLst>
          </p:cNvPr>
          <p:cNvGrpSpPr/>
          <p:nvPr/>
        </p:nvGrpSpPr>
        <p:grpSpPr>
          <a:xfrm>
            <a:off x="2263516" y="2649771"/>
            <a:ext cx="1815735" cy="1899454"/>
            <a:chOff x="2499748" y="3145533"/>
            <a:chExt cx="1905878" cy="2060431"/>
          </a:xfrm>
        </p:grpSpPr>
        <p:sp>
          <p:nvSpPr>
            <p:cNvPr id="51" name="Arc 50">
              <a:extLst>
                <a:ext uri="{FF2B5EF4-FFF2-40B4-BE49-F238E27FC236}">
                  <a16:creationId xmlns:a16="http://schemas.microsoft.com/office/drawing/2014/main" id="{6B96CC1A-A380-ADFA-4FF0-D0BCD9C16E0E}"/>
                </a:ext>
              </a:extLst>
            </p:cNvPr>
            <p:cNvSpPr/>
            <p:nvPr/>
          </p:nvSpPr>
          <p:spPr>
            <a:xfrm rot="7200000">
              <a:off x="2499748" y="3170362"/>
              <a:ext cx="1891612" cy="1891612"/>
            </a:xfrm>
            <a:prstGeom prst="arc">
              <a:avLst>
                <a:gd name="adj1" fmla="val 16200000"/>
                <a:gd name="adj2" fmla="val 1738621"/>
              </a:avLst>
            </a:prstGeom>
            <a:ln w="2857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2" name="Arc 51">
              <a:extLst>
                <a:ext uri="{FF2B5EF4-FFF2-40B4-BE49-F238E27FC236}">
                  <a16:creationId xmlns:a16="http://schemas.microsoft.com/office/drawing/2014/main" id="{1103BD64-0FED-6501-D95D-562B6E2D2976}"/>
                </a:ext>
              </a:extLst>
            </p:cNvPr>
            <p:cNvSpPr/>
            <p:nvPr/>
          </p:nvSpPr>
          <p:spPr>
            <a:xfrm rot="14400000">
              <a:off x="2505925" y="3163048"/>
              <a:ext cx="1891612" cy="1891612"/>
            </a:xfrm>
            <a:prstGeom prst="arc">
              <a:avLst>
                <a:gd name="adj1" fmla="val 16200000"/>
                <a:gd name="adj2" fmla="val 1738621"/>
              </a:avLst>
            </a:prstGeom>
            <a:ln w="2857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nvGrpSpPr>
            <p:cNvPr id="53" name="Group 52">
              <a:extLst>
                <a:ext uri="{FF2B5EF4-FFF2-40B4-BE49-F238E27FC236}">
                  <a16:creationId xmlns:a16="http://schemas.microsoft.com/office/drawing/2014/main" id="{EDDD3858-0E0F-732E-93AE-9836F8D7FE27}"/>
                </a:ext>
              </a:extLst>
            </p:cNvPr>
            <p:cNvGrpSpPr/>
            <p:nvPr/>
          </p:nvGrpSpPr>
          <p:grpSpPr>
            <a:xfrm>
              <a:off x="2514014" y="3145533"/>
              <a:ext cx="1891612" cy="2060431"/>
              <a:chOff x="2514014" y="3145533"/>
              <a:chExt cx="1891612" cy="2060431"/>
            </a:xfrm>
          </p:grpSpPr>
          <p:pic>
            <p:nvPicPr>
              <p:cNvPr id="54" name="Picture 53">
                <a:extLst>
                  <a:ext uri="{FF2B5EF4-FFF2-40B4-BE49-F238E27FC236}">
                    <a16:creationId xmlns:a16="http://schemas.microsoft.com/office/drawing/2014/main" id="{A5A88181-9CF8-3785-26BE-76862D951DD7}"/>
                  </a:ext>
                </a:extLst>
              </p:cNvPr>
              <p:cNvPicPr>
                <a:picLocks noChangeAspect="1"/>
              </p:cNvPicPr>
              <p:nvPr/>
            </p:nvPicPr>
            <p:blipFill rotWithShape="1">
              <a:blip r:embed="rId39" cstate="screen">
                <a:extLst>
                  <a:ext uri="{28A0092B-C50C-407E-A947-70E740481C1C}">
                    <a14:useLocalDpi xmlns:a14="http://schemas.microsoft.com/office/drawing/2010/main"/>
                  </a:ext>
                </a:extLst>
              </a:blip>
              <a:srcRect/>
              <a:stretch/>
            </p:blipFill>
            <p:spPr>
              <a:xfrm>
                <a:off x="2655991" y="3305015"/>
                <a:ext cx="1613286" cy="1630573"/>
              </a:xfrm>
              <a:prstGeom prst="ellipse">
                <a:avLst/>
              </a:prstGeom>
              <a:ln/>
            </p:spPr>
          </p:pic>
          <p:sp>
            <p:nvSpPr>
              <p:cNvPr id="55" name="Rectangle 54">
                <a:extLst>
                  <a:ext uri="{FF2B5EF4-FFF2-40B4-BE49-F238E27FC236}">
                    <a16:creationId xmlns:a16="http://schemas.microsoft.com/office/drawing/2014/main" id="{23AD83F3-7217-4040-E916-981608E0484E}"/>
                  </a:ext>
                </a:extLst>
              </p:cNvPr>
              <p:cNvSpPr/>
              <p:nvPr/>
            </p:nvSpPr>
            <p:spPr bwMode="gray">
              <a:xfrm>
                <a:off x="3141611" y="4547032"/>
                <a:ext cx="696406" cy="400778"/>
              </a:xfrm>
              <a:prstGeom prst="rect">
                <a:avLst/>
              </a:prstGeom>
              <a:solidFill>
                <a:srgbClr val="FFFFFF">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r>
                  <a:rPr lang="de-DE" sz="1000" b="1">
                    <a:solidFill>
                      <a:schemeClr val="tx1"/>
                    </a:solidFill>
                  </a:rPr>
                  <a:t>Digitaler Zwilling</a:t>
                </a:r>
              </a:p>
            </p:txBody>
          </p:sp>
          <p:sp>
            <p:nvSpPr>
              <p:cNvPr id="56" name="Arc 55">
                <a:extLst>
                  <a:ext uri="{FF2B5EF4-FFF2-40B4-BE49-F238E27FC236}">
                    <a16:creationId xmlns:a16="http://schemas.microsoft.com/office/drawing/2014/main" id="{C00658AB-F7F0-F5FA-02D7-C419171B1D1F}"/>
                  </a:ext>
                </a:extLst>
              </p:cNvPr>
              <p:cNvSpPr/>
              <p:nvPr/>
            </p:nvSpPr>
            <p:spPr>
              <a:xfrm>
                <a:off x="2514014" y="3153831"/>
                <a:ext cx="1891612" cy="1891612"/>
              </a:xfrm>
              <a:prstGeom prst="arc">
                <a:avLst>
                  <a:gd name="adj1" fmla="val 16200000"/>
                  <a:gd name="adj2" fmla="val 1738621"/>
                </a:avLst>
              </a:prstGeom>
              <a:ln w="2857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7" name="Rectangle 56">
                <a:extLst>
                  <a:ext uri="{FF2B5EF4-FFF2-40B4-BE49-F238E27FC236}">
                    <a16:creationId xmlns:a16="http://schemas.microsoft.com/office/drawing/2014/main" id="{E6B6E37C-AE14-800B-F61C-523E341415CE}"/>
                  </a:ext>
                </a:extLst>
              </p:cNvPr>
              <p:cNvSpPr/>
              <p:nvPr>
                <p:custDataLst>
                  <p:tags r:id="rId13"/>
                </p:custDataLst>
              </p:nvPr>
            </p:nvSpPr>
            <p:spPr bwMode="gray">
              <a:xfrm rot="18366090">
                <a:off x="2377316" y="3329611"/>
                <a:ext cx="1038031" cy="6698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prstTxWarp prst="textArchUp">
                  <a:avLst/>
                </a:prstTxWarp>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r>
                  <a:rPr lang="de-DE" sz="900" b="1">
                    <a:solidFill>
                      <a:schemeClr val="tx1"/>
                    </a:solidFill>
                  </a:rPr>
                  <a:t>Erfassung</a:t>
                </a:r>
                <a:endParaRPr lang="de-DE" sz="1000" b="1">
                  <a:solidFill>
                    <a:schemeClr val="tx1"/>
                  </a:solidFill>
                </a:endParaRPr>
              </a:p>
            </p:txBody>
          </p:sp>
          <p:sp>
            <p:nvSpPr>
              <p:cNvPr id="58" name="Rectangle 57">
                <a:extLst>
                  <a:ext uri="{FF2B5EF4-FFF2-40B4-BE49-F238E27FC236}">
                    <a16:creationId xmlns:a16="http://schemas.microsoft.com/office/drawing/2014/main" id="{D6D71BC7-08F4-83CF-5656-99E855F6D734}"/>
                  </a:ext>
                </a:extLst>
              </p:cNvPr>
              <p:cNvSpPr/>
              <p:nvPr/>
            </p:nvSpPr>
            <p:spPr bwMode="gray">
              <a:xfrm>
                <a:off x="2924717" y="4537436"/>
                <a:ext cx="1038031" cy="6685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prstTxWarp prst="textArchDown">
                  <a:avLst/>
                </a:prstTxWarp>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r>
                  <a:rPr lang="de-DE" sz="900" b="1">
                    <a:solidFill>
                      <a:schemeClr val="tx1"/>
                    </a:solidFill>
                  </a:rPr>
                  <a:t>Validierung</a:t>
                </a:r>
                <a:endParaRPr lang="de-DE" sz="1000" b="1">
                  <a:solidFill>
                    <a:schemeClr val="tx1"/>
                  </a:solidFill>
                </a:endParaRPr>
              </a:p>
            </p:txBody>
          </p:sp>
          <p:sp>
            <p:nvSpPr>
              <p:cNvPr id="59" name="Rectangle 58">
                <a:extLst>
                  <a:ext uri="{FF2B5EF4-FFF2-40B4-BE49-F238E27FC236}">
                    <a16:creationId xmlns:a16="http://schemas.microsoft.com/office/drawing/2014/main" id="{C6EC7805-F87F-9992-F6E3-68B9244227E7}"/>
                  </a:ext>
                </a:extLst>
              </p:cNvPr>
              <p:cNvSpPr/>
              <p:nvPr>
                <p:custDataLst>
                  <p:tags r:id="rId14"/>
                </p:custDataLst>
              </p:nvPr>
            </p:nvSpPr>
            <p:spPr bwMode="gray">
              <a:xfrm rot="3200378">
                <a:off x="3540232" y="3347597"/>
                <a:ext cx="1038031" cy="6698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prstTxWarp prst="textArchUp">
                  <a:avLst/>
                </a:prstTxWarp>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r>
                  <a:rPr lang="de-DE" sz="900" b="1">
                    <a:solidFill>
                      <a:schemeClr val="tx1"/>
                    </a:solidFill>
                  </a:rPr>
                  <a:t>Verarbeitung</a:t>
                </a:r>
                <a:endParaRPr lang="de-DE" sz="1000" b="1">
                  <a:solidFill>
                    <a:schemeClr val="tx1"/>
                  </a:solidFill>
                </a:endParaRPr>
              </a:p>
            </p:txBody>
          </p:sp>
        </p:grpSp>
      </p:grpSp>
      <p:sp>
        <p:nvSpPr>
          <p:cNvPr id="60" name="Isosceles Triangle 59">
            <a:extLst>
              <a:ext uri="{FF2B5EF4-FFF2-40B4-BE49-F238E27FC236}">
                <a16:creationId xmlns:a16="http://schemas.microsoft.com/office/drawing/2014/main" id="{0009B3AD-6756-C30F-2D56-59C978486E2C}"/>
              </a:ext>
            </a:extLst>
          </p:cNvPr>
          <p:cNvSpPr/>
          <p:nvPr/>
        </p:nvSpPr>
        <p:spPr bwMode="gray">
          <a:xfrm rot="5400000">
            <a:off x="4088271" y="2980305"/>
            <a:ext cx="648000" cy="216000"/>
          </a:xfrm>
          <a:prstGeom prst="triangle">
            <a:avLst/>
          </a:prstGeom>
          <a:solidFill>
            <a:schemeClr val="accent6">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8725" tIns="28725" rIns="28725" bIns="28725" rtlCol="0" anchor="ctr">
            <a:noAutofit/>
          </a:bodyPr>
          <a:lstStyle/>
          <a:p>
            <a:pPr algn="ctr"/>
            <a:endParaRPr lang="de-DE" sz="1117">
              <a:solidFill>
                <a:schemeClr val="tx1"/>
              </a:solidFill>
            </a:endParaRPr>
          </a:p>
        </p:txBody>
      </p:sp>
      <p:sp>
        <p:nvSpPr>
          <p:cNvPr id="61" name="Isosceles Triangle 60">
            <a:extLst>
              <a:ext uri="{FF2B5EF4-FFF2-40B4-BE49-F238E27FC236}">
                <a16:creationId xmlns:a16="http://schemas.microsoft.com/office/drawing/2014/main" id="{9B6A0092-36B4-6D06-391A-6B75013376B8}"/>
              </a:ext>
            </a:extLst>
          </p:cNvPr>
          <p:cNvSpPr/>
          <p:nvPr/>
        </p:nvSpPr>
        <p:spPr bwMode="gray">
          <a:xfrm rot="16200000" flipH="1">
            <a:off x="4104115" y="3695856"/>
            <a:ext cx="648000" cy="216000"/>
          </a:xfrm>
          <a:prstGeom prst="triangle">
            <a:avLst/>
          </a:prstGeom>
          <a:solidFill>
            <a:schemeClr val="accent6">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8725" tIns="28725" rIns="28725" bIns="28725" rtlCol="0" anchor="ctr">
            <a:noAutofit/>
          </a:bodyPr>
          <a:lstStyle/>
          <a:p>
            <a:pPr algn="ctr"/>
            <a:endParaRPr lang="de-DE" sz="1117">
              <a:solidFill>
                <a:schemeClr val="tx1"/>
              </a:solidFill>
            </a:endParaRPr>
          </a:p>
        </p:txBody>
      </p:sp>
      <p:grpSp>
        <p:nvGrpSpPr>
          <p:cNvPr id="62" name="Group 61">
            <a:extLst>
              <a:ext uri="{FF2B5EF4-FFF2-40B4-BE49-F238E27FC236}">
                <a16:creationId xmlns:a16="http://schemas.microsoft.com/office/drawing/2014/main" id="{8FEF47C5-E436-47DF-8E7D-B799FC6E8862}"/>
              </a:ext>
            </a:extLst>
          </p:cNvPr>
          <p:cNvGrpSpPr>
            <a:grpSpLocks noChangeAspect="1"/>
          </p:cNvGrpSpPr>
          <p:nvPr/>
        </p:nvGrpSpPr>
        <p:grpSpPr>
          <a:xfrm>
            <a:off x="4692337" y="2838454"/>
            <a:ext cx="792000" cy="633393"/>
            <a:chOff x="4277541" y="4858935"/>
            <a:chExt cx="834030" cy="667004"/>
          </a:xfrm>
        </p:grpSpPr>
        <p:sp>
          <p:nvSpPr>
            <p:cNvPr id="63" name="Rectangle 62">
              <a:extLst>
                <a:ext uri="{FF2B5EF4-FFF2-40B4-BE49-F238E27FC236}">
                  <a16:creationId xmlns:a16="http://schemas.microsoft.com/office/drawing/2014/main" id="{FB3E44B7-DE7C-6FA4-0166-22EC2EFBCB34}"/>
                </a:ext>
              </a:extLst>
            </p:cNvPr>
            <p:cNvSpPr/>
            <p:nvPr/>
          </p:nvSpPr>
          <p:spPr bwMode="gray">
            <a:xfrm>
              <a:off x="4277541" y="4858935"/>
              <a:ext cx="834030" cy="667004"/>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t">
              <a:noAutofit/>
            </a:bodyPr>
            <a:lstStyle/>
            <a:p>
              <a:pPr algn="ctr">
                <a:lnSpc>
                  <a:spcPct val="95000"/>
                </a:lnSpc>
                <a:spcAft>
                  <a:spcPts val="200"/>
                </a:spcAft>
              </a:pPr>
              <a:r>
                <a:rPr lang="de-DE" sz="700">
                  <a:solidFill>
                    <a:schemeClr val="tx1"/>
                  </a:solidFill>
                </a:rPr>
                <a:t>Identifikation von Freiflächen</a:t>
              </a:r>
            </a:p>
          </p:txBody>
        </p:sp>
        <p:grpSp>
          <p:nvGrpSpPr>
            <p:cNvPr id="64" name="Group 63">
              <a:extLst>
                <a:ext uri="{FF2B5EF4-FFF2-40B4-BE49-F238E27FC236}">
                  <a16:creationId xmlns:a16="http://schemas.microsoft.com/office/drawing/2014/main" id="{508FE6FD-2C8C-B7CE-63C3-14036FDB859D}"/>
                </a:ext>
              </a:extLst>
            </p:cNvPr>
            <p:cNvGrpSpPr>
              <a:grpSpLocks noChangeAspect="1"/>
            </p:cNvGrpSpPr>
            <p:nvPr>
              <p:custDataLst>
                <p:tags r:id="rId12"/>
              </p:custDataLst>
            </p:nvPr>
          </p:nvGrpSpPr>
          <p:grpSpPr>
            <a:xfrm>
              <a:off x="4486031" y="4869923"/>
              <a:ext cx="423127" cy="417052"/>
              <a:chOff x="1257051" y="1270000"/>
              <a:chExt cx="901949" cy="889000"/>
            </a:xfrm>
          </p:grpSpPr>
          <p:sp>
            <p:nvSpPr>
              <p:cNvPr id="65" name="Rectangle 64" hidden="1">
                <a:extLst>
                  <a:ext uri="{FF2B5EF4-FFF2-40B4-BE49-F238E27FC236}">
                    <a16:creationId xmlns:a16="http://schemas.microsoft.com/office/drawing/2014/main" id="{94727A24-975B-FEE7-4033-B2E14427B753}"/>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ctr">
                <a:noAutofit/>
              </a:bodyPr>
              <a:lstStyle/>
              <a:p>
                <a:pPr algn="ctr"/>
                <a:endParaRPr lang="de-DE" sz="700" err="1">
                  <a:solidFill>
                    <a:schemeClr val="tx1"/>
                  </a:solidFill>
                </a:endParaRPr>
              </a:p>
            </p:txBody>
          </p:sp>
          <p:pic>
            <p:nvPicPr>
              <p:cNvPr id="66" name="Graphic 65">
                <a:extLst>
                  <a:ext uri="{FF2B5EF4-FFF2-40B4-BE49-F238E27FC236}">
                    <a16:creationId xmlns:a16="http://schemas.microsoft.com/office/drawing/2014/main" id="{E5B64FD0-B772-27AA-BE0F-4941AE13E0CF}"/>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1257051" y="1270000"/>
                <a:ext cx="889000" cy="889000"/>
              </a:xfrm>
              <a:prstGeom prst="rect">
                <a:avLst/>
              </a:prstGeom>
            </p:spPr>
          </p:pic>
        </p:grpSp>
      </p:grpSp>
      <p:grpSp>
        <p:nvGrpSpPr>
          <p:cNvPr id="67" name="Group 66">
            <a:extLst>
              <a:ext uri="{FF2B5EF4-FFF2-40B4-BE49-F238E27FC236}">
                <a16:creationId xmlns:a16="http://schemas.microsoft.com/office/drawing/2014/main" id="{34CADB8E-5E4C-2B54-6816-04BB439ECC28}"/>
              </a:ext>
            </a:extLst>
          </p:cNvPr>
          <p:cNvGrpSpPr>
            <a:grpSpLocks noChangeAspect="1"/>
          </p:cNvGrpSpPr>
          <p:nvPr/>
        </p:nvGrpSpPr>
        <p:grpSpPr>
          <a:xfrm>
            <a:off x="5556337" y="2806054"/>
            <a:ext cx="792000" cy="666915"/>
            <a:chOff x="3804782" y="4739109"/>
            <a:chExt cx="834030" cy="702308"/>
          </a:xfrm>
        </p:grpSpPr>
        <p:sp>
          <p:nvSpPr>
            <p:cNvPr id="68" name="Rectangle 67">
              <a:extLst>
                <a:ext uri="{FF2B5EF4-FFF2-40B4-BE49-F238E27FC236}">
                  <a16:creationId xmlns:a16="http://schemas.microsoft.com/office/drawing/2014/main" id="{0C37E604-A72B-ACC7-D74B-6EF8B19AA72F}"/>
                </a:ext>
              </a:extLst>
            </p:cNvPr>
            <p:cNvSpPr/>
            <p:nvPr/>
          </p:nvSpPr>
          <p:spPr bwMode="gray">
            <a:xfrm>
              <a:off x="3804782" y="4774413"/>
              <a:ext cx="834030" cy="667004"/>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t">
              <a:noAutofit/>
            </a:bodyPr>
            <a:lstStyle/>
            <a:p>
              <a:pPr algn="ctr">
                <a:lnSpc>
                  <a:spcPct val="95000"/>
                </a:lnSpc>
                <a:spcAft>
                  <a:spcPts val="200"/>
                </a:spcAft>
              </a:pPr>
              <a:r>
                <a:rPr lang="de-DE" sz="700">
                  <a:solidFill>
                    <a:schemeClr val="tx1"/>
                  </a:solidFill>
                </a:rPr>
                <a:t>Sanierungs-potenzial</a:t>
              </a:r>
            </a:p>
          </p:txBody>
        </p:sp>
        <p:grpSp>
          <p:nvGrpSpPr>
            <p:cNvPr id="69" name="Group 68">
              <a:extLst>
                <a:ext uri="{FF2B5EF4-FFF2-40B4-BE49-F238E27FC236}">
                  <a16:creationId xmlns:a16="http://schemas.microsoft.com/office/drawing/2014/main" id="{738F7958-4DD7-733B-B38B-270891E0F97E}"/>
                </a:ext>
              </a:extLst>
            </p:cNvPr>
            <p:cNvGrpSpPr>
              <a:grpSpLocks noChangeAspect="1"/>
            </p:cNvGrpSpPr>
            <p:nvPr>
              <p:custDataLst>
                <p:tags r:id="rId11"/>
              </p:custDataLst>
            </p:nvPr>
          </p:nvGrpSpPr>
          <p:grpSpPr>
            <a:xfrm>
              <a:off x="3996287" y="4739109"/>
              <a:ext cx="437117" cy="458525"/>
              <a:chOff x="1270000" y="1195836"/>
              <a:chExt cx="918199" cy="963164"/>
            </a:xfrm>
          </p:grpSpPr>
          <p:sp>
            <p:nvSpPr>
              <p:cNvPr id="70" name="Rectangle 69" hidden="1">
                <a:extLst>
                  <a:ext uri="{FF2B5EF4-FFF2-40B4-BE49-F238E27FC236}">
                    <a16:creationId xmlns:a16="http://schemas.microsoft.com/office/drawing/2014/main" id="{7A7CFB2D-A1FC-1014-F48C-630730F6FA4C}"/>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ctr">
                <a:noAutofit/>
              </a:bodyPr>
              <a:lstStyle/>
              <a:p>
                <a:pPr algn="ctr"/>
                <a:endParaRPr lang="de-DE" sz="700" err="1">
                  <a:solidFill>
                    <a:schemeClr val="tx1"/>
                  </a:solidFill>
                </a:endParaRPr>
              </a:p>
            </p:txBody>
          </p:sp>
          <p:pic>
            <p:nvPicPr>
              <p:cNvPr id="71" name="Graphic 70">
                <a:extLst>
                  <a:ext uri="{FF2B5EF4-FFF2-40B4-BE49-F238E27FC236}">
                    <a16:creationId xmlns:a16="http://schemas.microsoft.com/office/drawing/2014/main" id="{668C2428-0E6A-952F-E7D0-1F187A114D07}"/>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1299199" y="1195836"/>
                <a:ext cx="889000" cy="888999"/>
              </a:xfrm>
              <a:prstGeom prst="rect">
                <a:avLst/>
              </a:prstGeom>
            </p:spPr>
          </p:pic>
        </p:grpSp>
      </p:grpSp>
      <p:grpSp>
        <p:nvGrpSpPr>
          <p:cNvPr id="72" name="Group 71">
            <a:extLst>
              <a:ext uri="{FF2B5EF4-FFF2-40B4-BE49-F238E27FC236}">
                <a16:creationId xmlns:a16="http://schemas.microsoft.com/office/drawing/2014/main" id="{B8BA299E-25D5-87F3-0568-5532F319B07E}"/>
              </a:ext>
            </a:extLst>
          </p:cNvPr>
          <p:cNvGrpSpPr>
            <a:grpSpLocks noChangeAspect="1"/>
          </p:cNvGrpSpPr>
          <p:nvPr/>
        </p:nvGrpSpPr>
        <p:grpSpPr>
          <a:xfrm>
            <a:off x="4692337" y="3572850"/>
            <a:ext cx="792000" cy="633393"/>
            <a:chOff x="5453036" y="4956073"/>
            <a:chExt cx="834031" cy="667003"/>
          </a:xfrm>
        </p:grpSpPr>
        <p:sp>
          <p:nvSpPr>
            <p:cNvPr id="73" name="Rectangle 72">
              <a:extLst>
                <a:ext uri="{FF2B5EF4-FFF2-40B4-BE49-F238E27FC236}">
                  <a16:creationId xmlns:a16="http://schemas.microsoft.com/office/drawing/2014/main" id="{188286FE-F4AD-9DAF-CCA0-E6BF09377121}"/>
                </a:ext>
              </a:extLst>
            </p:cNvPr>
            <p:cNvSpPr/>
            <p:nvPr/>
          </p:nvSpPr>
          <p:spPr bwMode="gray">
            <a:xfrm>
              <a:off x="5453036" y="4956073"/>
              <a:ext cx="834031" cy="667003"/>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t">
              <a:noAutofit/>
            </a:bodyPr>
            <a:lstStyle/>
            <a:p>
              <a:pPr algn="ctr">
                <a:lnSpc>
                  <a:spcPct val="95000"/>
                </a:lnSpc>
                <a:spcAft>
                  <a:spcPts val="200"/>
                </a:spcAft>
              </a:pPr>
              <a:r>
                <a:rPr lang="de-DE" sz="700">
                  <a:solidFill>
                    <a:schemeClr val="tx1"/>
                  </a:solidFill>
                </a:rPr>
                <a:t>Unvermeidbarer Abwärme</a:t>
              </a:r>
            </a:p>
          </p:txBody>
        </p:sp>
        <p:grpSp>
          <p:nvGrpSpPr>
            <p:cNvPr id="74" name="Group 73">
              <a:extLst>
                <a:ext uri="{FF2B5EF4-FFF2-40B4-BE49-F238E27FC236}">
                  <a16:creationId xmlns:a16="http://schemas.microsoft.com/office/drawing/2014/main" id="{27B093F4-5622-24DC-C810-2E69701DB243}"/>
                </a:ext>
              </a:extLst>
            </p:cNvPr>
            <p:cNvGrpSpPr>
              <a:grpSpLocks noChangeAspect="1"/>
            </p:cNvGrpSpPr>
            <p:nvPr>
              <p:custDataLst>
                <p:tags r:id="rId9"/>
              </p:custDataLst>
            </p:nvPr>
          </p:nvGrpSpPr>
          <p:grpSpPr>
            <a:xfrm>
              <a:off x="5691078" y="5004112"/>
              <a:ext cx="340966" cy="324000"/>
              <a:chOff x="1270000" y="1270000"/>
              <a:chExt cx="935551" cy="889000"/>
            </a:xfrm>
          </p:grpSpPr>
          <p:sp>
            <p:nvSpPr>
              <p:cNvPr id="75" name="Rectangle 74" hidden="1">
                <a:extLst>
                  <a:ext uri="{FF2B5EF4-FFF2-40B4-BE49-F238E27FC236}">
                    <a16:creationId xmlns:a16="http://schemas.microsoft.com/office/drawing/2014/main" id="{01EE8DE0-1C7A-0EBF-1B71-F84A7D09E427}"/>
                  </a:ext>
                </a:extLst>
              </p:cNvPr>
              <p:cNvSpPr/>
              <p:nvPr>
                <p:custDataLst>
                  <p:tags r:id="rId10"/>
                </p:custDataLst>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ctr">
                <a:noAutofit/>
              </a:bodyPr>
              <a:lstStyle/>
              <a:p>
                <a:pPr algn="ctr"/>
                <a:endParaRPr lang="de-DE" sz="700" err="1">
                  <a:solidFill>
                    <a:schemeClr val="tx1"/>
                  </a:solidFill>
                </a:endParaRPr>
              </a:p>
            </p:txBody>
          </p:sp>
          <p:pic>
            <p:nvPicPr>
              <p:cNvPr id="76" name="Graphic 75">
                <a:extLst>
                  <a:ext uri="{FF2B5EF4-FFF2-40B4-BE49-F238E27FC236}">
                    <a16:creationId xmlns:a16="http://schemas.microsoft.com/office/drawing/2014/main" id="{5E3C6E1F-413C-B034-3A86-8CD2C4E54EB0}"/>
                  </a:ext>
                </a:extLst>
              </p:cNvPr>
              <p:cNvPicPr>
                <a:picLocks noChangeAspect="1"/>
              </p:cNvPicPr>
              <p:nvPr/>
            </p:nvPicPr>
            <p:blipFill>
              <a:blip r:embed="rId44" cstate="print">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1316551" y="1270000"/>
                <a:ext cx="889000" cy="889000"/>
              </a:xfrm>
              <a:prstGeom prst="rect">
                <a:avLst/>
              </a:prstGeom>
            </p:spPr>
          </p:pic>
        </p:grpSp>
      </p:grpSp>
      <p:grpSp>
        <p:nvGrpSpPr>
          <p:cNvPr id="77" name="Group 76">
            <a:extLst>
              <a:ext uri="{FF2B5EF4-FFF2-40B4-BE49-F238E27FC236}">
                <a16:creationId xmlns:a16="http://schemas.microsoft.com/office/drawing/2014/main" id="{B7F7589F-6079-85CF-C92C-61C05C763EA8}"/>
              </a:ext>
            </a:extLst>
          </p:cNvPr>
          <p:cNvGrpSpPr>
            <a:grpSpLocks noChangeAspect="1"/>
          </p:cNvGrpSpPr>
          <p:nvPr/>
        </p:nvGrpSpPr>
        <p:grpSpPr>
          <a:xfrm>
            <a:off x="5556337" y="3572851"/>
            <a:ext cx="792000" cy="633393"/>
            <a:chOff x="3804787" y="5526943"/>
            <a:chExt cx="834031" cy="667005"/>
          </a:xfrm>
        </p:grpSpPr>
        <p:sp>
          <p:nvSpPr>
            <p:cNvPr id="78" name="Rectangle 77">
              <a:extLst>
                <a:ext uri="{FF2B5EF4-FFF2-40B4-BE49-F238E27FC236}">
                  <a16:creationId xmlns:a16="http://schemas.microsoft.com/office/drawing/2014/main" id="{106F8D48-9FBB-9D7F-2A87-19D9C12D9805}"/>
                </a:ext>
              </a:extLst>
            </p:cNvPr>
            <p:cNvSpPr/>
            <p:nvPr/>
          </p:nvSpPr>
          <p:spPr bwMode="gray">
            <a:xfrm>
              <a:off x="3804787" y="5526943"/>
              <a:ext cx="834031" cy="667005"/>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t">
              <a:noAutofit/>
            </a:bodyPr>
            <a:lstStyle/>
            <a:p>
              <a:pPr algn="ctr">
                <a:lnSpc>
                  <a:spcPct val="95000"/>
                </a:lnSpc>
                <a:spcAft>
                  <a:spcPts val="200"/>
                </a:spcAft>
              </a:pPr>
              <a:r>
                <a:rPr lang="de-DE" sz="700">
                  <a:solidFill>
                    <a:schemeClr val="tx1"/>
                  </a:solidFill>
                </a:rPr>
                <a:t>Wärmenetz-eignungsgebiete</a:t>
              </a:r>
            </a:p>
          </p:txBody>
        </p:sp>
        <p:pic>
          <p:nvPicPr>
            <p:cNvPr id="79" name="Graphic 78">
              <a:extLst>
                <a:ext uri="{FF2B5EF4-FFF2-40B4-BE49-F238E27FC236}">
                  <a16:creationId xmlns:a16="http://schemas.microsoft.com/office/drawing/2014/main" id="{5FA4684F-429B-B858-A2C0-B67CB36BBF2F}"/>
                </a:ext>
              </a:extLst>
            </p:cNvPr>
            <p:cNvPicPr>
              <a:picLocks noChangeAspect="1"/>
            </p:cNvPicPr>
            <p:nvPr/>
          </p:nvPicPr>
          <p:blipFill>
            <a:blip r:embed="rId46" cstate="print">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4059797" y="5569922"/>
              <a:ext cx="324000" cy="324000"/>
            </a:xfrm>
            <a:prstGeom prst="rect">
              <a:avLst/>
            </a:prstGeom>
          </p:spPr>
        </p:pic>
      </p:grpSp>
      <p:sp>
        <p:nvSpPr>
          <p:cNvPr id="80" name="Rectangle 79">
            <a:extLst>
              <a:ext uri="{FF2B5EF4-FFF2-40B4-BE49-F238E27FC236}">
                <a16:creationId xmlns:a16="http://schemas.microsoft.com/office/drawing/2014/main" id="{83CC94E4-ECFD-AB79-F1C9-0FD5C42F2CBC}"/>
              </a:ext>
            </a:extLst>
          </p:cNvPr>
          <p:cNvSpPr/>
          <p:nvPr/>
        </p:nvSpPr>
        <p:spPr bwMode="gray">
          <a:xfrm>
            <a:off x="208026" y="2542866"/>
            <a:ext cx="6198236" cy="2101718"/>
          </a:xfrm>
          <a:prstGeom prst="rect">
            <a:avLst/>
          </a:prstGeom>
          <a:noFill/>
          <a:ln w="12700">
            <a:solidFill>
              <a:srgbClr val="85CEEF"/>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81" name="Isosceles Triangle 80">
            <a:extLst>
              <a:ext uri="{FF2B5EF4-FFF2-40B4-BE49-F238E27FC236}">
                <a16:creationId xmlns:a16="http://schemas.microsoft.com/office/drawing/2014/main" id="{9E4E89B1-6EEB-9C48-3899-8E9952104E3D}"/>
              </a:ext>
            </a:extLst>
          </p:cNvPr>
          <p:cNvSpPr/>
          <p:nvPr/>
        </p:nvSpPr>
        <p:spPr bwMode="gray">
          <a:xfrm rot="5400000">
            <a:off x="5556699" y="3487061"/>
            <a:ext cx="2074109" cy="240936"/>
          </a:xfrm>
          <a:prstGeom prst="triangle">
            <a:avLst/>
          </a:prstGeom>
          <a:solidFill>
            <a:schemeClr val="accent6">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8725" tIns="28725" rIns="28725" bIns="28725" rtlCol="0" anchor="ctr">
            <a:noAutofit/>
          </a:bodyPr>
          <a:lstStyle/>
          <a:p>
            <a:pPr algn="ctr"/>
            <a:endParaRPr lang="de-DE" sz="1117">
              <a:solidFill>
                <a:schemeClr val="tx1"/>
              </a:solidFill>
            </a:endParaRPr>
          </a:p>
        </p:txBody>
      </p:sp>
      <p:grpSp>
        <p:nvGrpSpPr>
          <p:cNvPr id="82" name="Group 81">
            <a:extLst>
              <a:ext uri="{FF2B5EF4-FFF2-40B4-BE49-F238E27FC236}">
                <a16:creationId xmlns:a16="http://schemas.microsoft.com/office/drawing/2014/main" id="{389E285A-A486-AC00-BBE9-617C9BD14625}"/>
              </a:ext>
            </a:extLst>
          </p:cNvPr>
          <p:cNvGrpSpPr/>
          <p:nvPr/>
        </p:nvGrpSpPr>
        <p:grpSpPr>
          <a:xfrm>
            <a:off x="6941310" y="2542866"/>
            <a:ext cx="2636943" cy="2180427"/>
            <a:chOff x="6941310" y="2542866"/>
            <a:chExt cx="2636943" cy="2180427"/>
          </a:xfrm>
        </p:grpSpPr>
        <p:pic>
          <p:nvPicPr>
            <p:cNvPr id="83" name="Picture 82">
              <a:extLst>
                <a:ext uri="{FF2B5EF4-FFF2-40B4-BE49-F238E27FC236}">
                  <a16:creationId xmlns:a16="http://schemas.microsoft.com/office/drawing/2014/main" id="{3CE7D92B-791B-72E6-4930-CD8062D9002A}"/>
                </a:ext>
              </a:extLst>
            </p:cNvPr>
            <p:cNvPicPr>
              <a:picLocks noChangeAspect="1"/>
            </p:cNvPicPr>
            <p:nvPr/>
          </p:nvPicPr>
          <p:blipFill rotWithShape="1">
            <a:blip r:embed="rId48" cstate="screen">
              <a:extLst>
                <a:ext uri="{28A0092B-C50C-407E-A947-70E740481C1C}">
                  <a14:useLocalDpi xmlns:a14="http://schemas.microsoft.com/office/drawing/2010/main"/>
                </a:ext>
              </a:extLst>
            </a:blip>
            <a:srcRect/>
            <a:stretch/>
          </p:blipFill>
          <p:spPr>
            <a:xfrm>
              <a:off x="6941310" y="3621697"/>
              <a:ext cx="1152000" cy="900129"/>
            </a:xfrm>
            <a:prstGeom prst="rect">
              <a:avLst/>
            </a:prstGeom>
            <a:ln/>
          </p:spPr>
        </p:pic>
        <p:pic>
          <p:nvPicPr>
            <p:cNvPr id="84" name="Picture 83">
              <a:extLst>
                <a:ext uri="{FF2B5EF4-FFF2-40B4-BE49-F238E27FC236}">
                  <a16:creationId xmlns:a16="http://schemas.microsoft.com/office/drawing/2014/main" id="{F03D1EC6-97B8-49D4-EA53-C2640E40E2AF}"/>
                </a:ext>
              </a:extLst>
            </p:cNvPr>
            <p:cNvPicPr>
              <a:picLocks noChangeAspect="1"/>
            </p:cNvPicPr>
            <p:nvPr/>
          </p:nvPicPr>
          <p:blipFill rotWithShape="1">
            <a:blip r:embed="rId49" cstate="screen">
              <a:extLst>
                <a:ext uri="{28A0092B-C50C-407E-A947-70E740481C1C}">
                  <a14:useLocalDpi xmlns:a14="http://schemas.microsoft.com/office/drawing/2010/main"/>
                </a:ext>
              </a:extLst>
            </a:blip>
            <a:srcRect/>
            <a:stretch/>
          </p:blipFill>
          <p:spPr>
            <a:xfrm>
              <a:off x="8426253" y="3621697"/>
              <a:ext cx="1152000" cy="900129"/>
            </a:xfrm>
            <a:prstGeom prst="rect">
              <a:avLst/>
            </a:prstGeom>
            <a:ln/>
          </p:spPr>
        </p:pic>
        <p:sp>
          <p:nvSpPr>
            <p:cNvPr id="85" name="TextBox 84">
              <a:extLst>
                <a:ext uri="{FF2B5EF4-FFF2-40B4-BE49-F238E27FC236}">
                  <a16:creationId xmlns:a16="http://schemas.microsoft.com/office/drawing/2014/main" id="{E2F052DD-978F-F017-0087-60FA65DF611E}"/>
                </a:ext>
              </a:extLst>
            </p:cNvPr>
            <p:cNvSpPr txBox="1"/>
            <p:nvPr/>
          </p:nvSpPr>
          <p:spPr>
            <a:xfrm>
              <a:off x="6952369" y="4521826"/>
              <a:ext cx="433577" cy="201467"/>
            </a:xfrm>
            <a:prstGeom prst="rect">
              <a:avLst/>
            </a:prstGeom>
            <a:noFill/>
          </p:spPr>
          <p:txBody>
            <a:bodyPr wrap="none" lIns="0" tIns="0" rIns="0" bIns="0" rtlCol="0" anchor="t">
              <a:noAutofit/>
            </a:bodyPr>
            <a:lstStyle/>
            <a:p>
              <a:r>
                <a:rPr lang="de-DE" sz="1200"/>
                <a:t>2025</a:t>
              </a:r>
            </a:p>
          </p:txBody>
        </p:sp>
        <p:sp>
          <p:nvSpPr>
            <p:cNvPr id="86" name="TextBox 85">
              <a:extLst>
                <a:ext uri="{FF2B5EF4-FFF2-40B4-BE49-F238E27FC236}">
                  <a16:creationId xmlns:a16="http://schemas.microsoft.com/office/drawing/2014/main" id="{608E7C07-B855-6963-0D4E-A84CC0C31FB7}"/>
                </a:ext>
              </a:extLst>
            </p:cNvPr>
            <p:cNvSpPr txBox="1"/>
            <p:nvPr/>
          </p:nvSpPr>
          <p:spPr>
            <a:xfrm>
              <a:off x="9137990" y="4514451"/>
              <a:ext cx="433577" cy="201467"/>
            </a:xfrm>
            <a:prstGeom prst="rect">
              <a:avLst/>
            </a:prstGeom>
            <a:noFill/>
          </p:spPr>
          <p:txBody>
            <a:bodyPr wrap="none" lIns="0" tIns="0" rIns="0" bIns="0" rtlCol="0" anchor="t">
              <a:noAutofit/>
            </a:bodyPr>
            <a:lstStyle/>
            <a:p>
              <a:pPr algn="r"/>
              <a:r>
                <a:rPr lang="de-DE" sz="1200"/>
                <a:t>2045</a:t>
              </a:r>
            </a:p>
          </p:txBody>
        </p:sp>
        <p:grpSp>
          <p:nvGrpSpPr>
            <p:cNvPr id="87" name="Group 86">
              <a:extLst>
                <a:ext uri="{FF2B5EF4-FFF2-40B4-BE49-F238E27FC236}">
                  <a16:creationId xmlns:a16="http://schemas.microsoft.com/office/drawing/2014/main" id="{9DBABAA5-4114-09CB-AD08-045ABF0829E1}"/>
                </a:ext>
              </a:extLst>
            </p:cNvPr>
            <p:cNvGrpSpPr/>
            <p:nvPr/>
          </p:nvGrpSpPr>
          <p:grpSpPr>
            <a:xfrm>
              <a:off x="7452758" y="2542866"/>
              <a:ext cx="1549495" cy="941528"/>
              <a:chOff x="7779601" y="2538328"/>
              <a:chExt cx="1549495" cy="941528"/>
            </a:xfrm>
          </p:grpSpPr>
          <p:pic>
            <p:nvPicPr>
              <p:cNvPr id="90" name="Picture 89" descr="A map of a city&#10;&#10;AI-generated content may be incorrect.">
                <a:extLst>
                  <a:ext uri="{FF2B5EF4-FFF2-40B4-BE49-F238E27FC236}">
                    <a16:creationId xmlns:a16="http://schemas.microsoft.com/office/drawing/2014/main" id="{8C864D0D-85D4-6E62-5938-425D83BD1FB6}"/>
                  </a:ext>
                </a:extLst>
              </p:cNvPr>
              <p:cNvPicPr>
                <a:picLocks noChangeAspect="1"/>
              </p:cNvPicPr>
              <p:nvPr/>
            </p:nvPicPr>
            <p:blipFill>
              <a:blip r:embed="rId50" cstate="screen">
                <a:extLst>
                  <a:ext uri="{28A0092B-C50C-407E-A947-70E740481C1C}">
                    <a14:useLocalDpi xmlns:a14="http://schemas.microsoft.com/office/drawing/2010/main"/>
                  </a:ext>
                </a:extLst>
              </a:blip>
              <a:srcRect/>
              <a:stretch/>
            </p:blipFill>
            <p:spPr>
              <a:xfrm>
                <a:off x="7779601" y="2538328"/>
                <a:ext cx="1548000" cy="941528"/>
              </a:xfrm>
              <a:prstGeom prst="rect">
                <a:avLst/>
              </a:prstGeom>
            </p:spPr>
          </p:pic>
          <p:sp>
            <p:nvSpPr>
              <p:cNvPr id="91" name="TextBox 90">
                <a:extLst>
                  <a:ext uri="{FF2B5EF4-FFF2-40B4-BE49-F238E27FC236}">
                    <a16:creationId xmlns:a16="http://schemas.microsoft.com/office/drawing/2014/main" id="{95F7448C-A3DD-BC79-5258-ABD0BA74A755}"/>
                  </a:ext>
                </a:extLst>
              </p:cNvPr>
              <p:cNvSpPr txBox="1"/>
              <p:nvPr/>
            </p:nvSpPr>
            <p:spPr>
              <a:xfrm>
                <a:off x="7779601" y="2538862"/>
                <a:ext cx="1549495" cy="180207"/>
              </a:xfrm>
              <a:prstGeom prst="rect">
                <a:avLst/>
              </a:prstGeom>
              <a:solidFill>
                <a:srgbClr val="FFFFFF">
                  <a:alpha val="74902"/>
                </a:srgbClr>
              </a:solidFill>
              <a:ln>
                <a:noFill/>
              </a:ln>
            </p:spPr>
            <p:txBody>
              <a:bodyPr wrap="square" lIns="36000" tIns="18000" rIns="36000" bIns="0" rtlCol="0" anchor="t">
                <a:normAutofit/>
              </a:bodyPr>
              <a:lstStyle/>
              <a:p>
                <a:pPr algn="ctr"/>
                <a:r>
                  <a:rPr lang="de-DE" sz="700">
                    <a:solidFill>
                      <a:schemeClr val="accent4">
                        <a:lumMod val="10000"/>
                      </a:schemeClr>
                    </a:solidFill>
                    <a:ea typeface="Roboto Slab" pitchFamily="2" charset="0"/>
                  </a:rPr>
                  <a:t>Eignung für Wärmenetzversorgung</a:t>
                </a:r>
                <a:endParaRPr lang="en-US" sz="700">
                  <a:solidFill>
                    <a:schemeClr val="accent4">
                      <a:lumMod val="10000"/>
                    </a:schemeClr>
                  </a:solidFill>
                  <a:ea typeface="Roboto Slab" pitchFamily="2" charset="0"/>
                </a:endParaRPr>
              </a:p>
            </p:txBody>
          </p:sp>
        </p:grpSp>
        <p:cxnSp>
          <p:nvCxnSpPr>
            <p:cNvPr id="88" name="Connector: Elbow 87">
              <a:extLst>
                <a:ext uri="{FF2B5EF4-FFF2-40B4-BE49-F238E27FC236}">
                  <a16:creationId xmlns:a16="http://schemas.microsoft.com/office/drawing/2014/main" id="{E9A5D55B-79C5-D5A2-9786-C5E6FC2BD948}"/>
                </a:ext>
              </a:extLst>
            </p:cNvPr>
            <p:cNvCxnSpPr/>
            <p:nvPr/>
          </p:nvCxnSpPr>
          <p:spPr>
            <a:xfrm rot="5400000" flipH="1" flipV="1">
              <a:off x="6967259" y="3162722"/>
              <a:ext cx="620584" cy="216789"/>
            </a:xfrm>
            <a:prstGeom prst="bentConnector3">
              <a:avLst>
                <a:gd name="adj1" fmla="val 10034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Connector: Elbow 88">
              <a:extLst>
                <a:ext uri="{FF2B5EF4-FFF2-40B4-BE49-F238E27FC236}">
                  <a16:creationId xmlns:a16="http://schemas.microsoft.com/office/drawing/2014/main" id="{EECEBE7E-7C3A-2DD3-CF50-29E36F9D772C}"/>
                </a:ext>
              </a:extLst>
            </p:cNvPr>
            <p:cNvCxnSpPr>
              <a:cxnSpLocks/>
            </p:cNvCxnSpPr>
            <p:nvPr/>
          </p:nvCxnSpPr>
          <p:spPr>
            <a:xfrm rot="16200000" flipH="1">
              <a:off x="8817883" y="3168896"/>
              <a:ext cx="612027" cy="195879"/>
            </a:xfrm>
            <a:prstGeom prst="bentConnector3">
              <a:avLst>
                <a:gd name="adj1" fmla="val -1047"/>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E1429DB4-BED3-A5C9-C4E1-9CA0C4149DE0}"/>
              </a:ext>
            </a:extLst>
          </p:cNvPr>
          <p:cNvGrpSpPr/>
          <p:nvPr/>
        </p:nvGrpSpPr>
        <p:grpSpPr>
          <a:xfrm>
            <a:off x="208564" y="4715918"/>
            <a:ext cx="9371934" cy="1306440"/>
            <a:chOff x="208564" y="4715918"/>
            <a:chExt cx="9371934" cy="1306440"/>
          </a:xfrm>
        </p:grpSpPr>
        <p:grpSp>
          <p:nvGrpSpPr>
            <p:cNvPr id="93" name="Group 92">
              <a:extLst>
                <a:ext uri="{FF2B5EF4-FFF2-40B4-BE49-F238E27FC236}">
                  <a16:creationId xmlns:a16="http://schemas.microsoft.com/office/drawing/2014/main" id="{69020EA0-906C-712C-DC37-4F2AD23ACA75}"/>
                </a:ext>
              </a:extLst>
            </p:cNvPr>
            <p:cNvGrpSpPr/>
            <p:nvPr/>
          </p:nvGrpSpPr>
          <p:grpSpPr>
            <a:xfrm>
              <a:off x="502106" y="4823348"/>
              <a:ext cx="1476000" cy="1132776"/>
              <a:chOff x="502106" y="4823348"/>
              <a:chExt cx="1476000" cy="1132776"/>
            </a:xfrm>
          </p:grpSpPr>
          <p:grpSp>
            <p:nvGrpSpPr>
              <p:cNvPr id="121" name="Group 120">
                <a:extLst>
                  <a:ext uri="{FF2B5EF4-FFF2-40B4-BE49-F238E27FC236}">
                    <a16:creationId xmlns:a16="http://schemas.microsoft.com/office/drawing/2014/main" id="{B0CFFDE9-6894-C2C1-60BA-61E03F1088F4}"/>
                  </a:ext>
                </a:extLst>
              </p:cNvPr>
              <p:cNvGrpSpPr>
                <a:grpSpLocks noChangeAspect="1"/>
              </p:cNvGrpSpPr>
              <p:nvPr>
                <p:custDataLst>
                  <p:tags r:id="rId8"/>
                </p:custDataLst>
              </p:nvPr>
            </p:nvGrpSpPr>
            <p:grpSpPr>
              <a:xfrm>
                <a:off x="1024106" y="4823348"/>
                <a:ext cx="432000" cy="460575"/>
                <a:chOff x="1270000" y="1211197"/>
                <a:chExt cx="889000" cy="947803"/>
              </a:xfrm>
            </p:grpSpPr>
            <p:sp>
              <p:nvSpPr>
                <p:cNvPr id="123" name="Rectangle 122" hidden="1">
                  <a:extLst>
                    <a:ext uri="{FF2B5EF4-FFF2-40B4-BE49-F238E27FC236}">
                      <a16:creationId xmlns:a16="http://schemas.microsoft.com/office/drawing/2014/main" id="{7DFCFDA2-B5BC-2751-8437-B126DE3E2F53}"/>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24" name="Graphic 123">
                  <a:extLst>
                    <a:ext uri="{FF2B5EF4-FFF2-40B4-BE49-F238E27FC236}">
                      <a16:creationId xmlns:a16="http://schemas.microsoft.com/office/drawing/2014/main" id="{9C06E738-38BB-6A6D-DE87-9D855CC18A27}"/>
                    </a:ext>
                  </a:extLst>
                </p:cNvPr>
                <p:cNvPicPr>
                  <a:picLocks noChangeAspect="1"/>
                </p:cNvPicPr>
                <p:nvPr/>
              </p:nvPicPr>
              <p:blipFill>
                <a:blip r:embed="rId51" cstate="print">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1270000" y="1211197"/>
                  <a:ext cx="889000" cy="888999"/>
                </a:xfrm>
                <a:prstGeom prst="rect">
                  <a:avLst/>
                </a:prstGeom>
              </p:spPr>
            </p:pic>
          </p:grpSp>
          <p:sp>
            <p:nvSpPr>
              <p:cNvPr id="122" name="Rectangle 121">
                <a:extLst>
                  <a:ext uri="{FF2B5EF4-FFF2-40B4-BE49-F238E27FC236}">
                    <a16:creationId xmlns:a16="http://schemas.microsoft.com/office/drawing/2014/main" id="{A11CF8CF-EC98-5FD7-49D0-E8AC3EA97A24}"/>
                  </a:ext>
                </a:extLst>
              </p:cNvPr>
              <p:cNvSpPr/>
              <p:nvPr/>
            </p:nvSpPr>
            <p:spPr bwMode="gray">
              <a:xfrm>
                <a:off x="502106" y="5306457"/>
                <a:ext cx="1476000" cy="649667"/>
              </a:xfrm>
              <a:prstGeom prst="rect">
                <a:avLst/>
              </a:prstGeom>
              <a:solidFill>
                <a:srgbClr val="FFFFFF">
                  <a:alpha val="4784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tabLst>
                    <a:tab pos="266700" algn="l"/>
                  </a:tabLst>
                </a:pPr>
                <a:r>
                  <a:rPr lang="de-DE" sz="1000" b="1">
                    <a:solidFill>
                      <a:srgbClr val="003C50"/>
                    </a:solidFill>
                    <a:latin typeface="Roboto" panose="02000000000000000000" pitchFamily="2" charset="0"/>
                    <a:sym typeface="Wingdings 3" panose="05040102010807070707" pitchFamily="18" charset="2"/>
                  </a:rPr>
                  <a:t>Gebäudezentrierte</a:t>
                </a:r>
                <a:r>
                  <a:rPr lang="de-DE" sz="1000">
                    <a:solidFill>
                      <a:srgbClr val="003C50"/>
                    </a:solidFill>
                    <a:latin typeface="Roboto" panose="02000000000000000000" pitchFamily="2" charset="0"/>
                    <a:sym typeface="Wingdings 3" panose="05040102010807070707" pitchFamily="18" charset="2"/>
                  </a:rPr>
                  <a:t> Datenerfassung und </a:t>
                </a:r>
                <a:r>
                  <a:rPr lang="de-DE" sz="1000" b="1">
                    <a:solidFill>
                      <a:srgbClr val="003C50"/>
                    </a:solidFill>
                    <a:latin typeface="Roboto" panose="02000000000000000000" pitchFamily="2" charset="0"/>
                    <a:sym typeface="Wingdings 3" panose="05040102010807070707" pitchFamily="18" charset="2"/>
                  </a:rPr>
                  <a:t>automatisierte Datenanreicherung</a:t>
                </a:r>
                <a:endParaRPr lang="de-DE" sz="1000" b="1">
                  <a:solidFill>
                    <a:srgbClr val="003C50"/>
                  </a:solidFill>
                  <a:latin typeface="Roboto" panose="02000000000000000000" pitchFamily="2" charset="0"/>
                </a:endParaRPr>
              </a:p>
            </p:txBody>
          </p:sp>
        </p:grpSp>
        <p:grpSp>
          <p:nvGrpSpPr>
            <p:cNvPr id="94" name="Group 93">
              <a:extLst>
                <a:ext uri="{FF2B5EF4-FFF2-40B4-BE49-F238E27FC236}">
                  <a16:creationId xmlns:a16="http://schemas.microsoft.com/office/drawing/2014/main" id="{AB48162A-45EE-28EC-1285-6DAC1BE55CCC}"/>
                </a:ext>
              </a:extLst>
            </p:cNvPr>
            <p:cNvGrpSpPr/>
            <p:nvPr/>
          </p:nvGrpSpPr>
          <p:grpSpPr>
            <a:xfrm>
              <a:off x="2009114" y="4851923"/>
              <a:ext cx="1476000" cy="1104201"/>
              <a:chOff x="2009114" y="4851923"/>
              <a:chExt cx="1476000" cy="1104201"/>
            </a:xfrm>
          </p:grpSpPr>
          <p:grpSp>
            <p:nvGrpSpPr>
              <p:cNvPr id="117" name="Group 116">
                <a:extLst>
                  <a:ext uri="{FF2B5EF4-FFF2-40B4-BE49-F238E27FC236}">
                    <a16:creationId xmlns:a16="http://schemas.microsoft.com/office/drawing/2014/main" id="{22B6DE06-4EE3-5626-EBE1-A5BBA6110C43}"/>
                  </a:ext>
                </a:extLst>
              </p:cNvPr>
              <p:cNvGrpSpPr>
                <a:grpSpLocks noChangeAspect="1"/>
              </p:cNvGrpSpPr>
              <p:nvPr>
                <p:custDataLst>
                  <p:tags r:id="rId7"/>
                </p:custDataLst>
              </p:nvPr>
            </p:nvGrpSpPr>
            <p:grpSpPr>
              <a:xfrm>
                <a:off x="2531114" y="4851923"/>
                <a:ext cx="432000" cy="432000"/>
                <a:chOff x="1270000" y="1270000"/>
                <a:chExt cx="889000" cy="889000"/>
              </a:xfrm>
            </p:grpSpPr>
            <p:sp>
              <p:nvSpPr>
                <p:cNvPr id="119" name="Rectangle 118" hidden="1">
                  <a:extLst>
                    <a:ext uri="{FF2B5EF4-FFF2-40B4-BE49-F238E27FC236}">
                      <a16:creationId xmlns:a16="http://schemas.microsoft.com/office/drawing/2014/main" id="{F81BD7F3-6913-0FC0-045D-BD444A80B5D0}"/>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20" name="Graphic 119">
                  <a:extLst>
                    <a:ext uri="{FF2B5EF4-FFF2-40B4-BE49-F238E27FC236}">
                      <a16:creationId xmlns:a16="http://schemas.microsoft.com/office/drawing/2014/main" id="{BDBABF5F-5A9B-5403-C39D-E311B961FE96}"/>
                    </a:ext>
                  </a:extLst>
                </p:cNvPr>
                <p:cNvPicPr>
                  <a:picLocks noChangeAspect="1"/>
                </p:cNvPicPr>
                <p:nvPr/>
              </p:nvPicPr>
              <p:blipFill>
                <a:blip r:embed="rId53" cstate="print">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1270000" y="1270000"/>
                  <a:ext cx="889000" cy="889000"/>
                </a:xfrm>
                <a:prstGeom prst="rect">
                  <a:avLst/>
                </a:prstGeom>
              </p:spPr>
            </p:pic>
          </p:grpSp>
          <p:sp>
            <p:nvSpPr>
              <p:cNvPr id="118" name="Rectangle 117">
                <a:extLst>
                  <a:ext uri="{FF2B5EF4-FFF2-40B4-BE49-F238E27FC236}">
                    <a16:creationId xmlns:a16="http://schemas.microsoft.com/office/drawing/2014/main" id="{D6720E16-E30D-7F58-0673-73EA03261A2A}"/>
                  </a:ext>
                </a:extLst>
              </p:cNvPr>
              <p:cNvSpPr/>
              <p:nvPr/>
            </p:nvSpPr>
            <p:spPr bwMode="gray">
              <a:xfrm>
                <a:off x="2009114" y="5306457"/>
                <a:ext cx="1476000" cy="649667"/>
              </a:xfrm>
              <a:prstGeom prst="rect">
                <a:avLst/>
              </a:prstGeom>
              <a:solidFill>
                <a:srgbClr val="FFFFFF">
                  <a:alpha val="4784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tabLst>
                    <a:tab pos="266700" algn="l"/>
                  </a:tabLst>
                </a:pPr>
                <a:r>
                  <a:rPr lang="de-DE" sz="1000">
                    <a:solidFill>
                      <a:srgbClr val="003C50"/>
                    </a:solidFill>
                    <a:latin typeface="Roboto" panose="02000000000000000000" pitchFamily="2" charset="0"/>
                    <a:sym typeface="Wingdings 3" panose="05040102010807070707" pitchFamily="18" charset="2"/>
                  </a:rPr>
                  <a:t>Räumliche und zeitliche </a:t>
                </a:r>
                <a:r>
                  <a:rPr lang="de-DE" sz="1000" b="1">
                    <a:solidFill>
                      <a:srgbClr val="003C50"/>
                    </a:solidFill>
                    <a:latin typeface="Roboto" panose="02000000000000000000" pitchFamily="2" charset="0"/>
                    <a:sym typeface="Wingdings 3" panose="05040102010807070707" pitchFamily="18" charset="2"/>
                  </a:rPr>
                  <a:t>Skalierbarkeit</a:t>
                </a:r>
                <a:r>
                  <a:rPr lang="de-DE" sz="1000">
                    <a:solidFill>
                      <a:srgbClr val="003C50"/>
                    </a:solidFill>
                    <a:latin typeface="Roboto" panose="02000000000000000000" pitchFamily="2" charset="0"/>
                    <a:sym typeface="Wingdings 3" panose="05040102010807070707" pitchFamily="18" charset="2"/>
                  </a:rPr>
                  <a:t> durch </a:t>
                </a:r>
                <a:r>
                  <a:rPr lang="de-DE" sz="1000" i="1">
                    <a:solidFill>
                      <a:srgbClr val="003C50"/>
                    </a:solidFill>
                    <a:latin typeface="Roboto" panose="02000000000000000000" pitchFamily="2" charset="0"/>
                    <a:sym typeface="Wingdings 3" panose="05040102010807070707" pitchFamily="18" charset="2"/>
                  </a:rPr>
                  <a:t>Bottom-Up</a:t>
                </a:r>
                <a:r>
                  <a:rPr lang="de-DE" sz="1000">
                    <a:solidFill>
                      <a:srgbClr val="003C50"/>
                    </a:solidFill>
                    <a:latin typeface="Roboto" panose="02000000000000000000" pitchFamily="2" charset="0"/>
                    <a:sym typeface="Wingdings 3" panose="05040102010807070707" pitchFamily="18" charset="2"/>
                  </a:rPr>
                  <a:t>-Ansatz</a:t>
                </a:r>
                <a:endParaRPr lang="de-DE" sz="1000" b="1">
                  <a:solidFill>
                    <a:srgbClr val="003C50"/>
                  </a:solidFill>
                  <a:latin typeface="Roboto" panose="02000000000000000000" pitchFamily="2" charset="0"/>
                </a:endParaRPr>
              </a:p>
            </p:txBody>
          </p:sp>
        </p:grpSp>
        <p:grpSp>
          <p:nvGrpSpPr>
            <p:cNvPr id="95" name="Group 94">
              <a:extLst>
                <a:ext uri="{FF2B5EF4-FFF2-40B4-BE49-F238E27FC236}">
                  <a16:creationId xmlns:a16="http://schemas.microsoft.com/office/drawing/2014/main" id="{CF90E1D6-8DF9-03CD-92D7-8C1AC90ABD97}"/>
                </a:ext>
              </a:extLst>
            </p:cNvPr>
            <p:cNvGrpSpPr/>
            <p:nvPr/>
          </p:nvGrpSpPr>
          <p:grpSpPr>
            <a:xfrm>
              <a:off x="6529774" y="4861448"/>
              <a:ext cx="1475636" cy="1094676"/>
              <a:chOff x="6529774" y="4861448"/>
              <a:chExt cx="1475636" cy="1094676"/>
            </a:xfrm>
          </p:grpSpPr>
          <p:grpSp>
            <p:nvGrpSpPr>
              <p:cNvPr id="113" name="Group 112">
                <a:extLst>
                  <a:ext uri="{FF2B5EF4-FFF2-40B4-BE49-F238E27FC236}">
                    <a16:creationId xmlns:a16="http://schemas.microsoft.com/office/drawing/2014/main" id="{B850736A-16F4-681A-4630-DAD80D2F3A14}"/>
                  </a:ext>
                </a:extLst>
              </p:cNvPr>
              <p:cNvGrpSpPr>
                <a:grpSpLocks noChangeAspect="1"/>
              </p:cNvGrpSpPr>
              <p:nvPr>
                <p:custDataLst>
                  <p:tags r:id="rId6"/>
                </p:custDataLst>
              </p:nvPr>
            </p:nvGrpSpPr>
            <p:grpSpPr>
              <a:xfrm>
                <a:off x="7051592" y="4861448"/>
                <a:ext cx="432000" cy="432000"/>
                <a:chOff x="1270000" y="1270000"/>
                <a:chExt cx="889000" cy="889000"/>
              </a:xfrm>
            </p:grpSpPr>
            <p:sp>
              <p:nvSpPr>
                <p:cNvPr id="115" name="Rectangle 114" hidden="1">
                  <a:extLst>
                    <a:ext uri="{FF2B5EF4-FFF2-40B4-BE49-F238E27FC236}">
                      <a16:creationId xmlns:a16="http://schemas.microsoft.com/office/drawing/2014/main" id="{10103602-CF69-68FF-44D0-AB5AC8C737E4}"/>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16" name="Graphic 115">
                  <a:extLst>
                    <a:ext uri="{FF2B5EF4-FFF2-40B4-BE49-F238E27FC236}">
                      <a16:creationId xmlns:a16="http://schemas.microsoft.com/office/drawing/2014/main" id="{1688CCD2-3C14-B6E5-B802-A986BB3C603F}"/>
                    </a:ext>
                  </a:extLst>
                </p:cNvPr>
                <p:cNvPicPr>
                  <a:picLocks noChangeAspect="1"/>
                </p:cNvPicPr>
                <p:nvPr/>
              </p:nvPicPr>
              <p:blipFill>
                <a:blip r:embed="rId55" cstate="print">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1270000" y="1270000"/>
                  <a:ext cx="889000" cy="889000"/>
                </a:xfrm>
                <a:prstGeom prst="rect">
                  <a:avLst/>
                </a:prstGeom>
              </p:spPr>
            </p:pic>
          </p:grpSp>
          <p:sp>
            <p:nvSpPr>
              <p:cNvPr id="114" name="Rectangle 113">
                <a:extLst>
                  <a:ext uri="{FF2B5EF4-FFF2-40B4-BE49-F238E27FC236}">
                    <a16:creationId xmlns:a16="http://schemas.microsoft.com/office/drawing/2014/main" id="{B6F6899F-3EB0-BCBD-FEA7-B93098221209}"/>
                  </a:ext>
                </a:extLst>
              </p:cNvPr>
              <p:cNvSpPr/>
              <p:nvPr/>
            </p:nvSpPr>
            <p:spPr bwMode="gray">
              <a:xfrm>
                <a:off x="6529774" y="5306457"/>
                <a:ext cx="1475636" cy="649667"/>
              </a:xfrm>
              <a:prstGeom prst="rect">
                <a:avLst/>
              </a:prstGeom>
              <a:solidFill>
                <a:srgbClr val="FFFFFF">
                  <a:alpha val="4784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tabLst>
                    <a:tab pos="266700" algn="l"/>
                  </a:tabLst>
                </a:pPr>
                <a:r>
                  <a:rPr lang="de-DE" sz="1000" b="1">
                    <a:solidFill>
                      <a:srgbClr val="003C50"/>
                    </a:solidFill>
                    <a:latin typeface="Roboto" panose="02000000000000000000" pitchFamily="2" charset="0"/>
                    <a:sym typeface="Wingdings 3" panose="05040102010807070707" pitchFamily="18" charset="2"/>
                  </a:rPr>
                  <a:t>Intuitive Navigation </a:t>
                </a:r>
                <a:r>
                  <a:rPr lang="de-DE" sz="1000">
                    <a:solidFill>
                      <a:srgbClr val="003C50"/>
                    </a:solidFill>
                    <a:latin typeface="Roboto" panose="02000000000000000000" pitchFamily="2" charset="0"/>
                    <a:sym typeface="Wingdings 3" panose="05040102010807070707" pitchFamily="18" charset="2"/>
                  </a:rPr>
                  <a:t>und automatisierte </a:t>
                </a:r>
                <a:r>
                  <a:rPr lang="de-DE" sz="1000" b="1">
                    <a:solidFill>
                      <a:srgbClr val="003C50"/>
                    </a:solidFill>
                    <a:latin typeface="Roboto" panose="02000000000000000000" pitchFamily="2" charset="0"/>
                    <a:sym typeface="Wingdings 3" panose="05040102010807070707" pitchFamily="18" charset="2"/>
                  </a:rPr>
                  <a:t>Visualisierung</a:t>
                </a:r>
                <a:r>
                  <a:rPr lang="de-DE" sz="1000">
                    <a:solidFill>
                      <a:srgbClr val="003C50"/>
                    </a:solidFill>
                    <a:latin typeface="Roboto" panose="02000000000000000000" pitchFamily="2" charset="0"/>
                    <a:sym typeface="Wingdings 3" panose="05040102010807070707" pitchFamily="18" charset="2"/>
                  </a:rPr>
                  <a:t> </a:t>
                </a:r>
                <a:endParaRPr lang="de-DE" sz="1000" b="1">
                  <a:solidFill>
                    <a:srgbClr val="003C50"/>
                  </a:solidFill>
                  <a:latin typeface="Roboto" panose="02000000000000000000" pitchFamily="2" charset="0"/>
                </a:endParaRPr>
              </a:p>
            </p:txBody>
          </p:sp>
        </p:grpSp>
        <p:grpSp>
          <p:nvGrpSpPr>
            <p:cNvPr id="96" name="Group 95">
              <a:extLst>
                <a:ext uri="{FF2B5EF4-FFF2-40B4-BE49-F238E27FC236}">
                  <a16:creationId xmlns:a16="http://schemas.microsoft.com/office/drawing/2014/main" id="{99884D90-A6CC-B5BD-B04A-7E4236D9F4EA}"/>
                </a:ext>
              </a:extLst>
            </p:cNvPr>
            <p:cNvGrpSpPr/>
            <p:nvPr/>
          </p:nvGrpSpPr>
          <p:grpSpPr>
            <a:xfrm>
              <a:off x="5022766" y="4886539"/>
              <a:ext cx="1476000" cy="1069585"/>
              <a:chOff x="5022766" y="4886539"/>
              <a:chExt cx="1476000" cy="1069585"/>
            </a:xfrm>
          </p:grpSpPr>
          <p:grpSp>
            <p:nvGrpSpPr>
              <p:cNvPr id="109" name="Group 108">
                <a:extLst>
                  <a:ext uri="{FF2B5EF4-FFF2-40B4-BE49-F238E27FC236}">
                    <a16:creationId xmlns:a16="http://schemas.microsoft.com/office/drawing/2014/main" id="{9FA87B9A-C078-7A5E-1658-B53ADC412774}"/>
                  </a:ext>
                </a:extLst>
              </p:cNvPr>
              <p:cNvGrpSpPr>
                <a:grpSpLocks noChangeAspect="1"/>
              </p:cNvGrpSpPr>
              <p:nvPr>
                <p:custDataLst>
                  <p:tags r:id="rId5"/>
                </p:custDataLst>
              </p:nvPr>
            </p:nvGrpSpPr>
            <p:grpSpPr>
              <a:xfrm>
                <a:off x="5544766" y="4886539"/>
                <a:ext cx="432000" cy="432000"/>
                <a:chOff x="1270000" y="1270000"/>
                <a:chExt cx="889000" cy="889000"/>
              </a:xfrm>
            </p:grpSpPr>
            <p:sp>
              <p:nvSpPr>
                <p:cNvPr id="111" name="Rectangle 110" hidden="1">
                  <a:extLst>
                    <a:ext uri="{FF2B5EF4-FFF2-40B4-BE49-F238E27FC236}">
                      <a16:creationId xmlns:a16="http://schemas.microsoft.com/office/drawing/2014/main" id="{D6659E81-AE00-3409-F4DE-8155BBBEBC59}"/>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12" name="Graphic 111">
                  <a:extLst>
                    <a:ext uri="{FF2B5EF4-FFF2-40B4-BE49-F238E27FC236}">
                      <a16:creationId xmlns:a16="http://schemas.microsoft.com/office/drawing/2014/main" id="{5EB5C83E-A9BE-DAC1-0B63-5343E7B733EF}"/>
                    </a:ext>
                  </a:extLst>
                </p:cNvPr>
                <p:cNvPicPr>
                  <a:picLocks noChangeAspect="1"/>
                </p:cNvPicPr>
                <p:nvPr/>
              </p:nvPicPr>
              <p:blipFill>
                <a:blip r:embed="rId57" cstate="print">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1270000" y="1270000"/>
                  <a:ext cx="889000" cy="889000"/>
                </a:xfrm>
                <a:prstGeom prst="rect">
                  <a:avLst/>
                </a:prstGeom>
              </p:spPr>
            </p:pic>
          </p:grpSp>
          <p:sp>
            <p:nvSpPr>
              <p:cNvPr id="110" name="Rectangle 109">
                <a:extLst>
                  <a:ext uri="{FF2B5EF4-FFF2-40B4-BE49-F238E27FC236}">
                    <a16:creationId xmlns:a16="http://schemas.microsoft.com/office/drawing/2014/main" id="{4EE24E4D-8E9B-3B1F-62EA-7E4052834F31}"/>
                  </a:ext>
                </a:extLst>
              </p:cNvPr>
              <p:cNvSpPr/>
              <p:nvPr/>
            </p:nvSpPr>
            <p:spPr bwMode="gray">
              <a:xfrm>
                <a:off x="5022766" y="5306457"/>
                <a:ext cx="1476000" cy="649667"/>
              </a:xfrm>
              <a:prstGeom prst="rect">
                <a:avLst/>
              </a:prstGeom>
              <a:solidFill>
                <a:srgbClr val="FFFFFF">
                  <a:alpha val="4784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tabLst>
                    <a:tab pos="266700" algn="l"/>
                  </a:tabLst>
                </a:pPr>
                <a:r>
                  <a:rPr lang="de-DE" sz="1000" b="1">
                    <a:solidFill>
                      <a:srgbClr val="003C50"/>
                    </a:solidFill>
                    <a:latin typeface="Roboto" panose="02000000000000000000" pitchFamily="2" charset="0"/>
                    <a:sym typeface="Wingdings 3" panose="05040102010807070707" pitchFamily="18" charset="2"/>
                  </a:rPr>
                  <a:t>Iterativer Planungsprozess </a:t>
                </a:r>
                <a:r>
                  <a:rPr lang="de-DE" sz="1000">
                    <a:solidFill>
                      <a:srgbClr val="003C50"/>
                    </a:solidFill>
                    <a:latin typeface="Roboto" panose="02000000000000000000" pitchFamily="2" charset="0"/>
                    <a:sym typeface="Wingdings 3" panose="05040102010807070707" pitchFamily="18" charset="2"/>
                  </a:rPr>
                  <a:t>inklusive Feedback-Schleifen</a:t>
                </a:r>
                <a:r>
                  <a:rPr lang="de-DE" sz="1000" b="1">
                    <a:solidFill>
                      <a:srgbClr val="003C50"/>
                    </a:solidFill>
                    <a:latin typeface="Roboto" panose="02000000000000000000" pitchFamily="2" charset="0"/>
                    <a:sym typeface="Wingdings 3" panose="05040102010807070707" pitchFamily="18" charset="2"/>
                  </a:rPr>
                  <a:t> </a:t>
                </a:r>
                <a:endParaRPr lang="de-DE" sz="1000" b="1">
                  <a:solidFill>
                    <a:srgbClr val="003C50"/>
                  </a:solidFill>
                  <a:latin typeface="Roboto" panose="02000000000000000000" pitchFamily="2" charset="0"/>
                </a:endParaRPr>
              </a:p>
            </p:txBody>
          </p:sp>
        </p:grpSp>
        <p:sp>
          <p:nvSpPr>
            <p:cNvPr id="97" name="Rectangle 96">
              <a:extLst>
                <a:ext uri="{FF2B5EF4-FFF2-40B4-BE49-F238E27FC236}">
                  <a16:creationId xmlns:a16="http://schemas.microsoft.com/office/drawing/2014/main" id="{1236D922-619F-DBAB-27F0-337AD897BC50}"/>
                </a:ext>
              </a:extLst>
            </p:cNvPr>
            <p:cNvSpPr/>
            <p:nvPr/>
          </p:nvSpPr>
          <p:spPr bwMode="gray">
            <a:xfrm rot="16200000">
              <a:off x="-246910" y="5171392"/>
              <a:ext cx="1306440" cy="39549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200"/>
                </a:spcAft>
              </a:pPr>
              <a:r>
                <a:rPr lang="de-DE" sz="1000" b="1">
                  <a:solidFill>
                    <a:schemeClr val="tx1"/>
                  </a:solidFill>
                </a:rPr>
                <a:t>Methodische Merkmale</a:t>
              </a:r>
              <a:endParaRPr lang="de-DE" sz="800" b="1">
                <a:solidFill>
                  <a:schemeClr val="tx1"/>
                </a:solidFill>
              </a:endParaRPr>
            </a:p>
          </p:txBody>
        </p:sp>
        <p:sp>
          <p:nvSpPr>
            <p:cNvPr id="98" name="Rectangle 97">
              <a:extLst>
                <a:ext uri="{FF2B5EF4-FFF2-40B4-BE49-F238E27FC236}">
                  <a16:creationId xmlns:a16="http://schemas.microsoft.com/office/drawing/2014/main" id="{C97A9A8F-0EDD-18AF-CA49-EF473121A45D}"/>
                </a:ext>
              </a:extLst>
            </p:cNvPr>
            <p:cNvSpPr/>
            <p:nvPr/>
          </p:nvSpPr>
          <p:spPr bwMode="gray">
            <a:xfrm>
              <a:off x="214304" y="4715918"/>
              <a:ext cx="9366194" cy="130644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endParaRPr lang="de-DE" sz="1100">
                <a:solidFill>
                  <a:schemeClr val="tx1"/>
                </a:solidFill>
              </a:endParaRPr>
            </a:p>
          </p:txBody>
        </p:sp>
        <p:grpSp>
          <p:nvGrpSpPr>
            <p:cNvPr id="99" name="Group 98">
              <a:extLst>
                <a:ext uri="{FF2B5EF4-FFF2-40B4-BE49-F238E27FC236}">
                  <a16:creationId xmlns:a16="http://schemas.microsoft.com/office/drawing/2014/main" id="{D2781831-4205-7BD8-1997-50806F541795}"/>
                </a:ext>
              </a:extLst>
            </p:cNvPr>
            <p:cNvGrpSpPr/>
            <p:nvPr/>
          </p:nvGrpSpPr>
          <p:grpSpPr>
            <a:xfrm>
              <a:off x="8036420" y="4851923"/>
              <a:ext cx="1475636" cy="1104201"/>
              <a:chOff x="8036420" y="4851923"/>
              <a:chExt cx="1475636" cy="1104201"/>
            </a:xfrm>
          </p:grpSpPr>
          <p:grpSp>
            <p:nvGrpSpPr>
              <p:cNvPr id="105" name="Group 104">
                <a:extLst>
                  <a:ext uri="{FF2B5EF4-FFF2-40B4-BE49-F238E27FC236}">
                    <a16:creationId xmlns:a16="http://schemas.microsoft.com/office/drawing/2014/main" id="{D69EBD34-5ECC-BF9F-7606-A10ED0E00F84}"/>
                  </a:ext>
                </a:extLst>
              </p:cNvPr>
              <p:cNvGrpSpPr>
                <a:grpSpLocks noChangeAspect="1"/>
              </p:cNvGrpSpPr>
              <p:nvPr>
                <p:custDataLst>
                  <p:tags r:id="rId4"/>
                </p:custDataLst>
              </p:nvPr>
            </p:nvGrpSpPr>
            <p:grpSpPr>
              <a:xfrm>
                <a:off x="8558238" y="4851923"/>
                <a:ext cx="432000" cy="432000"/>
                <a:chOff x="1270000" y="1270000"/>
                <a:chExt cx="889000" cy="889000"/>
              </a:xfrm>
            </p:grpSpPr>
            <p:sp>
              <p:nvSpPr>
                <p:cNvPr id="107" name="Rectangle 106" hidden="1">
                  <a:extLst>
                    <a:ext uri="{FF2B5EF4-FFF2-40B4-BE49-F238E27FC236}">
                      <a16:creationId xmlns:a16="http://schemas.microsoft.com/office/drawing/2014/main" id="{9C2B1381-F90A-EEC2-A181-B2FF3CFBC8E1}"/>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08" name="Graphic 107">
                  <a:extLst>
                    <a:ext uri="{FF2B5EF4-FFF2-40B4-BE49-F238E27FC236}">
                      <a16:creationId xmlns:a16="http://schemas.microsoft.com/office/drawing/2014/main" id="{42CA1716-29DB-9D44-F391-8EC862549873}"/>
                    </a:ext>
                  </a:extLst>
                </p:cNvPr>
                <p:cNvPicPr>
                  <a:picLocks noChangeAspect="1"/>
                </p:cNvPicPr>
                <p:nvPr/>
              </p:nvPicPr>
              <p:blipFill>
                <a:blip r:embed="rId59" cstate="print">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1270000" y="1270000"/>
                  <a:ext cx="889000" cy="889000"/>
                </a:xfrm>
                <a:prstGeom prst="rect">
                  <a:avLst/>
                </a:prstGeom>
              </p:spPr>
            </p:pic>
          </p:grpSp>
          <p:sp>
            <p:nvSpPr>
              <p:cNvPr id="106" name="Rectangle 105">
                <a:extLst>
                  <a:ext uri="{FF2B5EF4-FFF2-40B4-BE49-F238E27FC236}">
                    <a16:creationId xmlns:a16="http://schemas.microsoft.com/office/drawing/2014/main" id="{81755E41-3252-E083-5189-E189412C1C87}"/>
                  </a:ext>
                </a:extLst>
              </p:cNvPr>
              <p:cNvSpPr/>
              <p:nvPr/>
            </p:nvSpPr>
            <p:spPr bwMode="gray">
              <a:xfrm>
                <a:off x="8036420" y="5306457"/>
                <a:ext cx="1475636" cy="649667"/>
              </a:xfrm>
              <a:prstGeom prst="rect">
                <a:avLst/>
              </a:prstGeom>
              <a:solidFill>
                <a:srgbClr val="FFFFFF">
                  <a:alpha val="4784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lnSpc>
                    <a:spcPct val="95000"/>
                  </a:lnSpc>
                  <a:tabLst>
                    <a:tab pos="266700" algn="l"/>
                  </a:tabLst>
                </a:pPr>
                <a:r>
                  <a:rPr lang="de-DE" sz="1000" b="1">
                    <a:solidFill>
                      <a:srgbClr val="003C50"/>
                    </a:solidFill>
                    <a:latin typeface="Roboto" panose="02000000000000000000" pitchFamily="2" charset="0"/>
                    <a:sym typeface="Wingdings 3" panose="05040102010807070707" pitchFamily="18" charset="2"/>
                  </a:rPr>
                  <a:t>Gemeinsame Erarbeitung </a:t>
                </a:r>
                <a:r>
                  <a:rPr lang="de-DE" sz="1000">
                    <a:solidFill>
                      <a:srgbClr val="003C50"/>
                    </a:solidFill>
                    <a:latin typeface="Roboto" panose="02000000000000000000" pitchFamily="2" charset="0"/>
                    <a:sym typeface="Wingdings 3" panose="05040102010807070707" pitchFamily="18" charset="2"/>
                  </a:rPr>
                  <a:t>von Szenarien und Maßnahmenpaketen</a:t>
                </a:r>
              </a:p>
            </p:txBody>
          </p:sp>
        </p:grpSp>
        <p:grpSp>
          <p:nvGrpSpPr>
            <p:cNvPr id="100" name="Group 99">
              <a:extLst>
                <a:ext uri="{FF2B5EF4-FFF2-40B4-BE49-F238E27FC236}">
                  <a16:creationId xmlns:a16="http://schemas.microsoft.com/office/drawing/2014/main" id="{DCB18BC5-EB78-B2D0-BAAA-944A46361236}"/>
                </a:ext>
              </a:extLst>
            </p:cNvPr>
            <p:cNvGrpSpPr/>
            <p:nvPr/>
          </p:nvGrpSpPr>
          <p:grpSpPr>
            <a:xfrm>
              <a:off x="3516122" y="4858769"/>
              <a:ext cx="1475636" cy="1097355"/>
              <a:chOff x="3516122" y="4858769"/>
              <a:chExt cx="1475636" cy="1097355"/>
            </a:xfrm>
          </p:grpSpPr>
          <p:sp>
            <p:nvSpPr>
              <p:cNvPr id="101" name="Rectangle 100">
                <a:extLst>
                  <a:ext uri="{FF2B5EF4-FFF2-40B4-BE49-F238E27FC236}">
                    <a16:creationId xmlns:a16="http://schemas.microsoft.com/office/drawing/2014/main" id="{FF6B823B-79AE-6BD3-F951-4FDD29CB7362}"/>
                  </a:ext>
                </a:extLst>
              </p:cNvPr>
              <p:cNvSpPr/>
              <p:nvPr/>
            </p:nvSpPr>
            <p:spPr bwMode="gray">
              <a:xfrm>
                <a:off x="3516122" y="5306457"/>
                <a:ext cx="1475636" cy="649667"/>
              </a:xfrm>
              <a:prstGeom prst="rect">
                <a:avLst/>
              </a:prstGeom>
              <a:solidFill>
                <a:srgbClr val="FFFFFF">
                  <a:alpha val="4784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lnSpc>
                    <a:spcPct val="95000"/>
                  </a:lnSpc>
                  <a:tabLst>
                    <a:tab pos="266700" algn="l"/>
                  </a:tabLst>
                </a:pPr>
                <a:r>
                  <a:rPr lang="de-DE" sz="1000" b="1">
                    <a:solidFill>
                      <a:srgbClr val="003C50"/>
                    </a:solidFill>
                    <a:latin typeface="Roboto" panose="02000000000000000000" pitchFamily="2" charset="0"/>
                    <a:sym typeface="Wingdings 3" panose="05040102010807070707" pitchFamily="18" charset="2"/>
                  </a:rPr>
                  <a:t>Datenschutz-Konformität </a:t>
                </a:r>
                <a:r>
                  <a:rPr lang="de-DE" sz="1000">
                    <a:solidFill>
                      <a:srgbClr val="003C50"/>
                    </a:solidFill>
                    <a:latin typeface="Roboto" panose="02000000000000000000" pitchFamily="2" charset="0"/>
                    <a:sym typeface="Wingdings 3" panose="05040102010807070707" pitchFamily="18" charset="2"/>
                  </a:rPr>
                  <a:t>durch Anonymisierungs-Routinen </a:t>
                </a:r>
              </a:p>
            </p:txBody>
          </p:sp>
          <p:grpSp>
            <p:nvGrpSpPr>
              <p:cNvPr id="102" name="Group 101">
                <a:extLst>
                  <a:ext uri="{FF2B5EF4-FFF2-40B4-BE49-F238E27FC236}">
                    <a16:creationId xmlns:a16="http://schemas.microsoft.com/office/drawing/2014/main" id="{771692E9-3C68-FD19-BFF9-64DBE4408D66}"/>
                  </a:ext>
                </a:extLst>
              </p:cNvPr>
              <p:cNvGrpSpPr>
                <a:grpSpLocks noChangeAspect="1"/>
              </p:cNvGrpSpPr>
              <p:nvPr>
                <p:custDataLst>
                  <p:tags r:id="rId3"/>
                </p:custDataLst>
              </p:nvPr>
            </p:nvGrpSpPr>
            <p:grpSpPr>
              <a:xfrm>
                <a:off x="4037940" y="4858769"/>
                <a:ext cx="432000" cy="432000"/>
                <a:chOff x="1270000" y="1270000"/>
                <a:chExt cx="889000" cy="889000"/>
              </a:xfrm>
            </p:grpSpPr>
            <p:sp>
              <p:nvSpPr>
                <p:cNvPr id="103" name="Rectangle 102" hidden="1">
                  <a:extLst>
                    <a:ext uri="{FF2B5EF4-FFF2-40B4-BE49-F238E27FC236}">
                      <a16:creationId xmlns:a16="http://schemas.microsoft.com/office/drawing/2014/main" id="{3EF798F8-E925-5BCB-6758-88A22E7B0BC0}"/>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04" name="Graphic 103">
                  <a:extLst>
                    <a:ext uri="{FF2B5EF4-FFF2-40B4-BE49-F238E27FC236}">
                      <a16:creationId xmlns:a16="http://schemas.microsoft.com/office/drawing/2014/main" id="{9102D0D0-B8B2-6828-65E5-2D0DF921FE9A}"/>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1270000" y="1270000"/>
                  <a:ext cx="889000" cy="889000"/>
                </a:xfrm>
                <a:prstGeom prst="rect">
                  <a:avLst/>
                </a:prstGeom>
              </p:spPr>
            </p:pic>
          </p:grpSp>
        </p:grpSp>
      </p:grpSp>
      <p:sp>
        <p:nvSpPr>
          <p:cNvPr id="125" name="Rectangle 124">
            <a:extLst>
              <a:ext uri="{FF2B5EF4-FFF2-40B4-BE49-F238E27FC236}">
                <a16:creationId xmlns:a16="http://schemas.microsoft.com/office/drawing/2014/main" id="{AD70C90D-1ED7-5E7A-CC07-60C47E0ECB3B}"/>
              </a:ext>
            </a:extLst>
          </p:cNvPr>
          <p:cNvSpPr/>
          <p:nvPr/>
        </p:nvSpPr>
        <p:spPr bwMode="gray">
          <a:xfrm>
            <a:off x="149199" y="4672193"/>
            <a:ext cx="9492201" cy="1365007"/>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3" name="Rectangle 2">
            <a:extLst>
              <a:ext uri="{FF2B5EF4-FFF2-40B4-BE49-F238E27FC236}">
                <a16:creationId xmlns:a16="http://schemas.microsoft.com/office/drawing/2014/main" id="{CECDE52F-2F19-1B61-5D9F-D11932ACF364}"/>
              </a:ext>
            </a:extLst>
          </p:cNvPr>
          <p:cNvSpPr/>
          <p:nvPr/>
        </p:nvSpPr>
        <p:spPr bwMode="gray">
          <a:xfrm>
            <a:off x="116145" y="979091"/>
            <a:ext cx="6357140" cy="1522468"/>
          </a:xfrm>
          <a:prstGeom prst="rect">
            <a:avLst/>
          </a:prstGeom>
          <a:solidFill>
            <a:srgbClr val="FFFFFF">
              <a:alpha val="6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Tree>
    <p:extLst>
      <p:ext uri="{BB962C8B-B14F-4D97-AF65-F5344CB8AC3E}">
        <p14:creationId xmlns:p14="http://schemas.microsoft.com/office/powerpoint/2010/main" val="15879778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FCE3F4-BDEA-44DF-DC96-FE49767DB938}"/>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C8D40BC-8F34-521B-EE3A-72873320AAB6}"/>
              </a:ext>
            </a:extLst>
          </p:cNvPr>
          <p:cNvSpPr>
            <a:spLocks noGrp="1"/>
          </p:cNvSpPr>
          <p:nvPr>
            <p:ph type="sldNum" sz="quarter" idx="11"/>
          </p:nvPr>
        </p:nvSpPr>
        <p:spPr/>
        <p:txBody>
          <a:bodyPr/>
          <a:lstStyle/>
          <a:p>
            <a:endParaRPr lang="de-DE"/>
          </a:p>
          <a:p>
            <a:fld id="{24C420F5-194C-40F2-A080-C5F3EDD89037}" type="slidenum">
              <a:rPr lang="de-DE" smtClean="0"/>
              <a:pPr/>
              <a:t>24</a:t>
            </a:fld>
            <a:endParaRPr lang="de-DE"/>
          </a:p>
        </p:txBody>
      </p:sp>
      <p:sp>
        <p:nvSpPr>
          <p:cNvPr id="127" name="Title 2">
            <a:extLst>
              <a:ext uri="{FF2B5EF4-FFF2-40B4-BE49-F238E27FC236}">
                <a16:creationId xmlns:a16="http://schemas.microsoft.com/office/drawing/2014/main" id="{AEB4827B-1945-0870-415A-686F31CB19D0}"/>
              </a:ext>
            </a:extLst>
          </p:cNvPr>
          <p:cNvSpPr>
            <a:spLocks noGrp="1"/>
          </p:cNvSpPr>
          <p:nvPr>
            <p:ph type="title"/>
          </p:nvPr>
        </p:nvSpPr>
        <p:spPr/>
        <p:txBody>
          <a:bodyPr/>
          <a:lstStyle/>
          <a:p>
            <a:r>
              <a:rPr lang="de-DE"/>
              <a:t>Der Digitale Zwilling dient als zentrales Planungselement für die Bestands- und Potenzialanalyse sowie die Definition eines Zielszenarios</a:t>
            </a:r>
          </a:p>
        </p:txBody>
      </p:sp>
      <p:sp>
        <p:nvSpPr>
          <p:cNvPr id="4" name="Footer Placeholder 3">
            <a:extLst>
              <a:ext uri="{FF2B5EF4-FFF2-40B4-BE49-F238E27FC236}">
                <a16:creationId xmlns:a16="http://schemas.microsoft.com/office/drawing/2014/main" id="{801B074F-9CF2-8706-D3E7-0A8C793434B0}"/>
              </a:ext>
            </a:extLst>
          </p:cNvPr>
          <p:cNvSpPr>
            <a:spLocks noGrp="1"/>
          </p:cNvSpPr>
          <p:nvPr>
            <p:ph type="ftr" sz="quarter" idx="12"/>
          </p:nvPr>
        </p:nvSpPr>
        <p:spPr/>
        <p:txBody>
          <a:bodyPr/>
          <a:lstStyle/>
          <a:p>
            <a:r>
              <a:rPr lang="de-DE"/>
              <a:t>© 2026</a:t>
            </a:r>
          </a:p>
          <a:p>
            <a:r>
              <a:rPr lang="de-DE"/>
              <a:t>d-fine</a:t>
            </a:r>
          </a:p>
        </p:txBody>
      </p:sp>
      <p:sp>
        <p:nvSpPr>
          <p:cNvPr id="2" name="Text Placeholder 1">
            <a:extLst>
              <a:ext uri="{FF2B5EF4-FFF2-40B4-BE49-F238E27FC236}">
                <a16:creationId xmlns:a16="http://schemas.microsoft.com/office/drawing/2014/main" id="{BF56F40A-5CC1-8BD0-44B9-065FC80B4F2B}"/>
              </a:ext>
            </a:extLst>
          </p:cNvPr>
          <p:cNvSpPr>
            <a:spLocks noGrp="1"/>
          </p:cNvSpPr>
          <p:nvPr>
            <p:ph type="body" sz="quarter" idx="13"/>
          </p:nvPr>
        </p:nvSpPr>
        <p:spPr>
          <a:xfrm>
            <a:off x="207963" y="1066800"/>
            <a:ext cx="9366250" cy="3383692"/>
          </a:xfrm>
        </p:spPr>
        <p:txBody>
          <a:bodyPr/>
          <a:lstStyle/>
          <a:p>
            <a:endParaRPr lang="de-DE" dirty="0"/>
          </a:p>
        </p:txBody>
      </p:sp>
      <p:sp>
        <p:nvSpPr>
          <p:cNvPr id="6" name="Rectangle 5">
            <a:extLst>
              <a:ext uri="{FF2B5EF4-FFF2-40B4-BE49-F238E27FC236}">
                <a16:creationId xmlns:a16="http://schemas.microsoft.com/office/drawing/2014/main" id="{B1F3A1BF-B1B0-99AA-402A-45B366498072}"/>
              </a:ext>
            </a:extLst>
          </p:cNvPr>
          <p:cNvSpPr/>
          <p:nvPr/>
        </p:nvSpPr>
        <p:spPr bwMode="gray">
          <a:xfrm>
            <a:off x="278844" y="1066800"/>
            <a:ext cx="2363554" cy="432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rPr>
              <a:t>Bestandsanalyse</a:t>
            </a:r>
          </a:p>
        </p:txBody>
      </p:sp>
      <p:sp>
        <p:nvSpPr>
          <p:cNvPr id="7" name="Rectangle 6">
            <a:extLst>
              <a:ext uri="{FF2B5EF4-FFF2-40B4-BE49-F238E27FC236}">
                <a16:creationId xmlns:a16="http://schemas.microsoft.com/office/drawing/2014/main" id="{BC9E5551-25BC-7550-39C1-9FF7BBD32CDC}"/>
              </a:ext>
            </a:extLst>
          </p:cNvPr>
          <p:cNvSpPr/>
          <p:nvPr/>
        </p:nvSpPr>
        <p:spPr bwMode="gray">
          <a:xfrm>
            <a:off x="3532498" y="1083863"/>
            <a:ext cx="2232000" cy="432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rPr>
              <a:t>Potenzialanalyse</a:t>
            </a:r>
          </a:p>
        </p:txBody>
      </p:sp>
      <p:grpSp>
        <p:nvGrpSpPr>
          <p:cNvPr id="8" name="Group 7">
            <a:extLst>
              <a:ext uri="{FF2B5EF4-FFF2-40B4-BE49-F238E27FC236}">
                <a16:creationId xmlns:a16="http://schemas.microsoft.com/office/drawing/2014/main" id="{2928483F-A62F-09C1-BE20-E051E0706352}"/>
              </a:ext>
            </a:extLst>
          </p:cNvPr>
          <p:cNvGrpSpPr>
            <a:grpSpLocks noChangeAspect="1"/>
          </p:cNvGrpSpPr>
          <p:nvPr>
            <p:custDataLst>
              <p:tags r:id="rId1"/>
            </p:custDataLst>
          </p:nvPr>
        </p:nvGrpSpPr>
        <p:grpSpPr>
          <a:xfrm>
            <a:off x="3532498" y="1111988"/>
            <a:ext cx="324000" cy="324000"/>
            <a:chOff x="1270000" y="1270000"/>
            <a:chExt cx="889000" cy="889000"/>
          </a:xfrm>
          <a:solidFill>
            <a:schemeClr val="tx2"/>
          </a:solidFill>
        </p:grpSpPr>
        <p:sp>
          <p:nvSpPr>
            <p:cNvPr id="9" name="Rectangle 8" hidden="1">
              <a:extLst>
                <a:ext uri="{FF2B5EF4-FFF2-40B4-BE49-F238E27FC236}">
                  <a16:creationId xmlns:a16="http://schemas.microsoft.com/office/drawing/2014/main" id="{25F9BE29-D80A-8B4D-3A3A-BC881C8A9452}"/>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0" name="Graphic 9">
              <a:extLst>
                <a:ext uri="{FF2B5EF4-FFF2-40B4-BE49-F238E27FC236}">
                  <a16:creationId xmlns:a16="http://schemas.microsoft.com/office/drawing/2014/main" id="{A2D28AD9-3E65-DB48-5E88-B8D43B50A261}"/>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270000" y="1270000"/>
              <a:ext cx="889000" cy="889000"/>
            </a:xfrm>
            <a:prstGeom prst="rect">
              <a:avLst/>
            </a:prstGeom>
          </p:spPr>
        </p:pic>
      </p:grpSp>
      <p:grpSp>
        <p:nvGrpSpPr>
          <p:cNvPr id="11" name="Group 10">
            <a:extLst>
              <a:ext uri="{FF2B5EF4-FFF2-40B4-BE49-F238E27FC236}">
                <a16:creationId xmlns:a16="http://schemas.microsoft.com/office/drawing/2014/main" id="{3CE19FF8-6AE6-7841-2EA2-92B38E0964F8}"/>
              </a:ext>
            </a:extLst>
          </p:cNvPr>
          <p:cNvGrpSpPr>
            <a:grpSpLocks noChangeAspect="1"/>
          </p:cNvGrpSpPr>
          <p:nvPr>
            <p:custDataLst>
              <p:tags r:id="rId2"/>
            </p:custDataLst>
          </p:nvPr>
        </p:nvGrpSpPr>
        <p:grpSpPr>
          <a:xfrm>
            <a:off x="280056" y="1124888"/>
            <a:ext cx="324000" cy="324000"/>
            <a:chOff x="1270000" y="1270000"/>
            <a:chExt cx="889000" cy="889000"/>
          </a:xfrm>
          <a:solidFill>
            <a:schemeClr val="tx2"/>
          </a:solidFill>
        </p:grpSpPr>
        <p:sp>
          <p:nvSpPr>
            <p:cNvPr id="12" name="Rectangle 11" hidden="1">
              <a:extLst>
                <a:ext uri="{FF2B5EF4-FFF2-40B4-BE49-F238E27FC236}">
                  <a16:creationId xmlns:a16="http://schemas.microsoft.com/office/drawing/2014/main" id="{31A4EA23-F3FF-0CA5-5C0A-C72E1C505A81}"/>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3" name="Graphic 12">
              <a:extLst>
                <a:ext uri="{FF2B5EF4-FFF2-40B4-BE49-F238E27FC236}">
                  <a16:creationId xmlns:a16="http://schemas.microsoft.com/office/drawing/2014/main" id="{B25486C4-FD9B-5605-715A-EC54A6576586}"/>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270000" y="1270000"/>
              <a:ext cx="889000" cy="889000"/>
            </a:xfrm>
            <a:prstGeom prst="rect">
              <a:avLst/>
            </a:prstGeom>
          </p:spPr>
        </p:pic>
      </p:grpSp>
      <p:sp>
        <p:nvSpPr>
          <p:cNvPr id="14" name="Rectangle 13">
            <a:extLst>
              <a:ext uri="{FF2B5EF4-FFF2-40B4-BE49-F238E27FC236}">
                <a16:creationId xmlns:a16="http://schemas.microsoft.com/office/drawing/2014/main" id="{6468AE16-A981-3296-6868-F92FEFCDF0D9}"/>
              </a:ext>
            </a:extLst>
          </p:cNvPr>
          <p:cNvSpPr/>
          <p:nvPr/>
        </p:nvSpPr>
        <p:spPr bwMode="gray">
          <a:xfrm>
            <a:off x="208025" y="1076248"/>
            <a:ext cx="3024000" cy="140040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r>
              <a:rPr lang="de-DE" sz="1100" dirty="0">
                <a:solidFill>
                  <a:schemeClr val="tx1"/>
                </a:solidFill>
              </a:rPr>
              <a:t>Analyse von Gebäude- und Siedlungsstruktur</a:t>
            </a:r>
          </a:p>
          <a:p>
            <a:pPr marL="144000" indent="-144000">
              <a:lnSpc>
                <a:spcPct val="95000"/>
              </a:lnSpc>
              <a:spcAft>
                <a:spcPts val="200"/>
              </a:spcAft>
              <a:buClr>
                <a:srgbClr val="003C50"/>
              </a:buClr>
              <a:buFont typeface="Wingdings" panose="05000000000000000000" pitchFamily="2" charset="2"/>
              <a:buChar char="§"/>
            </a:pPr>
            <a:r>
              <a:rPr lang="de-DE" sz="1100" dirty="0">
                <a:solidFill>
                  <a:schemeClr val="tx1"/>
                </a:solidFill>
              </a:rPr>
              <a:t>Erfassung der Energieinfrastruktur</a:t>
            </a:r>
          </a:p>
          <a:p>
            <a:pPr marL="144000" indent="-144000">
              <a:lnSpc>
                <a:spcPct val="95000"/>
              </a:lnSpc>
              <a:spcAft>
                <a:spcPts val="200"/>
              </a:spcAft>
              <a:buClr>
                <a:srgbClr val="003C50"/>
              </a:buClr>
              <a:buFont typeface="Wingdings" panose="05000000000000000000" pitchFamily="2" charset="2"/>
              <a:buChar char="§"/>
            </a:pPr>
            <a:r>
              <a:rPr lang="de-DE" sz="1100" dirty="0">
                <a:solidFill>
                  <a:schemeClr val="tx1"/>
                </a:solidFill>
              </a:rPr>
              <a:t>BISKO-konforme Basisbilanz</a:t>
            </a:r>
          </a:p>
          <a:p>
            <a:pPr marL="144000" indent="-144000">
              <a:lnSpc>
                <a:spcPct val="95000"/>
              </a:lnSpc>
              <a:spcAft>
                <a:spcPts val="200"/>
              </a:spcAft>
              <a:buClr>
                <a:srgbClr val="003C50"/>
              </a:buClr>
              <a:buFont typeface="Wingdings" panose="05000000000000000000" pitchFamily="2" charset="2"/>
              <a:buChar char="§"/>
            </a:pPr>
            <a:endParaRPr lang="de-DE" sz="1100" dirty="0">
              <a:solidFill>
                <a:schemeClr val="tx1"/>
              </a:solidFill>
            </a:endParaRPr>
          </a:p>
          <a:p>
            <a:pPr marL="144000" indent="-144000">
              <a:lnSpc>
                <a:spcPct val="95000"/>
              </a:lnSpc>
              <a:spcAft>
                <a:spcPts val="200"/>
              </a:spcAft>
              <a:buClr>
                <a:srgbClr val="003C50"/>
              </a:buClr>
              <a:buFont typeface="Wingdings" panose="05000000000000000000" pitchFamily="2" charset="2"/>
              <a:buChar char="§"/>
            </a:pPr>
            <a:endParaRPr lang="de-DE" sz="1100" dirty="0">
              <a:solidFill>
                <a:schemeClr val="tx1"/>
              </a:solidFill>
            </a:endParaRPr>
          </a:p>
          <a:p>
            <a:pPr>
              <a:lnSpc>
                <a:spcPct val="95000"/>
              </a:lnSpc>
              <a:spcAft>
                <a:spcPts val="200"/>
              </a:spcAft>
              <a:buClr>
                <a:srgbClr val="003C50"/>
              </a:buClr>
            </a:pPr>
            <a:endParaRPr lang="de-DE" sz="1100" dirty="0">
              <a:solidFill>
                <a:schemeClr val="tx1"/>
              </a:solidFill>
            </a:endParaRPr>
          </a:p>
        </p:txBody>
      </p:sp>
      <p:sp>
        <p:nvSpPr>
          <p:cNvPr id="15" name="Rectangle 14">
            <a:extLst>
              <a:ext uri="{FF2B5EF4-FFF2-40B4-BE49-F238E27FC236}">
                <a16:creationId xmlns:a16="http://schemas.microsoft.com/office/drawing/2014/main" id="{4315BEB1-466A-17E4-2B46-2C7151251613}"/>
              </a:ext>
            </a:extLst>
          </p:cNvPr>
          <p:cNvSpPr/>
          <p:nvPr/>
        </p:nvSpPr>
        <p:spPr bwMode="gray">
          <a:xfrm>
            <a:off x="3382261" y="1076248"/>
            <a:ext cx="3024000" cy="140149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Steigerung der Energieeffizienz von Gebäuden und Industrie</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Nutzung unvermeidbarer Abwärme</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Ausbaupotenziale regenerativer Wärmeversorgung</a:t>
            </a:r>
          </a:p>
        </p:txBody>
      </p:sp>
      <p:grpSp>
        <p:nvGrpSpPr>
          <p:cNvPr id="16" name="Group 15">
            <a:extLst>
              <a:ext uri="{FF2B5EF4-FFF2-40B4-BE49-F238E27FC236}">
                <a16:creationId xmlns:a16="http://schemas.microsoft.com/office/drawing/2014/main" id="{0F0EB75B-7EC2-65B1-B3BE-3E076E802FEF}"/>
              </a:ext>
            </a:extLst>
          </p:cNvPr>
          <p:cNvGrpSpPr/>
          <p:nvPr/>
        </p:nvGrpSpPr>
        <p:grpSpPr>
          <a:xfrm>
            <a:off x="240579" y="2747901"/>
            <a:ext cx="1678825" cy="1599879"/>
            <a:chOff x="3348699" y="1632336"/>
            <a:chExt cx="1869992" cy="1782060"/>
          </a:xfrm>
        </p:grpSpPr>
        <p:grpSp>
          <p:nvGrpSpPr>
            <p:cNvPr id="17" name="Group 16">
              <a:extLst>
                <a:ext uri="{FF2B5EF4-FFF2-40B4-BE49-F238E27FC236}">
                  <a16:creationId xmlns:a16="http://schemas.microsoft.com/office/drawing/2014/main" id="{8811326A-B6BC-0B6A-1D04-AD719C270DDD}"/>
                </a:ext>
              </a:extLst>
            </p:cNvPr>
            <p:cNvGrpSpPr/>
            <p:nvPr/>
          </p:nvGrpSpPr>
          <p:grpSpPr>
            <a:xfrm>
              <a:off x="3677797" y="2180911"/>
              <a:ext cx="586222" cy="676911"/>
              <a:chOff x="3662419" y="2180911"/>
              <a:chExt cx="586222" cy="676911"/>
            </a:xfrm>
          </p:grpSpPr>
          <p:sp>
            <p:nvSpPr>
              <p:cNvPr id="41" name="Hexagon 40">
                <a:extLst>
                  <a:ext uri="{FF2B5EF4-FFF2-40B4-BE49-F238E27FC236}">
                    <a16:creationId xmlns:a16="http://schemas.microsoft.com/office/drawing/2014/main" id="{319D98AE-CC17-9B48-AAE4-975C9CBC498B}"/>
                  </a:ext>
                </a:extLst>
              </p:cNvPr>
              <p:cNvSpPr>
                <a:spLocks noChangeAspect="1"/>
              </p:cNvSpPr>
              <p:nvPr/>
            </p:nvSpPr>
            <p:spPr bwMode="gray">
              <a:xfrm rot="5400000">
                <a:off x="3617074" y="2226256"/>
                <a:ext cx="676911" cy="586222"/>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noAutofit/>
              </a:bodyPr>
              <a:lstStyle/>
              <a:p>
                <a:pPr algn="ctr"/>
                <a:endParaRPr lang="de-DE" sz="700">
                  <a:solidFill>
                    <a:srgbClr val="003C50"/>
                  </a:solidFill>
                </a:endParaRPr>
              </a:p>
              <a:p>
                <a:pPr algn="ctr"/>
                <a:endParaRPr lang="de-DE" sz="700">
                  <a:solidFill>
                    <a:srgbClr val="003C50"/>
                  </a:solidFill>
                </a:endParaRPr>
              </a:p>
              <a:p>
                <a:pPr algn="ctr"/>
                <a:r>
                  <a:rPr lang="de-DE" sz="700">
                    <a:solidFill>
                      <a:srgbClr val="003C50"/>
                    </a:solidFill>
                  </a:rPr>
                  <a:t>Industrie</a:t>
                </a:r>
              </a:p>
            </p:txBody>
          </p:sp>
          <p:pic>
            <p:nvPicPr>
              <p:cNvPr id="42" name="Graphic 41">
                <a:extLst>
                  <a:ext uri="{FF2B5EF4-FFF2-40B4-BE49-F238E27FC236}">
                    <a16:creationId xmlns:a16="http://schemas.microsoft.com/office/drawing/2014/main" id="{A440D0E4-32C1-D05B-0D1D-9392D65E9694}"/>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775205" y="2265692"/>
                <a:ext cx="288676" cy="288676"/>
              </a:xfrm>
              <a:prstGeom prst="rect">
                <a:avLst/>
              </a:prstGeom>
            </p:spPr>
          </p:pic>
        </p:grpSp>
        <p:grpSp>
          <p:nvGrpSpPr>
            <p:cNvPr id="18" name="Group 17">
              <a:extLst>
                <a:ext uri="{FF2B5EF4-FFF2-40B4-BE49-F238E27FC236}">
                  <a16:creationId xmlns:a16="http://schemas.microsoft.com/office/drawing/2014/main" id="{CD94CC39-72BC-CD4A-53F8-1072EB9405F0}"/>
                </a:ext>
              </a:extLst>
            </p:cNvPr>
            <p:cNvGrpSpPr/>
            <p:nvPr/>
          </p:nvGrpSpPr>
          <p:grpSpPr>
            <a:xfrm>
              <a:off x="3998515" y="1632336"/>
              <a:ext cx="586224" cy="676913"/>
              <a:chOff x="3991531" y="1632589"/>
              <a:chExt cx="586224" cy="676913"/>
            </a:xfrm>
          </p:grpSpPr>
          <p:sp>
            <p:nvSpPr>
              <p:cNvPr id="37" name="Hexagon 36">
                <a:extLst>
                  <a:ext uri="{FF2B5EF4-FFF2-40B4-BE49-F238E27FC236}">
                    <a16:creationId xmlns:a16="http://schemas.microsoft.com/office/drawing/2014/main" id="{6E28F3DA-F9E6-9DBA-EEA1-6DBD8AC98019}"/>
                  </a:ext>
                </a:extLst>
              </p:cNvPr>
              <p:cNvSpPr>
                <a:spLocks noChangeAspect="1"/>
              </p:cNvSpPr>
              <p:nvPr/>
            </p:nvSpPr>
            <p:spPr bwMode="gray">
              <a:xfrm rot="5400000">
                <a:off x="3946186" y="1677934"/>
                <a:ext cx="676913" cy="586224"/>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noAutofit/>
              </a:bodyPr>
              <a:lstStyle/>
              <a:p>
                <a:pPr algn="ctr"/>
                <a:endParaRPr lang="de-DE" sz="700">
                  <a:solidFill>
                    <a:srgbClr val="003C50"/>
                  </a:solidFill>
                </a:endParaRPr>
              </a:p>
              <a:p>
                <a:pPr algn="ctr"/>
                <a:r>
                  <a:rPr lang="de-DE" sz="700">
                    <a:solidFill>
                      <a:srgbClr val="003C50"/>
                    </a:solidFill>
                  </a:rPr>
                  <a:t>Objekt-</a:t>
                </a:r>
              </a:p>
              <a:p>
                <a:pPr algn="ctr"/>
                <a:r>
                  <a:rPr lang="de-DE" sz="700">
                    <a:solidFill>
                      <a:srgbClr val="003C50"/>
                    </a:solidFill>
                  </a:rPr>
                  <a:t>wissen</a:t>
                </a:r>
              </a:p>
            </p:txBody>
          </p:sp>
          <p:grpSp>
            <p:nvGrpSpPr>
              <p:cNvPr id="38" name="Group 37">
                <a:extLst>
                  <a:ext uri="{FF2B5EF4-FFF2-40B4-BE49-F238E27FC236}">
                    <a16:creationId xmlns:a16="http://schemas.microsoft.com/office/drawing/2014/main" id="{096B6606-82C7-B8C7-0F85-1C784663D61C}"/>
                  </a:ext>
                </a:extLst>
              </p:cNvPr>
              <p:cNvGrpSpPr>
                <a:grpSpLocks noChangeAspect="1"/>
              </p:cNvGrpSpPr>
              <p:nvPr>
                <p:custDataLst>
                  <p:tags r:id="rId15"/>
                </p:custDataLst>
              </p:nvPr>
            </p:nvGrpSpPr>
            <p:grpSpPr>
              <a:xfrm>
                <a:off x="4187478" y="1675430"/>
                <a:ext cx="194327" cy="194327"/>
                <a:chOff x="1270000" y="1270000"/>
                <a:chExt cx="889000" cy="889000"/>
              </a:xfrm>
            </p:grpSpPr>
            <p:sp>
              <p:nvSpPr>
                <p:cNvPr id="39" name="Rectangle 38" hidden="1">
                  <a:extLst>
                    <a:ext uri="{FF2B5EF4-FFF2-40B4-BE49-F238E27FC236}">
                      <a16:creationId xmlns:a16="http://schemas.microsoft.com/office/drawing/2014/main" id="{4B716A3C-A6F4-9274-D906-7CC16CCABC7C}"/>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40" name="Graphic 39">
                  <a:extLst>
                    <a:ext uri="{FF2B5EF4-FFF2-40B4-BE49-F238E27FC236}">
                      <a16:creationId xmlns:a16="http://schemas.microsoft.com/office/drawing/2014/main" id="{FA49391F-04AB-65A1-4A47-B89D766F42D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270000" y="1270000"/>
                  <a:ext cx="889000" cy="889000"/>
                </a:xfrm>
                <a:prstGeom prst="rect">
                  <a:avLst/>
                </a:prstGeom>
              </p:spPr>
            </p:pic>
          </p:grpSp>
        </p:grpSp>
        <p:grpSp>
          <p:nvGrpSpPr>
            <p:cNvPr id="19" name="Group 18">
              <a:extLst>
                <a:ext uri="{FF2B5EF4-FFF2-40B4-BE49-F238E27FC236}">
                  <a16:creationId xmlns:a16="http://schemas.microsoft.com/office/drawing/2014/main" id="{D260752C-10BB-3B91-EA13-E58A67107331}"/>
                </a:ext>
              </a:extLst>
            </p:cNvPr>
            <p:cNvGrpSpPr/>
            <p:nvPr/>
          </p:nvGrpSpPr>
          <p:grpSpPr>
            <a:xfrm>
              <a:off x="4312937" y="2180911"/>
              <a:ext cx="586222" cy="676911"/>
              <a:chOff x="4323224" y="2180912"/>
              <a:chExt cx="586222" cy="676911"/>
            </a:xfrm>
          </p:grpSpPr>
          <p:sp>
            <p:nvSpPr>
              <p:cNvPr id="35" name="Hexagon 34">
                <a:extLst>
                  <a:ext uri="{FF2B5EF4-FFF2-40B4-BE49-F238E27FC236}">
                    <a16:creationId xmlns:a16="http://schemas.microsoft.com/office/drawing/2014/main" id="{32B2F1F3-B870-C736-5A68-027420056CAD}"/>
                  </a:ext>
                </a:extLst>
              </p:cNvPr>
              <p:cNvSpPr>
                <a:spLocks noChangeAspect="1"/>
              </p:cNvSpPr>
              <p:nvPr/>
            </p:nvSpPr>
            <p:spPr bwMode="gray">
              <a:xfrm rot="5400000">
                <a:off x="4277879" y="2226257"/>
                <a:ext cx="676911" cy="586222"/>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a:endParaRPr lang="de-DE" sz="700">
                  <a:solidFill>
                    <a:srgbClr val="003C50"/>
                  </a:solidFill>
                </a:endParaRPr>
              </a:p>
              <a:p>
                <a:pPr algn="ctr"/>
                <a:endParaRPr lang="de-DE" sz="700">
                  <a:solidFill>
                    <a:srgbClr val="003C50"/>
                  </a:solidFill>
                </a:endParaRPr>
              </a:p>
              <a:p>
                <a:pPr algn="ctr"/>
                <a:r>
                  <a:rPr lang="de-DE" sz="700">
                    <a:solidFill>
                      <a:srgbClr val="003C50"/>
                    </a:solidFill>
                  </a:rPr>
                  <a:t>Stadt</a:t>
                </a:r>
              </a:p>
            </p:txBody>
          </p:sp>
          <p:pic>
            <p:nvPicPr>
              <p:cNvPr id="36" name="Graphic 35">
                <a:extLst>
                  <a:ext uri="{FF2B5EF4-FFF2-40B4-BE49-F238E27FC236}">
                    <a16:creationId xmlns:a16="http://schemas.microsoft.com/office/drawing/2014/main" id="{408E884E-ADF9-B3B2-EBEC-31B62C603210}"/>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4472334" y="2265692"/>
                <a:ext cx="288000" cy="288000"/>
              </a:xfrm>
              <a:prstGeom prst="rect">
                <a:avLst/>
              </a:prstGeom>
            </p:spPr>
          </p:pic>
        </p:grpSp>
        <p:grpSp>
          <p:nvGrpSpPr>
            <p:cNvPr id="20" name="Group 19">
              <a:extLst>
                <a:ext uri="{FF2B5EF4-FFF2-40B4-BE49-F238E27FC236}">
                  <a16:creationId xmlns:a16="http://schemas.microsoft.com/office/drawing/2014/main" id="{7ADBB3C7-AB65-3AD6-312F-E73A0B774A67}"/>
                </a:ext>
              </a:extLst>
            </p:cNvPr>
            <p:cNvGrpSpPr/>
            <p:nvPr/>
          </p:nvGrpSpPr>
          <p:grpSpPr>
            <a:xfrm>
              <a:off x="3348699" y="2733357"/>
              <a:ext cx="586222" cy="676912"/>
              <a:chOff x="3333320" y="2733357"/>
              <a:chExt cx="586222" cy="676912"/>
            </a:xfrm>
          </p:grpSpPr>
          <p:sp>
            <p:nvSpPr>
              <p:cNvPr id="31" name="Hexagon 30">
                <a:extLst>
                  <a:ext uri="{FF2B5EF4-FFF2-40B4-BE49-F238E27FC236}">
                    <a16:creationId xmlns:a16="http://schemas.microsoft.com/office/drawing/2014/main" id="{21C51DE5-226A-4D3D-1560-52C6D76EA85D}"/>
                  </a:ext>
                </a:extLst>
              </p:cNvPr>
              <p:cNvSpPr>
                <a:spLocks noChangeAspect="1"/>
              </p:cNvSpPr>
              <p:nvPr/>
            </p:nvSpPr>
            <p:spPr bwMode="gray">
              <a:xfrm rot="5400000">
                <a:off x="3287975" y="2778702"/>
                <a:ext cx="676912" cy="586222"/>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a:endParaRPr lang="de-DE" sz="700">
                  <a:solidFill>
                    <a:srgbClr val="003C50"/>
                  </a:solidFill>
                </a:endParaRPr>
              </a:p>
              <a:p>
                <a:pPr algn="ctr"/>
                <a:endParaRPr lang="de-DE" sz="700">
                  <a:solidFill>
                    <a:srgbClr val="003C50"/>
                  </a:solidFill>
                </a:endParaRPr>
              </a:p>
              <a:p>
                <a:pPr algn="ctr"/>
                <a:r>
                  <a:rPr lang="de-DE" sz="700">
                    <a:solidFill>
                      <a:srgbClr val="003C50"/>
                    </a:solidFill>
                  </a:rPr>
                  <a:t>ALKIS</a:t>
                </a:r>
              </a:p>
            </p:txBody>
          </p:sp>
          <p:grpSp>
            <p:nvGrpSpPr>
              <p:cNvPr id="32" name="Group 31">
                <a:extLst>
                  <a:ext uri="{FF2B5EF4-FFF2-40B4-BE49-F238E27FC236}">
                    <a16:creationId xmlns:a16="http://schemas.microsoft.com/office/drawing/2014/main" id="{98714C4C-0F34-684F-3FE8-0EB14BD7D475}"/>
                  </a:ext>
                </a:extLst>
              </p:cNvPr>
              <p:cNvGrpSpPr>
                <a:grpSpLocks noChangeAspect="1"/>
              </p:cNvGrpSpPr>
              <p:nvPr>
                <p:custDataLst>
                  <p:tags r:id="rId14"/>
                </p:custDataLst>
              </p:nvPr>
            </p:nvGrpSpPr>
            <p:grpSpPr>
              <a:xfrm>
                <a:off x="3481127" y="2843627"/>
                <a:ext cx="288000" cy="288000"/>
                <a:chOff x="1270000" y="1270000"/>
                <a:chExt cx="889000" cy="889000"/>
              </a:xfrm>
            </p:grpSpPr>
            <p:sp>
              <p:nvSpPr>
                <p:cNvPr id="33" name="Rectangle 32" hidden="1">
                  <a:extLst>
                    <a:ext uri="{FF2B5EF4-FFF2-40B4-BE49-F238E27FC236}">
                      <a16:creationId xmlns:a16="http://schemas.microsoft.com/office/drawing/2014/main" id="{472690AA-F7AA-FD5A-2167-9927DDE027A4}"/>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34" name="Graphic 33">
                  <a:extLst>
                    <a:ext uri="{FF2B5EF4-FFF2-40B4-BE49-F238E27FC236}">
                      <a16:creationId xmlns:a16="http://schemas.microsoft.com/office/drawing/2014/main" id="{5D527FD4-B042-D8B8-4AF4-5F3038760F38}"/>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270000" y="1270000"/>
                  <a:ext cx="889000" cy="889000"/>
                </a:xfrm>
                <a:prstGeom prst="rect">
                  <a:avLst/>
                </a:prstGeom>
              </p:spPr>
            </p:pic>
          </p:grpSp>
        </p:grpSp>
        <p:grpSp>
          <p:nvGrpSpPr>
            <p:cNvPr id="21" name="Group 20">
              <a:extLst>
                <a:ext uri="{FF2B5EF4-FFF2-40B4-BE49-F238E27FC236}">
                  <a16:creationId xmlns:a16="http://schemas.microsoft.com/office/drawing/2014/main" id="{8CC6D79B-5A15-CD87-2EB9-7D849C664E06}"/>
                </a:ext>
              </a:extLst>
            </p:cNvPr>
            <p:cNvGrpSpPr/>
            <p:nvPr/>
          </p:nvGrpSpPr>
          <p:grpSpPr>
            <a:xfrm>
              <a:off x="3991532" y="2737485"/>
              <a:ext cx="586222" cy="676911"/>
              <a:chOff x="3991532" y="2737485"/>
              <a:chExt cx="586222" cy="676911"/>
            </a:xfrm>
          </p:grpSpPr>
          <p:sp>
            <p:nvSpPr>
              <p:cNvPr id="27" name="Hexagon 26">
                <a:extLst>
                  <a:ext uri="{FF2B5EF4-FFF2-40B4-BE49-F238E27FC236}">
                    <a16:creationId xmlns:a16="http://schemas.microsoft.com/office/drawing/2014/main" id="{0F2086D4-62F0-46FE-3D15-EBE53650A2F9}"/>
                  </a:ext>
                </a:extLst>
              </p:cNvPr>
              <p:cNvSpPr>
                <a:spLocks noChangeAspect="1"/>
              </p:cNvSpPr>
              <p:nvPr/>
            </p:nvSpPr>
            <p:spPr bwMode="gray">
              <a:xfrm rot="5400000">
                <a:off x="3946187" y="2782830"/>
                <a:ext cx="676911" cy="586222"/>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a:endParaRPr lang="de-DE" sz="700">
                  <a:solidFill>
                    <a:srgbClr val="003C50"/>
                  </a:solidFill>
                </a:endParaRPr>
              </a:p>
              <a:p>
                <a:pPr algn="ctr"/>
                <a:endParaRPr lang="de-DE" sz="700">
                  <a:solidFill>
                    <a:srgbClr val="003C50"/>
                  </a:solidFill>
                </a:endParaRPr>
              </a:p>
              <a:p>
                <a:pPr algn="ctr"/>
                <a:r>
                  <a:rPr lang="de-DE" sz="700">
                    <a:solidFill>
                      <a:srgbClr val="003C50"/>
                    </a:solidFill>
                  </a:rPr>
                  <a:t>Infas</a:t>
                </a:r>
              </a:p>
            </p:txBody>
          </p:sp>
          <p:grpSp>
            <p:nvGrpSpPr>
              <p:cNvPr id="28" name="Group 27">
                <a:extLst>
                  <a:ext uri="{FF2B5EF4-FFF2-40B4-BE49-F238E27FC236}">
                    <a16:creationId xmlns:a16="http://schemas.microsoft.com/office/drawing/2014/main" id="{C3CDD53A-7F65-730F-9623-0B879E9BD164}"/>
                  </a:ext>
                </a:extLst>
              </p:cNvPr>
              <p:cNvGrpSpPr>
                <a:grpSpLocks noChangeAspect="1"/>
              </p:cNvGrpSpPr>
              <p:nvPr>
                <p:custDataLst>
                  <p:tags r:id="rId13"/>
                </p:custDataLst>
              </p:nvPr>
            </p:nvGrpSpPr>
            <p:grpSpPr>
              <a:xfrm>
                <a:off x="4143200" y="2831499"/>
                <a:ext cx="288000" cy="288000"/>
                <a:chOff x="1270000" y="1270000"/>
                <a:chExt cx="889000" cy="889000"/>
              </a:xfrm>
            </p:grpSpPr>
            <p:sp>
              <p:nvSpPr>
                <p:cNvPr id="29" name="Rectangle 28" hidden="1">
                  <a:extLst>
                    <a:ext uri="{FF2B5EF4-FFF2-40B4-BE49-F238E27FC236}">
                      <a16:creationId xmlns:a16="http://schemas.microsoft.com/office/drawing/2014/main" id="{94422AFA-DEDC-0278-FF14-74747F495026}"/>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30" name="Graphic 29">
                  <a:extLst>
                    <a:ext uri="{FF2B5EF4-FFF2-40B4-BE49-F238E27FC236}">
                      <a16:creationId xmlns:a16="http://schemas.microsoft.com/office/drawing/2014/main" id="{A5ADC611-9B11-0EFF-8F34-94163E8E1A59}"/>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270000" y="1270000"/>
                  <a:ext cx="889000" cy="889000"/>
                </a:xfrm>
                <a:prstGeom prst="rect">
                  <a:avLst/>
                </a:prstGeom>
              </p:spPr>
            </p:pic>
          </p:grpSp>
        </p:grpSp>
        <p:grpSp>
          <p:nvGrpSpPr>
            <p:cNvPr id="22" name="Group 21">
              <a:extLst>
                <a:ext uri="{FF2B5EF4-FFF2-40B4-BE49-F238E27FC236}">
                  <a16:creationId xmlns:a16="http://schemas.microsoft.com/office/drawing/2014/main" id="{395DD46A-42C2-EF2D-A46A-6758EC30668F}"/>
                </a:ext>
              </a:extLst>
            </p:cNvPr>
            <p:cNvGrpSpPr/>
            <p:nvPr/>
          </p:nvGrpSpPr>
          <p:grpSpPr>
            <a:xfrm>
              <a:off x="4632469" y="2733357"/>
              <a:ext cx="586222" cy="676911"/>
              <a:chOff x="4649756" y="2733357"/>
              <a:chExt cx="586222" cy="676911"/>
            </a:xfrm>
          </p:grpSpPr>
          <p:sp>
            <p:nvSpPr>
              <p:cNvPr id="23" name="Hexagon 22">
                <a:extLst>
                  <a:ext uri="{FF2B5EF4-FFF2-40B4-BE49-F238E27FC236}">
                    <a16:creationId xmlns:a16="http://schemas.microsoft.com/office/drawing/2014/main" id="{377DFE5F-684A-1119-BF14-40C8F6FED5F7}"/>
                  </a:ext>
                </a:extLst>
              </p:cNvPr>
              <p:cNvSpPr>
                <a:spLocks noChangeAspect="1"/>
              </p:cNvSpPr>
              <p:nvPr/>
            </p:nvSpPr>
            <p:spPr bwMode="gray">
              <a:xfrm rot="5400000">
                <a:off x="4604411" y="2778702"/>
                <a:ext cx="676911" cy="586222"/>
              </a:xfrm>
              <a:prstGeom prst="hexagon">
                <a:avLst>
                  <a:gd name="adj" fmla="val 28868"/>
                  <a:gd name="vf" fmla="val 115470"/>
                </a:avLst>
              </a:prstGeom>
              <a:solidFill>
                <a:srgbClr val="E0DFDA"/>
              </a:solidFill>
              <a:ln w="9525">
                <a:solidFill>
                  <a:srgbClr val="E0DF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a:endParaRPr lang="de-DE" sz="700">
                  <a:solidFill>
                    <a:srgbClr val="003C50"/>
                  </a:solidFill>
                </a:endParaRPr>
              </a:p>
              <a:p>
                <a:pPr algn="ctr"/>
                <a:endParaRPr lang="de-DE" sz="700">
                  <a:solidFill>
                    <a:srgbClr val="003C50"/>
                  </a:solidFill>
                </a:endParaRPr>
              </a:p>
              <a:p>
                <a:pPr algn="ctr"/>
                <a:r>
                  <a:rPr lang="de-DE" sz="700">
                    <a:solidFill>
                      <a:srgbClr val="003C50"/>
                    </a:solidFill>
                  </a:rPr>
                  <a:t>Zensus</a:t>
                </a:r>
              </a:p>
            </p:txBody>
          </p:sp>
          <p:grpSp>
            <p:nvGrpSpPr>
              <p:cNvPr id="24" name="Group 23">
                <a:extLst>
                  <a:ext uri="{FF2B5EF4-FFF2-40B4-BE49-F238E27FC236}">
                    <a16:creationId xmlns:a16="http://schemas.microsoft.com/office/drawing/2014/main" id="{B0C5E943-2786-024E-1D0F-E099322ABBB1}"/>
                  </a:ext>
                </a:extLst>
              </p:cNvPr>
              <p:cNvGrpSpPr>
                <a:grpSpLocks noChangeAspect="1"/>
              </p:cNvGrpSpPr>
              <p:nvPr>
                <p:custDataLst>
                  <p:tags r:id="rId12"/>
                </p:custDataLst>
              </p:nvPr>
            </p:nvGrpSpPr>
            <p:grpSpPr>
              <a:xfrm>
                <a:off x="4798866" y="2837192"/>
                <a:ext cx="288000" cy="288000"/>
                <a:chOff x="1270000" y="1270000"/>
                <a:chExt cx="889000" cy="889000"/>
              </a:xfrm>
            </p:grpSpPr>
            <p:sp>
              <p:nvSpPr>
                <p:cNvPr id="25" name="Rectangle 24" hidden="1">
                  <a:extLst>
                    <a:ext uri="{FF2B5EF4-FFF2-40B4-BE49-F238E27FC236}">
                      <a16:creationId xmlns:a16="http://schemas.microsoft.com/office/drawing/2014/main" id="{41C716D9-8ACE-0924-A768-F82C143AB0A2}"/>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26" name="Graphic 25">
                  <a:extLst>
                    <a:ext uri="{FF2B5EF4-FFF2-40B4-BE49-F238E27FC236}">
                      <a16:creationId xmlns:a16="http://schemas.microsoft.com/office/drawing/2014/main" id="{B40403E0-5758-A2E8-3C6E-221C57B29E94}"/>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1270000" y="1270000"/>
                  <a:ext cx="889000" cy="889000"/>
                </a:xfrm>
                <a:prstGeom prst="rect">
                  <a:avLst/>
                </a:prstGeom>
              </p:spPr>
            </p:pic>
          </p:grpSp>
        </p:grpSp>
      </p:grpSp>
      <p:sp>
        <p:nvSpPr>
          <p:cNvPr id="43" name="Isosceles Triangle 42">
            <a:extLst>
              <a:ext uri="{FF2B5EF4-FFF2-40B4-BE49-F238E27FC236}">
                <a16:creationId xmlns:a16="http://schemas.microsoft.com/office/drawing/2014/main" id="{7309E0AA-0235-3F22-B3E6-4380DF97DFBC}"/>
              </a:ext>
            </a:extLst>
          </p:cNvPr>
          <p:cNvSpPr/>
          <p:nvPr/>
        </p:nvSpPr>
        <p:spPr bwMode="gray">
          <a:xfrm rot="5400000">
            <a:off x="1777069" y="3473408"/>
            <a:ext cx="648000" cy="216000"/>
          </a:xfrm>
          <a:prstGeom prst="triangle">
            <a:avLst/>
          </a:prstGeom>
          <a:solidFill>
            <a:schemeClr val="accent6">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8725" tIns="28725" rIns="28725" bIns="28725" rtlCol="0" anchor="ctr">
            <a:noAutofit/>
          </a:bodyPr>
          <a:lstStyle/>
          <a:p>
            <a:pPr algn="ctr"/>
            <a:endParaRPr lang="de-DE" sz="1117">
              <a:solidFill>
                <a:schemeClr val="tx1"/>
              </a:solidFill>
            </a:endParaRPr>
          </a:p>
        </p:txBody>
      </p:sp>
      <p:grpSp>
        <p:nvGrpSpPr>
          <p:cNvPr id="44" name="Group 43">
            <a:extLst>
              <a:ext uri="{FF2B5EF4-FFF2-40B4-BE49-F238E27FC236}">
                <a16:creationId xmlns:a16="http://schemas.microsoft.com/office/drawing/2014/main" id="{19CA7B8B-5E7D-A169-5568-BB0FC069AAC8}"/>
              </a:ext>
            </a:extLst>
          </p:cNvPr>
          <p:cNvGrpSpPr/>
          <p:nvPr/>
        </p:nvGrpSpPr>
        <p:grpSpPr>
          <a:xfrm>
            <a:off x="6556498" y="1076248"/>
            <a:ext cx="3024000" cy="1401498"/>
            <a:chOff x="6556498" y="1076248"/>
            <a:chExt cx="3024000" cy="1401498"/>
          </a:xfrm>
        </p:grpSpPr>
        <p:sp>
          <p:nvSpPr>
            <p:cNvPr id="45" name="Rectangle 44">
              <a:extLst>
                <a:ext uri="{FF2B5EF4-FFF2-40B4-BE49-F238E27FC236}">
                  <a16:creationId xmlns:a16="http://schemas.microsoft.com/office/drawing/2014/main" id="{91A68838-8E5C-4BAF-A5CC-C9051D5BD49D}"/>
                </a:ext>
              </a:extLst>
            </p:cNvPr>
            <p:cNvSpPr/>
            <p:nvPr/>
          </p:nvSpPr>
          <p:spPr bwMode="gray">
            <a:xfrm>
              <a:off x="6556498" y="1076248"/>
              <a:ext cx="3024000" cy="140149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Zielszenarien und Zielpfade für 2030, 2035, 2040 und 2045 </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Zentrale und Dezentrale Wärmeversorgungsgebiete</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Energie- und THG-Bilanz </a:t>
              </a:r>
            </a:p>
          </p:txBody>
        </p:sp>
        <p:sp>
          <p:nvSpPr>
            <p:cNvPr id="46" name="Rectangle 45">
              <a:extLst>
                <a:ext uri="{FF2B5EF4-FFF2-40B4-BE49-F238E27FC236}">
                  <a16:creationId xmlns:a16="http://schemas.microsoft.com/office/drawing/2014/main" id="{5DBE57B6-6C00-456A-ADF1-592747551AF3}"/>
                </a:ext>
              </a:extLst>
            </p:cNvPr>
            <p:cNvSpPr/>
            <p:nvPr/>
          </p:nvSpPr>
          <p:spPr bwMode="gray">
            <a:xfrm>
              <a:off x="6594597" y="1083863"/>
              <a:ext cx="2232000" cy="432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rPr>
                <a:t>Zielszenario</a:t>
              </a:r>
            </a:p>
          </p:txBody>
        </p:sp>
        <p:grpSp>
          <p:nvGrpSpPr>
            <p:cNvPr id="47" name="Group 46">
              <a:extLst>
                <a:ext uri="{FF2B5EF4-FFF2-40B4-BE49-F238E27FC236}">
                  <a16:creationId xmlns:a16="http://schemas.microsoft.com/office/drawing/2014/main" id="{87320F05-2DA4-DA5C-1741-B1C84F9CBAD7}"/>
                </a:ext>
              </a:extLst>
            </p:cNvPr>
            <p:cNvGrpSpPr>
              <a:grpSpLocks noChangeAspect="1"/>
            </p:cNvGrpSpPr>
            <p:nvPr>
              <p:custDataLst>
                <p:tags r:id="rId11"/>
              </p:custDataLst>
            </p:nvPr>
          </p:nvGrpSpPr>
          <p:grpSpPr>
            <a:xfrm rot="600000">
              <a:off x="6630868" y="1129307"/>
              <a:ext cx="324000" cy="324000"/>
              <a:chOff x="1270000" y="1270000"/>
              <a:chExt cx="889000" cy="889000"/>
            </a:xfrm>
            <a:solidFill>
              <a:schemeClr val="tx2"/>
            </a:solidFill>
          </p:grpSpPr>
          <p:sp>
            <p:nvSpPr>
              <p:cNvPr id="48" name="Rectangle 47" hidden="1">
                <a:extLst>
                  <a:ext uri="{FF2B5EF4-FFF2-40B4-BE49-F238E27FC236}">
                    <a16:creationId xmlns:a16="http://schemas.microsoft.com/office/drawing/2014/main" id="{9D6F01A7-61D4-D539-C731-7ACD75EE462D}"/>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49" name="Graphic 48">
                <a:extLst>
                  <a:ext uri="{FF2B5EF4-FFF2-40B4-BE49-F238E27FC236}">
                    <a16:creationId xmlns:a16="http://schemas.microsoft.com/office/drawing/2014/main" id="{1CF2B839-DB32-4F9A-1C79-0BFD1A7C8905}"/>
                  </a:ext>
                </a:extLst>
              </p:cNvPr>
              <p:cNvPicPr>
                <a:picLocks noChangeAspect="1"/>
              </p:cNvPicPr>
              <p:nvPr/>
            </p:nvPicPr>
            <p:blipFill>
              <a:blip r:embed="rId34" cstate="print">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1270000" y="1270000"/>
                <a:ext cx="889000" cy="889000"/>
              </a:xfrm>
              <a:prstGeom prst="rect">
                <a:avLst/>
              </a:prstGeom>
            </p:spPr>
          </p:pic>
        </p:grpSp>
      </p:grpSp>
      <p:grpSp>
        <p:nvGrpSpPr>
          <p:cNvPr id="50" name="Group 49">
            <a:extLst>
              <a:ext uri="{FF2B5EF4-FFF2-40B4-BE49-F238E27FC236}">
                <a16:creationId xmlns:a16="http://schemas.microsoft.com/office/drawing/2014/main" id="{4ECE3167-A29B-F62B-11B6-7E30613A6913}"/>
              </a:ext>
            </a:extLst>
          </p:cNvPr>
          <p:cNvGrpSpPr/>
          <p:nvPr/>
        </p:nvGrpSpPr>
        <p:grpSpPr>
          <a:xfrm>
            <a:off x="2263516" y="2649771"/>
            <a:ext cx="1815735" cy="1899454"/>
            <a:chOff x="2499748" y="3145533"/>
            <a:chExt cx="1905878" cy="2060431"/>
          </a:xfrm>
        </p:grpSpPr>
        <p:sp>
          <p:nvSpPr>
            <p:cNvPr id="51" name="Arc 50">
              <a:extLst>
                <a:ext uri="{FF2B5EF4-FFF2-40B4-BE49-F238E27FC236}">
                  <a16:creationId xmlns:a16="http://schemas.microsoft.com/office/drawing/2014/main" id="{2B6CEF4D-0155-154B-B8F8-48F3919BD10A}"/>
                </a:ext>
              </a:extLst>
            </p:cNvPr>
            <p:cNvSpPr/>
            <p:nvPr/>
          </p:nvSpPr>
          <p:spPr>
            <a:xfrm rot="7200000">
              <a:off x="2499748" y="3170362"/>
              <a:ext cx="1891612" cy="1891612"/>
            </a:xfrm>
            <a:prstGeom prst="arc">
              <a:avLst>
                <a:gd name="adj1" fmla="val 16200000"/>
                <a:gd name="adj2" fmla="val 1738621"/>
              </a:avLst>
            </a:prstGeom>
            <a:ln w="2857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2" name="Arc 51">
              <a:extLst>
                <a:ext uri="{FF2B5EF4-FFF2-40B4-BE49-F238E27FC236}">
                  <a16:creationId xmlns:a16="http://schemas.microsoft.com/office/drawing/2014/main" id="{2EC0D3EF-D414-7E78-C1A1-AD165B983E3C}"/>
                </a:ext>
              </a:extLst>
            </p:cNvPr>
            <p:cNvSpPr/>
            <p:nvPr/>
          </p:nvSpPr>
          <p:spPr>
            <a:xfrm rot="14400000">
              <a:off x="2505925" y="3163048"/>
              <a:ext cx="1891612" cy="1891612"/>
            </a:xfrm>
            <a:prstGeom prst="arc">
              <a:avLst>
                <a:gd name="adj1" fmla="val 16200000"/>
                <a:gd name="adj2" fmla="val 1738621"/>
              </a:avLst>
            </a:prstGeom>
            <a:ln w="2857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nvGrpSpPr>
            <p:cNvPr id="53" name="Group 52">
              <a:extLst>
                <a:ext uri="{FF2B5EF4-FFF2-40B4-BE49-F238E27FC236}">
                  <a16:creationId xmlns:a16="http://schemas.microsoft.com/office/drawing/2014/main" id="{9114BB6F-B9E9-2CF3-BE88-B6CD3789306A}"/>
                </a:ext>
              </a:extLst>
            </p:cNvPr>
            <p:cNvGrpSpPr/>
            <p:nvPr/>
          </p:nvGrpSpPr>
          <p:grpSpPr>
            <a:xfrm>
              <a:off x="2514014" y="3145533"/>
              <a:ext cx="1891612" cy="2060431"/>
              <a:chOff x="2514014" y="3145533"/>
              <a:chExt cx="1891612" cy="2060431"/>
            </a:xfrm>
          </p:grpSpPr>
          <p:pic>
            <p:nvPicPr>
              <p:cNvPr id="54" name="Picture 53">
                <a:extLst>
                  <a:ext uri="{FF2B5EF4-FFF2-40B4-BE49-F238E27FC236}">
                    <a16:creationId xmlns:a16="http://schemas.microsoft.com/office/drawing/2014/main" id="{FA12FDD0-880E-9B74-C79E-D6E262C517F6}"/>
                  </a:ext>
                </a:extLst>
              </p:cNvPr>
              <p:cNvPicPr>
                <a:picLocks noChangeAspect="1"/>
              </p:cNvPicPr>
              <p:nvPr/>
            </p:nvPicPr>
            <p:blipFill rotWithShape="1">
              <a:blip r:embed="rId36" cstate="screen">
                <a:extLst>
                  <a:ext uri="{28A0092B-C50C-407E-A947-70E740481C1C}">
                    <a14:useLocalDpi xmlns:a14="http://schemas.microsoft.com/office/drawing/2010/main"/>
                  </a:ext>
                </a:extLst>
              </a:blip>
              <a:srcRect/>
              <a:stretch/>
            </p:blipFill>
            <p:spPr>
              <a:xfrm>
                <a:off x="2655991" y="3305015"/>
                <a:ext cx="1613286" cy="1630573"/>
              </a:xfrm>
              <a:prstGeom prst="ellipse">
                <a:avLst/>
              </a:prstGeom>
              <a:ln/>
            </p:spPr>
          </p:pic>
          <p:sp>
            <p:nvSpPr>
              <p:cNvPr id="55" name="Rectangle 54">
                <a:extLst>
                  <a:ext uri="{FF2B5EF4-FFF2-40B4-BE49-F238E27FC236}">
                    <a16:creationId xmlns:a16="http://schemas.microsoft.com/office/drawing/2014/main" id="{73E950D8-9CAA-BB79-6FB6-16D7875C631A}"/>
                  </a:ext>
                </a:extLst>
              </p:cNvPr>
              <p:cNvSpPr/>
              <p:nvPr/>
            </p:nvSpPr>
            <p:spPr bwMode="gray">
              <a:xfrm>
                <a:off x="3141611" y="4547032"/>
                <a:ext cx="696406" cy="400778"/>
              </a:xfrm>
              <a:prstGeom prst="rect">
                <a:avLst/>
              </a:prstGeom>
              <a:solidFill>
                <a:srgbClr val="FFFFFF">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r>
                  <a:rPr lang="de-DE" sz="1000" b="1">
                    <a:solidFill>
                      <a:schemeClr val="tx1"/>
                    </a:solidFill>
                  </a:rPr>
                  <a:t>Digitaler Zwilling</a:t>
                </a:r>
              </a:p>
            </p:txBody>
          </p:sp>
          <p:sp>
            <p:nvSpPr>
              <p:cNvPr id="56" name="Arc 55">
                <a:extLst>
                  <a:ext uri="{FF2B5EF4-FFF2-40B4-BE49-F238E27FC236}">
                    <a16:creationId xmlns:a16="http://schemas.microsoft.com/office/drawing/2014/main" id="{413EA706-F7B9-E368-6BA6-33948A8AE888}"/>
                  </a:ext>
                </a:extLst>
              </p:cNvPr>
              <p:cNvSpPr/>
              <p:nvPr/>
            </p:nvSpPr>
            <p:spPr>
              <a:xfrm>
                <a:off x="2514014" y="3153831"/>
                <a:ext cx="1891612" cy="1891612"/>
              </a:xfrm>
              <a:prstGeom prst="arc">
                <a:avLst>
                  <a:gd name="adj1" fmla="val 16200000"/>
                  <a:gd name="adj2" fmla="val 1738621"/>
                </a:avLst>
              </a:prstGeom>
              <a:ln w="2857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7" name="Rectangle 56">
                <a:extLst>
                  <a:ext uri="{FF2B5EF4-FFF2-40B4-BE49-F238E27FC236}">
                    <a16:creationId xmlns:a16="http://schemas.microsoft.com/office/drawing/2014/main" id="{D248DE68-0EDB-9B8C-2F89-98DB2D58B593}"/>
                  </a:ext>
                </a:extLst>
              </p:cNvPr>
              <p:cNvSpPr/>
              <p:nvPr>
                <p:custDataLst>
                  <p:tags r:id="rId9"/>
                </p:custDataLst>
              </p:nvPr>
            </p:nvSpPr>
            <p:spPr bwMode="gray">
              <a:xfrm rot="18366090">
                <a:off x="2377316" y="3329611"/>
                <a:ext cx="1038031" cy="6698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prstTxWarp prst="textArchUp">
                  <a:avLst/>
                </a:prstTxWarp>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r>
                  <a:rPr lang="de-DE" sz="900" b="1">
                    <a:solidFill>
                      <a:schemeClr val="tx1"/>
                    </a:solidFill>
                  </a:rPr>
                  <a:t>Erfassung</a:t>
                </a:r>
                <a:endParaRPr lang="de-DE" sz="1000" b="1">
                  <a:solidFill>
                    <a:schemeClr val="tx1"/>
                  </a:solidFill>
                </a:endParaRPr>
              </a:p>
            </p:txBody>
          </p:sp>
          <p:sp>
            <p:nvSpPr>
              <p:cNvPr id="58" name="Rectangle 57">
                <a:extLst>
                  <a:ext uri="{FF2B5EF4-FFF2-40B4-BE49-F238E27FC236}">
                    <a16:creationId xmlns:a16="http://schemas.microsoft.com/office/drawing/2014/main" id="{474A2D7A-07FC-B96B-6CB3-F673D0E1B8F3}"/>
                  </a:ext>
                </a:extLst>
              </p:cNvPr>
              <p:cNvSpPr/>
              <p:nvPr/>
            </p:nvSpPr>
            <p:spPr bwMode="gray">
              <a:xfrm>
                <a:off x="2924717" y="4537436"/>
                <a:ext cx="1038031" cy="6685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prstTxWarp prst="textArchDown">
                  <a:avLst/>
                </a:prstTxWarp>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r>
                  <a:rPr lang="de-DE" sz="900" b="1">
                    <a:solidFill>
                      <a:schemeClr val="tx1"/>
                    </a:solidFill>
                  </a:rPr>
                  <a:t>Validierung</a:t>
                </a:r>
                <a:endParaRPr lang="de-DE" sz="1000" b="1">
                  <a:solidFill>
                    <a:schemeClr val="tx1"/>
                  </a:solidFill>
                </a:endParaRPr>
              </a:p>
            </p:txBody>
          </p:sp>
          <p:sp>
            <p:nvSpPr>
              <p:cNvPr id="59" name="Rectangle 58">
                <a:extLst>
                  <a:ext uri="{FF2B5EF4-FFF2-40B4-BE49-F238E27FC236}">
                    <a16:creationId xmlns:a16="http://schemas.microsoft.com/office/drawing/2014/main" id="{AD37A192-50BF-B5A6-7ADD-A2BD2820A82D}"/>
                  </a:ext>
                </a:extLst>
              </p:cNvPr>
              <p:cNvSpPr/>
              <p:nvPr>
                <p:custDataLst>
                  <p:tags r:id="rId10"/>
                </p:custDataLst>
              </p:nvPr>
            </p:nvSpPr>
            <p:spPr bwMode="gray">
              <a:xfrm rot="3200378">
                <a:off x="3540232" y="3347597"/>
                <a:ext cx="1038031" cy="6698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prstTxWarp prst="textArchUp">
                  <a:avLst/>
                </a:prstTxWarp>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r>
                  <a:rPr lang="de-DE" sz="900" b="1">
                    <a:solidFill>
                      <a:schemeClr val="tx1"/>
                    </a:solidFill>
                  </a:rPr>
                  <a:t>Verarbeitung</a:t>
                </a:r>
                <a:endParaRPr lang="de-DE" sz="1000" b="1">
                  <a:solidFill>
                    <a:schemeClr val="tx1"/>
                  </a:solidFill>
                </a:endParaRPr>
              </a:p>
            </p:txBody>
          </p:sp>
        </p:grpSp>
      </p:grpSp>
      <p:sp>
        <p:nvSpPr>
          <p:cNvPr id="60" name="Isosceles Triangle 59">
            <a:extLst>
              <a:ext uri="{FF2B5EF4-FFF2-40B4-BE49-F238E27FC236}">
                <a16:creationId xmlns:a16="http://schemas.microsoft.com/office/drawing/2014/main" id="{0F185526-466E-6017-C175-45BC0D633E98}"/>
              </a:ext>
            </a:extLst>
          </p:cNvPr>
          <p:cNvSpPr/>
          <p:nvPr/>
        </p:nvSpPr>
        <p:spPr bwMode="gray">
          <a:xfrm rot="5400000">
            <a:off x="4088271" y="2980305"/>
            <a:ext cx="648000" cy="216000"/>
          </a:xfrm>
          <a:prstGeom prst="triangle">
            <a:avLst/>
          </a:prstGeom>
          <a:solidFill>
            <a:schemeClr val="accent6">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8725" tIns="28725" rIns="28725" bIns="28725" rtlCol="0" anchor="ctr">
            <a:noAutofit/>
          </a:bodyPr>
          <a:lstStyle/>
          <a:p>
            <a:pPr algn="ctr"/>
            <a:endParaRPr lang="de-DE" sz="1117">
              <a:solidFill>
                <a:schemeClr val="tx1"/>
              </a:solidFill>
            </a:endParaRPr>
          </a:p>
        </p:txBody>
      </p:sp>
      <p:sp>
        <p:nvSpPr>
          <p:cNvPr id="61" name="Isosceles Triangle 60">
            <a:extLst>
              <a:ext uri="{FF2B5EF4-FFF2-40B4-BE49-F238E27FC236}">
                <a16:creationId xmlns:a16="http://schemas.microsoft.com/office/drawing/2014/main" id="{D0D42B3B-EEF9-0BA2-1E12-DB4F4666B2E2}"/>
              </a:ext>
            </a:extLst>
          </p:cNvPr>
          <p:cNvSpPr/>
          <p:nvPr/>
        </p:nvSpPr>
        <p:spPr bwMode="gray">
          <a:xfrm rot="16200000" flipH="1">
            <a:off x="4104115" y="3695856"/>
            <a:ext cx="648000" cy="216000"/>
          </a:xfrm>
          <a:prstGeom prst="triangle">
            <a:avLst/>
          </a:prstGeom>
          <a:solidFill>
            <a:schemeClr val="accent6">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8725" tIns="28725" rIns="28725" bIns="28725" rtlCol="0" anchor="ctr">
            <a:noAutofit/>
          </a:bodyPr>
          <a:lstStyle/>
          <a:p>
            <a:pPr algn="ctr"/>
            <a:endParaRPr lang="de-DE" sz="1117">
              <a:solidFill>
                <a:schemeClr val="tx1"/>
              </a:solidFill>
            </a:endParaRPr>
          </a:p>
        </p:txBody>
      </p:sp>
      <p:grpSp>
        <p:nvGrpSpPr>
          <p:cNvPr id="62" name="Group 61">
            <a:extLst>
              <a:ext uri="{FF2B5EF4-FFF2-40B4-BE49-F238E27FC236}">
                <a16:creationId xmlns:a16="http://schemas.microsoft.com/office/drawing/2014/main" id="{C8AB545A-F54A-B61F-06CB-889A478EDE7E}"/>
              </a:ext>
            </a:extLst>
          </p:cNvPr>
          <p:cNvGrpSpPr>
            <a:grpSpLocks noChangeAspect="1"/>
          </p:cNvGrpSpPr>
          <p:nvPr/>
        </p:nvGrpSpPr>
        <p:grpSpPr>
          <a:xfrm>
            <a:off x="4692337" y="2838454"/>
            <a:ext cx="792000" cy="633393"/>
            <a:chOff x="4277541" y="4858935"/>
            <a:chExt cx="834030" cy="667004"/>
          </a:xfrm>
        </p:grpSpPr>
        <p:sp>
          <p:nvSpPr>
            <p:cNvPr id="63" name="Rectangle 62">
              <a:extLst>
                <a:ext uri="{FF2B5EF4-FFF2-40B4-BE49-F238E27FC236}">
                  <a16:creationId xmlns:a16="http://schemas.microsoft.com/office/drawing/2014/main" id="{0C20A03D-2F31-5645-0066-2270A4DE69FC}"/>
                </a:ext>
              </a:extLst>
            </p:cNvPr>
            <p:cNvSpPr/>
            <p:nvPr/>
          </p:nvSpPr>
          <p:spPr bwMode="gray">
            <a:xfrm>
              <a:off x="4277541" y="4858935"/>
              <a:ext cx="834030" cy="667004"/>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t">
              <a:noAutofit/>
            </a:bodyPr>
            <a:lstStyle/>
            <a:p>
              <a:pPr algn="ctr">
                <a:lnSpc>
                  <a:spcPct val="95000"/>
                </a:lnSpc>
                <a:spcAft>
                  <a:spcPts val="200"/>
                </a:spcAft>
              </a:pPr>
              <a:r>
                <a:rPr lang="de-DE" sz="700">
                  <a:solidFill>
                    <a:schemeClr val="tx1"/>
                  </a:solidFill>
                </a:rPr>
                <a:t>Identifikation von Freiflächen</a:t>
              </a:r>
            </a:p>
          </p:txBody>
        </p:sp>
        <p:grpSp>
          <p:nvGrpSpPr>
            <p:cNvPr id="64" name="Group 63">
              <a:extLst>
                <a:ext uri="{FF2B5EF4-FFF2-40B4-BE49-F238E27FC236}">
                  <a16:creationId xmlns:a16="http://schemas.microsoft.com/office/drawing/2014/main" id="{7A5836E9-F72F-3EF6-C794-F922445845ED}"/>
                </a:ext>
              </a:extLst>
            </p:cNvPr>
            <p:cNvGrpSpPr>
              <a:grpSpLocks noChangeAspect="1"/>
            </p:cNvGrpSpPr>
            <p:nvPr>
              <p:custDataLst>
                <p:tags r:id="rId8"/>
              </p:custDataLst>
            </p:nvPr>
          </p:nvGrpSpPr>
          <p:grpSpPr>
            <a:xfrm>
              <a:off x="4486031" y="4869923"/>
              <a:ext cx="423127" cy="417052"/>
              <a:chOff x="1257051" y="1270000"/>
              <a:chExt cx="901949" cy="889000"/>
            </a:xfrm>
          </p:grpSpPr>
          <p:sp>
            <p:nvSpPr>
              <p:cNvPr id="65" name="Rectangle 64" hidden="1">
                <a:extLst>
                  <a:ext uri="{FF2B5EF4-FFF2-40B4-BE49-F238E27FC236}">
                    <a16:creationId xmlns:a16="http://schemas.microsoft.com/office/drawing/2014/main" id="{9223E6CB-D9F9-D93E-35A7-E69C31AD87F4}"/>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ctr">
                <a:noAutofit/>
              </a:bodyPr>
              <a:lstStyle/>
              <a:p>
                <a:pPr algn="ctr"/>
                <a:endParaRPr lang="de-DE" sz="700" err="1">
                  <a:solidFill>
                    <a:schemeClr val="tx1"/>
                  </a:solidFill>
                </a:endParaRPr>
              </a:p>
            </p:txBody>
          </p:sp>
          <p:pic>
            <p:nvPicPr>
              <p:cNvPr id="66" name="Graphic 65">
                <a:extLst>
                  <a:ext uri="{FF2B5EF4-FFF2-40B4-BE49-F238E27FC236}">
                    <a16:creationId xmlns:a16="http://schemas.microsoft.com/office/drawing/2014/main" id="{CAE293C3-7627-E97D-C635-547C6D4E674E}"/>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1257051" y="1270000"/>
                <a:ext cx="889000" cy="889000"/>
              </a:xfrm>
              <a:prstGeom prst="rect">
                <a:avLst/>
              </a:prstGeom>
            </p:spPr>
          </p:pic>
        </p:grpSp>
      </p:grpSp>
      <p:grpSp>
        <p:nvGrpSpPr>
          <p:cNvPr id="67" name="Group 66">
            <a:extLst>
              <a:ext uri="{FF2B5EF4-FFF2-40B4-BE49-F238E27FC236}">
                <a16:creationId xmlns:a16="http://schemas.microsoft.com/office/drawing/2014/main" id="{28368C90-5DE3-CFAB-F013-D01C5A890A7B}"/>
              </a:ext>
            </a:extLst>
          </p:cNvPr>
          <p:cNvGrpSpPr>
            <a:grpSpLocks noChangeAspect="1"/>
          </p:cNvGrpSpPr>
          <p:nvPr/>
        </p:nvGrpSpPr>
        <p:grpSpPr>
          <a:xfrm>
            <a:off x="5556337" y="2806054"/>
            <a:ext cx="792000" cy="666915"/>
            <a:chOff x="3804782" y="4739109"/>
            <a:chExt cx="834030" cy="702308"/>
          </a:xfrm>
        </p:grpSpPr>
        <p:sp>
          <p:nvSpPr>
            <p:cNvPr id="68" name="Rectangle 67">
              <a:extLst>
                <a:ext uri="{FF2B5EF4-FFF2-40B4-BE49-F238E27FC236}">
                  <a16:creationId xmlns:a16="http://schemas.microsoft.com/office/drawing/2014/main" id="{6659FF6F-8AE7-9337-F4A9-908143F9CF95}"/>
                </a:ext>
              </a:extLst>
            </p:cNvPr>
            <p:cNvSpPr/>
            <p:nvPr/>
          </p:nvSpPr>
          <p:spPr bwMode="gray">
            <a:xfrm>
              <a:off x="3804782" y="4774413"/>
              <a:ext cx="834030" cy="667004"/>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t">
              <a:noAutofit/>
            </a:bodyPr>
            <a:lstStyle/>
            <a:p>
              <a:pPr algn="ctr">
                <a:lnSpc>
                  <a:spcPct val="95000"/>
                </a:lnSpc>
                <a:spcAft>
                  <a:spcPts val="200"/>
                </a:spcAft>
              </a:pPr>
              <a:r>
                <a:rPr lang="de-DE" sz="700">
                  <a:solidFill>
                    <a:schemeClr val="tx1"/>
                  </a:solidFill>
                </a:rPr>
                <a:t>Sanierungs-potenzial</a:t>
              </a:r>
            </a:p>
          </p:txBody>
        </p:sp>
        <p:grpSp>
          <p:nvGrpSpPr>
            <p:cNvPr id="69" name="Group 68">
              <a:extLst>
                <a:ext uri="{FF2B5EF4-FFF2-40B4-BE49-F238E27FC236}">
                  <a16:creationId xmlns:a16="http://schemas.microsoft.com/office/drawing/2014/main" id="{EE5173C2-638F-1EDE-D8AD-9B47C3B54221}"/>
                </a:ext>
              </a:extLst>
            </p:cNvPr>
            <p:cNvGrpSpPr>
              <a:grpSpLocks noChangeAspect="1"/>
            </p:cNvGrpSpPr>
            <p:nvPr>
              <p:custDataLst>
                <p:tags r:id="rId7"/>
              </p:custDataLst>
            </p:nvPr>
          </p:nvGrpSpPr>
          <p:grpSpPr>
            <a:xfrm>
              <a:off x="3996287" y="4739109"/>
              <a:ext cx="437117" cy="458525"/>
              <a:chOff x="1270000" y="1195836"/>
              <a:chExt cx="918199" cy="963164"/>
            </a:xfrm>
          </p:grpSpPr>
          <p:sp>
            <p:nvSpPr>
              <p:cNvPr id="70" name="Rectangle 69" hidden="1">
                <a:extLst>
                  <a:ext uri="{FF2B5EF4-FFF2-40B4-BE49-F238E27FC236}">
                    <a16:creationId xmlns:a16="http://schemas.microsoft.com/office/drawing/2014/main" id="{FAA2D0D1-92D8-3361-AE03-F386FDCDD8AD}"/>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ctr">
                <a:noAutofit/>
              </a:bodyPr>
              <a:lstStyle/>
              <a:p>
                <a:pPr algn="ctr"/>
                <a:endParaRPr lang="de-DE" sz="700" err="1">
                  <a:solidFill>
                    <a:schemeClr val="tx1"/>
                  </a:solidFill>
                </a:endParaRPr>
              </a:p>
            </p:txBody>
          </p:sp>
          <p:pic>
            <p:nvPicPr>
              <p:cNvPr id="71" name="Graphic 70">
                <a:extLst>
                  <a:ext uri="{FF2B5EF4-FFF2-40B4-BE49-F238E27FC236}">
                    <a16:creationId xmlns:a16="http://schemas.microsoft.com/office/drawing/2014/main" id="{C00B14C5-D37B-4462-E284-BE851EA82C38}"/>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299199" y="1195836"/>
                <a:ext cx="889000" cy="888999"/>
              </a:xfrm>
              <a:prstGeom prst="rect">
                <a:avLst/>
              </a:prstGeom>
            </p:spPr>
          </p:pic>
        </p:grpSp>
      </p:grpSp>
      <p:grpSp>
        <p:nvGrpSpPr>
          <p:cNvPr id="72" name="Group 71">
            <a:extLst>
              <a:ext uri="{FF2B5EF4-FFF2-40B4-BE49-F238E27FC236}">
                <a16:creationId xmlns:a16="http://schemas.microsoft.com/office/drawing/2014/main" id="{1468A4C3-B251-7582-BFA3-738D8175EADB}"/>
              </a:ext>
            </a:extLst>
          </p:cNvPr>
          <p:cNvGrpSpPr>
            <a:grpSpLocks noChangeAspect="1"/>
          </p:cNvGrpSpPr>
          <p:nvPr/>
        </p:nvGrpSpPr>
        <p:grpSpPr>
          <a:xfrm>
            <a:off x="4692337" y="3572850"/>
            <a:ext cx="792000" cy="633393"/>
            <a:chOff x="5453036" y="4956073"/>
            <a:chExt cx="834031" cy="667003"/>
          </a:xfrm>
        </p:grpSpPr>
        <p:sp>
          <p:nvSpPr>
            <p:cNvPr id="73" name="Rectangle 72">
              <a:extLst>
                <a:ext uri="{FF2B5EF4-FFF2-40B4-BE49-F238E27FC236}">
                  <a16:creationId xmlns:a16="http://schemas.microsoft.com/office/drawing/2014/main" id="{4DA3B223-F1C6-56CF-0D72-B626F9B8F6D8}"/>
                </a:ext>
              </a:extLst>
            </p:cNvPr>
            <p:cNvSpPr/>
            <p:nvPr/>
          </p:nvSpPr>
          <p:spPr bwMode="gray">
            <a:xfrm>
              <a:off x="5453036" y="4956073"/>
              <a:ext cx="834031" cy="667003"/>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t">
              <a:noAutofit/>
            </a:bodyPr>
            <a:lstStyle/>
            <a:p>
              <a:pPr algn="ctr">
                <a:lnSpc>
                  <a:spcPct val="95000"/>
                </a:lnSpc>
                <a:spcAft>
                  <a:spcPts val="200"/>
                </a:spcAft>
              </a:pPr>
              <a:r>
                <a:rPr lang="de-DE" sz="700">
                  <a:solidFill>
                    <a:schemeClr val="tx1"/>
                  </a:solidFill>
                </a:rPr>
                <a:t>Unvermeidbarer Abwärme</a:t>
              </a:r>
            </a:p>
          </p:txBody>
        </p:sp>
        <p:grpSp>
          <p:nvGrpSpPr>
            <p:cNvPr id="74" name="Group 73">
              <a:extLst>
                <a:ext uri="{FF2B5EF4-FFF2-40B4-BE49-F238E27FC236}">
                  <a16:creationId xmlns:a16="http://schemas.microsoft.com/office/drawing/2014/main" id="{85D075DD-4182-8377-4542-2454F65D4BA4}"/>
                </a:ext>
              </a:extLst>
            </p:cNvPr>
            <p:cNvGrpSpPr>
              <a:grpSpLocks noChangeAspect="1"/>
            </p:cNvGrpSpPr>
            <p:nvPr>
              <p:custDataLst>
                <p:tags r:id="rId5"/>
              </p:custDataLst>
            </p:nvPr>
          </p:nvGrpSpPr>
          <p:grpSpPr>
            <a:xfrm>
              <a:off x="5691078" y="5004112"/>
              <a:ext cx="340966" cy="324000"/>
              <a:chOff x="1270000" y="1270000"/>
              <a:chExt cx="935551" cy="889000"/>
            </a:xfrm>
          </p:grpSpPr>
          <p:sp>
            <p:nvSpPr>
              <p:cNvPr id="75" name="Rectangle 74" hidden="1">
                <a:extLst>
                  <a:ext uri="{FF2B5EF4-FFF2-40B4-BE49-F238E27FC236}">
                    <a16:creationId xmlns:a16="http://schemas.microsoft.com/office/drawing/2014/main" id="{CF1C4B68-E26A-846B-9185-E56E7134A198}"/>
                  </a:ext>
                </a:extLst>
              </p:cNvPr>
              <p:cNvSpPr/>
              <p:nvPr>
                <p:custDataLst>
                  <p:tags r:id="rId6"/>
                </p:custDataLst>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ctr">
                <a:noAutofit/>
              </a:bodyPr>
              <a:lstStyle/>
              <a:p>
                <a:pPr algn="ctr"/>
                <a:endParaRPr lang="de-DE" sz="700" err="1">
                  <a:solidFill>
                    <a:schemeClr val="tx1"/>
                  </a:solidFill>
                </a:endParaRPr>
              </a:p>
            </p:txBody>
          </p:sp>
          <p:pic>
            <p:nvPicPr>
              <p:cNvPr id="76" name="Graphic 75">
                <a:extLst>
                  <a:ext uri="{FF2B5EF4-FFF2-40B4-BE49-F238E27FC236}">
                    <a16:creationId xmlns:a16="http://schemas.microsoft.com/office/drawing/2014/main" id="{9D620136-D1B2-74BB-5286-DEF99C18E90E}"/>
                  </a:ext>
                </a:extLst>
              </p:cNvPr>
              <p:cNvPicPr>
                <a:picLocks noChangeAspect="1"/>
              </p:cNvPicPr>
              <p:nvPr/>
            </p:nvPicPr>
            <p:blipFill>
              <a:blip r:embed="rId41" cstate="print">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1316551" y="1270000"/>
                <a:ext cx="889000" cy="889000"/>
              </a:xfrm>
              <a:prstGeom prst="rect">
                <a:avLst/>
              </a:prstGeom>
            </p:spPr>
          </p:pic>
        </p:grpSp>
      </p:grpSp>
      <p:grpSp>
        <p:nvGrpSpPr>
          <p:cNvPr id="77" name="Group 76">
            <a:extLst>
              <a:ext uri="{FF2B5EF4-FFF2-40B4-BE49-F238E27FC236}">
                <a16:creationId xmlns:a16="http://schemas.microsoft.com/office/drawing/2014/main" id="{178F4E66-0FCC-84E3-B0B6-D5946AF164C3}"/>
              </a:ext>
            </a:extLst>
          </p:cNvPr>
          <p:cNvGrpSpPr>
            <a:grpSpLocks noChangeAspect="1"/>
          </p:cNvGrpSpPr>
          <p:nvPr/>
        </p:nvGrpSpPr>
        <p:grpSpPr>
          <a:xfrm>
            <a:off x="5556337" y="3572851"/>
            <a:ext cx="792000" cy="633393"/>
            <a:chOff x="3804787" y="5526943"/>
            <a:chExt cx="834031" cy="667005"/>
          </a:xfrm>
        </p:grpSpPr>
        <p:sp>
          <p:nvSpPr>
            <p:cNvPr id="78" name="Rectangle 77">
              <a:extLst>
                <a:ext uri="{FF2B5EF4-FFF2-40B4-BE49-F238E27FC236}">
                  <a16:creationId xmlns:a16="http://schemas.microsoft.com/office/drawing/2014/main" id="{74AD0974-21C3-D426-4F2D-6B190FC45C1F}"/>
                </a:ext>
              </a:extLst>
            </p:cNvPr>
            <p:cNvSpPr/>
            <p:nvPr/>
          </p:nvSpPr>
          <p:spPr bwMode="gray">
            <a:xfrm>
              <a:off x="3804787" y="5526943"/>
              <a:ext cx="834031" cy="667005"/>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96000" rIns="0" bIns="36000" rtlCol="0" anchor="t">
              <a:noAutofit/>
            </a:bodyPr>
            <a:lstStyle/>
            <a:p>
              <a:pPr algn="ctr">
                <a:lnSpc>
                  <a:spcPct val="95000"/>
                </a:lnSpc>
                <a:spcAft>
                  <a:spcPts val="200"/>
                </a:spcAft>
              </a:pPr>
              <a:r>
                <a:rPr lang="de-DE" sz="700">
                  <a:solidFill>
                    <a:schemeClr val="tx1"/>
                  </a:solidFill>
                </a:rPr>
                <a:t>Wärmenetz-eignungsgebiete</a:t>
              </a:r>
            </a:p>
          </p:txBody>
        </p:sp>
        <p:pic>
          <p:nvPicPr>
            <p:cNvPr id="79" name="Graphic 78">
              <a:extLst>
                <a:ext uri="{FF2B5EF4-FFF2-40B4-BE49-F238E27FC236}">
                  <a16:creationId xmlns:a16="http://schemas.microsoft.com/office/drawing/2014/main" id="{30F70CA6-86F7-4A9E-7D60-B8C7CD8AFDE7}"/>
                </a:ext>
              </a:extLst>
            </p:cNvPr>
            <p:cNvPicPr>
              <a:picLocks noChangeAspect="1"/>
            </p:cNvPicPr>
            <p:nvPr/>
          </p:nvPicPr>
          <p:blipFill>
            <a:blip r:embed="rId43" cstate="print">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4059797" y="5569922"/>
              <a:ext cx="324000" cy="324000"/>
            </a:xfrm>
            <a:prstGeom prst="rect">
              <a:avLst/>
            </a:prstGeom>
          </p:spPr>
        </p:pic>
      </p:grpSp>
      <p:sp>
        <p:nvSpPr>
          <p:cNvPr id="80" name="Rectangle 79">
            <a:extLst>
              <a:ext uri="{FF2B5EF4-FFF2-40B4-BE49-F238E27FC236}">
                <a16:creationId xmlns:a16="http://schemas.microsoft.com/office/drawing/2014/main" id="{48E88FF9-489D-8F11-B2F6-44148EC404B0}"/>
              </a:ext>
            </a:extLst>
          </p:cNvPr>
          <p:cNvSpPr/>
          <p:nvPr/>
        </p:nvSpPr>
        <p:spPr bwMode="gray">
          <a:xfrm>
            <a:off x="208026" y="2542866"/>
            <a:ext cx="6198236" cy="2101718"/>
          </a:xfrm>
          <a:prstGeom prst="rect">
            <a:avLst/>
          </a:prstGeom>
          <a:noFill/>
          <a:ln w="12700">
            <a:solidFill>
              <a:srgbClr val="85CEEF"/>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81" name="Isosceles Triangle 80">
            <a:extLst>
              <a:ext uri="{FF2B5EF4-FFF2-40B4-BE49-F238E27FC236}">
                <a16:creationId xmlns:a16="http://schemas.microsoft.com/office/drawing/2014/main" id="{D4A5015A-A0D4-CEA4-A75D-D2D199921ACA}"/>
              </a:ext>
            </a:extLst>
          </p:cNvPr>
          <p:cNvSpPr/>
          <p:nvPr/>
        </p:nvSpPr>
        <p:spPr bwMode="gray">
          <a:xfrm rot="5400000">
            <a:off x="5556699" y="3487061"/>
            <a:ext cx="2074109" cy="240936"/>
          </a:xfrm>
          <a:prstGeom prst="triangle">
            <a:avLst/>
          </a:prstGeom>
          <a:solidFill>
            <a:schemeClr val="accent6">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8725" tIns="28725" rIns="28725" bIns="28725" rtlCol="0" anchor="ctr">
            <a:noAutofit/>
          </a:bodyPr>
          <a:lstStyle/>
          <a:p>
            <a:pPr algn="ctr"/>
            <a:endParaRPr lang="de-DE" sz="1117">
              <a:solidFill>
                <a:schemeClr val="tx1"/>
              </a:solidFill>
            </a:endParaRPr>
          </a:p>
        </p:txBody>
      </p:sp>
      <p:grpSp>
        <p:nvGrpSpPr>
          <p:cNvPr id="82" name="Group 81">
            <a:extLst>
              <a:ext uri="{FF2B5EF4-FFF2-40B4-BE49-F238E27FC236}">
                <a16:creationId xmlns:a16="http://schemas.microsoft.com/office/drawing/2014/main" id="{E2B35D51-056E-C440-3F35-60BEDCBDE6CF}"/>
              </a:ext>
            </a:extLst>
          </p:cNvPr>
          <p:cNvGrpSpPr/>
          <p:nvPr/>
        </p:nvGrpSpPr>
        <p:grpSpPr>
          <a:xfrm>
            <a:off x="6941310" y="2542866"/>
            <a:ext cx="2636943" cy="2180427"/>
            <a:chOff x="6941310" y="2542866"/>
            <a:chExt cx="2636943" cy="2180427"/>
          </a:xfrm>
        </p:grpSpPr>
        <p:pic>
          <p:nvPicPr>
            <p:cNvPr id="83" name="Picture 82">
              <a:extLst>
                <a:ext uri="{FF2B5EF4-FFF2-40B4-BE49-F238E27FC236}">
                  <a16:creationId xmlns:a16="http://schemas.microsoft.com/office/drawing/2014/main" id="{FDC5B893-B482-020F-052B-BDF22858CA95}"/>
                </a:ext>
              </a:extLst>
            </p:cNvPr>
            <p:cNvPicPr>
              <a:picLocks noChangeAspect="1"/>
            </p:cNvPicPr>
            <p:nvPr/>
          </p:nvPicPr>
          <p:blipFill rotWithShape="1">
            <a:blip r:embed="rId45" cstate="screen">
              <a:extLst>
                <a:ext uri="{28A0092B-C50C-407E-A947-70E740481C1C}">
                  <a14:useLocalDpi xmlns:a14="http://schemas.microsoft.com/office/drawing/2010/main"/>
                </a:ext>
              </a:extLst>
            </a:blip>
            <a:srcRect/>
            <a:stretch/>
          </p:blipFill>
          <p:spPr>
            <a:xfrm>
              <a:off x="6941310" y="3621697"/>
              <a:ext cx="1152000" cy="900129"/>
            </a:xfrm>
            <a:prstGeom prst="rect">
              <a:avLst/>
            </a:prstGeom>
            <a:ln/>
          </p:spPr>
        </p:pic>
        <p:pic>
          <p:nvPicPr>
            <p:cNvPr id="84" name="Picture 83">
              <a:extLst>
                <a:ext uri="{FF2B5EF4-FFF2-40B4-BE49-F238E27FC236}">
                  <a16:creationId xmlns:a16="http://schemas.microsoft.com/office/drawing/2014/main" id="{BD5B7216-D477-FF24-05B7-562B81ABC5E1}"/>
                </a:ext>
              </a:extLst>
            </p:cNvPr>
            <p:cNvPicPr>
              <a:picLocks noChangeAspect="1"/>
            </p:cNvPicPr>
            <p:nvPr/>
          </p:nvPicPr>
          <p:blipFill rotWithShape="1">
            <a:blip r:embed="rId46" cstate="screen">
              <a:extLst>
                <a:ext uri="{28A0092B-C50C-407E-A947-70E740481C1C}">
                  <a14:useLocalDpi xmlns:a14="http://schemas.microsoft.com/office/drawing/2010/main"/>
                </a:ext>
              </a:extLst>
            </a:blip>
            <a:srcRect/>
            <a:stretch/>
          </p:blipFill>
          <p:spPr>
            <a:xfrm>
              <a:off x="8426253" y="3621697"/>
              <a:ext cx="1152000" cy="900129"/>
            </a:xfrm>
            <a:prstGeom prst="rect">
              <a:avLst/>
            </a:prstGeom>
            <a:ln/>
          </p:spPr>
        </p:pic>
        <p:sp>
          <p:nvSpPr>
            <p:cNvPr id="85" name="TextBox 84">
              <a:extLst>
                <a:ext uri="{FF2B5EF4-FFF2-40B4-BE49-F238E27FC236}">
                  <a16:creationId xmlns:a16="http://schemas.microsoft.com/office/drawing/2014/main" id="{039F6B9C-015C-8DD4-1107-8BAB29DE0A50}"/>
                </a:ext>
              </a:extLst>
            </p:cNvPr>
            <p:cNvSpPr txBox="1"/>
            <p:nvPr/>
          </p:nvSpPr>
          <p:spPr>
            <a:xfrm>
              <a:off x="6952369" y="4521826"/>
              <a:ext cx="433577" cy="201467"/>
            </a:xfrm>
            <a:prstGeom prst="rect">
              <a:avLst/>
            </a:prstGeom>
            <a:noFill/>
          </p:spPr>
          <p:txBody>
            <a:bodyPr wrap="none" lIns="0" tIns="0" rIns="0" bIns="0" rtlCol="0" anchor="t">
              <a:noAutofit/>
            </a:bodyPr>
            <a:lstStyle/>
            <a:p>
              <a:r>
                <a:rPr lang="de-DE" sz="1200"/>
                <a:t>2025</a:t>
              </a:r>
            </a:p>
          </p:txBody>
        </p:sp>
        <p:sp>
          <p:nvSpPr>
            <p:cNvPr id="86" name="TextBox 85">
              <a:extLst>
                <a:ext uri="{FF2B5EF4-FFF2-40B4-BE49-F238E27FC236}">
                  <a16:creationId xmlns:a16="http://schemas.microsoft.com/office/drawing/2014/main" id="{89C0EF79-E047-60FA-67E2-1E1007441768}"/>
                </a:ext>
              </a:extLst>
            </p:cNvPr>
            <p:cNvSpPr txBox="1"/>
            <p:nvPr/>
          </p:nvSpPr>
          <p:spPr>
            <a:xfrm>
              <a:off x="9137990" y="4514451"/>
              <a:ext cx="433577" cy="201467"/>
            </a:xfrm>
            <a:prstGeom prst="rect">
              <a:avLst/>
            </a:prstGeom>
            <a:noFill/>
          </p:spPr>
          <p:txBody>
            <a:bodyPr wrap="none" lIns="0" tIns="0" rIns="0" bIns="0" rtlCol="0" anchor="t">
              <a:noAutofit/>
            </a:bodyPr>
            <a:lstStyle/>
            <a:p>
              <a:pPr algn="r"/>
              <a:r>
                <a:rPr lang="de-DE" sz="1200"/>
                <a:t>2045</a:t>
              </a:r>
            </a:p>
          </p:txBody>
        </p:sp>
        <p:grpSp>
          <p:nvGrpSpPr>
            <p:cNvPr id="87" name="Group 86">
              <a:extLst>
                <a:ext uri="{FF2B5EF4-FFF2-40B4-BE49-F238E27FC236}">
                  <a16:creationId xmlns:a16="http://schemas.microsoft.com/office/drawing/2014/main" id="{DA9D4792-3458-928A-69DA-ED3480606297}"/>
                </a:ext>
              </a:extLst>
            </p:cNvPr>
            <p:cNvGrpSpPr/>
            <p:nvPr/>
          </p:nvGrpSpPr>
          <p:grpSpPr>
            <a:xfrm>
              <a:off x="7452758" y="2542866"/>
              <a:ext cx="1549495" cy="941528"/>
              <a:chOff x="7779601" y="2538328"/>
              <a:chExt cx="1549495" cy="941528"/>
            </a:xfrm>
          </p:grpSpPr>
          <p:pic>
            <p:nvPicPr>
              <p:cNvPr id="90" name="Picture 89" descr="A map of a city&#10;&#10;AI-generated content may be incorrect.">
                <a:extLst>
                  <a:ext uri="{FF2B5EF4-FFF2-40B4-BE49-F238E27FC236}">
                    <a16:creationId xmlns:a16="http://schemas.microsoft.com/office/drawing/2014/main" id="{35926EDE-0458-395B-93EB-D8EF348CD0CC}"/>
                  </a:ext>
                </a:extLst>
              </p:cNvPr>
              <p:cNvPicPr>
                <a:picLocks noChangeAspect="1"/>
              </p:cNvPicPr>
              <p:nvPr/>
            </p:nvPicPr>
            <p:blipFill>
              <a:blip r:embed="rId47" cstate="screen">
                <a:extLst>
                  <a:ext uri="{28A0092B-C50C-407E-A947-70E740481C1C}">
                    <a14:useLocalDpi xmlns:a14="http://schemas.microsoft.com/office/drawing/2010/main"/>
                  </a:ext>
                </a:extLst>
              </a:blip>
              <a:srcRect/>
              <a:stretch/>
            </p:blipFill>
            <p:spPr>
              <a:xfrm>
                <a:off x="7779601" y="2538328"/>
                <a:ext cx="1548000" cy="941528"/>
              </a:xfrm>
              <a:prstGeom prst="rect">
                <a:avLst/>
              </a:prstGeom>
            </p:spPr>
          </p:pic>
          <p:sp>
            <p:nvSpPr>
              <p:cNvPr id="91" name="TextBox 90">
                <a:extLst>
                  <a:ext uri="{FF2B5EF4-FFF2-40B4-BE49-F238E27FC236}">
                    <a16:creationId xmlns:a16="http://schemas.microsoft.com/office/drawing/2014/main" id="{96DD640D-3495-CDA5-E5C7-C86FB39DE0D0}"/>
                  </a:ext>
                </a:extLst>
              </p:cNvPr>
              <p:cNvSpPr txBox="1"/>
              <p:nvPr/>
            </p:nvSpPr>
            <p:spPr>
              <a:xfrm>
                <a:off x="7779601" y="2538862"/>
                <a:ext cx="1549495" cy="180207"/>
              </a:xfrm>
              <a:prstGeom prst="rect">
                <a:avLst/>
              </a:prstGeom>
              <a:solidFill>
                <a:srgbClr val="FFFFFF">
                  <a:alpha val="74902"/>
                </a:srgbClr>
              </a:solidFill>
              <a:ln>
                <a:noFill/>
              </a:ln>
            </p:spPr>
            <p:txBody>
              <a:bodyPr wrap="square" lIns="36000" tIns="18000" rIns="36000" bIns="0" rtlCol="0" anchor="t">
                <a:normAutofit/>
              </a:bodyPr>
              <a:lstStyle/>
              <a:p>
                <a:pPr algn="ctr"/>
                <a:r>
                  <a:rPr lang="de-DE" sz="700">
                    <a:solidFill>
                      <a:schemeClr val="accent4">
                        <a:lumMod val="10000"/>
                      </a:schemeClr>
                    </a:solidFill>
                    <a:ea typeface="Roboto Slab" pitchFamily="2" charset="0"/>
                  </a:rPr>
                  <a:t>Eignung für Wärmenetzversorgung</a:t>
                </a:r>
                <a:endParaRPr lang="en-US" sz="700">
                  <a:solidFill>
                    <a:schemeClr val="accent4">
                      <a:lumMod val="10000"/>
                    </a:schemeClr>
                  </a:solidFill>
                  <a:ea typeface="Roboto Slab" pitchFamily="2" charset="0"/>
                </a:endParaRPr>
              </a:p>
            </p:txBody>
          </p:sp>
        </p:grpSp>
        <p:cxnSp>
          <p:nvCxnSpPr>
            <p:cNvPr id="88" name="Connector: Elbow 87">
              <a:extLst>
                <a:ext uri="{FF2B5EF4-FFF2-40B4-BE49-F238E27FC236}">
                  <a16:creationId xmlns:a16="http://schemas.microsoft.com/office/drawing/2014/main" id="{94B7EC5D-1718-9CDB-BE92-5596270EAE71}"/>
                </a:ext>
              </a:extLst>
            </p:cNvPr>
            <p:cNvCxnSpPr/>
            <p:nvPr/>
          </p:nvCxnSpPr>
          <p:spPr>
            <a:xfrm rot="5400000" flipH="1" flipV="1">
              <a:off x="6967259" y="3162722"/>
              <a:ext cx="620584" cy="216789"/>
            </a:xfrm>
            <a:prstGeom prst="bentConnector3">
              <a:avLst>
                <a:gd name="adj1" fmla="val 10034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Connector: Elbow 88">
              <a:extLst>
                <a:ext uri="{FF2B5EF4-FFF2-40B4-BE49-F238E27FC236}">
                  <a16:creationId xmlns:a16="http://schemas.microsoft.com/office/drawing/2014/main" id="{D70259DC-5BD3-E1D9-91A1-022FA4984D2A}"/>
                </a:ext>
              </a:extLst>
            </p:cNvPr>
            <p:cNvCxnSpPr>
              <a:cxnSpLocks/>
            </p:cNvCxnSpPr>
            <p:nvPr/>
          </p:nvCxnSpPr>
          <p:spPr>
            <a:xfrm rot="16200000" flipH="1">
              <a:off x="8817883" y="3168896"/>
              <a:ext cx="612027" cy="195879"/>
            </a:xfrm>
            <a:prstGeom prst="bentConnector3">
              <a:avLst>
                <a:gd name="adj1" fmla="val -1047"/>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25" name="TextBox 124">
            <a:extLst>
              <a:ext uri="{FF2B5EF4-FFF2-40B4-BE49-F238E27FC236}">
                <a16:creationId xmlns:a16="http://schemas.microsoft.com/office/drawing/2014/main" id="{BE57649E-37A5-7BFC-EECC-14ED8275468D}"/>
              </a:ext>
            </a:extLst>
          </p:cNvPr>
          <p:cNvSpPr txBox="1"/>
          <p:nvPr/>
        </p:nvSpPr>
        <p:spPr>
          <a:xfrm>
            <a:off x="207963" y="5001946"/>
            <a:ext cx="9363604" cy="373329"/>
          </a:xfrm>
          <a:prstGeom prst="rect">
            <a:avLst/>
          </a:prstGeom>
          <a:noFill/>
          <a:ln w="15875">
            <a:solidFill>
              <a:schemeClr val="accent1"/>
            </a:solidFill>
          </a:ln>
        </p:spPr>
        <p:txBody>
          <a:bodyPr wrap="square" lIns="0" tIns="0" rIns="0" bIns="0" rtlCol="0" anchor="ctr">
            <a:noAutofit/>
          </a:bodyPr>
          <a:lstStyle/>
          <a:p>
            <a:pPr algn="ctr"/>
            <a:r>
              <a:rPr lang="de-DE" sz="1400" b="1" dirty="0"/>
              <a:t>Umsetzungsstrategie </a:t>
            </a:r>
            <a:r>
              <a:rPr lang="de-DE" sz="1400" b="1" dirty="0">
                <a:sym typeface="Wingdings" panose="05000000000000000000" pitchFamily="2" charset="2"/>
              </a:rPr>
              <a:t> Maßnahmenentwicklung</a:t>
            </a:r>
            <a:endParaRPr lang="de-DE" sz="1400" b="1" dirty="0"/>
          </a:p>
        </p:txBody>
      </p:sp>
      <p:sp>
        <p:nvSpPr>
          <p:cNvPr id="126" name="Rectangle 125">
            <a:extLst>
              <a:ext uri="{FF2B5EF4-FFF2-40B4-BE49-F238E27FC236}">
                <a16:creationId xmlns:a16="http://schemas.microsoft.com/office/drawing/2014/main" id="{561381CD-588F-8B4E-276C-F3EA461FBA22}"/>
              </a:ext>
            </a:extLst>
          </p:cNvPr>
          <p:cNvSpPr/>
          <p:nvPr/>
        </p:nvSpPr>
        <p:spPr bwMode="gray">
          <a:xfrm>
            <a:off x="528164" y="5556053"/>
            <a:ext cx="8726400" cy="288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noAutofit/>
          </a:bodyPr>
          <a:lstStyle/>
          <a:p>
            <a:pPr algn="ctr">
              <a:lnSpc>
                <a:spcPct val="90000"/>
              </a:lnSpc>
            </a:pPr>
            <a:r>
              <a:rPr lang="de-DE" sz="1400" b="1">
                <a:solidFill>
                  <a:schemeClr val="bg1"/>
                </a:solidFill>
              </a:rPr>
              <a:t>Beteiligung und Kommunikation</a:t>
            </a:r>
            <a:endParaRPr lang="de-DE" sz="2000" b="1">
              <a:solidFill>
                <a:schemeClr val="bg1"/>
              </a:solidFill>
            </a:endParaRPr>
          </a:p>
        </p:txBody>
      </p:sp>
      <p:sp>
        <p:nvSpPr>
          <p:cNvPr id="128" name="Isosceles Triangle 127">
            <a:extLst>
              <a:ext uri="{FF2B5EF4-FFF2-40B4-BE49-F238E27FC236}">
                <a16:creationId xmlns:a16="http://schemas.microsoft.com/office/drawing/2014/main" id="{568554B4-4563-AD2F-D0A9-9219674AE970}"/>
              </a:ext>
            </a:extLst>
          </p:cNvPr>
          <p:cNvSpPr/>
          <p:nvPr/>
        </p:nvSpPr>
        <p:spPr bwMode="gray">
          <a:xfrm rot="5400000">
            <a:off x="9290564" y="5556053"/>
            <a:ext cx="288000" cy="288000"/>
          </a:xfrm>
          <a:prstGeom prst="triangl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129" name="Isosceles Triangle 128">
            <a:extLst>
              <a:ext uri="{FF2B5EF4-FFF2-40B4-BE49-F238E27FC236}">
                <a16:creationId xmlns:a16="http://schemas.microsoft.com/office/drawing/2014/main" id="{B9B2D226-8E10-C402-2E2C-01F5182AAD7E}"/>
              </a:ext>
            </a:extLst>
          </p:cNvPr>
          <p:cNvSpPr/>
          <p:nvPr/>
        </p:nvSpPr>
        <p:spPr bwMode="gray">
          <a:xfrm rot="16200000" flipH="1">
            <a:off x="204164" y="5556053"/>
            <a:ext cx="288000" cy="288000"/>
          </a:xfrm>
          <a:prstGeom prst="triangl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130" name="Isosceles Triangle 129">
            <a:extLst>
              <a:ext uri="{FF2B5EF4-FFF2-40B4-BE49-F238E27FC236}">
                <a16:creationId xmlns:a16="http://schemas.microsoft.com/office/drawing/2014/main" id="{9BEDDE2A-3F66-DB89-895D-0D8B2E32B09F}"/>
              </a:ext>
            </a:extLst>
          </p:cNvPr>
          <p:cNvSpPr/>
          <p:nvPr/>
        </p:nvSpPr>
        <p:spPr bwMode="gray">
          <a:xfrm rot="10800000">
            <a:off x="3852710" y="4717095"/>
            <a:ext cx="2074109" cy="240936"/>
          </a:xfrm>
          <a:prstGeom prst="triangle">
            <a:avLst/>
          </a:prstGeom>
          <a:solidFill>
            <a:schemeClr val="accent6">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8725" tIns="28725" rIns="28725" bIns="28725" rtlCol="0" anchor="ctr">
            <a:noAutofit/>
          </a:bodyPr>
          <a:lstStyle/>
          <a:p>
            <a:pPr algn="ctr"/>
            <a:endParaRPr lang="de-DE" sz="1117">
              <a:solidFill>
                <a:schemeClr val="tx1"/>
              </a:solidFill>
            </a:endParaRPr>
          </a:p>
        </p:txBody>
      </p:sp>
      <p:pic>
        <p:nvPicPr>
          <p:cNvPr id="140" name="Graphic 139">
            <a:extLst>
              <a:ext uri="{FF2B5EF4-FFF2-40B4-BE49-F238E27FC236}">
                <a16:creationId xmlns:a16="http://schemas.microsoft.com/office/drawing/2014/main" id="{DC3085C4-69A7-B9F1-7F35-63A129004EA5}"/>
              </a:ext>
            </a:extLst>
          </p:cNvPr>
          <p:cNvPicPr>
            <a:picLocks noChangeAspect="1"/>
          </p:cNvPicPr>
          <p:nvPr/>
        </p:nvPicPr>
        <p:blipFill>
          <a:blip r:embed="rId48" cstate="print">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2479342" y="5018113"/>
            <a:ext cx="324000" cy="324000"/>
          </a:xfrm>
          <a:prstGeom prst="rect">
            <a:avLst/>
          </a:prstGeom>
        </p:spPr>
      </p:pic>
      <p:grpSp>
        <p:nvGrpSpPr>
          <p:cNvPr id="141" name="Group 140">
            <a:extLst>
              <a:ext uri="{FF2B5EF4-FFF2-40B4-BE49-F238E27FC236}">
                <a16:creationId xmlns:a16="http://schemas.microsoft.com/office/drawing/2014/main" id="{FCC79294-9A88-6A38-94F7-A6E408AECA34}"/>
              </a:ext>
            </a:extLst>
          </p:cNvPr>
          <p:cNvGrpSpPr>
            <a:grpSpLocks noChangeAspect="1"/>
          </p:cNvGrpSpPr>
          <p:nvPr>
            <p:custDataLst>
              <p:tags r:id="rId3"/>
            </p:custDataLst>
          </p:nvPr>
        </p:nvGrpSpPr>
        <p:grpSpPr>
          <a:xfrm>
            <a:off x="2705976" y="5544190"/>
            <a:ext cx="324000" cy="324000"/>
            <a:chOff x="1270000" y="1270000"/>
            <a:chExt cx="889000" cy="889000"/>
          </a:xfrm>
          <a:solidFill>
            <a:schemeClr val="bg1"/>
          </a:solidFill>
        </p:grpSpPr>
        <p:sp>
          <p:nvSpPr>
            <p:cNvPr id="142" name="Rectangle 141" hidden="1">
              <a:extLst>
                <a:ext uri="{FF2B5EF4-FFF2-40B4-BE49-F238E27FC236}">
                  <a16:creationId xmlns:a16="http://schemas.microsoft.com/office/drawing/2014/main" id="{CFAAADC9-F39C-9B9A-CF17-72C287A11A25}"/>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43" name="Graphic 142">
              <a:extLst>
                <a:ext uri="{FF2B5EF4-FFF2-40B4-BE49-F238E27FC236}">
                  <a16:creationId xmlns:a16="http://schemas.microsoft.com/office/drawing/2014/main" id="{CFBC54F0-AF52-2EF4-4B4E-EEA37922BD40}"/>
                </a:ext>
              </a:extLst>
            </p:cNvPr>
            <p:cNvPicPr>
              <a:picLocks noChangeAspect="1"/>
            </p:cNvPicPr>
            <p:nvPr/>
          </p:nvPicPr>
          <p:blipFill>
            <a:blip r:embed="rId50" cstate="print">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1270000" y="1270000"/>
              <a:ext cx="889000" cy="889000"/>
            </a:xfrm>
            <a:prstGeom prst="rect">
              <a:avLst/>
            </a:prstGeom>
          </p:spPr>
        </p:pic>
      </p:grpSp>
      <p:grpSp>
        <p:nvGrpSpPr>
          <p:cNvPr id="144" name="Group 143">
            <a:extLst>
              <a:ext uri="{FF2B5EF4-FFF2-40B4-BE49-F238E27FC236}">
                <a16:creationId xmlns:a16="http://schemas.microsoft.com/office/drawing/2014/main" id="{E8E21631-FC65-3028-39F9-0FFFE4FB09DB}"/>
              </a:ext>
            </a:extLst>
          </p:cNvPr>
          <p:cNvGrpSpPr>
            <a:grpSpLocks noChangeAspect="1"/>
          </p:cNvGrpSpPr>
          <p:nvPr>
            <p:custDataLst>
              <p:tags r:id="rId4"/>
            </p:custDataLst>
          </p:nvPr>
        </p:nvGrpSpPr>
        <p:grpSpPr>
          <a:xfrm>
            <a:off x="3053837" y="5535693"/>
            <a:ext cx="324000" cy="324000"/>
            <a:chOff x="1270000" y="1270000"/>
            <a:chExt cx="889000" cy="889000"/>
          </a:xfrm>
          <a:solidFill>
            <a:schemeClr val="bg1"/>
          </a:solidFill>
        </p:grpSpPr>
        <p:sp>
          <p:nvSpPr>
            <p:cNvPr id="145" name="Rectangle 144" hidden="1">
              <a:extLst>
                <a:ext uri="{FF2B5EF4-FFF2-40B4-BE49-F238E27FC236}">
                  <a16:creationId xmlns:a16="http://schemas.microsoft.com/office/drawing/2014/main" id="{F2AEB740-6A46-5C83-628D-C42DB16585CC}"/>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46" name="Graphic 145">
              <a:extLst>
                <a:ext uri="{FF2B5EF4-FFF2-40B4-BE49-F238E27FC236}">
                  <a16:creationId xmlns:a16="http://schemas.microsoft.com/office/drawing/2014/main" id="{B9EE4D22-C1E7-C758-BB05-442307635210}"/>
                </a:ext>
              </a:extLst>
            </p:cNvPr>
            <p:cNvPicPr>
              <a:picLocks noChangeAspect="1"/>
            </p:cNvPicPr>
            <p:nvPr/>
          </p:nvPicPr>
          <p:blipFill>
            <a:blip r:embed="rId52" cstate="print">
              <a:extLst>
                <a:ext uri="{28A0092B-C50C-407E-A947-70E740481C1C}">
                  <a14:useLocalDpi xmlns:a14="http://schemas.microsoft.com/office/drawing/2010/main" val="0"/>
                </a:ext>
                <a:ext uri="{96DAC541-7B7A-43D3-8B79-37D633B846F1}">
                  <asvg:svgBlip xmlns:asvg="http://schemas.microsoft.com/office/drawing/2016/SVG/main" r:embed="rId53"/>
                </a:ext>
              </a:extLst>
            </a:blip>
            <a:stretch>
              <a:fillRect/>
            </a:stretch>
          </p:blipFill>
          <p:spPr>
            <a:xfrm>
              <a:off x="1270000" y="1270000"/>
              <a:ext cx="889000" cy="889000"/>
            </a:xfrm>
            <a:prstGeom prst="rect">
              <a:avLst/>
            </a:prstGeom>
          </p:spPr>
        </p:pic>
      </p:grpSp>
    </p:spTree>
    <p:extLst>
      <p:ext uri="{BB962C8B-B14F-4D97-AF65-F5344CB8AC3E}">
        <p14:creationId xmlns:p14="http://schemas.microsoft.com/office/powerpoint/2010/main" val="24785473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7E604-C602-7695-01F3-E6954F366A95}"/>
              </a:ext>
            </a:extLst>
          </p:cNvPr>
          <p:cNvSpPr>
            <a:spLocks noGrp="1"/>
          </p:cNvSpPr>
          <p:nvPr>
            <p:ph type="ctrTitle"/>
          </p:nvPr>
        </p:nvSpPr>
        <p:spPr/>
        <p:txBody>
          <a:bodyPr/>
          <a:lstStyle/>
          <a:p>
            <a:r>
              <a:rPr lang="de-DE" dirty="0"/>
              <a:t>Gesetzliche Grundlage der KWP</a:t>
            </a:r>
          </a:p>
        </p:txBody>
      </p:sp>
      <p:sp>
        <p:nvSpPr>
          <p:cNvPr id="3" name="Text Placeholder 2">
            <a:extLst>
              <a:ext uri="{FF2B5EF4-FFF2-40B4-BE49-F238E27FC236}">
                <a16:creationId xmlns:a16="http://schemas.microsoft.com/office/drawing/2014/main" id="{1720FF77-054C-889E-C597-2C06C40B9671}"/>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36910209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230786-2ED7-6560-B371-8769BF43290C}"/>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A3618AD-4242-8867-F52E-FCE4941E8AF8}"/>
              </a:ext>
            </a:extLst>
          </p:cNvPr>
          <p:cNvSpPr>
            <a:spLocks noGrp="1"/>
          </p:cNvSpPr>
          <p:nvPr>
            <p:ph type="sldNum" sz="quarter" idx="11"/>
          </p:nvPr>
        </p:nvSpPr>
        <p:spPr/>
        <p:txBody>
          <a:bodyPr/>
          <a:lstStyle/>
          <a:p>
            <a:endParaRPr lang="de-DE">
              <a:latin typeface="Roboto" panose="02000000000000000000" pitchFamily="2" charset="0"/>
            </a:endParaRPr>
          </a:p>
          <a:p>
            <a:fld id="{24C420F5-194C-40F2-A080-C5F3EDD89037}" type="slidenum">
              <a:rPr lang="de-DE" smtClean="0">
                <a:latin typeface="Roboto" panose="02000000000000000000" pitchFamily="2" charset="0"/>
              </a:rPr>
              <a:pPr/>
              <a:t>26</a:t>
            </a:fld>
            <a:endParaRPr lang="de-DE">
              <a:latin typeface="Roboto" panose="02000000000000000000" pitchFamily="2" charset="0"/>
            </a:endParaRPr>
          </a:p>
        </p:txBody>
      </p:sp>
      <p:sp>
        <p:nvSpPr>
          <p:cNvPr id="3" name="Title 2">
            <a:extLst>
              <a:ext uri="{FF2B5EF4-FFF2-40B4-BE49-F238E27FC236}">
                <a16:creationId xmlns:a16="http://schemas.microsoft.com/office/drawing/2014/main" id="{2CC34E69-96A2-DDD8-AEB3-30FDFF00BAC7}"/>
              </a:ext>
            </a:extLst>
          </p:cNvPr>
          <p:cNvSpPr>
            <a:spLocks noGrp="1"/>
          </p:cNvSpPr>
          <p:nvPr>
            <p:ph type="title"/>
          </p:nvPr>
        </p:nvSpPr>
        <p:spPr/>
        <p:txBody>
          <a:bodyPr/>
          <a:lstStyle/>
          <a:p>
            <a:br>
              <a:rPr lang="de-DE" b="1" dirty="0">
                <a:latin typeface="Roboto" panose="02000000000000000000" pitchFamily="2" charset="0"/>
              </a:rPr>
            </a:br>
            <a:r>
              <a:rPr lang="de-DE" b="1" dirty="0">
                <a:latin typeface="Roboto" panose="02000000000000000000" pitchFamily="2" charset="0"/>
              </a:rPr>
              <a:t>Aktuell geltende </a:t>
            </a:r>
            <a:r>
              <a:rPr lang="de-DE" dirty="0"/>
              <a:t>g</a:t>
            </a:r>
            <a:r>
              <a:rPr lang="de-DE" dirty="0">
                <a:latin typeface="Roboto" panose="02000000000000000000" pitchFamily="2" charset="0"/>
              </a:rPr>
              <a:t>esetzliche Grundlage der Kommunalen Wärmeplanung (27.04.2026)</a:t>
            </a:r>
          </a:p>
        </p:txBody>
      </p:sp>
      <p:sp>
        <p:nvSpPr>
          <p:cNvPr id="4" name="Footer Placeholder 3">
            <a:extLst>
              <a:ext uri="{FF2B5EF4-FFF2-40B4-BE49-F238E27FC236}">
                <a16:creationId xmlns:a16="http://schemas.microsoft.com/office/drawing/2014/main" id="{5BD58262-6637-4895-B730-913618DA607F}"/>
              </a:ext>
            </a:extLst>
          </p:cNvPr>
          <p:cNvSpPr>
            <a:spLocks noGrp="1"/>
          </p:cNvSpPr>
          <p:nvPr>
            <p:ph type="ftr" sz="quarter" idx="12"/>
          </p:nvPr>
        </p:nvSpPr>
        <p:spPr/>
        <p:txBody>
          <a:bodyPr/>
          <a:lstStyle/>
          <a:p>
            <a:r>
              <a:rPr lang="de-DE">
                <a:latin typeface="Roboto" panose="02000000000000000000" pitchFamily="2" charset="0"/>
              </a:rPr>
              <a:t>© 2026</a:t>
            </a:r>
          </a:p>
          <a:p>
            <a:r>
              <a:rPr lang="de-DE">
                <a:latin typeface="Roboto" panose="02000000000000000000" pitchFamily="2" charset="0"/>
              </a:rPr>
              <a:t>d-fine</a:t>
            </a:r>
          </a:p>
        </p:txBody>
      </p:sp>
      <p:grpSp>
        <p:nvGrpSpPr>
          <p:cNvPr id="9" name="header_box">
            <a:extLst>
              <a:ext uri="{FF2B5EF4-FFF2-40B4-BE49-F238E27FC236}">
                <a16:creationId xmlns:a16="http://schemas.microsoft.com/office/drawing/2014/main" id="{BEED6288-52D6-E97B-C0DF-AA1AFD3EDAE2}"/>
              </a:ext>
            </a:extLst>
          </p:cNvPr>
          <p:cNvGrpSpPr/>
          <p:nvPr>
            <p:custDataLst>
              <p:tags r:id="rId1"/>
            </p:custDataLst>
          </p:nvPr>
        </p:nvGrpSpPr>
        <p:grpSpPr>
          <a:xfrm>
            <a:off x="208026" y="1997531"/>
            <a:ext cx="3375182" cy="1455944"/>
            <a:chOff x="4147818" y="2527300"/>
            <a:chExt cx="2880362" cy="620226"/>
          </a:xfrm>
        </p:grpSpPr>
        <p:sp>
          <p:nvSpPr>
            <p:cNvPr id="8" name="box_text">
              <a:extLst>
                <a:ext uri="{FF2B5EF4-FFF2-40B4-BE49-F238E27FC236}">
                  <a16:creationId xmlns:a16="http://schemas.microsoft.com/office/drawing/2014/main" id="{0BFF83C2-A936-C91E-6281-A61B08EE2B0D}"/>
                </a:ext>
              </a:extLst>
            </p:cNvPr>
            <p:cNvSpPr/>
            <p:nvPr>
              <p:custDataLst>
                <p:tags r:id="rId19"/>
              </p:custDataLst>
            </p:nvPr>
          </p:nvSpPr>
          <p:spPr bwMode="gray">
            <a:xfrm>
              <a:off x="4147819" y="2730748"/>
              <a:ext cx="2880361" cy="416778"/>
            </a:xfrm>
            <a:prstGeom prst="rect">
              <a:avLst/>
            </a:prstGeom>
            <a:noFill/>
            <a:ln w="9525">
              <a:solidFill>
                <a:srgbClr val="EFEEEB"/>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36005" tIns="144018" rIns="36005" bIns="36005" rtlCol="0" anchor="t">
              <a:noAutofit/>
            </a:bodyPr>
            <a:lstStyle/>
            <a:p>
              <a:pPr marL="171450" indent="-171450">
                <a:lnSpc>
                  <a:spcPct val="113000"/>
                </a:lnSpc>
                <a:spcBef>
                  <a:spcPts val="600"/>
                </a:spcBef>
                <a:buFont typeface="Wingdings" panose="05000000000000000000" pitchFamily="2" charset="2"/>
                <a:buChar char="§"/>
              </a:pPr>
              <a:r>
                <a:rPr lang="de-DE" sz="1200" dirty="0">
                  <a:solidFill>
                    <a:srgbClr val="003C50"/>
                  </a:solidFill>
                  <a:latin typeface="Roboto" panose="02000000000000000000" pitchFamily="2" charset="0"/>
                </a:rPr>
                <a:t>Regelt bundesweit die </a:t>
              </a:r>
              <a:r>
                <a:rPr lang="de-DE" sz="1200" b="1" dirty="0">
                  <a:solidFill>
                    <a:srgbClr val="003C50"/>
                  </a:solidFill>
                  <a:latin typeface="Roboto" panose="02000000000000000000" pitchFamily="2" charset="0"/>
                </a:rPr>
                <a:t>Wärmeplanung</a:t>
              </a:r>
              <a:endParaRPr lang="de-DE" sz="1200" dirty="0">
                <a:solidFill>
                  <a:srgbClr val="003C50"/>
                </a:solidFill>
                <a:latin typeface="Roboto" panose="02000000000000000000" pitchFamily="2" charset="0"/>
              </a:endParaRPr>
            </a:p>
            <a:p>
              <a:pPr marL="180023" indent="-180023">
                <a:lnSpc>
                  <a:spcPct val="113000"/>
                </a:lnSpc>
                <a:spcBef>
                  <a:spcPts val="600"/>
                </a:spcBef>
                <a:buClr>
                  <a:srgbClr val="003C50"/>
                </a:buClr>
                <a:buFont typeface="Wingdings" panose="05000000000000000000" pitchFamily="2" charset="2"/>
                <a:buChar char="§"/>
              </a:pPr>
              <a:r>
                <a:rPr lang="en-GB" sz="1200" dirty="0" err="1">
                  <a:solidFill>
                    <a:srgbClr val="003C50"/>
                  </a:solidFill>
                  <a:latin typeface="Roboto" panose="02000000000000000000" pitchFamily="2" charset="0"/>
                </a:rPr>
                <a:t>Kommunen</a:t>
              </a:r>
              <a:r>
                <a:rPr lang="en-GB" sz="1200" dirty="0">
                  <a:solidFill>
                    <a:srgbClr val="003C50"/>
                  </a:solidFill>
                  <a:latin typeface="Roboto" panose="02000000000000000000" pitchFamily="2" charset="0"/>
                </a:rPr>
                <a:t> </a:t>
              </a:r>
              <a:r>
                <a:rPr lang="en-GB" sz="1200" dirty="0" err="1">
                  <a:solidFill>
                    <a:srgbClr val="003C50"/>
                  </a:solidFill>
                  <a:latin typeface="Roboto" panose="02000000000000000000" pitchFamily="2" charset="0"/>
                </a:rPr>
                <a:t>haben</a:t>
              </a:r>
              <a:r>
                <a:rPr lang="en-GB" sz="1200" dirty="0">
                  <a:solidFill>
                    <a:srgbClr val="003C50"/>
                  </a:solidFill>
                  <a:latin typeface="Roboto" panose="02000000000000000000" pitchFamily="2" charset="0"/>
                </a:rPr>
                <a:t> </a:t>
              </a:r>
              <a:r>
                <a:rPr lang="en-GB" sz="1200" dirty="0" err="1">
                  <a:solidFill>
                    <a:srgbClr val="003C50"/>
                  </a:solidFill>
                  <a:latin typeface="Roboto" panose="02000000000000000000" pitchFamily="2" charset="0"/>
                </a:rPr>
                <a:t>einen</a:t>
              </a:r>
              <a:r>
                <a:rPr lang="en-GB" sz="1200" dirty="0">
                  <a:solidFill>
                    <a:srgbClr val="003C50"/>
                  </a:solidFill>
                  <a:latin typeface="Roboto" panose="02000000000000000000" pitchFamily="2" charset="0"/>
                </a:rPr>
                <a:t> </a:t>
              </a:r>
              <a:r>
                <a:rPr lang="en-GB" sz="1200" b="1" dirty="0" err="1">
                  <a:solidFill>
                    <a:srgbClr val="003C50"/>
                  </a:solidFill>
                  <a:latin typeface="Roboto" panose="02000000000000000000" pitchFamily="2" charset="0"/>
                </a:rPr>
                <a:t>Wärmeplan</a:t>
              </a:r>
              <a:r>
                <a:rPr lang="en-GB" sz="1200" dirty="0">
                  <a:solidFill>
                    <a:srgbClr val="003C50"/>
                  </a:solidFill>
                  <a:latin typeface="Roboto" panose="02000000000000000000" pitchFamily="2" charset="0"/>
                </a:rPr>
                <a:t> </a:t>
              </a:r>
              <a:r>
                <a:rPr lang="en-GB" sz="1200" dirty="0" err="1">
                  <a:solidFill>
                    <a:srgbClr val="003C50"/>
                  </a:solidFill>
                  <a:latin typeface="Roboto" panose="02000000000000000000" pitchFamily="2" charset="0"/>
                </a:rPr>
                <a:t>vorzulegen</a:t>
              </a:r>
              <a:endParaRPr lang="en-GB" sz="1200" dirty="0">
                <a:solidFill>
                  <a:srgbClr val="003C50"/>
                </a:solidFill>
                <a:latin typeface="Roboto" panose="02000000000000000000" pitchFamily="2" charset="0"/>
              </a:endParaRPr>
            </a:p>
            <a:p>
              <a:endParaRPr lang="de-DE" sz="1200" b="1" dirty="0">
                <a:solidFill>
                  <a:srgbClr val="003C50"/>
                </a:solidFill>
                <a:latin typeface="Roboto" panose="02000000000000000000" pitchFamily="2" charset="0"/>
              </a:endParaRPr>
            </a:p>
            <a:p>
              <a:pPr marL="171450" indent="-171450">
                <a:buFont typeface="Wingdings" panose="05000000000000000000" pitchFamily="2" charset="2"/>
                <a:buChar char="§"/>
              </a:pPr>
              <a:endParaRPr lang="de-DE" sz="1200" b="1" dirty="0">
                <a:solidFill>
                  <a:srgbClr val="003C50"/>
                </a:solidFill>
                <a:latin typeface="Roboto" panose="02000000000000000000" pitchFamily="2" charset="0"/>
              </a:endParaRPr>
            </a:p>
          </p:txBody>
        </p:sp>
        <p:sp>
          <p:nvSpPr>
            <p:cNvPr id="6" name="box_header">
              <a:extLst>
                <a:ext uri="{FF2B5EF4-FFF2-40B4-BE49-F238E27FC236}">
                  <a16:creationId xmlns:a16="http://schemas.microsoft.com/office/drawing/2014/main" id="{EC3D76E5-6650-4A36-BE00-4CE6D97089BD}"/>
                </a:ext>
              </a:extLst>
            </p:cNvPr>
            <p:cNvSpPr/>
            <p:nvPr>
              <p:custDataLst>
                <p:tags r:id="rId20"/>
              </p:custDataLst>
            </p:nvPr>
          </p:nvSpPr>
          <p:spPr bwMode="gray">
            <a:xfrm>
              <a:off x="4147818" y="2527300"/>
              <a:ext cx="2880361" cy="249974"/>
            </a:xfrm>
            <a:custGeom>
              <a:avLst/>
              <a:gdLst>
                <a:gd name="connsiteX0" fmla="*/ 0 w 2880361"/>
                <a:gd name="connsiteY0" fmla="*/ 0 h 396049"/>
                <a:gd name="connsiteX1" fmla="*/ 2880361 w 2880361"/>
                <a:gd name="connsiteY1" fmla="*/ 0 h 396049"/>
                <a:gd name="connsiteX2" fmla="*/ 2880361 w 2880361"/>
                <a:gd name="connsiteY2" fmla="*/ 288036 h 396049"/>
                <a:gd name="connsiteX3" fmla="*/ 1548194 w 2880361"/>
                <a:gd name="connsiteY3" fmla="*/ 288036 h 396049"/>
                <a:gd name="connsiteX4" fmla="*/ 1440181 w 2880361"/>
                <a:gd name="connsiteY4" fmla="*/ 396049 h 396049"/>
                <a:gd name="connsiteX5" fmla="*/ 1332167 w 2880361"/>
                <a:gd name="connsiteY5" fmla="*/ 288036 h 396049"/>
                <a:gd name="connsiteX6" fmla="*/ 0 w 2880361"/>
                <a:gd name="connsiteY6" fmla="*/ 288036 h 396049"/>
                <a:gd name="connsiteX0" fmla="*/ 0 w 2880361"/>
                <a:gd name="connsiteY0" fmla="*/ 0 h 334050"/>
                <a:gd name="connsiteX1" fmla="*/ 2880361 w 2880361"/>
                <a:gd name="connsiteY1" fmla="*/ 0 h 334050"/>
                <a:gd name="connsiteX2" fmla="*/ 2880361 w 2880361"/>
                <a:gd name="connsiteY2" fmla="*/ 288036 h 334050"/>
                <a:gd name="connsiteX3" fmla="*/ 1548194 w 2880361"/>
                <a:gd name="connsiteY3" fmla="*/ 288036 h 334050"/>
                <a:gd name="connsiteX4" fmla="*/ 1440182 w 2880361"/>
                <a:gd name="connsiteY4" fmla="*/ 334050 h 334050"/>
                <a:gd name="connsiteX5" fmla="*/ 1332167 w 2880361"/>
                <a:gd name="connsiteY5" fmla="*/ 288036 h 334050"/>
                <a:gd name="connsiteX6" fmla="*/ 0 w 2880361"/>
                <a:gd name="connsiteY6" fmla="*/ 288036 h 334050"/>
                <a:gd name="connsiteX0" fmla="*/ 0 w 2880361"/>
                <a:gd name="connsiteY0" fmla="*/ 0 h 334050"/>
                <a:gd name="connsiteX1" fmla="*/ 2880361 w 2880361"/>
                <a:gd name="connsiteY1" fmla="*/ 0 h 334050"/>
                <a:gd name="connsiteX2" fmla="*/ 2880361 w 2880361"/>
                <a:gd name="connsiteY2" fmla="*/ 288036 h 334050"/>
                <a:gd name="connsiteX3" fmla="*/ 1548194 w 2880361"/>
                <a:gd name="connsiteY3" fmla="*/ 288036 h 334050"/>
                <a:gd name="connsiteX4" fmla="*/ 1440182 w 2880361"/>
                <a:gd name="connsiteY4" fmla="*/ 334050 h 334050"/>
                <a:gd name="connsiteX5" fmla="*/ 1332168 w 2880361"/>
                <a:gd name="connsiteY5" fmla="*/ 288036 h 334050"/>
                <a:gd name="connsiteX6" fmla="*/ 0 w 2880361"/>
                <a:gd name="connsiteY6" fmla="*/ 288036 h 334050"/>
                <a:gd name="connsiteX0" fmla="*/ 0 w 2880361"/>
                <a:gd name="connsiteY0" fmla="*/ 0 h 334050"/>
                <a:gd name="connsiteX1" fmla="*/ 2880361 w 2880361"/>
                <a:gd name="connsiteY1" fmla="*/ 0 h 334050"/>
                <a:gd name="connsiteX2" fmla="*/ 2880361 w 2880361"/>
                <a:gd name="connsiteY2" fmla="*/ 288036 h 334050"/>
                <a:gd name="connsiteX3" fmla="*/ 1539017 w 2880361"/>
                <a:gd name="connsiteY3" fmla="*/ 288036 h 334050"/>
                <a:gd name="connsiteX4" fmla="*/ 1440182 w 2880361"/>
                <a:gd name="connsiteY4" fmla="*/ 334050 h 334050"/>
                <a:gd name="connsiteX5" fmla="*/ 1332168 w 2880361"/>
                <a:gd name="connsiteY5" fmla="*/ 288036 h 334050"/>
                <a:gd name="connsiteX6" fmla="*/ 0 w 2880361"/>
                <a:gd name="connsiteY6" fmla="*/ 288036 h 334050"/>
                <a:gd name="connsiteX0" fmla="*/ 0 w 2880361"/>
                <a:gd name="connsiteY0" fmla="*/ 0 h 334049"/>
                <a:gd name="connsiteX1" fmla="*/ 2880361 w 2880361"/>
                <a:gd name="connsiteY1" fmla="*/ 0 h 334049"/>
                <a:gd name="connsiteX2" fmla="*/ 2880361 w 2880361"/>
                <a:gd name="connsiteY2" fmla="*/ 288036 h 334049"/>
                <a:gd name="connsiteX3" fmla="*/ 1539017 w 2880361"/>
                <a:gd name="connsiteY3" fmla="*/ 288036 h 334049"/>
                <a:gd name="connsiteX4" fmla="*/ 1440180 w 2880361"/>
                <a:gd name="connsiteY4" fmla="*/ 334049 h 334049"/>
                <a:gd name="connsiteX5" fmla="*/ 1332168 w 2880361"/>
                <a:gd name="connsiteY5" fmla="*/ 288036 h 334049"/>
                <a:gd name="connsiteX6" fmla="*/ 0 w 2880361"/>
                <a:gd name="connsiteY6" fmla="*/ 288036 h 334049"/>
                <a:gd name="connsiteX0" fmla="*/ 0 w 2880361"/>
                <a:gd name="connsiteY0" fmla="*/ 0 h 334049"/>
                <a:gd name="connsiteX1" fmla="*/ 2880361 w 2880361"/>
                <a:gd name="connsiteY1" fmla="*/ 0 h 334049"/>
                <a:gd name="connsiteX2" fmla="*/ 2880361 w 2880361"/>
                <a:gd name="connsiteY2" fmla="*/ 288036 h 334049"/>
                <a:gd name="connsiteX3" fmla="*/ 1539017 w 2880361"/>
                <a:gd name="connsiteY3" fmla="*/ 288036 h 334049"/>
                <a:gd name="connsiteX4" fmla="*/ 1440180 w 2880361"/>
                <a:gd name="connsiteY4" fmla="*/ 334049 h 334049"/>
                <a:gd name="connsiteX5" fmla="*/ 1341344 w 2880361"/>
                <a:gd name="connsiteY5" fmla="*/ 288036 h 334049"/>
                <a:gd name="connsiteX6" fmla="*/ 0 w 2880361"/>
                <a:gd name="connsiteY6" fmla="*/ 288036 h 334049"/>
                <a:gd name="connsiteX0" fmla="*/ 0 w 2880361"/>
                <a:gd name="connsiteY0" fmla="*/ 0 h 334049"/>
                <a:gd name="connsiteX1" fmla="*/ 2880361 w 2880361"/>
                <a:gd name="connsiteY1" fmla="*/ 0 h 334049"/>
                <a:gd name="connsiteX2" fmla="*/ 2880361 w 2880361"/>
                <a:gd name="connsiteY2" fmla="*/ 288036 h 334049"/>
                <a:gd name="connsiteX3" fmla="*/ 1539017 w 2880361"/>
                <a:gd name="connsiteY3" fmla="*/ 288036 h 334049"/>
                <a:gd name="connsiteX4" fmla="*/ 1440180 w 2880361"/>
                <a:gd name="connsiteY4" fmla="*/ 334049 h 334049"/>
                <a:gd name="connsiteX5" fmla="*/ 1341344 w 2880361"/>
                <a:gd name="connsiteY5" fmla="*/ 288036 h 334049"/>
                <a:gd name="connsiteX6" fmla="*/ 0 w 2880361"/>
                <a:gd name="connsiteY6" fmla="*/ 288036 h 334049"/>
                <a:gd name="connsiteX0" fmla="*/ 0 w 2880361"/>
                <a:gd name="connsiteY0" fmla="*/ 0 h 351857"/>
                <a:gd name="connsiteX1" fmla="*/ 2880361 w 2880361"/>
                <a:gd name="connsiteY1" fmla="*/ 0 h 351857"/>
                <a:gd name="connsiteX2" fmla="*/ 2880361 w 2880361"/>
                <a:gd name="connsiteY2" fmla="*/ 288036 h 351857"/>
                <a:gd name="connsiteX3" fmla="*/ 1539017 w 2880361"/>
                <a:gd name="connsiteY3" fmla="*/ 288036 h 351857"/>
                <a:gd name="connsiteX4" fmla="*/ 1440180 w 2880361"/>
                <a:gd name="connsiteY4" fmla="*/ 351857 h 351857"/>
                <a:gd name="connsiteX5" fmla="*/ 1341344 w 2880361"/>
                <a:gd name="connsiteY5" fmla="*/ 288036 h 351857"/>
                <a:gd name="connsiteX6" fmla="*/ 0 w 2880361"/>
                <a:gd name="connsiteY6" fmla="*/ 288036 h 351857"/>
                <a:gd name="connsiteX0" fmla="*/ 0 w 2880361"/>
                <a:gd name="connsiteY0" fmla="*/ 0 h 351857"/>
                <a:gd name="connsiteX1" fmla="*/ 2880361 w 2880361"/>
                <a:gd name="connsiteY1" fmla="*/ 0 h 351857"/>
                <a:gd name="connsiteX2" fmla="*/ 2880361 w 2880361"/>
                <a:gd name="connsiteY2" fmla="*/ 288036 h 351857"/>
                <a:gd name="connsiteX3" fmla="*/ 1539017 w 2880361"/>
                <a:gd name="connsiteY3" fmla="*/ 288036 h 351857"/>
                <a:gd name="connsiteX4" fmla="*/ 1440180 w 2880361"/>
                <a:gd name="connsiteY4" fmla="*/ 351857 h 351857"/>
                <a:gd name="connsiteX5" fmla="*/ 1341344 w 2880361"/>
                <a:gd name="connsiteY5" fmla="*/ 288036 h 351857"/>
                <a:gd name="connsiteX6" fmla="*/ 0 w 2880361"/>
                <a:gd name="connsiteY6" fmla="*/ 288036 h 351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0361" h="351857">
                  <a:moveTo>
                    <a:pt x="0" y="0"/>
                  </a:moveTo>
                  <a:lnTo>
                    <a:pt x="2880361" y="0"/>
                  </a:lnTo>
                  <a:lnTo>
                    <a:pt x="2880361" y="288036"/>
                  </a:lnTo>
                  <a:lnTo>
                    <a:pt x="1539017" y="288036"/>
                  </a:lnTo>
                  <a:lnTo>
                    <a:pt x="1440180" y="351857"/>
                  </a:lnTo>
                  <a:lnTo>
                    <a:pt x="1341344" y="288036"/>
                  </a:lnTo>
                  <a:lnTo>
                    <a:pt x="0" y="288036"/>
                  </a:lnTo>
                  <a:close/>
                </a:path>
              </a:pathLst>
            </a:custGeom>
            <a:solidFill>
              <a:schemeClr val="accent1"/>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algn="ctr"/>
              <a:endParaRPr lang="de-DE" sz="1400">
                <a:solidFill>
                  <a:srgbClr val="003C50"/>
                </a:solidFill>
                <a:latin typeface="Roboto" panose="02000000000000000000" pitchFamily="2" charset="0"/>
              </a:endParaRPr>
            </a:p>
          </p:txBody>
        </p:sp>
        <p:sp>
          <p:nvSpPr>
            <p:cNvPr id="7" name="box_header_text">
              <a:extLst>
                <a:ext uri="{FF2B5EF4-FFF2-40B4-BE49-F238E27FC236}">
                  <a16:creationId xmlns:a16="http://schemas.microsoft.com/office/drawing/2014/main" id="{A59D8300-DCCE-BCBE-C8C5-E13F1F89D0BC}"/>
                </a:ext>
              </a:extLst>
            </p:cNvPr>
            <p:cNvSpPr/>
            <p:nvPr>
              <p:custDataLst>
                <p:tags r:id="rId21"/>
              </p:custDataLst>
            </p:nvPr>
          </p:nvSpPr>
          <p:spPr bwMode="gray">
            <a:xfrm>
              <a:off x="4147819" y="2527300"/>
              <a:ext cx="2880361" cy="197278"/>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72009" tIns="72009" rIns="72009" bIns="72009" rtlCol="0" anchor="ctr">
              <a:noAutofit/>
            </a:bodyPr>
            <a:lstStyle/>
            <a:p>
              <a:pPr algn="ctr"/>
              <a:r>
                <a:rPr lang="de-DE" sz="1200" b="1">
                  <a:solidFill>
                    <a:schemeClr val="bg1"/>
                  </a:solidFill>
                  <a:latin typeface="Roboto" panose="02000000000000000000" pitchFamily="2" charset="0"/>
                </a:rPr>
                <a:t>Wärmeplanungsgesetz</a:t>
              </a:r>
              <a:r>
                <a:rPr lang="de-DE" sz="1200">
                  <a:solidFill>
                    <a:schemeClr val="bg1"/>
                  </a:solidFill>
                  <a:latin typeface="Roboto" panose="02000000000000000000" pitchFamily="2" charset="0"/>
                </a:rPr>
                <a:t> </a:t>
              </a:r>
            </a:p>
            <a:p>
              <a:pPr algn="ctr"/>
              <a:r>
                <a:rPr lang="de-DE" sz="1200">
                  <a:solidFill>
                    <a:schemeClr val="bg1"/>
                  </a:solidFill>
                  <a:latin typeface="Roboto" panose="02000000000000000000" pitchFamily="2" charset="0"/>
                </a:rPr>
                <a:t>(WPG)</a:t>
              </a:r>
            </a:p>
          </p:txBody>
        </p:sp>
      </p:grpSp>
      <p:grpSp>
        <p:nvGrpSpPr>
          <p:cNvPr id="33" name="Group 32">
            <a:extLst>
              <a:ext uri="{FF2B5EF4-FFF2-40B4-BE49-F238E27FC236}">
                <a16:creationId xmlns:a16="http://schemas.microsoft.com/office/drawing/2014/main" id="{5FD2CC2D-7937-945A-406C-26BD9DF48472}"/>
              </a:ext>
            </a:extLst>
          </p:cNvPr>
          <p:cNvGrpSpPr/>
          <p:nvPr/>
        </p:nvGrpSpPr>
        <p:grpSpPr>
          <a:xfrm>
            <a:off x="3639739" y="3230545"/>
            <a:ext cx="1540040" cy="1540040"/>
            <a:chOff x="3509302" y="2136661"/>
            <a:chExt cx="1540040" cy="1540040"/>
          </a:xfrm>
        </p:grpSpPr>
        <p:grpSp>
          <p:nvGrpSpPr>
            <p:cNvPr id="21" name="Group 20">
              <a:extLst>
                <a:ext uri="{FF2B5EF4-FFF2-40B4-BE49-F238E27FC236}">
                  <a16:creationId xmlns:a16="http://schemas.microsoft.com/office/drawing/2014/main" id="{B4EA087C-A8AD-D0D7-F05B-05B058B78382}"/>
                </a:ext>
              </a:extLst>
            </p:cNvPr>
            <p:cNvGrpSpPr>
              <a:grpSpLocks noChangeAspect="1"/>
            </p:cNvGrpSpPr>
            <p:nvPr>
              <p:custDataLst>
                <p:tags r:id="rId18"/>
              </p:custDataLst>
            </p:nvPr>
          </p:nvGrpSpPr>
          <p:grpSpPr>
            <a:xfrm>
              <a:off x="3509302" y="2136661"/>
              <a:ext cx="1540040" cy="1540040"/>
              <a:chOff x="1270000" y="1270000"/>
              <a:chExt cx="889000" cy="889000"/>
            </a:xfrm>
          </p:grpSpPr>
          <p:sp>
            <p:nvSpPr>
              <p:cNvPr id="18" name="Rectangle 17" hidden="1">
                <a:extLst>
                  <a:ext uri="{FF2B5EF4-FFF2-40B4-BE49-F238E27FC236}">
                    <a16:creationId xmlns:a16="http://schemas.microsoft.com/office/drawing/2014/main" id="{E6B0D44D-C92B-AD62-172D-03C1C99C1E03}"/>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pic>
            <p:nvPicPr>
              <p:cNvPr id="20" name="Graphic 19">
                <a:extLst>
                  <a:ext uri="{FF2B5EF4-FFF2-40B4-BE49-F238E27FC236}">
                    <a16:creationId xmlns:a16="http://schemas.microsoft.com/office/drawing/2014/main" id="{F7762E05-50FD-AA8B-5D1B-2FE34EDD0E57}"/>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270000" y="1270000"/>
                <a:ext cx="889000" cy="889000"/>
              </a:xfrm>
              <a:prstGeom prst="rect">
                <a:avLst/>
              </a:prstGeom>
            </p:spPr>
          </p:pic>
        </p:grpSp>
        <p:sp>
          <p:nvSpPr>
            <p:cNvPr id="26" name="TextBox 25">
              <a:extLst>
                <a:ext uri="{FF2B5EF4-FFF2-40B4-BE49-F238E27FC236}">
                  <a16:creationId xmlns:a16="http://schemas.microsoft.com/office/drawing/2014/main" id="{6EE42ABE-7C35-C538-F716-79B880B78964}"/>
                </a:ext>
              </a:extLst>
            </p:cNvPr>
            <p:cNvSpPr txBox="1"/>
            <p:nvPr/>
          </p:nvSpPr>
          <p:spPr>
            <a:xfrm>
              <a:off x="3988703" y="2763681"/>
              <a:ext cx="581238" cy="252132"/>
            </a:xfrm>
            <a:prstGeom prst="rect">
              <a:avLst/>
            </a:prstGeom>
            <a:solidFill>
              <a:srgbClr val="FFFFFF"/>
            </a:solidFill>
          </p:spPr>
          <p:txBody>
            <a:bodyPr wrap="none" lIns="0" tIns="0" rIns="0" bIns="0" rtlCol="0" anchor="t">
              <a:noAutofit/>
            </a:bodyPr>
            <a:lstStyle/>
            <a:p>
              <a:r>
                <a:rPr lang="de-DE" sz="2000" b="1">
                  <a:solidFill>
                    <a:schemeClr val="accent1"/>
                  </a:solidFill>
                  <a:latin typeface="Roboto" panose="02000000000000000000" pitchFamily="2" charset="0"/>
                </a:rPr>
                <a:t>WPG</a:t>
              </a:r>
            </a:p>
          </p:txBody>
        </p:sp>
      </p:grpSp>
      <p:grpSp>
        <p:nvGrpSpPr>
          <p:cNvPr id="36" name="Group 35">
            <a:extLst>
              <a:ext uri="{FF2B5EF4-FFF2-40B4-BE49-F238E27FC236}">
                <a16:creationId xmlns:a16="http://schemas.microsoft.com/office/drawing/2014/main" id="{25D55404-662F-1DB5-A417-261FAE09221C}"/>
              </a:ext>
            </a:extLst>
          </p:cNvPr>
          <p:cNvGrpSpPr/>
          <p:nvPr/>
        </p:nvGrpSpPr>
        <p:grpSpPr>
          <a:xfrm>
            <a:off x="4162761" y="4512205"/>
            <a:ext cx="1606141" cy="2002756"/>
            <a:chOff x="3659118" y="2894991"/>
            <a:chExt cx="1606141" cy="2002756"/>
          </a:xfrm>
        </p:grpSpPr>
        <p:grpSp>
          <p:nvGrpSpPr>
            <p:cNvPr id="25" name="Group 24">
              <a:extLst>
                <a:ext uri="{FF2B5EF4-FFF2-40B4-BE49-F238E27FC236}">
                  <a16:creationId xmlns:a16="http://schemas.microsoft.com/office/drawing/2014/main" id="{F2FBCE0A-6B0A-EB8B-0FDF-2FEAB4BA3C25}"/>
                </a:ext>
              </a:extLst>
            </p:cNvPr>
            <p:cNvGrpSpPr>
              <a:grpSpLocks noChangeAspect="1"/>
            </p:cNvGrpSpPr>
            <p:nvPr>
              <p:custDataLst>
                <p:tags r:id="rId16"/>
              </p:custDataLst>
            </p:nvPr>
          </p:nvGrpSpPr>
          <p:grpSpPr>
            <a:xfrm>
              <a:off x="3659118" y="2894991"/>
              <a:ext cx="1606141" cy="2002756"/>
              <a:chOff x="1270000" y="1002896"/>
              <a:chExt cx="927157" cy="1156104"/>
            </a:xfrm>
          </p:grpSpPr>
          <p:sp>
            <p:nvSpPr>
              <p:cNvPr id="22" name="Rectangle 21" hidden="1">
                <a:extLst>
                  <a:ext uri="{FF2B5EF4-FFF2-40B4-BE49-F238E27FC236}">
                    <a16:creationId xmlns:a16="http://schemas.microsoft.com/office/drawing/2014/main" id="{E82BE237-4E1A-E7C1-BEF1-CE8B556B4D39}"/>
                  </a:ext>
                </a:extLst>
              </p:cNvPr>
              <p:cNvSpPr/>
              <p:nvPr>
                <p:custDataLst>
                  <p:tags r:id="rId17"/>
                </p:custDataLst>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pic>
            <p:nvPicPr>
              <p:cNvPr id="24" name="Graphic 23">
                <a:extLst>
                  <a:ext uri="{FF2B5EF4-FFF2-40B4-BE49-F238E27FC236}">
                    <a16:creationId xmlns:a16="http://schemas.microsoft.com/office/drawing/2014/main" id="{5F0FEB91-7A00-5096-2FD6-8970E75D735E}"/>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308157" y="1002896"/>
                <a:ext cx="889000" cy="889000"/>
              </a:xfrm>
              <a:prstGeom prst="rect">
                <a:avLst/>
              </a:prstGeom>
            </p:spPr>
          </p:pic>
        </p:grpSp>
        <p:sp>
          <p:nvSpPr>
            <p:cNvPr id="27" name="TextBox 26">
              <a:extLst>
                <a:ext uri="{FF2B5EF4-FFF2-40B4-BE49-F238E27FC236}">
                  <a16:creationId xmlns:a16="http://schemas.microsoft.com/office/drawing/2014/main" id="{1934F077-B526-14B2-5DD9-3C1DD818A664}"/>
                </a:ext>
              </a:extLst>
            </p:cNvPr>
            <p:cNvSpPr txBox="1"/>
            <p:nvPr/>
          </p:nvSpPr>
          <p:spPr>
            <a:xfrm>
              <a:off x="4147422" y="3539924"/>
              <a:ext cx="695638" cy="252132"/>
            </a:xfrm>
            <a:prstGeom prst="rect">
              <a:avLst/>
            </a:prstGeom>
            <a:solidFill>
              <a:srgbClr val="FFFFFF"/>
            </a:solidFill>
          </p:spPr>
          <p:txBody>
            <a:bodyPr wrap="none" lIns="0" tIns="0" rIns="0" bIns="0" rtlCol="0" anchor="t">
              <a:noAutofit/>
            </a:bodyPr>
            <a:lstStyle/>
            <a:p>
              <a:r>
                <a:rPr lang="de-DE" sz="2000" b="1">
                  <a:solidFill>
                    <a:schemeClr val="accent2"/>
                  </a:solidFill>
                  <a:latin typeface="Roboto" panose="02000000000000000000" pitchFamily="2" charset="0"/>
                </a:rPr>
                <a:t>LWPG</a:t>
              </a:r>
            </a:p>
          </p:txBody>
        </p:sp>
      </p:grpSp>
      <p:grpSp>
        <p:nvGrpSpPr>
          <p:cNvPr id="35" name="Group 34">
            <a:extLst>
              <a:ext uri="{FF2B5EF4-FFF2-40B4-BE49-F238E27FC236}">
                <a16:creationId xmlns:a16="http://schemas.microsoft.com/office/drawing/2014/main" id="{4C1ABECE-A436-D19E-73DC-00C3D0DF63E4}"/>
              </a:ext>
            </a:extLst>
          </p:cNvPr>
          <p:cNvGrpSpPr/>
          <p:nvPr/>
        </p:nvGrpSpPr>
        <p:grpSpPr>
          <a:xfrm>
            <a:off x="4228865" y="1927388"/>
            <a:ext cx="1540040" cy="1540040"/>
            <a:chOff x="4410216" y="3284583"/>
            <a:chExt cx="1540040" cy="1540040"/>
          </a:xfrm>
        </p:grpSpPr>
        <p:grpSp>
          <p:nvGrpSpPr>
            <p:cNvPr id="17" name="Group 16">
              <a:extLst>
                <a:ext uri="{FF2B5EF4-FFF2-40B4-BE49-F238E27FC236}">
                  <a16:creationId xmlns:a16="http://schemas.microsoft.com/office/drawing/2014/main" id="{45627EB0-E577-4E87-9E7C-4C44E9383122}"/>
                </a:ext>
              </a:extLst>
            </p:cNvPr>
            <p:cNvGrpSpPr>
              <a:grpSpLocks noChangeAspect="1"/>
            </p:cNvGrpSpPr>
            <p:nvPr>
              <p:custDataLst>
                <p:tags r:id="rId15"/>
              </p:custDataLst>
            </p:nvPr>
          </p:nvGrpSpPr>
          <p:grpSpPr>
            <a:xfrm>
              <a:off x="4410216" y="3284583"/>
              <a:ext cx="1540040" cy="1540040"/>
              <a:chOff x="1270000" y="1270000"/>
              <a:chExt cx="889000" cy="889000"/>
            </a:xfrm>
          </p:grpSpPr>
          <p:sp>
            <p:nvSpPr>
              <p:cNvPr id="14" name="Rectangle 13" hidden="1">
                <a:extLst>
                  <a:ext uri="{FF2B5EF4-FFF2-40B4-BE49-F238E27FC236}">
                    <a16:creationId xmlns:a16="http://schemas.microsoft.com/office/drawing/2014/main" id="{DF2327F4-CB0F-E0CA-46B0-4CF1EEB67B5D}"/>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pic>
            <p:nvPicPr>
              <p:cNvPr id="16" name="Graphic 15">
                <a:extLst>
                  <a:ext uri="{FF2B5EF4-FFF2-40B4-BE49-F238E27FC236}">
                    <a16:creationId xmlns:a16="http://schemas.microsoft.com/office/drawing/2014/main" id="{27772C42-1F5C-A4B6-F314-3E0F2EDB3A67}"/>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270000" y="1270000"/>
                <a:ext cx="889000" cy="889000"/>
              </a:xfrm>
              <a:prstGeom prst="rect">
                <a:avLst/>
              </a:prstGeom>
            </p:spPr>
          </p:pic>
        </p:grpSp>
        <p:sp>
          <p:nvSpPr>
            <p:cNvPr id="28" name="TextBox 27">
              <a:extLst>
                <a:ext uri="{FF2B5EF4-FFF2-40B4-BE49-F238E27FC236}">
                  <a16:creationId xmlns:a16="http://schemas.microsoft.com/office/drawing/2014/main" id="{31239CB0-3A3B-814D-7C6D-F214260EF9EA}"/>
                </a:ext>
              </a:extLst>
            </p:cNvPr>
            <p:cNvSpPr txBox="1"/>
            <p:nvPr/>
          </p:nvSpPr>
          <p:spPr>
            <a:xfrm>
              <a:off x="4870133" y="3928537"/>
              <a:ext cx="620206" cy="252132"/>
            </a:xfrm>
            <a:prstGeom prst="rect">
              <a:avLst/>
            </a:prstGeom>
            <a:solidFill>
              <a:srgbClr val="FFFFFF"/>
            </a:solidFill>
          </p:spPr>
          <p:txBody>
            <a:bodyPr wrap="none" lIns="0" tIns="0" rIns="0" bIns="0" rtlCol="0" anchor="t">
              <a:noAutofit/>
            </a:bodyPr>
            <a:lstStyle/>
            <a:p>
              <a:pPr algn="ctr"/>
              <a:r>
                <a:rPr lang="de-DE" sz="2000" b="1">
                  <a:solidFill>
                    <a:schemeClr val="accent3"/>
                  </a:solidFill>
                  <a:latin typeface="Roboto" panose="02000000000000000000" pitchFamily="2" charset="0"/>
                </a:rPr>
                <a:t>GEG</a:t>
              </a:r>
            </a:p>
          </p:txBody>
        </p:sp>
      </p:grpSp>
      <p:grpSp>
        <p:nvGrpSpPr>
          <p:cNvPr id="29" name="header_box">
            <a:extLst>
              <a:ext uri="{FF2B5EF4-FFF2-40B4-BE49-F238E27FC236}">
                <a16:creationId xmlns:a16="http://schemas.microsoft.com/office/drawing/2014/main" id="{B8AE735E-541A-60D4-C4FD-A2A3CD675AA6}"/>
              </a:ext>
            </a:extLst>
          </p:cNvPr>
          <p:cNvGrpSpPr/>
          <p:nvPr>
            <p:custDataLst>
              <p:tags r:id="rId2"/>
            </p:custDataLst>
          </p:nvPr>
        </p:nvGrpSpPr>
        <p:grpSpPr>
          <a:xfrm>
            <a:off x="5876304" y="1997533"/>
            <a:ext cx="3707244" cy="2153255"/>
            <a:chOff x="4147818" y="2527300"/>
            <a:chExt cx="2880362" cy="414692"/>
          </a:xfrm>
        </p:grpSpPr>
        <p:sp>
          <p:nvSpPr>
            <p:cNvPr id="30" name="box_text">
              <a:extLst>
                <a:ext uri="{FF2B5EF4-FFF2-40B4-BE49-F238E27FC236}">
                  <a16:creationId xmlns:a16="http://schemas.microsoft.com/office/drawing/2014/main" id="{13F5FCB3-91DF-A6D5-0890-4E4B34F33934}"/>
                </a:ext>
              </a:extLst>
            </p:cNvPr>
            <p:cNvSpPr/>
            <p:nvPr>
              <p:custDataLst>
                <p:tags r:id="rId12"/>
              </p:custDataLst>
            </p:nvPr>
          </p:nvSpPr>
          <p:spPr bwMode="gray">
            <a:xfrm>
              <a:off x="4147818" y="2615089"/>
              <a:ext cx="2880361" cy="326903"/>
            </a:xfrm>
            <a:prstGeom prst="rect">
              <a:avLst/>
            </a:prstGeom>
            <a:noFill/>
            <a:ln w="9525">
              <a:solidFill>
                <a:srgbClr val="EFEEEB"/>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36005" tIns="144018" rIns="36005" bIns="36005" rtlCol="0" anchor="t">
              <a:noAutofit/>
            </a:bodyPr>
            <a:lstStyle/>
            <a:p>
              <a:pPr marL="171450" indent="-171450">
                <a:lnSpc>
                  <a:spcPct val="114000"/>
                </a:lnSpc>
                <a:buFont typeface="Wingdings" panose="05000000000000000000" pitchFamily="2" charset="2"/>
                <a:buChar char="§"/>
              </a:pPr>
              <a:r>
                <a:rPr lang="de-DE" sz="1200" dirty="0">
                  <a:solidFill>
                    <a:srgbClr val="003C50"/>
                  </a:solidFill>
                  <a:latin typeface="Roboto" panose="02000000000000000000" pitchFamily="2" charset="0"/>
                </a:rPr>
                <a:t>Neue Heizungen müssen mit mind. </a:t>
              </a:r>
              <a:r>
                <a:rPr lang="de-DE" sz="1200" b="1" dirty="0">
                  <a:solidFill>
                    <a:srgbClr val="003C50"/>
                  </a:solidFill>
                  <a:latin typeface="Roboto" panose="02000000000000000000" pitchFamily="2" charset="0"/>
                </a:rPr>
                <a:t>65% erneuerbare Energien</a:t>
              </a:r>
              <a:r>
                <a:rPr lang="de-DE" sz="1200" dirty="0">
                  <a:solidFill>
                    <a:srgbClr val="003C50"/>
                  </a:solidFill>
                  <a:latin typeface="Roboto" panose="02000000000000000000" pitchFamily="2" charset="0"/>
                </a:rPr>
                <a:t> betrieben werden </a:t>
              </a:r>
              <a:endParaRPr lang="de-DE" sz="1200" dirty="0">
                <a:solidFill>
                  <a:srgbClr val="FF0000"/>
                </a:solidFill>
                <a:latin typeface="Roboto" panose="02000000000000000000" pitchFamily="2" charset="0"/>
              </a:endParaRPr>
            </a:p>
            <a:p>
              <a:pPr marL="171450" indent="-171450">
                <a:lnSpc>
                  <a:spcPct val="114000"/>
                </a:lnSpc>
                <a:spcBef>
                  <a:spcPts val="600"/>
                </a:spcBef>
                <a:buFont typeface="Wingdings" panose="05000000000000000000" pitchFamily="2" charset="2"/>
                <a:buChar char="§"/>
              </a:pPr>
              <a:r>
                <a:rPr lang="de-DE" sz="1200" dirty="0">
                  <a:solidFill>
                    <a:schemeClr val="tx1"/>
                  </a:solidFill>
                  <a:latin typeface="Roboto" panose="02000000000000000000" pitchFamily="2" charset="0"/>
                </a:rPr>
                <a:t>Wärmeplan hat </a:t>
              </a:r>
              <a:r>
                <a:rPr lang="de-DE" sz="1200" b="1" dirty="0">
                  <a:solidFill>
                    <a:schemeClr val="tx1"/>
                  </a:solidFill>
                  <a:latin typeface="Roboto" panose="02000000000000000000" pitchFamily="2" charset="0"/>
                </a:rPr>
                <a:t>keine(!)</a:t>
              </a:r>
              <a:r>
                <a:rPr lang="de-DE" sz="1200" dirty="0">
                  <a:solidFill>
                    <a:schemeClr val="tx1"/>
                  </a:solidFill>
                  <a:latin typeface="Roboto" panose="02000000000000000000" pitchFamily="2" charset="0"/>
                </a:rPr>
                <a:t> rechtliche Außenwirkung</a:t>
              </a:r>
            </a:p>
            <a:p>
              <a:pPr marL="171450" indent="-171450">
                <a:lnSpc>
                  <a:spcPct val="114000"/>
                </a:lnSpc>
                <a:spcBef>
                  <a:spcPts val="600"/>
                </a:spcBef>
                <a:buFont typeface="Wingdings" panose="05000000000000000000" pitchFamily="2" charset="2"/>
                <a:buChar char="§"/>
              </a:pPr>
              <a:r>
                <a:rPr lang="de-DE" sz="1200" dirty="0">
                  <a:solidFill>
                    <a:srgbClr val="003C50"/>
                  </a:solidFill>
                  <a:latin typeface="Roboto" panose="02000000000000000000" pitchFamily="2" charset="0"/>
                </a:rPr>
                <a:t>Ausgewiesenes Wärmenetz-/Wasserstoffgebiet kann die </a:t>
              </a:r>
              <a:r>
                <a:rPr lang="de-DE" sz="1200" b="1" dirty="0">
                  <a:solidFill>
                    <a:srgbClr val="003C50"/>
                  </a:solidFill>
                  <a:latin typeface="Roboto" panose="02000000000000000000" pitchFamily="2" charset="0"/>
                </a:rPr>
                <a:t>65 %-EE-Pflicht </a:t>
              </a:r>
              <a:r>
                <a:rPr lang="de-DE" sz="1200" dirty="0">
                  <a:solidFill>
                    <a:srgbClr val="003C50"/>
                  </a:solidFill>
                  <a:latin typeface="Roboto" panose="02000000000000000000" pitchFamily="2" charset="0"/>
                </a:rPr>
                <a:t>für neue Heizungen vorzeitig </a:t>
              </a:r>
              <a:r>
                <a:rPr lang="de-DE" sz="1200" b="1" dirty="0">
                  <a:solidFill>
                    <a:srgbClr val="003C50"/>
                  </a:solidFill>
                  <a:latin typeface="Roboto" panose="02000000000000000000" pitchFamily="2" charset="0"/>
                </a:rPr>
                <a:t>auslösen</a:t>
              </a:r>
              <a:endParaRPr lang="de-DE" sz="1200" dirty="0">
                <a:solidFill>
                  <a:srgbClr val="003C50"/>
                </a:solidFill>
                <a:latin typeface="Roboto" panose="02000000000000000000" pitchFamily="2" charset="0"/>
              </a:endParaRPr>
            </a:p>
            <a:p>
              <a:pPr lvl="1">
                <a:lnSpc>
                  <a:spcPct val="114000"/>
                </a:lnSpc>
              </a:pPr>
              <a:endParaRPr lang="de-DE" sz="1200" dirty="0">
                <a:solidFill>
                  <a:srgbClr val="003C50"/>
                </a:solidFill>
                <a:latin typeface="Roboto" panose="02000000000000000000" pitchFamily="2" charset="0"/>
              </a:endParaRPr>
            </a:p>
          </p:txBody>
        </p:sp>
        <p:sp>
          <p:nvSpPr>
            <p:cNvPr id="31" name="box_header">
              <a:extLst>
                <a:ext uri="{FF2B5EF4-FFF2-40B4-BE49-F238E27FC236}">
                  <a16:creationId xmlns:a16="http://schemas.microsoft.com/office/drawing/2014/main" id="{8F3E0219-DE7C-1048-D582-91382C55DCEA}"/>
                </a:ext>
              </a:extLst>
            </p:cNvPr>
            <p:cNvSpPr/>
            <p:nvPr>
              <p:custDataLst>
                <p:tags r:id="rId13"/>
              </p:custDataLst>
            </p:nvPr>
          </p:nvSpPr>
          <p:spPr bwMode="gray">
            <a:xfrm>
              <a:off x="4147818" y="2527301"/>
              <a:ext cx="2880361" cy="113174"/>
            </a:xfrm>
            <a:custGeom>
              <a:avLst/>
              <a:gdLst>
                <a:gd name="connsiteX0" fmla="*/ 0 w 2880361"/>
                <a:gd name="connsiteY0" fmla="*/ 0 h 396049"/>
                <a:gd name="connsiteX1" fmla="*/ 2880361 w 2880361"/>
                <a:gd name="connsiteY1" fmla="*/ 0 h 396049"/>
                <a:gd name="connsiteX2" fmla="*/ 2880361 w 2880361"/>
                <a:gd name="connsiteY2" fmla="*/ 288036 h 396049"/>
                <a:gd name="connsiteX3" fmla="*/ 1548194 w 2880361"/>
                <a:gd name="connsiteY3" fmla="*/ 288036 h 396049"/>
                <a:gd name="connsiteX4" fmla="*/ 1440181 w 2880361"/>
                <a:gd name="connsiteY4" fmla="*/ 396049 h 396049"/>
                <a:gd name="connsiteX5" fmla="*/ 1332167 w 2880361"/>
                <a:gd name="connsiteY5" fmla="*/ 288036 h 396049"/>
                <a:gd name="connsiteX6" fmla="*/ 0 w 2880361"/>
                <a:gd name="connsiteY6" fmla="*/ 288036 h 396049"/>
                <a:gd name="connsiteX0" fmla="*/ 0 w 2880361"/>
                <a:gd name="connsiteY0" fmla="*/ 0 h 334050"/>
                <a:gd name="connsiteX1" fmla="*/ 2880361 w 2880361"/>
                <a:gd name="connsiteY1" fmla="*/ 0 h 334050"/>
                <a:gd name="connsiteX2" fmla="*/ 2880361 w 2880361"/>
                <a:gd name="connsiteY2" fmla="*/ 288036 h 334050"/>
                <a:gd name="connsiteX3" fmla="*/ 1548194 w 2880361"/>
                <a:gd name="connsiteY3" fmla="*/ 288036 h 334050"/>
                <a:gd name="connsiteX4" fmla="*/ 1440182 w 2880361"/>
                <a:gd name="connsiteY4" fmla="*/ 334050 h 334050"/>
                <a:gd name="connsiteX5" fmla="*/ 1332167 w 2880361"/>
                <a:gd name="connsiteY5" fmla="*/ 288036 h 334050"/>
                <a:gd name="connsiteX6" fmla="*/ 0 w 2880361"/>
                <a:gd name="connsiteY6" fmla="*/ 288036 h 334050"/>
                <a:gd name="connsiteX0" fmla="*/ 0 w 2880361"/>
                <a:gd name="connsiteY0" fmla="*/ 0 h 334050"/>
                <a:gd name="connsiteX1" fmla="*/ 2880361 w 2880361"/>
                <a:gd name="connsiteY1" fmla="*/ 0 h 334050"/>
                <a:gd name="connsiteX2" fmla="*/ 2880361 w 2880361"/>
                <a:gd name="connsiteY2" fmla="*/ 288036 h 334050"/>
                <a:gd name="connsiteX3" fmla="*/ 1548194 w 2880361"/>
                <a:gd name="connsiteY3" fmla="*/ 288036 h 334050"/>
                <a:gd name="connsiteX4" fmla="*/ 1440182 w 2880361"/>
                <a:gd name="connsiteY4" fmla="*/ 334050 h 334050"/>
                <a:gd name="connsiteX5" fmla="*/ 1332168 w 2880361"/>
                <a:gd name="connsiteY5" fmla="*/ 288036 h 334050"/>
                <a:gd name="connsiteX6" fmla="*/ 0 w 2880361"/>
                <a:gd name="connsiteY6" fmla="*/ 288036 h 334050"/>
                <a:gd name="connsiteX0" fmla="*/ 0 w 2880361"/>
                <a:gd name="connsiteY0" fmla="*/ 0 h 334050"/>
                <a:gd name="connsiteX1" fmla="*/ 2880361 w 2880361"/>
                <a:gd name="connsiteY1" fmla="*/ 0 h 334050"/>
                <a:gd name="connsiteX2" fmla="*/ 2880361 w 2880361"/>
                <a:gd name="connsiteY2" fmla="*/ 288036 h 334050"/>
                <a:gd name="connsiteX3" fmla="*/ 1539017 w 2880361"/>
                <a:gd name="connsiteY3" fmla="*/ 288036 h 334050"/>
                <a:gd name="connsiteX4" fmla="*/ 1440182 w 2880361"/>
                <a:gd name="connsiteY4" fmla="*/ 334050 h 334050"/>
                <a:gd name="connsiteX5" fmla="*/ 1332168 w 2880361"/>
                <a:gd name="connsiteY5" fmla="*/ 288036 h 334050"/>
                <a:gd name="connsiteX6" fmla="*/ 0 w 2880361"/>
                <a:gd name="connsiteY6" fmla="*/ 288036 h 334050"/>
                <a:gd name="connsiteX0" fmla="*/ 0 w 2880361"/>
                <a:gd name="connsiteY0" fmla="*/ 0 h 448424"/>
                <a:gd name="connsiteX1" fmla="*/ 2880361 w 2880361"/>
                <a:gd name="connsiteY1" fmla="*/ 0 h 448424"/>
                <a:gd name="connsiteX2" fmla="*/ 2880361 w 2880361"/>
                <a:gd name="connsiteY2" fmla="*/ 288036 h 448424"/>
                <a:gd name="connsiteX3" fmla="*/ 1539017 w 2880361"/>
                <a:gd name="connsiteY3" fmla="*/ 288036 h 448424"/>
                <a:gd name="connsiteX4" fmla="*/ 1440181 w 2880361"/>
                <a:gd name="connsiteY4" fmla="*/ 448424 h 448424"/>
                <a:gd name="connsiteX5" fmla="*/ 1332168 w 2880361"/>
                <a:gd name="connsiteY5" fmla="*/ 288036 h 448424"/>
                <a:gd name="connsiteX6" fmla="*/ 0 w 2880361"/>
                <a:gd name="connsiteY6" fmla="*/ 288036 h 448424"/>
                <a:gd name="connsiteX0" fmla="*/ 0 w 2880361"/>
                <a:gd name="connsiteY0" fmla="*/ 0 h 448424"/>
                <a:gd name="connsiteX1" fmla="*/ 2880361 w 2880361"/>
                <a:gd name="connsiteY1" fmla="*/ 0 h 448424"/>
                <a:gd name="connsiteX2" fmla="*/ 2880361 w 2880361"/>
                <a:gd name="connsiteY2" fmla="*/ 288036 h 448424"/>
                <a:gd name="connsiteX3" fmla="*/ 1539017 w 2880361"/>
                <a:gd name="connsiteY3" fmla="*/ 288036 h 448424"/>
                <a:gd name="connsiteX4" fmla="*/ 1440181 w 2880361"/>
                <a:gd name="connsiteY4" fmla="*/ 448424 h 448424"/>
                <a:gd name="connsiteX5" fmla="*/ 1341344 w 2880361"/>
                <a:gd name="connsiteY5" fmla="*/ 288034 h 448424"/>
                <a:gd name="connsiteX6" fmla="*/ 0 w 2880361"/>
                <a:gd name="connsiteY6" fmla="*/ 288036 h 448424"/>
                <a:gd name="connsiteX0" fmla="*/ 0 w 2880361"/>
                <a:gd name="connsiteY0" fmla="*/ 0 h 448424"/>
                <a:gd name="connsiteX1" fmla="*/ 2880361 w 2880361"/>
                <a:gd name="connsiteY1" fmla="*/ 0 h 448424"/>
                <a:gd name="connsiteX2" fmla="*/ 2880361 w 2880361"/>
                <a:gd name="connsiteY2" fmla="*/ 288036 h 448424"/>
                <a:gd name="connsiteX3" fmla="*/ 1539017 w 2880361"/>
                <a:gd name="connsiteY3" fmla="*/ 288036 h 448424"/>
                <a:gd name="connsiteX4" fmla="*/ 1440181 w 2880361"/>
                <a:gd name="connsiteY4" fmla="*/ 448424 h 448424"/>
                <a:gd name="connsiteX5" fmla="*/ 1341344 w 2880361"/>
                <a:gd name="connsiteY5" fmla="*/ 288034 h 448424"/>
                <a:gd name="connsiteX6" fmla="*/ 0 w 2880361"/>
                <a:gd name="connsiteY6" fmla="*/ 288036 h 448424"/>
                <a:gd name="connsiteX0" fmla="*/ 0 w 2880361"/>
                <a:gd name="connsiteY0" fmla="*/ 0 h 448424"/>
                <a:gd name="connsiteX1" fmla="*/ 2880361 w 2880361"/>
                <a:gd name="connsiteY1" fmla="*/ 0 h 448424"/>
                <a:gd name="connsiteX2" fmla="*/ 2880361 w 2880361"/>
                <a:gd name="connsiteY2" fmla="*/ 288036 h 448424"/>
                <a:gd name="connsiteX3" fmla="*/ 1539017 w 2880361"/>
                <a:gd name="connsiteY3" fmla="*/ 288036 h 448424"/>
                <a:gd name="connsiteX4" fmla="*/ 1440181 w 2880361"/>
                <a:gd name="connsiteY4" fmla="*/ 448424 h 448424"/>
                <a:gd name="connsiteX5" fmla="*/ 1341344 w 2880361"/>
                <a:gd name="connsiteY5" fmla="*/ 288034 h 448424"/>
                <a:gd name="connsiteX6" fmla="*/ 0 w 2880361"/>
                <a:gd name="connsiteY6" fmla="*/ 288036 h 448424"/>
                <a:gd name="connsiteX0" fmla="*/ 0 w 2880361"/>
                <a:gd name="connsiteY0" fmla="*/ 0 h 448424"/>
                <a:gd name="connsiteX1" fmla="*/ 2880361 w 2880361"/>
                <a:gd name="connsiteY1" fmla="*/ 0 h 448424"/>
                <a:gd name="connsiteX2" fmla="*/ 2880361 w 2880361"/>
                <a:gd name="connsiteY2" fmla="*/ 288036 h 448424"/>
                <a:gd name="connsiteX3" fmla="*/ 1539017 w 2880361"/>
                <a:gd name="connsiteY3" fmla="*/ 288036 h 448424"/>
                <a:gd name="connsiteX4" fmla="*/ 1440181 w 2880361"/>
                <a:gd name="connsiteY4" fmla="*/ 448424 h 448424"/>
                <a:gd name="connsiteX5" fmla="*/ 1341344 w 2880361"/>
                <a:gd name="connsiteY5" fmla="*/ 288036 h 448424"/>
                <a:gd name="connsiteX6" fmla="*/ 0 w 2880361"/>
                <a:gd name="connsiteY6" fmla="*/ 288036 h 448424"/>
                <a:gd name="connsiteX0" fmla="*/ 0 w 2880361"/>
                <a:gd name="connsiteY0" fmla="*/ 0 h 448424"/>
                <a:gd name="connsiteX1" fmla="*/ 2880361 w 2880361"/>
                <a:gd name="connsiteY1" fmla="*/ 0 h 448424"/>
                <a:gd name="connsiteX2" fmla="*/ 2880361 w 2880361"/>
                <a:gd name="connsiteY2" fmla="*/ 288036 h 448424"/>
                <a:gd name="connsiteX3" fmla="*/ 1539017 w 2880361"/>
                <a:gd name="connsiteY3" fmla="*/ 288036 h 448424"/>
                <a:gd name="connsiteX4" fmla="*/ 1440181 w 2880361"/>
                <a:gd name="connsiteY4" fmla="*/ 448424 h 448424"/>
                <a:gd name="connsiteX5" fmla="*/ 1341344 w 2880361"/>
                <a:gd name="connsiteY5" fmla="*/ 288036 h 448424"/>
                <a:gd name="connsiteX6" fmla="*/ 0 w 2880361"/>
                <a:gd name="connsiteY6" fmla="*/ 288036 h 448424"/>
                <a:gd name="connsiteX0" fmla="*/ 0 w 2880361"/>
                <a:gd name="connsiteY0" fmla="*/ 0 h 352582"/>
                <a:gd name="connsiteX1" fmla="*/ 2880361 w 2880361"/>
                <a:gd name="connsiteY1" fmla="*/ 0 h 352582"/>
                <a:gd name="connsiteX2" fmla="*/ 2880361 w 2880361"/>
                <a:gd name="connsiteY2" fmla="*/ 288036 h 352582"/>
                <a:gd name="connsiteX3" fmla="*/ 1539017 w 2880361"/>
                <a:gd name="connsiteY3" fmla="*/ 288036 h 352582"/>
                <a:gd name="connsiteX4" fmla="*/ 1440181 w 2880361"/>
                <a:gd name="connsiteY4" fmla="*/ 352582 h 352582"/>
                <a:gd name="connsiteX5" fmla="*/ 1341344 w 2880361"/>
                <a:gd name="connsiteY5" fmla="*/ 288036 h 352582"/>
                <a:gd name="connsiteX6" fmla="*/ 0 w 2880361"/>
                <a:gd name="connsiteY6" fmla="*/ 288036 h 352582"/>
                <a:gd name="connsiteX0" fmla="*/ 0 w 2880361"/>
                <a:gd name="connsiteY0" fmla="*/ 0 h 352582"/>
                <a:gd name="connsiteX1" fmla="*/ 2880361 w 2880361"/>
                <a:gd name="connsiteY1" fmla="*/ 0 h 352582"/>
                <a:gd name="connsiteX2" fmla="*/ 2880361 w 2880361"/>
                <a:gd name="connsiteY2" fmla="*/ 288036 h 352582"/>
                <a:gd name="connsiteX3" fmla="*/ 1539017 w 2880361"/>
                <a:gd name="connsiteY3" fmla="*/ 288036 h 352582"/>
                <a:gd name="connsiteX4" fmla="*/ 1440181 w 2880361"/>
                <a:gd name="connsiteY4" fmla="*/ 352582 h 352582"/>
                <a:gd name="connsiteX5" fmla="*/ 1341344 w 2880361"/>
                <a:gd name="connsiteY5" fmla="*/ 288036 h 352582"/>
                <a:gd name="connsiteX6" fmla="*/ 0 w 2880361"/>
                <a:gd name="connsiteY6" fmla="*/ 288036 h 352582"/>
                <a:gd name="connsiteX0" fmla="*/ 0 w 2880361"/>
                <a:gd name="connsiteY0" fmla="*/ 0 h 352582"/>
                <a:gd name="connsiteX1" fmla="*/ 2880361 w 2880361"/>
                <a:gd name="connsiteY1" fmla="*/ 0 h 352582"/>
                <a:gd name="connsiteX2" fmla="*/ 2880361 w 2880361"/>
                <a:gd name="connsiteY2" fmla="*/ 288036 h 352582"/>
                <a:gd name="connsiteX3" fmla="*/ 1539017 w 2880361"/>
                <a:gd name="connsiteY3" fmla="*/ 288036 h 352582"/>
                <a:gd name="connsiteX4" fmla="*/ 1440181 w 2880361"/>
                <a:gd name="connsiteY4" fmla="*/ 352582 h 352582"/>
                <a:gd name="connsiteX5" fmla="*/ 1341344 w 2880361"/>
                <a:gd name="connsiteY5" fmla="*/ 288036 h 352582"/>
                <a:gd name="connsiteX6" fmla="*/ 0 w 2880361"/>
                <a:gd name="connsiteY6" fmla="*/ 288036 h 352582"/>
                <a:gd name="connsiteX0" fmla="*/ 0 w 2880361"/>
                <a:gd name="connsiteY0" fmla="*/ 0 h 317640"/>
                <a:gd name="connsiteX1" fmla="*/ 2880361 w 2880361"/>
                <a:gd name="connsiteY1" fmla="*/ 0 h 317640"/>
                <a:gd name="connsiteX2" fmla="*/ 2880361 w 2880361"/>
                <a:gd name="connsiteY2" fmla="*/ 288036 h 317640"/>
                <a:gd name="connsiteX3" fmla="*/ 1539017 w 2880361"/>
                <a:gd name="connsiteY3" fmla="*/ 288036 h 317640"/>
                <a:gd name="connsiteX4" fmla="*/ 1440181 w 2880361"/>
                <a:gd name="connsiteY4" fmla="*/ 317640 h 317640"/>
                <a:gd name="connsiteX5" fmla="*/ 1341344 w 2880361"/>
                <a:gd name="connsiteY5" fmla="*/ 288036 h 317640"/>
                <a:gd name="connsiteX6" fmla="*/ 0 w 2880361"/>
                <a:gd name="connsiteY6" fmla="*/ 288036 h 317640"/>
                <a:gd name="connsiteX0" fmla="*/ 0 w 2880361"/>
                <a:gd name="connsiteY0" fmla="*/ 0 h 317640"/>
                <a:gd name="connsiteX1" fmla="*/ 2880361 w 2880361"/>
                <a:gd name="connsiteY1" fmla="*/ 0 h 317640"/>
                <a:gd name="connsiteX2" fmla="*/ 2880361 w 2880361"/>
                <a:gd name="connsiteY2" fmla="*/ 288036 h 317640"/>
                <a:gd name="connsiteX3" fmla="*/ 1539017 w 2880361"/>
                <a:gd name="connsiteY3" fmla="*/ 288036 h 317640"/>
                <a:gd name="connsiteX4" fmla="*/ 1440181 w 2880361"/>
                <a:gd name="connsiteY4" fmla="*/ 317640 h 317640"/>
                <a:gd name="connsiteX5" fmla="*/ 1341344 w 2880361"/>
                <a:gd name="connsiteY5" fmla="*/ 288036 h 317640"/>
                <a:gd name="connsiteX6" fmla="*/ 0 w 2880361"/>
                <a:gd name="connsiteY6" fmla="*/ 288036 h 317640"/>
                <a:gd name="connsiteX0" fmla="*/ 0 w 2880361"/>
                <a:gd name="connsiteY0" fmla="*/ 0 h 317640"/>
                <a:gd name="connsiteX1" fmla="*/ 2880361 w 2880361"/>
                <a:gd name="connsiteY1" fmla="*/ 0 h 317640"/>
                <a:gd name="connsiteX2" fmla="*/ 2880361 w 2880361"/>
                <a:gd name="connsiteY2" fmla="*/ 288036 h 317640"/>
                <a:gd name="connsiteX3" fmla="*/ 1539017 w 2880361"/>
                <a:gd name="connsiteY3" fmla="*/ 288036 h 317640"/>
                <a:gd name="connsiteX4" fmla="*/ 1440181 w 2880361"/>
                <a:gd name="connsiteY4" fmla="*/ 317640 h 317640"/>
                <a:gd name="connsiteX5" fmla="*/ 1341344 w 2880361"/>
                <a:gd name="connsiteY5" fmla="*/ 288036 h 317640"/>
                <a:gd name="connsiteX6" fmla="*/ 0 w 2880361"/>
                <a:gd name="connsiteY6" fmla="*/ 288036 h 317640"/>
                <a:gd name="connsiteX0" fmla="*/ 0 w 2880361"/>
                <a:gd name="connsiteY0" fmla="*/ 0 h 355199"/>
                <a:gd name="connsiteX1" fmla="*/ 2880361 w 2880361"/>
                <a:gd name="connsiteY1" fmla="*/ 0 h 355199"/>
                <a:gd name="connsiteX2" fmla="*/ 2880361 w 2880361"/>
                <a:gd name="connsiteY2" fmla="*/ 288036 h 355199"/>
                <a:gd name="connsiteX3" fmla="*/ 1539017 w 2880361"/>
                <a:gd name="connsiteY3" fmla="*/ 288036 h 355199"/>
                <a:gd name="connsiteX4" fmla="*/ 1440180 w 2880361"/>
                <a:gd name="connsiteY4" fmla="*/ 355199 h 355199"/>
                <a:gd name="connsiteX5" fmla="*/ 1341344 w 2880361"/>
                <a:gd name="connsiteY5" fmla="*/ 288036 h 355199"/>
                <a:gd name="connsiteX6" fmla="*/ 0 w 2880361"/>
                <a:gd name="connsiteY6" fmla="*/ 288036 h 355199"/>
                <a:gd name="connsiteX0" fmla="*/ 0 w 2880361"/>
                <a:gd name="connsiteY0" fmla="*/ 0 h 355199"/>
                <a:gd name="connsiteX1" fmla="*/ 2880361 w 2880361"/>
                <a:gd name="connsiteY1" fmla="*/ 0 h 355199"/>
                <a:gd name="connsiteX2" fmla="*/ 2880361 w 2880361"/>
                <a:gd name="connsiteY2" fmla="*/ 288036 h 355199"/>
                <a:gd name="connsiteX3" fmla="*/ 1539017 w 2880361"/>
                <a:gd name="connsiteY3" fmla="*/ 288036 h 355199"/>
                <a:gd name="connsiteX4" fmla="*/ 1440180 w 2880361"/>
                <a:gd name="connsiteY4" fmla="*/ 355199 h 355199"/>
                <a:gd name="connsiteX5" fmla="*/ 1341344 w 2880361"/>
                <a:gd name="connsiteY5" fmla="*/ 288036 h 355199"/>
                <a:gd name="connsiteX6" fmla="*/ 0 w 2880361"/>
                <a:gd name="connsiteY6" fmla="*/ 288036 h 355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0361" h="355199">
                  <a:moveTo>
                    <a:pt x="0" y="0"/>
                  </a:moveTo>
                  <a:lnTo>
                    <a:pt x="2880361" y="0"/>
                  </a:lnTo>
                  <a:lnTo>
                    <a:pt x="2880361" y="288036"/>
                  </a:lnTo>
                  <a:lnTo>
                    <a:pt x="1539017" y="288036"/>
                  </a:lnTo>
                  <a:lnTo>
                    <a:pt x="1440180" y="355199"/>
                  </a:lnTo>
                  <a:lnTo>
                    <a:pt x="1341344" y="288036"/>
                  </a:lnTo>
                  <a:lnTo>
                    <a:pt x="0" y="288036"/>
                  </a:lnTo>
                  <a:close/>
                </a:path>
              </a:pathLst>
            </a:custGeom>
            <a:solidFill>
              <a:schemeClr val="accent3"/>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algn="ctr"/>
              <a:endParaRPr lang="de-DE" sz="1400">
                <a:solidFill>
                  <a:srgbClr val="003C50"/>
                </a:solidFill>
                <a:latin typeface="Roboto" panose="02000000000000000000" pitchFamily="2" charset="0"/>
              </a:endParaRPr>
            </a:p>
          </p:txBody>
        </p:sp>
        <p:sp>
          <p:nvSpPr>
            <p:cNvPr id="32" name="box_header_text">
              <a:extLst>
                <a:ext uri="{FF2B5EF4-FFF2-40B4-BE49-F238E27FC236}">
                  <a16:creationId xmlns:a16="http://schemas.microsoft.com/office/drawing/2014/main" id="{E93F1837-1880-A0D3-AF67-996E1E9B865D}"/>
                </a:ext>
              </a:extLst>
            </p:cNvPr>
            <p:cNvSpPr/>
            <p:nvPr>
              <p:custDataLst>
                <p:tags r:id="rId14"/>
              </p:custDataLst>
            </p:nvPr>
          </p:nvSpPr>
          <p:spPr bwMode="gray">
            <a:xfrm>
              <a:off x="4147819" y="2527300"/>
              <a:ext cx="2880361" cy="87789"/>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72009" tIns="72009" rIns="72009" bIns="72009" rtlCol="0" anchor="ctr">
              <a:noAutofit/>
            </a:bodyPr>
            <a:lstStyle/>
            <a:p>
              <a:pPr algn="ctr"/>
              <a:r>
                <a:rPr lang="de-DE" sz="1200" b="1">
                  <a:solidFill>
                    <a:srgbClr val="003C50"/>
                  </a:solidFill>
                  <a:latin typeface="Roboto" panose="02000000000000000000" pitchFamily="2" charset="0"/>
                </a:rPr>
                <a:t>Gebäudeenergiegesetz</a:t>
              </a:r>
            </a:p>
            <a:p>
              <a:pPr algn="ctr"/>
              <a:r>
                <a:rPr lang="de-DE" sz="1200">
                  <a:solidFill>
                    <a:srgbClr val="003C50"/>
                  </a:solidFill>
                  <a:latin typeface="Roboto" panose="02000000000000000000" pitchFamily="2" charset="0"/>
                </a:rPr>
                <a:t>(GEG)</a:t>
              </a:r>
            </a:p>
          </p:txBody>
        </p:sp>
      </p:grpSp>
      <p:grpSp>
        <p:nvGrpSpPr>
          <p:cNvPr id="19" name="Group 18">
            <a:extLst>
              <a:ext uri="{FF2B5EF4-FFF2-40B4-BE49-F238E27FC236}">
                <a16:creationId xmlns:a16="http://schemas.microsoft.com/office/drawing/2014/main" id="{8A79E170-D586-E935-B6EB-C206AA4F52DD}"/>
              </a:ext>
            </a:extLst>
          </p:cNvPr>
          <p:cNvGrpSpPr/>
          <p:nvPr/>
        </p:nvGrpSpPr>
        <p:grpSpPr>
          <a:xfrm>
            <a:off x="5876303" y="4233593"/>
            <a:ext cx="3707243" cy="324000"/>
            <a:chOff x="6433154" y="4915829"/>
            <a:chExt cx="3147789" cy="324000"/>
          </a:xfrm>
        </p:grpSpPr>
        <p:sp>
          <p:nvSpPr>
            <p:cNvPr id="47" name="Rectangle 46">
              <a:extLst>
                <a:ext uri="{FF2B5EF4-FFF2-40B4-BE49-F238E27FC236}">
                  <a16:creationId xmlns:a16="http://schemas.microsoft.com/office/drawing/2014/main" id="{365F48E4-C18C-FE9B-08FE-9F3CE7C006C1}"/>
                </a:ext>
              </a:extLst>
            </p:cNvPr>
            <p:cNvSpPr/>
            <p:nvPr>
              <p:custDataLst>
                <p:tags r:id="rId7"/>
              </p:custDataLst>
            </p:nvPr>
          </p:nvSpPr>
          <p:spPr bwMode="gray">
            <a:xfrm>
              <a:off x="6750328" y="4943450"/>
              <a:ext cx="2830615" cy="290228"/>
            </a:xfrm>
            <a:prstGeom prst="rect">
              <a:avLst/>
            </a:prstGeom>
            <a:solidFill>
              <a:srgbClr val="FFFFF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r>
                <a:rPr lang="de-DE" sz="1200" b="1">
                  <a:solidFill>
                    <a:schemeClr val="tx1"/>
                  </a:solidFill>
                  <a:latin typeface="Roboto" panose="02000000000000000000" pitchFamily="2" charset="0"/>
                </a:rPr>
                <a:t>Übergangsfristen</a:t>
              </a:r>
            </a:p>
          </p:txBody>
        </p:sp>
        <p:cxnSp>
          <p:nvCxnSpPr>
            <p:cNvPr id="46" name="Straight Connector 45">
              <a:extLst>
                <a:ext uri="{FF2B5EF4-FFF2-40B4-BE49-F238E27FC236}">
                  <a16:creationId xmlns:a16="http://schemas.microsoft.com/office/drawing/2014/main" id="{19A7FC5D-31F3-04F9-C032-93BA2946D239}"/>
                </a:ext>
              </a:extLst>
            </p:cNvPr>
            <p:cNvCxnSpPr/>
            <p:nvPr>
              <p:custDataLst>
                <p:tags r:id="rId8"/>
              </p:custDataLst>
            </p:nvPr>
          </p:nvCxnSpPr>
          <p:spPr>
            <a:xfrm>
              <a:off x="6433154" y="5233678"/>
              <a:ext cx="3147789" cy="0"/>
            </a:xfrm>
            <a:prstGeom prst="line">
              <a:avLst/>
            </a:prstGeom>
            <a:ln w="19050">
              <a:solidFill>
                <a:srgbClr val="99B1B9"/>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472F326F-9F10-1609-2D45-87CAE859C993}"/>
                </a:ext>
              </a:extLst>
            </p:cNvPr>
            <p:cNvSpPr>
              <a:spLocks/>
            </p:cNvSpPr>
            <p:nvPr>
              <p:custDataLst>
                <p:tags r:id="rId9"/>
              </p:custDataLst>
            </p:nvPr>
          </p:nvSpPr>
          <p:spPr bwMode="gray">
            <a:xfrm>
              <a:off x="6436150" y="4915829"/>
              <a:ext cx="275106" cy="324000"/>
            </a:xfrm>
            <a:prstGeom prst="rect">
              <a:avLst/>
            </a:prstGeom>
            <a:solidFill>
              <a:srgbClr val="99B1B9"/>
            </a:solidFill>
            <a:ln w="9525">
              <a:solidFill>
                <a:srgbClr val="99B1B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grpSp>
          <p:nvGrpSpPr>
            <p:cNvPr id="52" name="Group 51">
              <a:extLst>
                <a:ext uri="{FF2B5EF4-FFF2-40B4-BE49-F238E27FC236}">
                  <a16:creationId xmlns:a16="http://schemas.microsoft.com/office/drawing/2014/main" id="{21B7855D-5199-2C64-E31E-9AB40BD73F00}"/>
                </a:ext>
              </a:extLst>
            </p:cNvPr>
            <p:cNvGrpSpPr>
              <a:grpSpLocks noChangeAspect="1"/>
            </p:cNvGrpSpPr>
            <p:nvPr>
              <p:custDataLst>
                <p:tags r:id="rId10"/>
              </p:custDataLst>
            </p:nvPr>
          </p:nvGrpSpPr>
          <p:grpSpPr>
            <a:xfrm>
              <a:off x="6472801" y="4979729"/>
              <a:ext cx="237881" cy="217671"/>
              <a:chOff x="1270000" y="1270000"/>
              <a:chExt cx="889000" cy="889000"/>
            </a:xfrm>
          </p:grpSpPr>
          <p:sp>
            <p:nvSpPr>
              <p:cNvPr id="49" name="Rectangle 48" hidden="1">
                <a:extLst>
                  <a:ext uri="{FF2B5EF4-FFF2-40B4-BE49-F238E27FC236}">
                    <a16:creationId xmlns:a16="http://schemas.microsoft.com/office/drawing/2014/main" id="{7512372C-408B-EC70-AFBD-229374724FA2}"/>
                  </a:ext>
                </a:extLst>
              </p:cNvPr>
              <p:cNvSpPr/>
              <p:nvPr>
                <p:custDataLst>
                  <p:tags r:id="rId11"/>
                </p:custDataLst>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pic>
            <p:nvPicPr>
              <p:cNvPr id="51" name="Graphic 50">
                <a:extLst>
                  <a:ext uri="{FF2B5EF4-FFF2-40B4-BE49-F238E27FC236}">
                    <a16:creationId xmlns:a16="http://schemas.microsoft.com/office/drawing/2014/main" id="{70E0021C-44EF-4190-C3BF-B6D0936E31B7}"/>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270000" y="1270000"/>
                <a:ext cx="889000" cy="889000"/>
              </a:xfrm>
              <a:prstGeom prst="rect">
                <a:avLst/>
              </a:prstGeom>
            </p:spPr>
          </p:pic>
        </p:grpSp>
      </p:grpSp>
      <p:graphicFrame>
        <p:nvGraphicFramePr>
          <p:cNvPr id="15" name="Table 14">
            <a:extLst>
              <a:ext uri="{FF2B5EF4-FFF2-40B4-BE49-F238E27FC236}">
                <a16:creationId xmlns:a16="http://schemas.microsoft.com/office/drawing/2014/main" id="{88B32BAB-DDA7-51AB-6DE0-B146C8EF23D5}"/>
              </a:ext>
            </a:extLst>
          </p:cNvPr>
          <p:cNvGraphicFramePr>
            <a:graphicFrameLocks noGrp="1"/>
          </p:cNvGraphicFramePr>
          <p:nvPr>
            <p:extLst>
              <p:ext uri="{D42A27DB-BD31-4B8C-83A1-F6EECF244321}">
                <p14:modId xmlns:p14="http://schemas.microsoft.com/office/powerpoint/2010/main" val="1776975515"/>
              </p:ext>
            </p:extLst>
          </p:nvPr>
        </p:nvGraphicFramePr>
        <p:xfrm>
          <a:off x="5876302" y="4549214"/>
          <a:ext cx="3707243" cy="822960"/>
        </p:xfrm>
        <a:graphic>
          <a:graphicData uri="http://schemas.openxmlformats.org/drawingml/2006/table">
            <a:tbl>
              <a:tblPr firstRow="1" bandRow="1">
                <a:tableStyleId>{5C22544A-7EE6-4342-B048-85BDC9FD1C3A}</a:tableStyleId>
              </a:tblPr>
              <a:tblGrid>
                <a:gridCol w="2177168">
                  <a:extLst>
                    <a:ext uri="{9D8B030D-6E8A-4147-A177-3AD203B41FA5}">
                      <a16:colId xmlns:a16="http://schemas.microsoft.com/office/drawing/2014/main" val="1709559578"/>
                    </a:ext>
                  </a:extLst>
                </a:gridCol>
                <a:gridCol w="1530075">
                  <a:extLst>
                    <a:ext uri="{9D8B030D-6E8A-4147-A177-3AD203B41FA5}">
                      <a16:colId xmlns:a16="http://schemas.microsoft.com/office/drawing/2014/main" val="2244492447"/>
                    </a:ext>
                  </a:extLst>
                </a:gridCol>
              </a:tblGrid>
              <a:tr h="225383">
                <a:tc>
                  <a:txBody>
                    <a:bodyPr/>
                    <a:lstStyle/>
                    <a:p>
                      <a:r>
                        <a:rPr lang="de-DE" sz="1200" b="0" dirty="0">
                          <a:solidFill>
                            <a:schemeClr val="tx1"/>
                          </a:solidFill>
                          <a:latin typeface="Roboto" panose="02000000000000000000" pitchFamily="2" charset="0"/>
                        </a:rPr>
                        <a:t>Dezentrale Versorgung: </a:t>
                      </a:r>
                      <a:endParaRPr lang="en-US" sz="1200" b="0" dirty="0">
                        <a:solidFill>
                          <a:schemeClr val="tx1"/>
                        </a:solidFill>
                        <a:latin typeface="Roboto" panose="02000000000000000000" pitchFamily="2"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a:r>
                        <a:rPr lang="de-DE" sz="1200">
                          <a:solidFill>
                            <a:schemeClr val="tx1"/>
                          </a:solidFill>
                          <a:latin typeface="Roboto" panose="02000000000000000000" pitchFamily="2" charset="0"/>
                        </a:rPr>
                        <a:t>5 Jahre</a:t>
                      </a:r>
                      <a:endParaRPr lang="en-US" sz="1200">
                        <a:solidFill>
                          <a:schemeClr val="tx1"/>
                        </a:solidFill>
                        <a:latin typeface="Roboto" panose="02000000000000000000" pitchFamily="2"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5715986"/>
                  </a:ext>
                </a:extLst>
              </a:tr>
              <a:tr h="225383">
                <a:tc>
                  <a:txBody>
                    <a:bodyPr/>
                    <a:lstStyle/>
                    <a:p>
                      <a:r>
                        <a:rPr lang="de-DE" sz="1200">
                          <a:solidFill>
                            <a:schemeClr val="tx1"/>
                          </a:solidFill>
                          <a:latin typeface="Roboto" panose="02000000000000000000" pitchFamily="2" charset="0"/>
                        </a:rPr>
                        <a:t>Wärmenetze:</a:t>
                      </a:r>
                      <a:endParaRPr lang="en-US" sz="1200">
                        <a:solidFill>
                          <a:schemeClr val="tx1"/>
                        </a:solidFill>
                        <a:latin typeface="Roboto" panose="02000000000000000000" pitchFamily="2"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r>
                        <a:rPr lang="de-DE" sz="1200" dirty="0">
                          <a:solidFill>
                            <a:schemeClr val="tx1"/>
                          </a:solidFill>
                          <a:latin typeface="Roboto" panose="02000000000000000000" pitchFamily="2" charset="0"/>
                        </a:rPr>
                        <a:t>max. 10 Jahre</a:t>
                      </a:r>
                      <a:endParaRPr lang="en-US" sz="1200" dirty="0">
                        <a:solidFill>
                          <a:schemeClr val="tx1"/>
                        </a:solidFill>
                        <a:latin typeface="Roboto" panose="02000000000000000000" pitchFamily="2"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37804406"/>
                  </a:ext>
                </a:extLst>
              </a:tr>
              <a:tr h="225383">
                <a:tc>
                  <a:txBody>
                    <a:bodyPr/>
                    <a:lstStyle/>
                    <a:p>
                      <a:r>
                        <a:rPr lang="de-DE" sz="1200">
                          <a:solidFill>
                            <a:schemeClr val="tx1"/>
                          </a:solidFill>
                          <a:latin typeface="Roboto" panose="02000000000000000000" pitchFamily="2" charset="0"/>
                        </a:rPr>
                        <a:t>Wasserstoffnetze:</a:t>
                      </a:r>
                      <a:endParaRPr lang="en-US" sz="1200">
                        <a:solidFill>
                          <a:schemeClr val="tx1"/>
                        </a:solidFill>
                        <a:latin typeface="Roboto" panose="02000000000000000000" pitchFamily="2"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de-DE" sz="1200" dirty="0">
                          <a:solidFill>
                            <a:schemeClr val="tx1"/>
                          </a:solidFill>
                          <a:latin typeface="Roboto" panose="02000000000000000000" pitchFamily="2" charset="0"/>
                        </a:rPr>
                        <a:t>01.01.2045</a:t>
                      </a:r>
                      <a:endParaRPr lang="en-US" sz="1200" dirty="0">
                        <a:solidFill>
                          <a:schemeClr val="tx1"/>
                        </a:solidFill>
                        <a:latin typeface="Roboto" panose="02000000000000000000" pitchFamily="2"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67244777"/>
                  </a:ext>
                </a:extLst>
              </a:tr>
            </a:tbl>
          </a:graphicData>
        </a:graphic>
      </p:graphicFrame>
      <p:sp>
        <p:nvSpPr>
          <p:cNvPr id="23" name="Rectangle 22" hidden="1">
            <a:extLst>
              <a:ext uri="{FF2B5EF4-FFF2-40B4-BE49-F238E27FC236}">
                <a16:creationId xmlns:a16="http://schemas.microsoft.com/office/drawing/2014/main" id="{58752217-EE3A-7AB2-3FDE-E2A8B253D70B}"/>
              </a:ext>
            </a:extLst>
          </p:cNvPr>
          <p:cNvSpPr/>
          <p:nvPr/>
        </p:nvSpPr>
        <p:spPr bwMode="gray">
          <a:xfrm>
            <a:off x="208025" y="1136120"/>
            <a:ext cx="380664" cy="380664"/>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pic>
        <p:nvPicPr>
          <p:cNvPr id="37" name="Graphic 36">
            <a:extLst>
              <a:ext uri="{FF2B5EF4-FFF2-40B4-BE49-F238E27FC236}">
                <a16:creationId xmlns:a16="http://schemas.microsoft.com/office/drawing/2014/main" id="{58CE95E5-A589-1A0A-31E4-716AA52128B9}"/>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208025" y="2048564"/>
            <a:ext cx="380664" cy="380664"/>
          </a:xfrm>
          <a:prstGeom prst="rect">
            <a:avLst/>
          </a:prstGeom>
        </p:spPr>
      </p:pic>
      <p:sp>
        <p:nvSpPr>
          <p:cNvPr id="39" name="Rectangle 38" hidden="1">
            <a:extLst>
              <a:ext uri="{FF2B5EF4-FFF2-40B4-BE49-F238E27FC236}">
                <a16:creationId xmlns:a16="http://schemas.microsoft.com/office/drawing/2014/main" id="{77F60655-1730-51A5-BCD3-A6B2DE09CBB3}"/>
              </a:ext>
            </a:extLst>
          </p:cNvPr>
          <p:cNvSpPr/>
          <p:nvPr/>
        </p:nvSpPr>
        <p:spPr bwMode="gray">
          <a:xfrm>
            <a:off x="207803" y="3811319"/>
            <a:ext cx="380664" cy="380664"/>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sp>
        <p:nvSpPr>
          <p:cNvPr id="11" name="box_text">
            <a:extLst>
              <a:ext uri="{FF2B5EF4-FFF2-40B4-BE49-F238E27FC236}">
                <a16:creationId xmlns:a16="http://schemas.microsoft.com/office/drawing/2014/main" id="{5EA98A8D-C9BF-22FE-8F1A-2E6699F63F21}"/>
              </a:ext>
            </a:extLst>
          </p:cNvPr>
          <p:cNvSpPr/>
          <p:nvPr>
            <p:custDataLst>
              <p:tags r:id="rId3"/>
            </p:custDataLst>
          </p:nvPr>
        </p:nvSpPr>
        <p:spPr bwMode="gray">
          <a:xfrm>
            <a:off x="205136" y="4710140"/>
            <a:ext cx="3374941" cy="1343658"/>
          </a:xfrm>
          <a:prstGeom prst="rect">
            <a:avLst/>
          </a:prstGeom>
          <a:noFill/>
          <a:ln w="9525">
            <a:solidFill>
              <a:srgbClr val="EFEEEB"/>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36005" tIns="144018" rIns="36005" bIns="36005" rtlCol="0" anchor="t">
            <a:noAutofit/>
          </a:bodyPr>
          <a:lstStyle/>
          <a:p>
            <a:pPr marL="171450" indent="-171450">
              <a:lnSpc>
                <a:spcPct val="113000"/>
              </a:lnSpc>
              <a:spcBef>
                <a:spcPts val="600"/>
              </a:spcBef>
              <a:buFont typeface="Wingdings" panose="05000000000000000000" pitchFamily="2" charset="2"/>
              <a:buChar char="§"/>
            </a:pPr>
            <a:r>
              <a:rPr lang="de-DE" sz="1200" dirty="0">
                <a:solidFill>
                  <a:srgbClr val="003C50"/>
                </a:solidFill>
                <a:latin typeface="Roboto" panose="02000000000000000000" pitchFamily="2" charset="0"/>
              </a:rPr>
              <a:t>Überführung des Bundesgesetzes in Landesgesetz</a:t>
            </a:r>
          </a:p>
          <a:p>
            <a:pPr marL="171450" indent="-171450">
              <a:buFont typeface="Wingdings" panose="05000000000000000000" pitchFamily="2" charset="2"/>
              <a:buChar char="§"/>
            </a:pPr>
            <a:endParaRPr lang="de-DE" sz="1200" dirty="0">
              <a:solidFill>
                <a:srgbClr val="003C50"/>
              </a:solidFill>
              <a:latin typeface="Roboto" panose="02000000000000000000" pitchFamily="2" charset="0"/>
            </a:endParaRPr>
          </a:p>
        </p:txBody>
      </p:sp>
      <p:sp>
        <p:nvSpPr>
          <p:cNvPr id="12" name="box_header">
            <a:extLst>
              <a:ext uri="{FF2B5EF4-FFF2-40B4-BE49-F238E27FC236}">
                <a16:creationId xmlns:a16="http://schemas.microsoft.com/office/drawing/2014/main" id="{EC1F8188-486B-AF8B-2FE4-1DAA5CB9A8B5}"/>
              </a:ext>
            </a:extLst>
          </p:cNvPr>
          <p:cNvSpPr/>
          <p:nvPr>
            <p:custDataLst>
              <p:tags r:id="rId4"/>
            </p:custDataLst>
          </p:nvPr>
        </p:nvSpPr>
        <p:spPr bwMode="gray">
          <a:xfrm>
            <a:off x="208027" y="4192973"/>
            <a:ext cx="3374941" cy="593999"/>
          </a:xfrm>
          <a:custGeom>
            <a:avLst/>
            <a:gdLst>
              <a:gd name="connsiteX0" fmla="*/ 0 w 2880361"/>
              <a:gd name="connsiteY0" fmla="*/ 0 h 396049"/>
              <a:gd name="connsiteX1" fmla="*/ 2880361 w 2880361"/>
              <a:gd name="connsiteY1" fmla="*/ 0 h 396049"/>
              <a:gd name="connsiteX2" fmla="*/ 2880361 w 2880361"/>
              <a:gd name="connsiteY2" fmla="*/ 288036 h 396049"/>
              <a:gd name="connsiteX3" fmla="*/ 1548194 w 2880361"/>
              <a:gd name="connsiteY3" fmla="*/ 288036 h 396049"/>
              <a:gd name="connsiteX4" fmla="*/ 1440181 w 2880361"/>
              <a:gd name="connsiteY4" fmla="*/ 396049 h 396049"/>
              <a:gd name="connsiteX5" fmla="*/ 1332167 w 2880361"/>
              <a:gd name="connsiteY5" fmla="*/ 288036 h 396049"/>
              <a:gd name="connsiteX6" fmla="*/ 0 w 2880361"/>
              <a:gd name="connsiteY6" fmla="*/ 288036 h 396049"/>
              <a:gd name="connsiteX0" fmla="*/ 0 w 2880361"/>
              <a:gd name="connsiteY0" fmla="*/ 0 h 334050"/>
              <a:gd name="connsiteX1" fmla="*/ 2880361 w 2880361"/>
              <a:gd name="connsiteY1" fmla="*/ 0 h 334050"/>
              <a:gd name="connsiteX2" fmla="*/ 2880361 w 2880361"/>
              <a:gd name="connsiteY2" fmla="*/ 288036 h 334050"/>
              <a:gd name="connsiteX3" fmla="*/ 1548194 w 2880361"/>
              <a:gd name="connsiteY3" fmla="*/ 288036 h 334050"/>
              <a:gd name="connsiteX4" fmla="*/ 1440182 w 2880361"/>
              <a:gd name="connsiteY4" fmla="*/ 334050 h 334050"/>
              <a:gd name="connsiteX5" fmla="*/ 1332167 w 2880361"/>
              <a:gd name="connsiteY5" fmla="*/ 288036 h 334050"/>
              <a:gd name="connsiteX6" fmla="*/ 0 w 2880361"/>
              <a:gd name="connsiteY6" fmla="*/ 288036 h 334050"/>
              <a:gd name="connsiteX0" fmla="*/ 0 w 2880361"/>
              <a:gd name="connsiteY0" fmla="*/ 0 h 334050"/>
              <a:gd name="connsiteX1" fmla="*/ 2880361 w 2880361"/>
              <a:gd name="connsiteY1" fmla="*/ 0 h 334050"/>
              <a:gd name="connsiteX2" fmla="*/ 2880361 w 2880361"/>
              <a:gd name="connsiteY2" fmla="*/ 288036 h 334050"/>
              <a:gd name="connsiteX3" fmla="*/ 1548194 w 2880361"/>
              <a:gd name="connsiteY3" fmla="*/ 288036 h 334050"/>
              <a:gd name="connsiteX4" fmla="*/ 1440182 w 2880361"/>
              <a:gd name="connsiteY4" fmla="*/ 334050 h 334050"/>
              <a:gd name="connsiteX5" fmla="*/ 1332168 w 2880361"/>
              <a:gd name="connsiteY5" fmla="*/ 288036 h 334050"/>
              <a:gd name="connsiteX6" fmla="*/ 0 w 2880361"/>
              <a:gd name="connsiteY6" fmla="*/ 288036 h 334050"/>
              <a:gd name="connsiteX0" fmla="*/ 0 w 2880361"/>
              <a:gd name="connsiteY0" fmla="*/ 0 h 334050"/>
              <a:gd name="connsiteX1" fmla="*/ 2880361 w 2880361"/>
              <a:gd name="connsiteY1" fmla="*/ 0 h 334050"/>
              <a:gd name="connsiteX2" fmla="*/ 2880361 w 2880361"/>
              <a:gd name="connsiteY2" fmla="*/ 288036 h 334050"/>
              <a:gd name="connsiteX3" fmla="*/ 1539017 w 2880361"/>
              <a:gd name="connsiteY3" fmla="*/ 288036 h 334050"/>
              <a:gd name="connsiteX4" fmla="*/ 1440182 w 2880361"/>
              <a:gd name="connsiteY4" fmla="*/ 334050 h 334050"/>
              <a:gd name="connsiteX5" fmla="*/ 1332168 w 2880361"/>
              <a:gd name="connsiteY5" fmla="*/ 288036 h 334050"/>
              <a:gd name="connsiteX6" fmla="*/ 0 w 2880361"/>
              <a:gd name="connsiteY6" fmla="*/ 288036 h 334050"/>
              <a:gd name="connsiteX0" fmla="*/ 0 w 2880361"/>
              <a:gd name="connsiteY0" fmla="*/ 0 h 448424"/>
              <a:gd name="connsiteX1" fmla="*/ 2880361 w 2880361"/>
              <a:gd name="connsiteY1" fmla="*/ 0 h 448424"/>
              <a:gd name="connsiteX2" fmla="*/ 2880361 w 2880361"/>
              <a:gd name="connsiteY2" fmla="*/ 288036 h 448424"/>
              <a:gd name="connsiteX3" fmla="*/ 1539017 w 2880361"/>
              <a:gd name="connsiteY3" fmla="*/ 288036 h 448424"/>
              <a:gd name="connsiteX4" fmla="*/ 1440181 w 2880361"/>
              <a:gd name="connsiteY4" fmla="*/ 448424 h 448424"/>
              <a:gd name="connsiteX5" fmla="*/ 1332168 w 2880361"/>
              <a:gd name="connsiteY5" fmla="*/ 288036 h 448424"/>
              <a:gd name="connsiteX6" fmla="*/ 0 w 2880361"/>
              <a:gd name="connsiteY6" fmla="*/ 288036 h 448424"/>
              <a:gd name="connsiteX0" fmla="*/ 0 w 2880361"/>
              <a:gd name="connsiteY0" fmla="*/ 0 h 448424"/>
              <a:gd name="connsiteX1" fmla="*/ 2880361 w 2880361"/>
              <a:gd name="connsiteY1" fmla="*/ 0 h 448424"/>
              <a:gd name="connsiteX2" fmla="*/ 2880361 w 2880361"/>
              <a:gd name="connsiteY2" fmla="*/ 288036 h 448424"/>
              <a:gd name="connsiteX3" fmla="*/ 1539017 w 2880361"/>
              <a:gd name="connsiteY3" fmla="*/ 288036 h 448424"/>
              <a:gd name="connsiteX4" fmla="*/ 1440181 w 2880361"/>
              <a:gd name="connsiteY4" fmla="*/ 448424 h 448424"/>
              <a:gd name="connsiteX5" fmla="*/ 1341344 w 2880361"/>
              <a:gd name="connsiteY5" fmla="*/ 288034 h 448424"/>
              <a:gd name="connsiteX6" fmla="*/ 0 w 2880361"/>
              <a:gd name="connsiteY6" fmla="*/ 288036 h 448424"/>
              <a:gd name="connsiteX0" fmla="*/ 0 w 2880361"/>
              <a:gd name="connsiteY0" fmla="*/ 0 h 448424"/>
              <a:gd name="connsiteX1" fmla="*/ 2880361 w 2880361"/>
              <a:gd name="connsiteY1" fmla="*/ 0 h 448424"/>
              <a:gd name="connsiteX2" fmla="*/ 2880361 w 2880361"/>
              <a:gd name="connsiteY2" fmla="*/ 288036 h 448424"/>
              <a:gd name="connsiteX3" fmla="*/ 1539017 w 2880361"/>
              <a:gd name="connsiteY3" fmla="*/ 288036 h 448424"/>
              <a:gd name="connsiteX4" fmla="*/ 1440181 w 2880361"/>
              <a:gd name="connsiteY4" fmla="*/ 448424 h 448424"/>
              <a:gd name="connsiteX5" fmla="*/ 1341344 w 2880361"/>
              <a:gd name="connsiteY5" fmla="*/ 288034 h 448424"/>
              <a:gd name="connsiteX6" fmla="*/ 0 w 2880361"/>
              <a:gd name="connsiteY6" fmla="*/ 288036 h 448424"/>
              <a:gd name="connsiteX0" fmla="*/ 0 w 2880361"/>
              <a:gd name="connsiteY0" fmla="*/ 0 h 448424"/>
              <a:gd name="connsiteX1" fmla="*/ 2880361 w 2880361"/>
              <a:gd name="connsiteY1" fmla="*/ 0 h 448424"/>
              <a:gd name="connsiteX2" fmla="*/ 2880361 w 2880361"/>
              <a:gd name="connsiteY2" fmla="*/ 288036 h 448424"/>
              <a:gd name="connsiteX3" fmla="*/ 1539017 w 2880361"/>
              <a:gd name="connsiteY3" fmla="*/ 288036 h 448424"/>
              <a:gd name="connsiteX4" fmla="*/ 1440181 w 2880361"/>
              <a:gd name="connsiteY4" fmla="*/ 448424 h 448424"/>
              <a:gd name="connsiteX5" fmla="*/ 1341344 w 2880361"/>
              <a:gd name="connsiteY5" fmla="*/ 288034 h 448424"/>
              <a:gd name="connsiteX6" fmla="*/ 0 w 2880361"/>
              <a:gd name="connsiteY6" fmla="*/ 288036 h 448424"/>
              <a:gd name="connsiteX0" fmla="*/ 0 w 2880361"/>
              <a:gd name="connsiteY0" fmla="*/ 0 h 448424"/>
              <a:gd name="connsiteX1" fmla="*/ 2880361 w 2880361"/>
              <a:gd name="connsiteY1" fmla="*/ 0 h 448424"/>
              <a:gd name="connsiteX2" fmla="*/ 2880361 w 2880361"/>
              <a:gd name="connsiteY2" fmla="*/ 288036 h 448424"/>
              <a:gd name="connsiteX3" fmla="*/ 1539017 w 2880361"/>
              <a:gd name="connsiteY3" fmla="*/ 288036 h 448424"/>
              <a:gd name="connsiteX4" fmla="*/ 1440181 w 2880361"/>
              <a:gd name="connsiteY4" fmla="*/ 448424 h 448424"/>
              <a:gd name="connsiteX5" fmla="*/ 1341344 w 2880361"/>
              <a:gd name="connsiteY5" fmla="*/ 288036 h 448424"/>
              <a:gd name="connsiteX6" fmla="*/ 0 w 2880361"/>
              <a:gd name="connsiteY6" fmla="*/ 288036 h 448424"/>
              <a:gd name="connsiteX0" fmla="*/ 0 w 2880361"/>
              <a:gd name="connsiteY0" fmla="*/ 0 h 448424"/>
              <a:gd name="connsiteX1" fmla="*/ 2880361 w 2880361"/>
              <a:gd name="connsiteY1" fmla="*/ 0 h 448424"/>
              <a:gd name="connsiteX2" fmla="*/ 2880361 w 2880361"/>
              <a:gd name="connsiteY2" fmla="*/ 288036 h 448424"/>
              <a:gd name="connsiteX3" fmla="*/ 1539017 w 2880361"/>
              <a:gd name="connsiteY3" fmla="*/ 288036 h 448424"/>
              <a:gd name="connsiteX4" fmla="*/ 1440181 w 2880361"/>
              <a:gd name="connsiteY4" fmla="*/ 448424 h 448424"/>
              <a:gd name="connsiteX5" fmla="*/ 1341344 w 2880361"/>
              <a:gd name="connsiteY5" fmla="*/ 288036 h 448424"/>
              <a:gd name="connsiteX6" fmla="*/ 0 w 2880361"/>
              <a:gd name="connsiteY6" fmla="*/ 288036 h 448424"/>
              <a:gd name="connsiteX0" fmla="*/ 0 w 2880361"/>
              <a:gd name="connsiteY0" fmla="*/ 0 h 352582"/>
              <a:gd name="connsiteX1" fmla="*/ 2880361 w 2880361"/>
              <a:gd name="connsiteY1" fmla="*/ 0 h 352582"/>
              <a:gd name="connsiteX2" fmla="*/ 2880361 w 2880361"/>
              <a:gd name="connsiteY2" fmla="*/ 288036 h 352582"/>
              <a:gd name="connsiteX3" fmla="*/ 1539017 w 2880361"/>
              <a:gd name="connsiteY3" fmla="*/ 288036 h 352582"/>
              <a:gd name="connsiteX4" fmla="*/ 1440181 w 2880361"/>
              <a:gd name="connsiteY4" fmla="*/ 352582 h 352582"/>
              <a:gd name="connsiteX5" fmla="*/ 1341344 w 2880361"/>
              <a:gd name="connsiteY5" fmla="*/ 288036 h 352582"/>
              <a:gd name="connsiteX6" fmla="*/ 0 w 2880361"/>
              <a:gd name="connsiteY6" fmla="*/ 288036 h 352582"/>
              <a:gd name="connsiteX0" fmla="*/ 0 w 2880361"/>
              <a:gd name="connsiteY0" fmla="*/ 0 h 352582"/>
              <a:gd name="connsiteX1" fmla="*/ 2880361 w 2880361"/>
              <a:gd name="connsiteY1" fmla="*/ 0 h 352582"/>
              <a:gd name="connsiteX2" fmla="*/ 2880361 w 2880361"/>
              <a:gd name="connsiteY2" fmla="*/ 288036 h 352582"/>
              <a:gd name="connsiteX3" fmla="*/ 1539017 w 2880361"/>
              <a:gd name="connsiteY3" fmla="*/ 288036 h 352582"/>
              <a:gd name="connsiteX4" fmla="*/ 1440181 w 2880361"/>
              <a:gd name="connsiteY4" fmla="*/ 352582 h 352582"/>
              <a:gd name="connsiteX5" fmla="*/ 1341344 w 2880361"/>
              <a:gd name="connsiteY5" fmla="*/ 288036 h 352582"/>
              <a:gd name="connsiteX6" fmla="*/ 0 w 2880361"/>
              <a:gd name="connsiteY6" fmla="*/ 288036 h 352582"/>
              <a:gd name="connsiteX0" fmla="*/ 0 w 2880361"/>
              <a:gd name="connsiteY0" fmla="*/ 0 h 352582"/>
              <a:gd name="connsiteX1" fmla="*/ 2880361 w 2880361"/>
              <a:gd name="connsiteY1" fmla="*/ 0 h 352582"/>
              <a:gd name="connsiteX2" fmla="*/ 2880361 w 2880361"/>
              <a:gd name="connsiteY2" fmla="*/ 288036 h 352582"/>
              <a:gd name="connsiteX3" fmla="*/ 1539017 w 2880361"/>
              <a:gd name="connsiteY3" fmla="*/ 288036 h 352582"/>
              <a:gd name="connsiteX4" fmla="*/ 1440181 w 2880361"/>
              <a:gd name="connsiteY4" fmla="*/ 352582 h 352582"/>
              <a:gd name="connsiteX5" fmla="*/ 1341344 w 2880361"/>
              <a:gd name="connsiteY5" fmla="*/ 288036 h 352582"/>
              <a:gd name="connsiteX6" fmla="*/ 0 w 2880361"/>
              <a:gd name="connsiteY6" fmla="*/ 288036 h 352582"/>
              <a:gd name="connsiteX0" fmla="*/ 0 w 2880361"/>
              <a:gd name="connsiteY0" fmla="*/ 0 h 331785"/>
              <a:gd name="connsiteX1" fmla="*/ 2880361 w 2880361"/>
              <a:gd name="connsiteY1" fmla="*/ 0 h 331785"/>
              <a:gd name="connsiteX2" fmla="*/ 2880361 w 2880361"/>
              <a:gd name="connsiteY2" fmla="*/ 288036 h 331785"/>
              <a:gd name="connsiteX3" fmla="*/ 1539017 w 2880361"/>
              <a:gd name="connsiteY3" fmla="*/ 288036 h 331785"/>
              <a:gd name="connsiteX4" fmla="*/ 1440181 w 2880361"/>
              <a:gd name="connsiteY4" fmla="*/ 331785 h 331785"/>
              <a:gd name="connsiteX5" fmla="*/ 1341344 w 2880361"/>
              <a:gd name="connsiteY5" fmla="*/ 288036 h 331785"/>
              <a:gd name="connsiteX6" fmla="*/ 0 w 2880361"/>
              <a:gd name="connsiteY6" fmla="*/ 288036 h 331785"/>
              <a:gd name="connsiteX0" fmla="*/ 0 w 2880361"/>
              <a:gd name="connsiteY0" fmla="*/ 0 h 331785"/>
              <a:gd name="connsiteX1" fmla="*/ 2880361 w 2880361"/>
              <a:gd name="connsiteY1" fmla="*/ 0 h 331785"/>
              <a:gd name="connsiteX2" fmla="*/ 2880361 w 2880361"/>
              <a:gd name="connsiteY2" fmla="*/ 288036 h 331785"/>
              <a:gd name="connsiteX3" fmla="*/ 1539017 w 2880361"/>
              <a:gd name="connsiteY3" fmla="*/ 288036 h 331785"/>
              <a:gd name="connsiteX4" fmla="*/ 1440181 w 2880361"/>
              <a:gd name="connsiteY4" fmla="*/ 331785 h 331785"/>
              <a:gd name="connsiteX5" fmla="*/ 1341344 w 2880361"/>
              <a:gd name="connsiteY5" fmla="*/ 288036 h 331785"/>
              <a:gd name="connsiteX6" fmla="*/ 0 w 2880361"/>
              <a:gd name="connsiteY6" fmla="*/ 288036 h 33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0361" h="331785">
                <a:moveTo>
                  <a:pt x="0" y="0"/>
                </a:moveTo>
                <a:lnTo>
                  <a:pt x="2880361" y="0"/>
                </a:lnTo>
                <a:lnTo>
                  <a:pt x="2880361" y="288036"/>
                </a:lnTo>
                <a:lnTo>
                  <a:pt x="1539017" y="288036"/>
                </a:lnTo>
                <a:lnTo>
                  <a:pt x="1440181" y="331785"/>
                </a:lnTo>
                <a:lnTo>
                  <a:pt x="1341344" y="288036"/>
                </a:lnTo>
                <a:lnTo>
                  <a:pt x="0" y="288036"/>
                </a:lnTo>
                <a:close/>
              </a:path>
            </a:pathLst>
          </a:custGeom>
          <a:solidFill>
            <a:schemeClr val="accent2"/>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algn="ctr"/>
            <a:endParaRPr lang="de-DE" sz="1400">
              <a:solidFill>
                <a:srgbClr val="003C50"/>
              </a:solidFill>
              <a:latin typeface="Roboto" panose="02000000000000000000" pitchFamily="2" charset="0"/>
            </a:endParaRPr>
          </a:p>
        </p:txBody>
      </p:sp>
      <p:sp>
        <p:nvSpPr>
          <p:cNvPr id="13" name="box_header_text">
            <a:extLst>
              <a:ext uri="{FF2B5EF4-FFF2-40B4-BE49-F238E27FC236}">
                <a16:creationId xmlns:a16="http://schemas.microsoft.com/office/drawing/2014/main" id="{BCE0A283-EEE6-5770-24FF-45D4D7E76C25}"/>
              </a:ext>
            </a:extLst>
          </p:cNvPr>
          <p:cNvSpPr/>
          <p:nvPr>
            <p:custDataLst>
              <p:tags r:id="rId5"/>
            </p:custDataLst>
          </p:nvPr>
        </p:nvSpPr>
        <p:spPr bwMode="gray">
          <a:xfrm>
            <a:off x="209909" y="4164370"/>
            <a:ext cx="3374941" cy="566115"/>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72009" tIns="72009" rIns="72009" bIns="72009" rtlCol="0" anchor="ctr">
            <a:noAutofit/>
          </a:bodyPr>
          <a:lstStyle/>
          <a:p>
            <a:pPr algn="ctr"/>
            <a:r>
              <a:rPr lang="de-DE" sz="1200" b="1">
                <a:solidFill>
                  <a:schemeClr val="bg1"/>
                </a:solidFill>
                <a:latin typeface="Roboto" panose="02000000000000000000" pitchFamily="2" charset="0"/>
              </a:rPr>
              <a:t>Landeswärmeplanungsgesetz NRW</a:t>
            </a:r>
          </a:p>
          <a:p>
            <a:pPr algn="ctr"/>
            <a:r>
              <a:rPr lang="de-DE" sz="1200">
                <a:solidFill>
                  <a:schemeClr val="bg1"/>
                </a:solidFill>
                <a:latin typeface="Roboto" panose="02000000000000000000" pitchFamily="2" charset="0"/>
              </a:rPr>
              <a:t>(LWPG)</a:t>
            </a:r>
          </a:p>
        </p:txBody>
      </p:sp>
      <p:pic>
        <p:nvPicPr>
          <p:cNvPr id="40" name="Graphic 39">
            <a:extLst>
              <a:ext uri="{FF2B5EF4-FFF2-40B4-BE49-F238E27FC236}">
                <a16:creationId xmlns:a16="http://schemas.microsoft.com/office/drawing/2014/main" id="{A608F3C8-AEC8-5856-5D96-D093EBF4B197}"/>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208025" y="4257096"/>
            <a:ext cx="380664" cy="380664"/>
          </a:xfrm>
          <a:prstGeom prst="rect">
            <a:avLst/>
          </a:prstGeom>
        </p:spPr>
      </p:pic>
      <p:pic>
        <p:nvPicPr>
          <p:cNvPr id="41" name="Graphic 40">
            <a:extLst>
              <a:ext uri="{FF2B5EF4-FFF2-40B4-BE49-F238E27FC236}">
                <a16:creationId xmlns:a16="http://schemas.microsoft.com/office/drawing/2014/main" id="{7ACB78A2-5030-6071-C701-135DF15C8E6D}"/>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5884066" y="2048564"/>
            <a:ext cx="380664" cy="380664"/>
          </a:xfrm>
          <a:prstGeom prst="rect">
            <a:avLst/>
          </a:prstGeom>
        </p:spPr>
      </p:pic>
      <p:sp>
        <p:nvSpPr>
          <p:cNvPr id="50" name="Arrow: Pentagon 49">
            <a:extLst>
              <a:ext uri="{FF2B5EF4-FFF2-40B4-BE49-F238E27FC236}">
                <a16:creationId xmlns:a16="http://schemas.microsoft.com/office/drawing/2014/main" id="{567C317A-0532-7002-AC6A-781A6B2807A9}"/>
              </a:ext>
            </a:extLst>
          </p:cNvPr>
          <p:cNvSpPr/>
          <p:nvPr/>
        </p:nvSpPr>
        <p:spPr bwMode="gray">
          <a:xfrm rot="5400000">
            <a:off x="4406315" y="-3244003"/>
            <a:ext cx="970185" cy="9372602"/>
          </a:xfrm>
          <a:prstGeom prst="homePlate">
            <a:avLst>
              <a:gd name="adj" fmla="val 23344"/>
            </a:avLst>
          </a:prstGeom>
          <a:solidFill>
            <a:schemeClr val="bg1"/>
          </a:solidFill>
          <a:ln w="952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a:solidFill>
                <a:srgbClr val="003C50"/>
              </a:solidFill>
              <a:latin typeface="Roboto"/>
            </a:endParaRPr>
          </a:p>
        </p:txBody>
      </p:sp>
      <p:grpSp>
        <p:nvGrpSpPr>
          <p:cNvPr id="53" name="Group 52">
            <a:extLst>
              <a:ext uri="{FF2B5EF4-FFF2-40B4-BE49-F238E27FC236}">
                <a16:creationId xmlns:a16="http://schemas.microsoft.com/office/drawing/2014/main" id="{00B7A2A4-33AF-E835-B08C-9A03878D2D31}"/>
              </a:ext>
            </a:extLst>
          </p:cNvPr>
          <p:cNvGrpSpPr/>
          <p:nvPr/>
        </p:nvGrpSpPr>
        <p:grpSpPr>
          <a:xfrm>
            <a:off x="296912" y="989103"/>
            <a:ext cx="473609" cy="667908"/>
            <a:chOff x="125643" y="1474924"/>
            <a:chExt cx="612657" cy="864000"/>
          </a:xfrm>
        </p:grpSpPr>
        <p:pic>
          <p:nvPicPr>
            <p:cNvPr id="54" name="Picture 53">
              <a:extLst>
                <a:ext uri="{FF2B5EF4-FFF2-40B4-BE49-F238E27FC236}">
                  <a16:creationId xmlns:a16="http://schemas.microsoft.com/office/drawing/2014/main" id="{4DBF93E3-CC9E-8A7F-D289-7B2AF02B5BAD}"/>
                </a:ext>
              </a:extLst>
            </p:cNvPr>
            <p:cNvPicPr>
              <a:picLocks noChangeAspect="1"/>
            </p:cNvPicPr>
            <p:nvPr/>
          </p:nvPicPr>
          <p:blipFill>
            <a:blip r:embed="rId32" cstate="screen">
              <a:extLst>
                <a:ext uri="{BEBA8EAE-BF5A-486C-A8C5-ECC9F3942E4B}">
                  <a14:imgProps xmlns:a14="http://schemas.microsoft.com/office/drawing/2010/main">
                    <a14:imgLayer r:embed="rId33">
                      <a14:imgEffect>
                        <a14:artisticBlur/>
                      </a14:imgEffect>
                    </a14:imgLayer>
                  </a14:imgProps>
                </a:ext>
                <a:ext uri="{28A0092B-C50C-407E-A947-70E740481C1C}">
                  <a14:useLocalDpi xmlns:a14="http://schemas.microsoft.com/office/drawing/2010/main"/>
                </a:ext>
              </a:extLst>
            </a:blip>
            <a:stretch>
              <a:fillRect/>
            </a:stretch>
          </p:blipFill>
          <p:spPr>
            <a:xfrm>
              <a:off x="125643" y="1474924"/>
              <a:ext cx="612657" cy="864000"/>
            </a:xfrm>
            <a:prstGeom prst="rect">
              <a:avLst/>
            </a:prstGeom>
            <a:ln>
              <a:solidFill>
                <a:schemeClr val="accent5"/>
              </a:solidFill>
            </a:ln>
            <a:effectLst>
              <a:outerShdw blurRad="50800" dist="38100" dir="2700000" algn="tl" rotWithShape="0">
                <a:prstClr val="black">
                  <a:alpha val="40000"/>
                </a:prstClr>
              </a:outerShdw>
            </a:effectLst>
          </p:spPr>
        </p:pic>
        <p:sp>
          <p:nvSpPr>
            <p:cNvPr id="55" name="Rectangle 54">
              <a:extLst>
                <a:ext uri="{FF2B5EF4-FFF2-40B4-BE49-F238E27FC236}">
                  <a16:creationId xmlns:a16="http://schemas.microsoft.com/office/drawing/2014/main" id="{F16044C0-4CD8-8492-9613-D8C08E976D0A}"/>
                </a:ext>
              </a:extLst>
            </p:cNvPr>
            <p:cNvSpPr/>
            <p:nvPr>
              <p:custDataLst>
                <p:tags r:id="rId6"/>
              </p:custDataLst>
            </p:nvPr>
          </p:nvSpPr>
          <p:spPr bwMode="gray">
            <a:xfrm>
              <a:off x="263754" y="1502413"/>
              <a:ext cx="336430" cy="6882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defTabSz="914368"/>
              <a:r>
                <a:rPr lang="de-DE" sz="4000" b="1">
                  <a:solidFill>
                    <a:srgbClr val="003C50"/>
                  </a:solidFill>
                  <a:latin typeface="Roboto" panose="02000000000000000000" pitchFamily="2" charset="0"/>
                </a:rPr>
                <a:t>§</a:t>
              </a:r>
            </a:p>
          </p:txBody>
        </p:sp>
      </p:grpSp>
      <p:sp>
        <p:nvSpPr>
          <p:cNvPr id="56" name="box_text">
            <a:extLst>
              <a:ext uri="{FF2B5EF4-FFF2-40B4-BE49-F238E27FC236}">
                <a16:creationId xmlns:a16="http://schemas.microsoft.com/office/drawing/2014/main" id="{3A82DF05-8FFD-27AD-D6F2-E747C4C6A566}"/>
              </a:ext>
            </a:extLst>
          </p:cNvPr>
          <p:cNvSpPr/>
          <p:nvPr/>
        </p:nvSpPr>
        <p:spPr bwMode="gray">
          <a:xfrm>
            <a:off x="820686" y="966175"/>
            <a:ext cx="4388180" cy="719044"/>
          </a:xfrm>
          <a:prstGeom prst="rect">
            <a:avLst/>
          </a:prstGeom>
          <a:noFill/>
          <a:ln w="9525">
            <a:no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180000" tIns="36005" rIns="36005" bIns="36005" rtlCol="0" anchor="ctr">
            <a:sp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defTabSz="914368"/>
            <a:r>
              <a:rPr lang="de-DE" sz="1400" dirty="0">
                <a:solidFill>
                  <a:srgbClr val="003C50"/>
                </a:solidFill>
                <a:latin typeface="Roboto" panose="02000000000000000000" pitchFamily="2" charset="0"/>
              </a:rPr>
              <a:t>Gebäudeenergiegesetz </a:t>
            </a:r>
            <a:r>
              <a:rPr lang="de-DE" sz="1400" b="1" dirty="0">
                <a:solidFill>
                  <a:srgbClr val="003C50"/>
                </a:solidFill>
                <a:latin typeface="Roboto" panose="02000000000000000000" pitchFamily="2" charset="0"/>
              </a:rPr>
              <a:t>GEG</a:t>
            </a:r>
          </a:p>
          <a:p>
            <a:pPr defTabSz="914368"/>
            <a:r>
              <a:rPr lang="de-DE" sz="1400" dirty="0">
                <a:solidFill>
                  <a:srgbClr val="003C50"/>
                </a:solidFill>
                <a:latin typeface="Roboto" panose="02000000000000000000" pitchFamily="2" charset="0"/>
              </a:rPr>
              <a:t>Wärmeplanungsgesetz </a:t>
            </a:r>
            <a:r>
              <a:rPr lang="de-DE" sz="1400" b="1" dirty="0">
                <a:solidFill>
                  <a:srgbClr val="003C50"/>
                </a:solidFill>
                <a:latin typeface="Roboto" panose="02000000000000000000" pitchFamily="2" charset="0"/>
              </a:rPr>
              <a:t>WPG</a:t>
            </a:r>
            <a:endParaRPr lang="de-DE" sz="1400" dirty="0">
              <a:solidFill>
                <a:srgbClr val="003C50"/>
              </a:solidFill>
              <a:latin typeface="Roboto" panose="02000000000000000000" pitchFamily="2" charset="0"/>
            </a:endParaRPr>
          </a:p>
          <a:p>
            <a:pPr defTabSz="914368"/>
            <a:r>
              <a:rPr lang="de-DE" sz="1400" dirty="0">
                <a:solidFill>
                  <a:srgbClr val="003C50"/>
                </a:solidFill>
                <a:latin typeface="Roboto" panose="02000000000000000000" pitchFamily="2" charset="0"/>
              </a:rPr>
              <a:t>Landeswärmeplanungsgesetz NRW </a:t>
            </a:r>
            <a:r>
              <a:rPr lang="de-DE" sz="1400" b="1" dirty="0">
                <a:solidFill>
                  <a:srgbClr val="003C50"/>
                </a:solidFill>
                <a:latin typeface="Roboto" panose="02000000000000000000" pitchFamily="2" charset="0"/>
              </a:rPr>
              <a:t>LWPG</a:t>
            </a:r>
          </a:p>
        </p:txBody>
      </p:sp>
      <p:sp>
        <p:nvSpPr>
          <p:cNvPr id="57" name="box_text">
            <a:extLst>
              <a:ext uri="{FF2B5EF4-FFF2-40B4-BE49-F238E27FC236}">
                <a16:creationId xmlns:a16="http://schemas.microsoft.com/office/drawing/2014/main" id="{B276F04E-F6E5-6D20-BE4E-6ACD9487C246}"/>
              </a:ext>
            </a:extLst>
          </p:cNvPr>
          <p:cNvSpPr/>
          <p:nvPr/>
        </p:nvSpPr>
        <p:spPr bwMode="gray">
          <a:xfrm>
            <a:off x="5707808" y="893695"/>
            <a:ext cx="3869901" cy="864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1152000" tIns="36005" rIns="36000" bIns="36005"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defTabSz="914368">
              <a:spcBef>
                <a:spcPct val="30000"/>
              </a:spcBef>
              <a:defRPr/>
            </a:pPr>
            <a:r>
              <a:rPr lang="de-DE" altLang="de-DE" sz="1400" dirty="0">
                <a:solidFill>
                  <a:schemeClr val="tx1"/>
                </a:solidFill>
                <a:latin typeface="Roboto" panose="02000000000000000000" pitchFamily="2" charset="0"/>
                <a:cs typeface="Times New Roman" panose="02020603050405020304" pitchFamily="18" charset="0"/>
              </a:rPr>
              <a:t>CO</a:t>
            </a:r>
            <a:r>
              <a:rPr lang="de-DE" altLang="de-DE" sz="1400" baseline="-25000" dirty="0">
                <a:solidFill>
                  <a:schemeClr val="tx1"/>
                </a:solidFill>
                <a:latin typeface="Roboto" panose="02000000000000000000" pitchFamily="2" charset="0"/>
                <a:cs typeface="Times New Roman" panose="02020603050405020304" pitchFamily="18" charset="0"/>
              </a:rPr>
              <a:t>2</a:t>
            </a:r>
            <a:r>
              <a:rPr lang="de-DE" altLang="de-DE" sz="1400" dirty="0">
                <a:solidFill>
                  <a:schemeClr val="tx1"/>
                </a:solidFill>
                <a:latin typeface="Roboto" panose="02000000000000000000" pitchFamily="2" charset="0"/>
                <a:cs typeface="Times New Roman" panose="02020603050405020304" pitchFamily="18" charset="0"/>
              </a:rPr>
              <a:t>-Emissionen der Wärmeversorgung im Jahr 2045</a:t>
            </a:r>
          </a:p>
        </p:txBody>
      </p:sp>
      <p:sp>
        <p:nvSpPr>
          <p:cNvPr id="58" name="block_arrow">
            <a:extLst>
              <a:ext uri="{FF2B5EF4-FFF2-40B4-BE49-F238E27FC236}">
                <a16:creationId xmlns:a16="http://schemas.microsoft.com/office/drawing/2014/main" id="{72528FB0-B267-1D14-4C6F-9723EB4E8128}"/>
              </a:ext>
            </a:extLst>
          </p:cNvPr>
          <p:cNvSpPr>
            <a:spLocks noChangeAspect="1"/>
          </p:cNvSpPr>
          <p:nvPr/>
        </p:nvSpPr>
        <p:spPr bwMode="white">
          <a:xfrm>
            <a:off x="4528866" y="1019781"/>
            <a:ext cx="428279" cy="611828"/>
          </a:xfrm>
          <a:prstGeom prst="chevron">
            <a:avLst>
              <a:gd name="adj" fmla="val 71429"/>
            </a:avLst>
          </a:prstGeom>
          <a:solidFill>
            <a:schemeClr val="tx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sp>
        <p:nvSpPr>
          <p:cNvPr id="59" name="box_text">
            <a:extLst>
              <a:ext uri="{FF2B5EF4-FFF2-40B4-BE49-F238E27FC236}">
                <a16:creationId xmlns:a16="http://schemas.microsoft.com/office/drawing/2014/main" id="{6DE48649-125A-E4E2-E82F-8898F9BB657F}"/>
              </a:ext>
            </a:extLst>
          </p:cNvPr>
          <p:cNvSpPr/>
          <p:nvPr/>
        </p:nvSpPr>
        <p:spPr bwMode="gray">
          <a:xfrm>
            <a:off x="5126480" y="835599"/>
            <a:ext cx="1735826" cy="996043"/>
          </a:xfrm>
          <a:prstGeom prst="rect">
            <a:avLst/>
          </a:prstGeom>
          <a:noFill/>
          <a:ln w="9525">
            <a:noFill/>
          </a:ln>
          <a:effectLst/>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5" rIns="36005" bIns="36005" rtlCol="0" anchor="ctr">
            <a:sp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defTabSz="914368"/>
            <a:r>
              <a:rPr lang="de-DE" sz="6000" dirty="0">
                <a:solidFill>
                  <a:schemeClr val="tx1"/>
                </a:solidFill>
                <a:effectLst>
                  <a:outerShdw blurRad="50800" dist="38100" dir="2700000" algn="tl" rotWithShape="0">
                    <a:prstClr val="black">
                      <a:alpha val="40000"/>
                    </a:prstClr>
                  </a:outerShdw>
                </a:effectLst>
                <a:latin typeface="Roboto" panose="02000000000000000000" pitchFamily="2" charset="0"/>
                <a:ea typeface="Roboto Medium" panose="02000000000000000000" pitchFamily="2" charset="0"/>
              </a:rPr>
              <a:t>0</a:t>
            </a:r>
            <a:r>
              <a:rPr lang="de-DE" sz="6000" baseline="10000" dirty="0">
                <a:solidFill>
                  <a:schemeClr val="tx1"/>
                </a:solidFill>
                <a:effectLst>
                  <a:outerShdw blurRad="50800" dist="38100" dir="2700000" algn="tl" rotWithShape="0">
                    <a:prstClr val="black">
                      <a:alpha val="40000"/>
                    </a:prstClr>
                  </a:outerShdw>
                </a:effectLst>
                <a:latin typeface="Roboto" panose="02000000000000000000" pitchFamily="2" charset="0"/>
                <a:ea typeface="Roboto Medium" panose="02000000000000000000" pitchFamily="2" charset="0"/>
              </a:rPr>
              <a:t>,</a:t>
            </a:r>
            <a:r>
              <a:rPr lang="de-DE" sz="6000" dirty="0">
                <a:solidFill>
                  <a:schemeClr val="tx1"/>
                </a:solidFill>
                <a:effectLst>
                  <a:outerShdw blurRad="50800" dist="38100" dir="2700000" algn="tl" rotWithShape="0">
                    <a:prstClr val="black">
                      <a:alpha val="40000"/>
                    </a:prstClr>
                  </a:outerShdw>
                </a:effectLst>
                <a:latin typeface="Roboto" panose="02000000000000000000" pitchFamily="2" charset="0"/>
                <a:ea typeface="Roboto Medium" panose="02000000000000000000" pitchFamily="2" charset="0"/>
              </a:rPr>
              <a:t>00</a:t>
            </a:r>
          </a:p>
        </p:txBody>
      </p:sp>
    </p:spTree>
    <p:extLst>
      <p:ext uri="{BB962C8B-B14F-4D97-AF65-F5344CB8AC3E}">
        <p14:creationId xmlns:p14="http://schemas.microsoft.com/office/powerpoint/2010/main" val="29053882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F22A29F-E10B-3C80-AF78-D3D603A323A4}"/>
              </a:ext>
            </a:extLst>
          </p:cNvPr>
          <p:cNvSpPr>
            <a:spLocks noGrp="1"/>
          </p:cNvSpPr>
          <p:nvPr>
            <p:ph type="sldNum" sz="quarter" idx="11"/>
          </p:nvPr>
        </p:nvSpPr>
        <p:spPr/>
        <p:txBody>
          <a:bodyPr/>
          <a:lstStyle/>
          <a:p>
            <a:endParaRPr lang="de-DE"/>
          </a:p>
          <a:p>
            <a:fld id="{24C420F5-194C-40F2-A080-C5F3EDD89037}" type="slidenum">
              <a:rPr lang="de-DE" smtClean="0"/>
              <a:pPr/>
              <a:t>27</a:t>
            </a:fld>
            <a:endParaRPr lang="de-DE"/>
          </a:p>
        </p:txBody>
      </p:sp>
      <p:sp>
        <p:nvSpPr>
          <p:cNvPr id="3" name="Title 2">
            <a:extLst>
              <a:ext uri="{FF2B5EF4-FFF2-40B4-BE49-F238E27FC236}">
                <a16:creationId xmlns:a16="http://schemas.microsoft.com/office/drawing/2014/main" id="{7940A43E-FF2B-68DD-5966-652F5E789A68}"/>
              </a:ext>
            </a:extLst>
          </p:cNvPr>
          <p:cNvSpPr>
            <a:spLocks noGrp="1"/>
          </p:cNvSpPr>
          <p:nvPr>
            <p:ph type="title"/>
          </p:nvPr>
        </p:nvSpPr>
        <p:spPr/>
        <p:txBody>
          <a:bodyPr/>
          <a:lstStyle/>
          <a:p>
            <a:br>
              <a:rPr lang="de-DE" b="1" dirty="0">
                <a:latin typeface="Roboto" panose="02000000000000000000" pitchFamily="2" charset="0"/>
              </a:rPr>
            </a:br>
            <a:r>
              <a:rPr lang="de-DE" b="1" dirty="0">
                <a:latin typeface="Roboto" panose="02000000000000000000" pitchFamily="2" charset="0"/>
              </a:rPr>
              <a:t>Ziel der Kommunalen Wärmeplanung</a:t>
            </a:r>
          </a:p>
        </p:txBody>
      </p:sp>
      <p:sp>
        <p:nvSpPr>
          <p:cNvPr id="5" name="Footer Placeholder 4">
            <a:extLst>
              <a:ext uri="{FF2B5EF4-FFF2-40B4-BE49-F238E27FC236}">
                <a16:creationId xmlns:a16="http://schemas.microsoft.com/office/drawing/2014/main" id="{CD0DC296-61C8-1DCB-CAB5-A60A017861ED}"/>
              </a:ext>
            </a:extLst>
          </p:cNvPr>
          <p:cNvSpPr>
            <a:spLocks noGrp="1"/>
          </p:cNvSpPr>
          <p:nvPr>
            <p:ph type="ftr" sz="quarter" idx="12"/>
          </p:nvPr>
        </p:nvSpPr>
        <p:spPr/>
        <p:txBody>
          <a:bodyPr/>
          <a:lstStyle/>
          <a:p>
            <a:r>
              <a:rPr lang="de-DE"/>
              <a:t>© 2026</a:t>
            </a:r>
          </a:p>
          <a:p>
            <a:r>
              <a:rPr lang="de-DE"/>
              <a:t>d-fine</a:t>
            </a:r>
          </a:p>
        </p:txBody>
      </p:sp>
      <p:sp>
        <p:nvSpPr>
          <p:cNvPr id="2" name="Text Placeholder 1">
            <a:extLst>
              <a:ext uri="{FF2B5EF4-FFF2-40B4-BE49-F238E27FC236}">
                <a16:creationId xmlns:a16="http://schemas.microsoft.com/office/drawing/2014/main" id="{D383D254-DFC2-CB35-CE49-4A0564DB79BF}"/>
              </a:ext>
            </a:extLst>
          </p:cNvPr>
          <p:cNvSpPr>
            <a:spLocks noGrp="1"/>
          </p:cNvSpPr>
          <p:nvPr>
            <p:ph type="body" sz="quarter" idx="13"/>
          </p:nvPr>
        </p:nvSpPr>
        <p:spPr/>
        <p:txBody>
          <a:bodyPr/>
          <a:lstStyle/>
          <a:p>
            <a:endParaRPr lang="de-DE"/>
          </a:p>
        </p:txBody>
      </p:sp>
      <p:sp>
        <p:nvSpPr>
          <p:cNvPr id="39" name="Rectangle 38">
            <a:extLst>
              <a:ext uri="{FF2B5EF4-FFF2-40B4-BE49-F238E27FC236}">
                <a16:creationId xmlns:a16="http://schemas.microsoft.com/office/drawing/2014/main" id="{909EC95E-58DE-50BD-67A6-35415E5FCC70}"/>
              </a:ext>
            </a:extLst>
          </p:cNvPr>
          <p:cNvSpPr/>
          <p:nvPr/>
        </p:nvSpPr>
        <p:spPr bwMode="gray">
          <a:xfrm>
            <a:off x="8853156" y="4227276"/>
            <a:ext cx="72000" cy="360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16" name="Rectangle 15">
            <a:extLst>
              <a:ext uri="{FF2B5EF4-FFF2-40B4-BE49-F238E27FC236}">
                <a16:creationId xmlns:a16="http://schemas.microsoft.com/office/drawing/2014/main" id="{C650B815-1598-19E2-E7C3-548D0947B3AF}"/>
              </a:ext>
            </a:extLst>
          </p:cNvPr>
          <p:cNvSpPr/>
          <p:nvPr/>
        </p:nvSpPr>
        <p:spPr bwMode="gray">
          <a:xfrm>
            <a:off x="208025" y="990000"/>
            <a:ext cx="4608000" cy="360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lnSpc>
                <a:spcPct val="90000"/>
              </a:lnSpc>
            </a:pPr>
            <a:r>
              <a:rPr lang="de-DE" sz="1400" b="1">
                <a:solidFill>
                  <a:schemeClr val="bg1"/>
                </a:solidFill>
                <a:latin typeface="Roboto" panose="02000000000000000000" pitchFamily="2" charset="0"/>
              </a:rPr>
              <a:t>Ziele der Kommunalen Wärmeplanung</a:t>
            </a:r>
            <a:endParaRPr lang="de-DE" sz="1400">
              <a:solidFill>
                <a:schemeClr val="bg1"/>
              </a:solidFill>
              <a:latin typeface="Roboto" panose="02000000000000000000" pitchFamily="2" charset="0"/>
            </a:endParaRPr>
          </a:p>
        </p:txBody>
      </p:sp>
      <p:sp>
        <p:nvSpPr>
          <p:cNvPr id="17" name="Rectangle 16">
            <a:extLst>
              <a:ext uri="{FF2B5EF4-FFF2-40B4-BE49-F238E27FC236}">
                <a16:creationId xmlns:a16="http://schemas.microsoft.com/office/drawing/2014/main" id="{5001FE23-491C-A885-2C75-C73E0DA8FBD1}"/>
              </a:ext>
            </a:extLst>
          </p:cNvPr>
          <p:cNvSpPr/>
          <p:nvPr/>
        </p:nvSpPr>
        <p:spPr bwMode="gray">
          <a:xfrm>
            <a:off x="4975547" y="990000"/>
            <a:ext cx="4608000" cy="36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lnSpc>
                <a:spcPct val="90000"/>
              </a:lnSpc>
            </a:pPr>
            <a:r>
              <a:rPr lang="de-DE" sz="1400" b="1">
                <a:solidFill>
                  <a:schemeClr val="bg1"/>
                </a:solidFill>
                <a:latin typeface="Roboto" panose="02000000000000000000" pitchFamily="2" charset="0"/>
              </a:rPr>
              <a:t>„Nicht-Ziele“ der Kommunalen Wärmeplanung</a:t>
            </a:r>
            <a:endParaRPr lang="de-DE" sz="2000" b="1">
              <a:solidFill>
                <a:schemeClr val="bg1"/>
              </a:solidFill>
              <a:latin typeface="Roboto" panose="02000000000000000000" pitchFamily="2" charset="0"/>
            </a:endParaRPr>
          </a:p>
        </p:txBody>
      </p:sp>
      <p:sp>
        <p:nvSpPr>
          <p:cNvPr id="18" name="box_header_text">
            <a:extLst>
              <a:ext uri="{FF2B5EF4-FFF2-40B4-BE49-F238E27FC236}">
                <a16:creationId xmlns:a16="http://schemas.microsoft.com/office/drawing/2014/main" id="{F836BBA9-B22F-5A3A-DED1-C7393F6BD8AD}"/>
              </a:ext>
            </a:extLst>
          </p:cNvPr>
          <p:cNvSpPr/>
          <p:nvPr>
            <p:custDataLst>
              <p:tags r:id="rId1"/>
            </p:custDataLst>
          </p:nvPr>
        </p:nvSpPr>
        <p:spPr bwMode="gray">
          <a:xfrm>
            <a:off x="183774" y="1545146"/>
            <a:ext cx="4607999" cy="614014"/>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108000" bIns="0" rtlCol="0" anchor="t">
            <a:spAutoFit/>
          </a:bodyPr>
          <a:lstStyle/>
          <a:p>
            <a:pPr>
              <a:lnSpc>
                <a:spcPct val="95000"/>
              </a:lnSpc>
              <a:tabLst>
                <a:tab pos="266700" algn="l"/>
              </a:tabLst>
            </a:pPr>
            <a:r>
              <a:rPr lang="de-DE" sz="1400">
                <a:solidFill>
                  <a:srgbClr val="003C50"/>
                </a:solidFill>
                <a:latin typeface="Roboto" panose="02000000000000000000" pitchFamily="2" charset="0"/>
                <a:sym typeface="Wingdings 3" panose="05040102010807070707" pitchFamily="18" charset="2"/>
              </a:rPr>
              <a:t>	</a:t>
            </a:r>
            <a:r>
              <a:rPr lang="de-DE" sz="1400" b="1">
                <a:solidFill>
                  <a:srgbClr val="003C50"/>
                </a:solidFill>
                <a:latin typeface="Roboto" panose="02000000000000000000" pitchFamily="2" charset="0"/>
                <a:sym typeface="Wingdings 3" panose="05040102010807070707" pitchFamily="18" charset="2"/>
              </a:rPr>
              <a:t>Strategisches Planungsinstrument</a:t>
            </a:r>
            <a:r>
              <a:rPr lang="de-DE" sz="1400">
                <a:solidFill>
                  <a:srgbClr val="003C50"/>
                </a:solidFill>
                <a:latin typeface="Roboto" panose="02000000000000000000" pitchFamily="2" charset="0"/>
                <a:sym typeface="Wingdings 3" panose="05040102010807070707" pitchFamily="18" charset="2"/>
              </a:rPr>
              <a:t>, zur Umstellung der Wärmeversorgung auf erneuerbare Energien und unvermeidbare Abwärme </a:t>
            </a:r>
            <a:endParaRPr lang="de-DE" sz="1200" b="1">
              <a:solidFill>
                <a:srgbClr val="003C50"/>
              </a:solidFill>
              <a:latin typeface="Roboto" panose="02000000000000000000" pitchFamily="2" charset="0"/>
            </a:endParaRPr>
          </a:p>
        </p:txBody>
      </p:sp>
      <p:sp>
        <p:nvSpPr>
          <p:cNvPr id="19" name="box_header_text">
            <a:extLst>
              <a:ext uri="{FF2B5EF4-FFF2-40B4-BE49-F238E27FC236}">
                <a16:creationId xmlns:a16="http://schemas.microsoft.com/office/drawing/2014/main" id="{06538539-E29E-FCC4-AF04-EB757EAE4126}"/>
              </a:ext>
            </a:extLst>
          </p:cNvPr>
          <p:cNvSpPr/>
          <p:nvPr>
            <p:custDataLst>
              <p:tags r:id="rId2"/>
            </p:custDataLst>
          </p:nvPr>
        </p:nvSpPr>
        <p:spPr bwMode="gray">
          <a:xfrm>
            <a:off x="4975547" y="1546568"/>
            <a:ext cx="4607999" cy="614014"/>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108000" bIns="0" rtlCol="0" anchor="t">
            <a:spAutoFit/>
          </a:bodyPr>
          <a:lstStyle/>
          <a:p>
            <a:pPr>
              <a:lnSpc>
                <a:spcPct val="95000"/>
              </a:lnSpc>
              <a:tabLst>
                <a:tab pos="266700" algn="l"/>
              </a:tabLst>
            </a:pPr>
            <a:r>
              <a:rPr lang="de-DE" sz="1400">
                <a:solidFill>
                  <a:srgbClr val="003C50"/>
                </a:solidFill>
                <a:latin typeface="Roboto" panose="02000000000000000000" pitchFamily="2" charset="0"/>
                <a:sym typeface="Wingdings 3" panose="05040102010807070707" pitchFamily="18" charset="2"/>
              </a:rPr>
              <a:t> 	Der Wärmeplan </a:t>
            </a:r>
            <a:r>
              <a:rPr lang="de-DE" sz="1400" b="1">
                <a:solidFill>
                  <a:srgbClr val="003C50"/>
                </a:solidFill>
                <a:latin typeface="Roboto" panose="02000000000000000000" pitchFamily="2" charset="0"/>
                <a:sym typeface="Wingdings 3" panose="05040102010807070707" pitchFamily="18" charset="2"/>
              </a:rPr>
              <a:t>hat keine rechtlichen Auswirkungen </a:t>
            </a:r>
            <a:r>
              <a:rPr lang="de-DE" sz="1400">
                <a:solidFill>
                  <a:srgbClr val="003C50"/>
                </a:solidFill>
                <a:latin typeface="Roboto" panose="02000000000000000000" pitchFamily="2" charset="0"/>
                <a:sym typeface="Wingdings 3" panose="05040102010807070707" pitchFamily="18" charset="2"/>
              </a:rPr>
              <a:t>und begründet </a:t>
            </a:r>
            <a:r>
              <a:rPr lang="de-DE" sz="1400" b="1">
                <a:solidFill>
                  <a:srgbClr val="003C50"/>
                </a:solidFill>
                <a:latin typeface="Roboto" panose="02000000000000000000" pitchFamily="2" charset="0"/>
                <a:sym typeface="Wingdings 3" panose="05040102010807070707" pitchFamily="18" charset="2"/>
              </a:rPr>
              <a:t>keine einklagbaren Rechte und Pflichten</a:t>
            </a:r>
            <a:endParaRPr lang="de-DE" sz="1200" b="1">
              <a:solidFill>
                <a:srgbClr val="003C50"/>
              </a:solidFill>
              <a:latin typeface="Roboto" panose="02000000000000000000" pitchFamily="2" charset="0"/>
            </a:endParaRPr>
          </a:p>
        </p:txBody>
      </p:sp>
      <p:sp>
        <p:nvSpPr>
          <p:cNvPr id="27" name="box_text_1">
            <a:extLst>
              <a:ext uri="{FF2B5EF4-FFF2-40B4-BE49-F238E27FC236}">
                <a16:creationId xmlns:a16="http://schemas.microsoft.com/office/drawing/2014/main" id="{6E8368B2-8F77-47CE-B5A3-E9CBC8CDBB6F}"/>
              </a:ext>
            </a:extLst>
          </p:cNvPr>
          <p:cNvSpPr/>
          <p:nvPr>
            <p:custDataLst>
              <p:tags r:id="rId3"/>
            </p:custDataLst>
          </p:nvPr>
        </p:nvSpPr>
        <p:spPr bwMode="gray">
          <a:xfrm>
            <a:off x="339725" y="2407433"/>
            <a:ext cx="4392000" cy="3530659"/>
          </a:xfrm>
          <a:prstGeom prst="rect">
            <a:avLst/>
          </a:prstGeom>
          <a:noFill/>
          <a:ln w="9525">
            <a:solidFill>
              <a:schemeClr val="accent1"/>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oAutofit/>
          </a:bodyPr>
          <a:lstStyle/>
          <a:p>
            <a:pPr algn="ctr">
              <a:spcAft>
                <a:spcPts val="200"/>
              </a:spcAft>
              <a:buClr>
                <a:srgbClr val="003C50"/>
              </a:buClr>
              <a:tabLst>
                <a:tab pos="144000" algn="l"/>
              </a:tabLst>
            </a:pPr>
            <a:endParaRPr lang="de-DE" sz="1000">
              <a:solidFill>
                <a:schemeClr val="tx1"/>
              </a:solidFill>
              <a:latin typeface="Roboto" panose="02000000000000000000" pitchFamily="2" charset="0"/>
            </a:endParaRPr>
          </a:p>
        </p:txBody>
      </p:sp>
      <p:grpSp>
        <p:nvGrpSpPr>
          <p:cNvPr id="28" name="Group 27">
            <a:extLst>
              <a:ext uri="{FF2B5EF4-FFF2-40B4-BE49-F238E27FC236}">
                <a16:creationId xmlns:a16="http://schemas.microsoft.com/office/drawing/2014/main" id="{80FA91A7-F54A-98EA-C033-44094A8F58A5}"/>
              </a:ext>
            </a:extLst>
          </p:cNvPr>
          <p:cNvGrpSpPr>
            <a:grpSpLocks noChangeAspect="1"/>
          </p:cNvGrpSpPr>
          <p:nvPr>
            <p:custDataLst>
              <p:tags r:id="rId4"/>
            </p:custDataLst>
          </p:nvPr>
        </p:nvGrpSpPr>
        <p:grpSpPr>
          <a:xfrm>
            <a:off x="520108" y="3660423"/>
            <a:ext cx="432000" cy="460575"/>
            <a:chOff x="1270000" y="1211197"/>
            <a:chExt cx="889000" cy="947803"/>
          </a:xfrm>
          <a:solidFill>
            <a:srgbClr val="136B93"/>
          </a:solidFill>
        </p:grpSpPr>
        <p:sp>
          <p:nvSpPr>
            <p:cNvPr id="29" name="Rectangle 28" hidden="1">
              <a:extLst>
                <a:ext uri="{FF2B5EF4-FFF2-40B4-BE49-F238E27FC236}">
                  <a16:creationId xmlns:a16="http://schemas.microsoft.com/office/drawing/2014/main" id="{F89B0298-E9D6-287B-5DAD-BD2AC6DFC43D}"/>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30" name="Graphic 29">
              <a:extLst>
                <a:ext uri="{FF2B5EF4-FFF2-40B4-BE49-F238E27FC236}">
                  <a16:creationId xmlns:a16="http://schemas.microsoft.com/office/drawing/2014/main" id="{0D2DB85A-1275-9C13-651E-DC0F244452E8}"/>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270000" y="1211197"/>
              <a:ext cx="889000" cy="888999"/>
            </a:xfrm>
            <a:prstGeom prst="rect">
              <a:avLst/>
            </a:prstGeom>
          </p:spPr>
        </p:pic>
      </p:grpSp>
      <p:sp>
        <p:nvSpPr>
          <p:cNvPr id="31" name="box_header_text">
            <a:extLst>
              <a:ext uri="{FF2B5EF4-FFF2-40B4-BE49-F238E27FC236}">
                <a16:creationId xmlns:a16="http://schemas.microsoft.com/office/drawing/2014/main" id="{8B81F631-C53C-CBF7-3DDC-0909EECFCE8D}"/>
              </a:ext>
            </a:extLst>
          </p:cNvPr>
          <p:cNvSpPr/>
          <p:nvPr>
            <p:custDataLst>
              <p:tags r:id="rId5"/>
            </p:custDataLst>
          </p:nvPr>
        </p:nvSpPr>
        <p:spPr bwMode="gray">
          <a:xfrm>
            <a:off x="1099079" y="3782988"/>
            <a:ext cx="3599225" cy="215444"/>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a:tabLst>
                <a:tab pos="266700" algn="l"/>
              </a:tabLst>
            </a:pPr>
            <a:r>
              <a:rPr lang="de-DE" sz="1400">
                <a:solidFill>
                  <a:srgbClr val="003C50"/>
                </a:solidFill>
                <a:latin typeface="Roboto" panose="02000000000000000000" pitchFamily="2" charset="0"/>
                <a:sym typeface="Wingdings 3" panose="05040102010807070707" pitchFamily="18" charset="2"/>
              </a:rPr>
              <a:t>Aufzeigen geeigneter </a:t>
            </a:r>
            <a:r>
              <a:rPr lang="de-DE" sz="1400" b="1">
                <a:solidFill>
                  <a:srgbClr val="003C50"/>
                </a:solidFill>
                <a:latin typeface="Roboto" panose="02000000000000000000" pitchFamily="2" charset="0"/>
                <a:sym typeface="Wingdings 3" panose="05040102010807070707" pitchFamily="18" charset="2"/>
              </a:rPr>
              <a:t>Versorgungsarten</a:t>
            </a:r>
            <a:endParaRPr lang="de-DE" sz="1400" b="1">
              <a:solidFill>
                <a:srgbClr val="003C50"/>
              </a:solidFill>
              <a:latin typeface="Roboto" panose="02000000000000000000" pitchFamily="2" charset="0"/>
            </a:endParaRPr>
          </a:p>
        </p:txBody>
      </p:sp>
      <p:sp>
        <p:nvSpPr>
          <p:cNvPr id="32" name="box_header_text">
            <a:extLst>
              <a:ext uri="{FF2B5EF4-FFF2-40B4-BE49-F238E27FC236}">
                <a16:creationId xmlns:a16="http://schemas.microsoft.com/office/drawing/2014/main" id="{176FCC7F-0F45-76AE-8C2F-342A8156849B}"/>
              </a:ext>
            </a:extLst>
          </p:cNvPr>
          <p:cNvSpPr/>
          <p:nvPr>
            <p:custDataLst>
              <p:tags r:id="rId6"/>
            </p:custDataLst>
          </p:nvPr>
        </p:nvSpPr>
        <p:spPr bwMode="gray">
          <a:xfrm>
            <a:off x="1099079" y="2608498"/>
            <a:ext cx="3599225" cy="215444"/>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a:tabLst>
                <a:tab pos="266700" algn="l"/>
              </a:tabLst>
            </a:pPr>
            <a:r>
              <a:rPr lang="de-DE" sz="1400" b="1">
                <a:solidFill>
                  <a:srgbClr val="003C50"/>
                </a:solidFill>
                <a:latin typeface="Roboto" panose="02000000000000000000" pitchFamily="2" charset="0"/>
                <a:sym typeface="Wingdings 3" panose="05040102010807070707" pitchFamily="18" charset="2"/>
              </a:rPr>
              <a:t>CO</a:t>
            </a:r>
            <a:r>
              <a:rPr lang="de-DE" sz="1400" b="1" baseline="-25000">
                <a:solidFill>
                  <a:srgbClr val="003C50"/>
                </a:solidFill>
                <a:latin typeface="Roboto" panose="02000000000000000000" pitchFamily="2" charset="0"/>
                <a:sym typeface="Wingdings 3" panose="05040102010807070707" pitchFamily="18" charset="2"/>
              </a:rPr>
              <a:t>2 </a:t>
            </a:r>
            <a:r>
              <a:rPr lang="de-DE" sz="1400" b="1">
                <a:solidFill>
                  <a:srgbClr val="003C50"/>
                </a:solidFill>
                <a:latin typeface="Roboto" panose="02000000000000000000" pitchFamily="2" charset="0"/>
                <a:sym typeface="Wingdings 3" panose="05040102010807070707" pitchFamily="18" charset="2"/>
              </a:rPr>
              <a:t>Reduktion </a:t>
            </a:r>
            <a:r>
              <a:rPr lang="de-DE" sz="1400">
                <a:solidFill>
                  <a:srgbClr val="003C50"/>
                </a:solidFill>
                <a:latin typeface="Roboto" panose="02000000000000000000" pitchFamily="2" charset="0"/>
                <a:sym typeface="Wingdings 3" panose="05040102010807070707" pitchFamily="18" charset="2"/>
              </a:rPr>
              <a:t>in Kommunen</a:t>
            </a:r>
            <a:endParaRPr lang="de-DE" sz="1400" b="1">
              <a:solidFill>
                <a:srgbClr val="003C50"/>
              </a:solidFill>
              <a:latin typeface="Roboto" panose="02000000000000000000" pitchFamily="2" charset="0"/>
            </a:endParaRPr>
          </a:p>
        </p:txBody>
      </p:sp>
      <p:sp>
        <p:nvSpPr>
          <p:cNvPr id="36" name="box_header_text">
            <a:extLst>
              <a:ext uri="{FF2B5EF4-FFF2-40B4-BE49-F238E27FC236}">
                <a16:creationId xmlns:a16="http://schemas.microsoft.com/office/drawing/2014/main" id="{F19C2713-72DC-CA30-34BA-91BB0E73AABB}"/>
              </a:ext>
            </a:extLst>
          </p:cNvPr>
          <p:cNvSpPr/>
          <p:nvPr>
            <p:custDataLst>
              <p:tags r:id="rId7"/>
            </p:custDataLst>
          </p:nvPr>
        </p:nvSpPr>
        <p:spPr bwMode="gray">
          <a:xfrm>
            <a:off x="1099079" y="4418345"/>
            <a:ext cx="3599225" cy="215444"/>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a:tabLst>
                <a:tab pos="266700" algn="l"/>
              </a:tabLst>
            </a:pPr>
            <a:r>
              <a:rPr lang="de-DE" sz="1400">
                <a:solidFill>
                  <a:srgbClr val="003C50"/>
                </a:solidFill>
                <a:latin typeface="Roboto" panose="02000000000000000000" pitchFamily="2" charset="0"/>
                <a:sym typeface="Wingdings 3" panose="05040102010807070707" pitchFamily="18" charset="2"/>
              </a:rPr>
              <a:t>Abstimmung von </a:t>
            </a:r>
            <a:r>
              <a:rPr lang="de-DE" sz="1400" b="1">
                <a:solidFill>
                  <a:srgbClr val="003C50"/>
                </a:solidFill>
                <a:latin typeface="Roboto" panose="02000000000000000000" pitchFamily="2" charset="0"/>
                <a:sym typeface="Wingdings 3" panose="05040102010807070707" pitchFamily="18" charset="2"/>
              </a:rPr>
              <a:t>lokalen</a:t>
            </a:r>
            <a:r>
              <a:rPr lang="de-DE" sz="1400">
                <a:solidFill>
                  <a:srgbClr val="003C50"/>
                </a:solidFill>
                <a:latin typeface="Roboto" panose="02000000000000000000" pitchFamily="2" charset="0"/>
                <a:sym typeface="Wingdings 3" panose="05040102010807070707" pitchFamily="18" charset="2"/>
              </a:rPr>
              <a:t> </a:t>
            </a:r>
            <a:r>
              <a:rPr lang="de-DE" sz="1400" b="1">
                <a:solidFill>
                  <a:srgbClr val="003C50"/>
                </a:solidFill>
                <a:latin typeface="Roboto" panose="02000000000000000000" pitchFamily="2" charset="0"/>
                <a:sym typeface="Wingdings 3" panose="05040102010807070707" pitchFamily="18" charset="2"/>
              </a:rPr>
              <a:t>Maßnahmen</a:t>
            </a:r>
            <a:endParaRPr lang="de-DE" sz="1400">
              <a:solidFill>
                <a:srgbClr val="003C50"/>
              </a:solidFill>
              <a:latin typeface="Roboto" panose="02000000000000000000" pitchFamily="2" charset="0"/>
              <a:sym typeface="Wingdings 3" panose="05040102010807070707" pitchFamily="18" charset="2"/>
            </a:endParaRPr>
          </a:p>
        </p:txBody>
      </p:sp>
      <p:sp>
        <p:nvSpPr>
          <p:cNvPr id="41" name="box_header_text">
            <a:extLst>
              <a:ext uri="{FF2B5EF4-FFF2-40B4-BE49-F238E27FC236}">
                <a16:creationId xmlns:a16="http://schemas.microsoft.com/office/drawing/2014/main" id="{C70B6B18-9AA9-F9CE-674E-A2295782224F}"/>
              </a:ext>
            </a:extLst>
          </p:cNvPr>
          <p:cNvSpPr/>
          <p:nvPr>
            <p:custDataLst>
              <p:tags r:id="rId8"/>
            </p:custDataLst>
          </p:nvPr>
        </p:nvSpPr>
        <p:spPr bwMode="gray">
          <a:xfrm>
            <a:off x="1099079" y="5014729"/>
            <a:ext cx="3599225" cy="215444"/>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a:tabLst>
                <a:tab pos="266700" algn="l"/>
              </a:tabLst>
            </a:pPr>
            <a:r>
              <a:rPr lang="de-DE" sz="1400" b="1">
                <a:solidFill>
                  <a:srgbClr val="003C50"/>
                </a:solidFill>
                <a:latin typeface="Roboto" panose="02000000000000000000" pitchFamily="2" charset="0"/>
                <a:sym typeface="Wingdings 3" panose="05040102010807070707" pitchFamily="18" charset="2"/>
              </a:rPr>
              <a:t>Vermeidung</a:t>
            </a:r>
            <a:r>
              <a:rPr lang="de-DE" sz="1400">
                <a:solidFill>
                  <a:srgbClr val="003C50"/>
                </a:solidFill>
                <a:latin typeface="Roboto" panose="02000000000000000000" pitchFamily="2" charset="0"/>
                <a:sym typeface="Wingdings 3" panose="05040102010807070707" pitchFamily="18" charset="2"/>
              </a:rPr>
              <a:t> von Fehlentwicklungen</a:t>
            </a:r>
          </a:p>
        </p:txBody>
      </p:sp>
      <p:sp>
        <p:nvSpPr>
          <p:cNvPr id="46" name="box_text_1">
            <a:extLst>
              <a:ext uri="{FF2B5EF4-FFF2-40B4-BE49-F238E27FC236}">
                <a16:creationId xmlns:a16="http://schemas.microsoft.com/office/drawing/2014/main" id="{1C36EFAF-BB1D-F57A-A88F-63ACF247970E}"/>
              </a:ext>
            </a:extLst>
          </p:cNvPr>
          <p:cNvSpPr/>
          <p:nvPr>
            <p:custDataLst>
              <p:tags r:id="rId9"/>
            </p:custDataLst>
          </p:nvPr>
        </p:nvSpPr>
        <p:spPr bwMode="gray">
          <a:xfrm>
            <a:off x="5083546" y="2405957"/>
            <a:ext cx="4392000" cy="3530659"/>
          </a:xfrm>
          <a:prstGeom prst="rect">
            <a:avLst/>
          </a:prstGeom>
          <a:noFill/>
          <a:ln w="9525">
            <a:solidFill>
              <a:schemeClr val="accent1"/>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oAutofit/>
          </a:bodyPr>
          <a:lstStyle/>
          <a:p>
            <a:pPr algn="ctr">
              <a:spcAft>
                <a:spcPts val="200"/>
              </a:spcAft>
              <a:buClr>
                <a:srgbClr val="003C50"/>
              </a:buClr>
              <a:tabLst>
                <a:tab pos="144000" algn="l"/>
              </a:tabLst>
            </a:pPr>
            <a:endParaRPr lang="de-DE" sz="1000">
              <a:solidFill>
                <a:schemeClr val="tx1"/>
              </a:solidFill>
              <a:latin typeface="Roboto" panose="02000000000000000000" pitchFamily="2" charset="0"/>
            </a:endParaRPr>
          </a:p>
        </p:txBody>
      </p:sp>
      <p:sp>
        <p:nvSpPr>
          <p:cNvPr id="50" name="box_header_text">
            <a:extLst>
              <a:ext uri="{FF2B5EF4-FFF2-40B4-BE49-F238E27FC236}">
                <a16:creationId xmlns:a16="http://schemas.microsoft.com/office/drawing/2014/main" id="{A480C411-FE69-560C-32D7-C239DD754645}"/>
              </a:ext>
            </a:extLst>
          </p:cNvPr>
          <p:cNvSpPr/>
          <p:nvPr>
            <p:custDataLst>
              <p:tags r:id="rId10"/>
            </p:custDataLst>
          </p:nvPr>
        </p:nvSpPr>
        <p:spPr bwMode="gray">
          <a:xfrm>
            <a:off x="5876321" y="2561505"/>
            <a:ext cx="3599225" cy="204671"/>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a:lnSpc>
                <a:spcPct val="95000"/>
              </a:lnSpc>
              <a:tabLst>
                <a:tab pos="266700" algn="l"/>
              </a:tabLst>
            </a:pPr>
            <a:r>
              <a:rPr lang="de-DE" sz="1400">
                <a:solidFill>
                  <a:srgbClr val="003C50"/>
                </a:solidFill>
                <a:latin typeface="Roboto" panose="02000000000000000000" pitchFamily="2" charset="0"/>
                <a:sym typeface="Wingdings 3" panose="05040102010807070707" pitchFamily="18" charset="2"/>
              </a:rPr>
              <a:t>Keine</a:t>
            </a:r>
            <a:r>
              <a:rPr lang="de-DE" sz="1400" b="1">
                <a:solidFill>
                  <a:srgbClr val="003C50"/>
                </a:solidFill>
                <a:latin typeface="Roboto" panose="02000000000000000000" pitchFamily="2" charset="0"/>
                <a:sym typeface="Wingdings 3" panose="05040102010807070707" pitchFamily="18" charset="2"/>
              </a:rPr>
              <a:t> individuelle </a:t>
            </a:r>
            <a:r>
              <a:rPr lang="de-DE" sz="1400">
                <a:solidFill>
                  <a:srgbClr val="003C50"/>
                </a:solidFill>
                <a:latin typeface="Roboto" panose="02000000000000000000" pitchFamily="2" charset="0"/>
                <a:sym typeface="Wingdings 3" panose="05040102010807070707" pitchFamily="18" charset="2"/>
              </a:rPr>
              <a:t>Gebäudeplanung</a:t>
            </a:r>
            <a:endParaRPr lang="de-DE" sz="1400">
              <a:solidFill>
                <a:srgbClr val="003C50"/>
              </a:solidFill>
              <a:latin typeface="Roboto" panose="02000000000000000000" pitchFamily="2" charset="0"/>
            </a:endParaRPr>
          </a:p>
        </p:txBody>
      </p:sp>
      <p:grpSp>
        <p:nvGrpSpPr>
          <p:cNvPr id="56" name="Group 55">
            <a:extLst>
              <a:ext uri="{FF2B5EF4-FFF2-40B4-BE49-F238E27FC236}">
                <a16:creationId xmlns:a16="http://schemas.microsoft.com/office/drawing/2014/main" id="{B3BDB45C-7956-4108-06C2-0F5E0A976F10}"/>
              </a:ext>
            </a:extLst>
          </p:cNvPr>
          <p:cNvGrpSpPr>
            <a:grpSpLocks noChangeAspect="1"/>
          </p:cNvGrpSpPr>
          <p:nvPr>
            <p:custDataLst>
              <p:tags r:id="rId11"/>
            </p:custDataLst>
          </p:nvPr>
        </p:nvGrpSpPr>
        <p:grpSpPr>
          <a:xfrm>
            <a:off x="5263086" y="4211402"/>
            <a:ext cx="432000" cy="432000"/>
            <a:chOff x="1270000" y="1270000"/>
            <a:chExt cx="889000" cy="889000"/>
          </a:xfrm>
          <a:solidFill>
            <a:srgbClr val="1E9BD7"/>
          </a:solidFill>
        </p:grpSpPr>
        <p:sp>
          <p:nvSpPr>
            <p:cNvPr id="57" name="Rectangle 56" hidden="1">
              <a:extLst>
                <a:ext uri="{FF2B5EF4-FFF2-40B4-BE49-F238E27FC236}">
                  <a16:creationId xmlns:a16="http://schemas.microsoft.com/office/drawing/2014/main" id="{7D139651-4410-3CA6-263C-0D80E20040D1}"/>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58" name="Graphic 57">
              <a:extLst>
                <a:ext uri="{FF2B5EF4-FFF2-40B4-BE49-F238E27FC236}">
                  <a16:creationId xmlns:a16="http://schemas.microsoft.com/office/drawing/2014/main" id="{6F4C84ED-FB6D-E779-B887-9C241C6D711F}"/>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270000" y="1270000"/>
              <a:ext cx="889000" cy="889000"/>
            </a:xfrm>
            <a:prstGeom prst="rect">
              <a:avLst/>
            </a:prstGeom>
          </p:spPr>
        </p:pic>
      </p:grpSp>
      <p:sp>
        <p:nvSpPr>
          <p:cNvPr id="66" name="box_header_text">
            <a:extLst>
              <a:ext uri="{FF2B5EF4-FFF2-40B4-BE49-F238E27FC236}">
                <a16:creationId xmlns:a16="http://schemas.microsoft.com/office/drawing/2014/main" id="{1C7C6E2E-F04A-642D-8FD4-E080B4BC3F3A}"/>
              </a:ext>
            </a:extLst>
          </p:cNvPr>
          <p:cNvSpPr/>
          <p:nvPr>
            <p:custDataLst>
              <p:tags r:id="rId12"/>
            </p:custDataLst>
          </p:nvPr>
        </p:nvSpPr>
        <p:spPr bwMode="gray">
          <a:xfrm>
            <a:off x="1099079" y="3225855"/>
            <a:ext cx="3599225" cy="215444"/>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a:tabLst>
                <a:tab pos="266700" algn="l"/>
              </a:tabLst>
            </a:pPr>
            <a:r>
              <a:rPr lang="de-DE" sz="1400">
                <a:solidFill>
                  <a:srgbClr val="003C50"/>
                </a:solidFill>
                <a:latin typeface="Roboto" panose="02000000000000000000" pitchFamily="2" charset="0"/>
                <a:sym typeface="Wingdings 3" panose="05040102010807070707" pitchFamily="18" charset="2"/>
              </a:rPr>
              <a:t>Entwicklung von </a:t>
            </a:r>
            <a:r>
              <a:rPr lang="de-DE" sz="1400" b="1">
                <a:solidFill>
                  <a:srgbClr val="003C50"/>
                </a:solidFill>
                <a:latin typeface="Roboto" panose="02000000000000000000" pitchFamily="2" charset="0"/>
                <a:sym typeface="Wingdings 3" panose="05040102010807070707" pitchFamily="18" charset="2"/>
              </a:rPr>
              <a:t>Transformationspfaden</a:t>
            </a:r>
          </a:p>
        </p:txBody>
      </p:sp>
      <p:sp>
        <p:nvSpPr>
          <p:cNvPr id="77" name="box_header_text">
            <a:extLst>
              <a:ext uri="{FF2B5EF4-FFF2-40B4-BE49-F238E27FC236}">
                <a16:creationId xmlns:a16="http://schemas.microsoft.com/office/drawing/2014/main" id="{736250C3-A15D-8513-E249-4F777CBA19C3}"/>
              </a:ext>
            </a:extLst>
          </p:cNvPr>
          <p:cNvSpPr/>
          <p:nvPr>
            <p:custDataLst>
              <p:tags r:id="rId13"/>
            </p:custDataLst>
          </p:nvPr>
        </p:nvSpPr>
        <p:spPr bwMode="gray">
          <a:xfrm>
            <a:off x="1099079" y="5558466"/>
            <a:ext cx="3599225" cy="215444"/>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a:tabLst>
                <a:tab pos="266700" algn="l"/>
              </a:tabLst>
            </a:pPr>
            <a:r>
              <a:rPr lang="de-DE" sz="1400">
                <a:solidFill>
                  <a:srgbClr val="003C50"/>
                </a:solidFill>
                <a:latin typeface="Roboto" panose="02000000000000000000" pitchFamily="2" charset="0"/>
                <a:sym typeface="Wingdings 3" panose="05040102010807070707" pitchFamily="18" charset="2"/>
              </a:rPr>
              <a:t>Planung bis zum </a:t>
            </a:r>
            <a:r>
              <a:rPr lang="de-DE" sz="1400" b="1">
                <a:solidFill>
                  <a:srgbClr val="003C50"/>
                </a:solidFill>
                <a:latin typeface="Roboto" panose="02000000000000000000" pitchFamily="2" charset="0"/>
                <a:sym typeface="Wingdings 3" panose="05040102010807070707" pitchFamily="18" charset="2"/>
              </a:rPr>
              <a:t>Zieljahr 2045</a:t>
            </a:r>
          </a:p>
        </p:txBody>
      </p:sp>
      <p:pic>
        <p:nvPicPr>
          <p:cNvPr id="83" name="Graphic 82" descr="Daily calendar outline">
            <a:extLst>
              <a:ext uri="{FF2B5EF4-FFF2-40B4-BE49-F238E27FC236}">
                <a16:creationId xmlns:a16="http://schemas.microsoft.com/office/drawing/2014/main" id="{4C0D9385-D2CF-7E6E-A920-AF30A053B20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92124" y="5399465"/>
            <a:ext cx="533446" cy="533446"/>
          </a:xfrm>
          <a:prstGeom prst="rect">
            <a:avLst/>
          </a:prstGeom>
        </p:spPr>
      </p:pic>
      <p:sp>
        <p:nvSpPr>
          <p:cNvPr id="86" name="box_header_text">
            <a:extLst>
              <a:ext uri="{FF2B5EF4-FFF2-40B4-BE49-F238E27FC236}">
                <a16:creationId xmlns:a16="http://schemas.microsoft.com/office/drawing/2014/main" id="{4052A5E2-B06A-415D-C762-F22BBADB3D6C}"/>
              </a:ext>
            </a:extLst>
          </p:cNvPr>
          <p:cNvSpPr/>
          <p:nvPr>
            <p:custDataLst>
              <p:tags r:id="rId14"/>
            </p:custDataLst>
          </p:nvPr>
        </p:nvSpPr>
        <p:spPr bwMode="gray">
          <a:xfrm>
            <a:off x="5876321" y="3149358"/>
            <a:ext cx="3599225" cy="204671"/>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a:lnSpc>
                <a:spcPct val="95000"/>
              </a:lnSpc>
              <a:tabLst>
                <a:tab pos="266700" algn="l"/>
              </a:tabLst>
            </a:pPr>
            <a:r>
              <a:rPr lang="de-DE" sz="1400" b="1">
                <a:solidFill>
                  <a:srgbClr val="003C50"/>
                </a:solidFill>
                <a:latin typeface="Roboto" panose="02000000000000000000" pitchFamily="2" charset="0"/>
                <a:sym typeface="Wingdings 3" panose="05040102010807070707" pitchFamily="18" charset="2"/>
              </a:rPr>
              <a:t>Kein Anschlusszwang</a:t>
            </a:r>
            <a:endParaRPr lang="de-DE" sz="1400">
              <a:solidFill>
                <a:srgbClr val="003C50"/>
              </a:solidFill>
              <a:latin typeface="Roboto" panose="02000000000000000000" pitchFamily="2" charset="0"/>
            </a:endParaRPr>
          </a:p>
        </p:txBody>
      </p:sp>
      <p:sp>
        <p:nvSpPr>
          <p:cNvPr id="87" name="box_header_text">
            <a:extLst>
              <a:ext uri="{FF2B5EF4-FFF2-40B4-BE49-F238E27FC236}">
                <a16:creationId xmlns:a16="http://schemas.microsoft.com/office/drawing/2014/main" id="{038FFDB8-AAF4-7CB5-3AEC-4D0D5EA7D681}"/>
              </a:ext>
            </a:extLst>
          </p:cNvPr>
          <p:cNvSpPr/>
          <p:nvPr>
            <p:custDataLst>
              <p:tags r:id="rId15"/>
            </p:custDataLst>
          </p:nvPr>
        </p:nvSpPr>
        <p:spPr bwMode="gray">
          <a:xfrm>
            <a:off x="5876321" y="3637221"/>
            <a:ext cx="3599225" cy="409343"/>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a:lnSpc>
                <a:spcPct val="95000"/>
              </a:lnSpc>
              <a:tabLst>
                <a:tab pos="266700" algn="l"/>
              </a:tabLst>
            </a:pPr>
            <a:r>
              <a:rPr lang="de-DE" sz="1400" b="1">
                <a:solidFill>
                  <a:srgbClr val="003C50"/>
                </a:solidFill>
                <a:latin typeface="Roboto" panose="02000000000000000000" pitchFamily="2" charset="0"/>
              </a:rPr>
              <a:t>Keine Verpflichtung</a:t>
            </a:r>
            <a:r>
              <a:rPr lang="de-DE" sz="1400">
                <a:solidFill>
                  <a:srgbClr val="003C50"/>
                </a:solidFill>
                <a:latin typeface="Roboto" panose="02000000000000000000" pitchFamily="2" charset="0"/>
              </a:rPr>
              <a:t> zur Umsetzung von Maßnahmen</a:t>
            </a:r>
          </a:p>
        </p:txBody>
      </p:sp>
      <p:sp>
        <p:nvSpPr>
          <p:cNvPr id="88" name="box_header_text">
            <a:extLst>
              <a:ext uri="{FF2B5EF4-FFF2-40B4-BE49-F238E27FC236}">
                <a16:creationId xmlns:a16="http://schemas.microsoft.com/office/drawing/2014/main" id="{46F91C70-BED9-F0CC-925D-A7981AF886EF}"/>
              </a:ext>
            </a:extLst>
          </p:cNvPr>
          <p:cNvSpPr/>
          <p:nvPr>
            <p:custDataLst>
              <p:tags r:id="rId16"/>
            </p:custDataLst>
          </p:nvPr>
        </p:nvSpPr>
        <p:spPr bwMode="gray">
          <a:xfrm>
            <a:off x="5876321" y="4222731"/>
            <a:ext cx="3599225" cy="409343"/>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a:lnSpc>
                <a:spcPct val="95000"/>
              </a:lnSpc>
              <a:tabLst>
                <a:tab pos="266700" algn="l"/>
              </a:tabLst>
            </a:pPr>
            <a:r>
              <a:rPr lang="de-DE" sz="1400">
                <a:solidFill>
                  <a:srgbClr val="003C50"/>
                </a:solidFill>
                <a:latin typeface="Roboto" panose="02000000000000000000" pitchFamily="2" charset="0"/>
              </a:rPr>
              <a:t>Keine </a:t>
            </a:r>
            <a:r>
              <a:rPr lang="de-DE" sz="1400" b="1">
                <a:solidFill>
                  <a:srgbClr val="003C50"/>
                </a:solidFill>
                <a:latin typeface="Roboto" panose="02000000000000000000" pitchFamily="2" charset="0"/>
              </a:rPr>
              <a:t>rechtlichen</a:t>
            </a:r>
            <a:r>
              <a:rPr lang="de-DE" sz="1400">
                <a:solidFill>
                  <a:srgbClr val="003C50"/>
                </a:solidFill>
                <a:latin typeface="Roboto" panose="02000000000000000000" pitchFamily="2" charset="0"/>
              </a:rPr>
              <a:t> </a:t>
            </a:r>
            <a:r>
              <a:rPr lang="de-DE" sz="1400" b="1">
                <a:solidFill>
                  <a:srgbClr val="003C50"/>
                </a:solidFill>
                <a:latin typeface="Roboto" panose="02000000000000000000" pitchFamily="2" charset="0"/>
              </a:rPr>
              <a:t>Pflichten </a:t>
            </a:r>
            <a:r>
              <a:rPr lang="de-DE" sz="1400">
                <a:solidFill>
                  <a:srgbClr val="003C50"/>
                </a:solidFill>
                <a:latin typeface="Roboto" panose="02000000000000000000" pitchFamily="2" charset="0"/>
              </a:rPr>
              <a:t>und</a:t>
            </a:r>
            <a:r>
              <a:rPr lang="de-DE" sz="1400" b="1">
                <a:solidFill>
                  <a:srgbClr val="003C50"/>
                </a:solidFill>
                <a:latin typeface="Roboto" panose="02000000000000000000" pitchFamily="2" charset="0"/>
              </a:rPr>
              <a:t> Ansprüche (</a:t>
            </a:r>
            <a:r>
              <a:rPr lang="de-DE" sz="1400">
                <a:solidFill>
                  <a:srgbClr val="003C50"/>
                </a:solidFill>
                <a:latin typeface="Roboto" panose="02000000000000000000" pitchFamily="2" charset="0"/>
              </a:rPr>
              <a:t>§ 23 (4)) </a:t>
            </a:r>
          </a:p>
        </p:txBody>
      </p:sp>
      <p:sp>
        <p:nvSpPr>
          <p:cNvPr id="89" name="box_header_text">
            <a:extLst>
              <a:ext uri="{FF2B5EF4-FFF2-40B4-BE49-F238E27FC236}">
                <a16:creationId xmlns:a16="http://schemas.microsoft.com/office/drawing/2014/main" id="{C6B3E04E-F22F-7C1A-EC86-C5C8B0BBDA7A}"/>
              </a:ext>
            </a:extLst>
          </p:cNvPr>
          <p:cNvSpPr/>
          <p:nvPr>
            <p:custDataLst>
              <p:tags r:id="rId17"/>
            </p:custDataLst>
          </p:nvPr>
        </p:nvSpPr>
        <p:spPr bwMode="gray">
          <a:xfrm>
            <a:off x="5876321" y="4912920"/>
            <a:ext cx="3599225" cy="204671"/>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a:lnSpc>
                <a:spcPct val="95000"/>
              </a:lnSpc>
              <a:tabLst>
                <a:tab pos="266700" algn="l"/>
              </a:tabLst>
            </a:pPr>
            <a:r>
              <a:rPr lang="de-DE" sz="1400">
                <a:solidFill>
                  <a:srgbClr val="003C50"/>
                </a:solidFill>
                <a:latin typeface="Roboto" panose="02000000000000000000" pitchFamily="2" charset="0"/>
              </a:rPr>
              <a:t>Kein Fokus auf </a:t>
            </a:r>
            <a:r>
              <a:rPr lang="de-DE" sz="1400" b="1">
                <a:solidFill>
                  <a:srgbClr val="003C50"/>
                </a:solidFill>
                <a:latin typeface="Roboto" panose="02000000000000000000" pitchFamily="2" charset="0"/>
              </a:rPr>
              <a:t>individuelle</a:t>
            </a:r>
            <a:r>
              <a:rPr lang="de-DE" sz="1400">
                <a:solidFill>
                  <a:srgbClr val="003C50"/>
                </a:solidFill>
                <a:latin typeface="Roboto" panose="02000000000000000000" pitchFamily="2" charset="0"/>
              </a:rPr>
              <a:t> Interessen</a:t>
            </a:r>
          </a:p>
        </p:txBody>
      </p:sp>
      <p:sp>
        <p:nvSpPr>
          <p:cNvPr id="91" name="box_header_text">
            <a:extLst>
              <a:ext uri="{FF2B5EF4-FFF2-40B4-BE49-F238E27FC236}">
                <a16:creationId xmlns:a16="http://schemas.microsoft.com/office/drawing/2014/main" id="{E7427E49-5C8F-95DD-0EDF-6CDE2AB1A1F2}"/>
              </a:ext>
            </a:extLst>
          </p:cNvPr>
          <p:cNvSpPr/>
          <p:nvPr>
            <p:custDataLst>
              <p:tags r:id="rId18"/>
            </p:custDataLst>
          </p:nvPr>
        </p:nvSpPr>
        <p:spPr bwMode="gray">
          <a:xfrm>
            <a:off x="5876321" y="5500773"/>
            <a:ext cx="3599225" cy="204671"/>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spAutoFit/>
          </a:bodyPr>
          <a:lstStyle/>
          <a:p>
            <a:pPr>
              <a:lnSpc>
                <a:spcPct val="95000"/>
              </a:lnSpc>
              <a:tabLst>
                <a:tab pos="266700" algn="l"/>
              </a:tabLst>
            </a:pPr>
            <a:r>
              <a:rPr lang="de-DE" sz="1400">
                <a:solidFill>
                  <a:srgbClr val="003C50"/>
                </a:solidFill>
                <a:latin typeface="Roboto" panose="02000000000000000000" pitchFamily="2" charset="0"/>
              </a:rPr>
              <a:t>Keine Förderung </a:t>
            </a:r>
            <a:r>
              <a:rPr lang="de-DE" sz="1400" b="1">
                <a:solidFill>
                  <a:srgbClr val="003C50"/>
                </a:solidFill>
                <a:latin typeface="Roboto" panose="02000000000000000000" pitchFamily="2" charset="0"/>
              </a:rPr>
              <a:t>fossiler Energieträger</a:t>
            </a:r>
          </a:p>
        </p:txBody>
      </p:sp>
      <p:pic>
        <p:nvPicPr>
          <p:cNvPr id="92" name="Graphic 91" descr="Power Plant outline">
            <a:extLst>
              <a:ext uri="{FF2B5EF4-FFF2-40B4-BE49-F238E27FC236}">
                <a16:creationId xmlns:a16="http://schemas.microsoft.com/office/drawing/2014/main" id="{A8E4BCD6-447B-AFC9-A5B9-27FBB97915E2}"/>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5263086" y="5387108"/>
            <a:ext cx="432000" cy="432000"/>
          </a:xfrm>
          <a:prstGeom prst="rect">
            <a:avLst/>
          </a:prstGeom>
        </p:spPr>
      </p:pic>
      <p:pic>
        <p:nvPicPr>
          <p:cNvPr id="94" name="Graphic 93" descr="User outline">
            <a:extLst>
              <a:ext uri="{FF2B5EF4-FFF2-40B4-BE49-F238E27FC236}">
                <a16:creationId xmlns:a16="http://schemas.microsoft.com/office/drawing/2014/main" id="{5B0C45CE-5C04-F1F6-7CD1-B29FCDED96E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263086" y="4799256"/>
            <a:ext cx="432000" cy="432000"/>
          </a:xfrm>
          <a:prstGeom prst="rect">
            <a:avLst/>
          </a:prstGeom>
        </p:spPr>
      </p:pic>
      <p:pic>
        <p:nvPicPr>
          <p:cNvPr id="96" name="Graphic 95" descr="Checklist outline">
            <a:extLst>
              <a:ext uri="{FF2B5EF4-FFF2-40B4-BE49-F238E27FC236}">
                <a16:creationId xmlns:a16="http://schemas.microsoft.com/office/drawing/2014/main" id="{59FC7CDC-013A-6F47-02EA-D08DEF69FD3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263086" y="3623548"/>
            <a:ext cx="432000" cy="432000"/>
          </a:xfrm>
          <a:prstGeom prst="rect">
            <a:avLst/>
          </a:prstGeom>
        </p:spPr>
      </p:pic>
      <p:pic>
        <p:nvPicPr>
          <p:cNvPr id="98" name="Graphic 97" descr="Home outline">
            <a:extLst>
              <a:ext uri="{FF2B5EF4-FFF2-40B4-BE49-F238E27FC236}">
                <a16:creationId xmlns:a16="http://schemas.microsoft.com/office/drawing/2014/main" id="{C4AFFB47-E64D-9038-CC2A-23CC9F895EA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263086" y="2447840"/>
            <a:ext cx="432000" cy="432000"/>
          </a:xfrm>
          <a:prstGeom prst="rect">
            <a:avLst/>
          </a:prstGeom>
        </p:spPr>
      </p:pic>
      <p:pic>
        <p:nvPicPr>
          <p:cNvPr id="102" name="Graphic 101" descr="Wind Turbines outline">
            <a:extLst>
              <a:ext uri="{FF2B5EF4-FFF2-40B4-BE49-F238E27FC236}">
                <a16:creationId xmlns:a16="http://schemas.microsoft.com/office/drawing/2014/main" id="{45352BDD-1180-F027-391C-056C212FBBCE}"/>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263086" y="3035694"/>
            <a:ext cx="432000" cy="432000"/>
          </a:xfrm>
          <a:prstGeom prst="rect">
            <a:avLst/>
          </a:prstGeom>
        </p:spPr>
      </p:pic>
      <p:pic>
        <p:nvPicPr>
          <p:cNvPr id="103" name="Graphic 102" descr="Wind Turbines outline">
            <a:extLst>
              <a:ext uri="{FF2B5EF4-FFF2-40B4-BE49-F238E27FC236}">
                <a16:creationId xmlns:a16="http://schemas.microsoft.com/office/drawing/2014/main" id="{CED0AC2B-5998-D3FA-DF40-D80D671F985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514158" y="2500220"/>
            <a:ext cx="432000" cy="432000"/>
          </a:xfrm>
          <a:prstGeom prst="rect">
            <a:avLst/>
          </a:prstGeom>
        </p:spPr>
      </p:pic>
      <p:pic>
        <p:nvPicPr>
          <p:cNvPr id="7" name="Graphic 6" descr="Route (Two Pins With A Path) outline">
            <a:extLst>
              <a:ext uri="{FF2B5EF4-FFF2-40B4-BE49-F238E27FC236}">
                <a16:creationId xmlns:a16="http://schemas.microsoft.com/office/drawing/2014/main" id="{6278779C-938C-7CB7-3588-BDCA9F4D5129}"/>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509916" y="3083468"/>
            <a:ext cx="500217" cy="500217"/>
          </a:xfrm>
          <a:prstGeom prst="rect">
            <a:avLst/>
          </a:prstGeom>
        </p:spPr>
      </p:pic>
      <p:pic>
        <p:nvPicPr>
          <p:cNvPr id="9" name="Graphic 8" descr="Blueprint outline">
            <a:extLst>
              <a:ext uri="{FF2B5EF4-FFF2-40B4-BE49-F238E27FC236}">
                <a16:creationId xmlns:a16="http://schemas.microsoft.com/office/drawing/2014/main" id="{29739EB2-5492-F813-9648-FDE492473FB2}"/>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490552" y="4855728"/>
            <a:ext cx="533446" cy="533446"/>
          </a:xfrm>
          <a:prstGeom prst="rect">
            <a:avLst/>
          </a:prstGeom>
        </p:spPr>
      </p:pic>
      <p:pic>
        <p:nvPicPr>
          <p:cNvPr id="11" name="Graphic 10" descr="Triangle Ruler outline">
            <a:extLst>
              <a:ext uri="{FF2B5EF4-FFF2-40B4-BE49-F238E27FC236}">
                <a16:creationId xmlns:a16="http://schemas.microsoft.com/office/drawing/2014/main" id="{AD531A50-0C63-42AB-0871-8863C13DCCE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565811" y="4275958"/>
            <a:ext cx="500217" cy="500217"/>
          </a:xfrm>
          <a:prstGeom prst="rect">
            <a:avLst/>
          </a:prstGeom>
        </p:spPr>
      </p:pic>
    </p:spTree>
    <p:extLst>
      <p:ext uri="{BB962C8B-B14F-4D97-AF65-F5344CB8AC3E}">
        <p14:creationId xmlns:p14="http://schemas.microsoft.com/office/powerpoint/2010/main" val="4105455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8"/>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17" grpId="0" animBg="1"/>
      <p:bldP spid="19" grpId="0"/>
      <p:bldP spid="46" grpId="0" animBg="1"/>
      <p:bldP spid="50" grpId="0"/>
      <p:bldP spid="86" grpId="0"/>
      <p:bldP spid="87" grpId="0"/>
      <p:bldP spid="88" grpId="0"/>
      <p:bldP spid="89" grpId="0"/>
      <p:bldP spid="91"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34B68C8-1AD9-3915-EB48-9770D0C923B1}"/>
              </a:ext>
            </a:extLst>
          </p:cNvPr>
          <p:cNvSpPr>
            <a:spLocks noGrp="1"/>
          </p:cNvSpPr>
          <p:nvPr>
            <p:ph type="sldNum" sz="quarter" idx="11"/>
          </p:nvPr>
        </p:nvSpPr>
        <p:spPr/>
        <p:txBody>
          <a:bodyPr/>
          <a:lstStyle/>
          <a:p>
            <a:endParaRPr lang="de-DE"/>
          </a:p>
          <a:p>
            <a:fld id="{24C420F5-194C-40F2-A080-C5F3EDD89037}" type="slidenum">
              <a:rPr lang="de-DE" smtClean="0"/>
              <a:pPr/>
              <a:t>28</a:t>
            </a:fld>
            <a:endParaRPr lang="de-DE"/>
          </a:p>
        </p:txBody>
      </p:sp>
      <p:sp>
        <p:nvSpPr>
          <p:cNvPr id="3" name="Title 2">
            <a:extLst>
              <a:ext uri="{FF2B5EF4-FFF2-40B4-BE49-F238E27FC236}">
                <a16:creationId xmlns:a16="http://schemas.microsoft.com/office/drawing/2014/main" id="{653C878F-D62B-EDF8-5795-D3BCE65E3476}"/>
              </a:ext>
            </a:extLst>
          </p:cNvPr>
          <p:cNvSpPr>
            <a:spLocks noGrp="1"/>
          </p:cNvSpPr>
          <p:nvPr>
            <p:ph type="title"/>
          </p:nvPr>
        </p:nvSpPr>
        <p:spPr/>
        <p:txBody>
          <a:bodyPr/>
          <a:lstStyle/>
          <a:p>
            <a:r>
              <a:rPr lang="de-DE" b="1">
                <a:latin typeface="Roboto" panose="02000000000000000000" pitchFamily="2" charset="0"/>
              </a:rPr>
              <a:t>Vorstellung der Kommunalen Wärmeplanung</a:t>
            </a:r>
            <a:br>
              <a:rPr lang="de-DE" b="1">
                <a:latin typeface="Roboto" panose="02000000000000000000" pitchFamily="2" charset="0"/>
              </a:rPr>
            </a:br>
            <a:r>
              <a:rPr lang="de-DE"/>
              <a:t>Fazit und Zusammenfassung</a:t>
            </a:r>
          </a:p>
        </p:txBody>
      </p:sp>
      <p:sp>
        <p:nvSpPr>
          <p:cNvPr id="4" name="Footer Placeholder 3">
            <a:extLst>
              <a:ext uri="{FF2B5EF4-FFF2-40B4-BE49-F238E27FC236}">
                <a16:creationId xmlns:a16="http://schemas.microsoft.com/office/drawing/2014/main" id="{10AC8371-CCCC-5491-76DA-B9BFD5B0937F}"/>
              </a:ext>
            </a:extLst>
          </p:cNvPr>
          <p:cNvSpPr>
            <a:spLocks noGrp="1"/>
          </p:cNvSpPr>
          <p:nvPr>
            <p:ph type="ftr" sz="quarter" idx="12"/>
          </p:nvPr>
        </p:nvSpPr>
        <p:spPr/>
        <p:txBody>
          <a:bodyPr/>
          <a:lstStyle/>
          <a:p>
            <a:r>
              <a:rPr lang="de-DE"/>
              <a:t>© 2025</a:t>
            </a:r>
          </a:p>
          <a:p>
            <a:r>
              <a:rPr lang="de-DE"/>
              <a:t>d-fine</a:t>
            </a:r>
          </a:p>
        </p:txBody>
      </p:sp>
      <p:sp>
        <p:nvSpPr>
          <p:cNvPr id="5" name="Text Placeholder 4">
            <a:extLst>
              <a:ext uri="{FF2B5EF4-FFF2-40B4-BE49-F238E27FC236}">
                <a16:creationId xmlns:a16="http://schemas.microsoft.com/office/drawing/2014/main" id="{DD03BA56-7558-0967-93C1-7618E1A88525}"/>
              </a:ext>
            </a:extLst>
          </p:cNvPr>
          <p:cNvSpPr>
            <a:spLocks noGrp="1"/>
          </p:cNvSpPr>
          <p:nvPr>
            <p:ph type="body" sz="quarter" idx="13"/>
          </p:nvPr>
        </p:nvSpPr>
        <p:spPr/>
        <p:txBody>
          <a:bodyPr/>
          <a:lstStyle/>
          <a:p>
            <a:r>
              <a:rPr lang="de-DE" dirty="0"/>
              <a:t>Die Kommunale Wärmeplanung…</a:t>
            </a:r>
          </a:p>
        </p:txBody>
      </p:sp>
      <p:grpSp>
        <p:nvGrpSpPr>
          <p:cNvPr id="7" name="THM_bar">
            <a:extLst>
              <a:ext uri="{FF2B5EF4-FFF2-40B4-BE49-F238E27FC236}">
                <a16:creationId xmlns:a16="http://schemas.microsoft.com/office/drawing/2014/main" id="{02E51676-0187-A04D-E297-003997F3125C}"/>
              </a:ext>
            </a:extLst>
          </p:cNvPr>
          <p:cNvGrpSpPr/>
          <p:nvPr>
            <p:custDataLst>
              <p:tags r:id="rId1"/>
            </p:custDataLst>
          </p:nvPr>
        </p:nvGrpSpPr>
        <p:grpSpPr>
          <a:xfrm>
            <a:off x="208026" y="5549074"/>
            <a:ext cx="9372600" cy="468059"/>
            <a:chOff x="208026" y="5549074"/>
            <a:chExt cx="9372600" cy="468059"/>
          </a:xfrm>
        </p:grpSpPr>
        <p:sp>
          <p:nvSpPr>
            <p:cNvPr id="9" name="THM_bar_background">
              <a:extLst>
                <a:ext uri="{FF2B5EF4-FFF2-40B4-BE49-F238E27FC236}">
                  <a16:creationId xmlns:a16="http://schemas.microsoft.com/office/drawing/2014/main" id="{DC1F2090-5D85-58A2-91C4-03C74047D68F}"/>
                </a:ext>
              </a:extLst>
            </p:cNvPr>
            <p:cNvSpPr/>
            <p:nvPr/>
          </p:nvSpPr>
          <p:spPr bwMode="gray">
            <a:xfrm>
              <a:off x="208026" y="5549074"/>
              <a:ext cx="9372600" cy="468059"/>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45" tIns="0" rIns="144018" bIns="0" rtlCol="0" anchor="ctr">
              <a:noAutofit/>
            </a:bodyPr>
            <a:lstStyle/>
            <a:p>
              <a:r>
                <a:rPr lang="de-DE" sz="1400" dirty="0">
                  <a:solidFill>
                    <a:schemeClr val="tx1"/>
                  </a:solidFill>
                  <a:latin typeface="Roboto" panose="02000000000000000000" pitchFamily="2" charset="0"/>
                </a:rPr>
                <a:t>…</a:t>
              </a:r>
              <a:r>
                <a:rPr lang="de-DE" sz="1400" b="1" dirty="0">
                  <a:solidFill>
                    <a:schemeClr val="tx1"/>
                  </a:solidFill>
                  <a:latin typeface="Roboto" panose="02000000000000000000" pitchFamily="2" charset="0"/>
                </a:rPr>
                <a:t> </a:t>
              </a:r>
              <a:r>
                <a:rPr lang="de-DE" sz="1400" dirty="0">
                  <a:solidFill>
                    <a:schemeClr val="tx1"/>
                  </a:solidFill>
                  <a:latin typeface="Roboto" panose="02000000000000000000" pitchFamily="2" charset="0"/>
                </a:rPr>
                <a:t>definiert </a:t>
              </a:r>
              <a:r>
                <a:rPr lang="de-DE" sz="1400" b="1" dirty="0">
                  <a:solidFill>
                    <a:schemeClr val="tx1"/>
                  </a:solidFill>
                  <a:latin typeface="Roboto" panose="02000000000000000000" pitchFamily="2" charset="0"/>
                </a:rPr>
                <a:t>Leitplanken</a:t>
              </a:r>
              <a:r>
                <a:rPr lang="de-DE" sz="1400" dirty="0">
                  <a:solidFill>
                    <a:schemeClr val="tx1"/>
                  </a:solidFill>
                  <a:latin typeface="Roboto" panose="02000000000000000000" pitchFamily="2" charset="0"/>
                </a:rPr>
                <a:t> und ist Start für einen </a:t>
              </a:r>
              <a:r>
                <a:rPr lang="de-DE" sz="1400" b="1" dirty="0">
                  <a:solidFill>
                    <a:schemeClr val="tx1"/>
                  </a:solidFill>
                  <a:latin typeface="Roboto" panose="02000000000000000000" pitchFamily="2" charset="0"/>
                </a:rPr>
                <a:t>langfristigen Transformationsprozess </a:t>
              </a:r>
              <a:r>
                <a:rPr lang="de-DE" sz="1400" dirty="0">
                  <a:solidFill>
                    <a:schemeClr val="tx1"/>
                  </a:solidFill>
                  <a:latin typeface="Roboto" panose="02000000000000000000" pitchFamily="2" charset="0"/>
                </a:rPr>
                <a:t>hin zu einem klimaneutralen Wärmesystem!</a:t>
              </a:r>
            </a:p>
          </p:txBody>
        </p:sp>
        <p:grpSp>
          <p:nvGrpSpPr>
            <p:cNvPr id="10" name="thm_triangle_i52819">
              <a:extLst>
                <a:ext uri="{FF2B5EF4-FFF2-40B4-BE49-F238E27FC236}">
                  <a16:creationId xmlns:a16="http://schemas.microsoft.com/office/drawing/2014/main" id="{53869DDB-2A08-D9AF-ACE5-3A96509C61C9}"/>
                </a:ext>
              </a:extLst>
            </p:cNvPr>
            <p:cNvGrpSpPr/>
            <p:nvPr/>
          </p:nvGrpSpPr>
          <p:grpSpPr>
            <a:xfrm>
              <a:off x="208026" y="5549074"/>
              <a:ext cx="234029" cy="468058"/>
              <a:chOff x="117014" y="-117014"/>
              <a:chExt cx="234029" cy="468058"/>
            </a:xfrm>
          </p:grpSpPr>
          <p:sp>
            <p:nvSpPr>
              <p:cNvPr id="11" name="box">
                <a:extLst>
                  <a:ext uri="{FF2B5EF4-FFF2-40B4-BE49-F238E27FC236}">
                    <a16:creationId xmlns:a16="http://schemas.microsoft.com/office/drawing/2014/main" id="{8D0B16B3-D122-3EF9-3FEA-0F4988D954ED}"/>
                  </a:ext>
                </a:extLst>
              </p:cNvPr>
              <p:cNvSpPr/>
              <p:nvPr/>
            </p:nvSpPr>
            <p:spPr bwMode="white">
              <a:xfrm rot="16200000">
                <a:off x="-117015" y="117015"/>
                <a:ext cx="468058" cy="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12" name="triangle_1">
                <a:extLst>
                  <a:ext uri="{FF2B5EF4-FFF2-40B4-BE49-F238E27FC236}">
                    <a16:creationId xmlns:a16="http://schemas.microsoft.com/office/drawing/2014/main" id="{6FA82D98-F213-589E-260B-FDA9CE50A15E}"/>
                  </a:ext>
                </a:extLst>
              </p:cNvPr>
              <p:cNvSpPr/>
              <p:nvPr/>
            </p:nvSpPr>
            <p:spPr bwMode="white">
              <a:xfrm rot="5400000">
                <a:off x="0" y="0"/>
                <a:ext cx="468058" cy="234029"/>
              </a:xfrm>
              <a:prstGeom prst="triangle">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13" name="triangle_2">
                <a:extLst>
                  <a:ext uri="{FF2B5EF4-FFF2-40B4-BE49-F238E27FC236}">
                    <a16:creationId xmlns:a16="http://schemas.microsoft.com/office/drawing/2014/main" id="{A57B8011-B8A3-155F-5FD4-3E1FA19E78A3}"/>
                  </a:ext>
                </a:extLst>
              </p:cNvPr>
              <p:cNvSpPr/>
              <p:nvPr/>
            </p:nvSpPr>
            <p:spPr bwMode="gray">
              <a:xfrm rot="5400000">
                <a:off x="0" y="0"/>
                <a:ext cx="468058" cy="234029"/>
              </a:xfrm>
              <a:prstGeom prst="triangl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grpSp>
      </p:grpSp>
      <p:sp>
        <p:nvSpPr>
          <p:cNvPr id="14" name="Rectangle: Rounded Corners 13">
            <a:extLst>
              <a:ext uri="{FF2B5EF4-FFF2-40B4-BE49-F238E27FC236}">
                <a16:creationId xmlns:a16="http://schemas.microsoft.com/office/drawing/2014/main" id="{1974C574-A6ED-792C-BC44-C0A98787EA4C}"/>
              </a:ext>
            </a:extLst>
          </p:cNvPr>
          <p:cNvSpPr/>
          <p:nvPr/>
        </p:nvSpPr>
        <p:spPr bwMode="gray">
          <a:xfrm>
            <a:off x="432288" y="1998336"/>
            <a:ext cx="4224516" cy="922946"/>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de-DE" sz="1400" dirty="0">
                <a:solidFill>
                  <a:schemeClr val="tx1"/>
                </a:solidFill>
              </a:rPr>
              <a:t>	… schafft keine unmittelbaren Pflichten für BürgerInnen!</a:t>
            </a:r>
            <a:endParaRPr lang="en-US" sz="1400" dirty="0">
              <a:solidFill>
                <a:schemeClr val="tx1"/>
              </a:solidFill>
            </a:endParaRPr>
          </a:p>
        </p:txBody>
      </p:sp>
      <p:sp>
        <p:nvSpPr>
          <p:cNvPr id="15" name="Rectangle: Rounded Corners 14">
            <a:extLst>
              <a:ext uri="{FF2B5EF4-FFF2-40B4-BE49-F238E27FC236}">
                <a16:creationId xmlns:a16="http://schemas.microsoft.com/office/drawing/2014/main" id="{369DDFA4-379A-734B-2CAA-4124F2F7C3C6}"/>
              </a:ext>
            </a:extLst>
          </p:cNvPr>
          <p:cNvSpPr/>
          <p:nvPr/>
        </p:nvSpPr>
        <p:spPr bwMode="gray">
          <a:xfrm>
            <a:off x="5672034" y="2719908"/>
            <a:ext cx="3876780" cy="922946"/>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de-DE" sz="1400" dirty="0">
                <a:solidFill>
                  <a:schemeClr val="tx1"/>
                </a:solidFill>
              </a:rPr>
              <a:t>	… ist eine strategische Planung und keine Detailplanung!</a:t>
            </a:r>
            <a:endParaRPr lang="en-US" sz="1400" dirty="0">
              <a:solidFill>
                <a:schemeClr val="tx1"/>
              </a:solidFill>
            </a:endParaRPr>
          </a:p>
        </p:txBody>
      </p:sp>
      <p:sp>
        <p:nvSpPr>
          <p:cNvPr id="16" name="Rectangle: Rounded Corners 15">
            <a:extLst>
              <a:ext uri="{FF2B5EF4-FFF2-40B4-BE49-F238E27FC236}">
                <a16:creationId xmlns:a16="http://schemas.microsoft.com/office/drawing/2014/main" id="{FB57C707-02CF-F202-9AD9-078FB8F580EA}"/>
              </a:ext>
            </a:extLst>
          </p:cNvPr>
          <p:cNvSpPr/>
          <p:nvPr/>
        </p:nvSpPr>
        <p:spPr bwMode="gray">
          <a:xfrm>
            <a:off x="1375873" y="4017131"/>
            <a:ext cx="4296161" cy="922946"/>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de-DE" sz="1400" dirty="0">
                <a:solidFill>
                  <a:schemeClr val="tx1"/>
                </a:solidFill>
              </a:rPr>
              <a:t>	… kann und soll nicht auf jede Frage im Detail eine Antwort geben!</a:t>
            </a:r>
            <a:endParaRPr lang="en-US" sz="1400" dirty="0">
              <a:solidFill>
                <a:schemeClr val="tx1"/>
              </a:solidFill>
            </a:endParaRPr>
          </a:p>
        </p:txBody>
      </p:sp>
      <p:grpSp>
        <p:nvGrpSpPr>
          <p:cNvPr id="20" name="Group 19">
            <a:extLst>
              <a:ext uri="{FF2B5EF4-FFF2-40B4-BE49-F238E27FC236}">
                <a16:creationId xmlns:a16="http://schemas.microsoft.com/office/drawing/2014/main" id="{E72FC653-0B01-6F47-21C9-66FD917ADBB0}"/>
              </a:ext>
            </a:extLst>
          </p:cNvPr>
          <p:cNvGrpSpPr>
            <a:grpSpLocks noChangeAspect="1"/>
          </p:cNvGrpSpPr>
          <p:nvPr>
            <p:custDataLst>
              <p:tags r:id="rId2"/>
            </p:custDataLst>
          </p:nvPr>
        </p:nvGrpSpPr>
        <p:grpSpPr>
          <a:xfrm>
            <a:off x="1492903" y="4015574"/>
            <a:ext cx="889000" cy="889000"/>
            <a:chOff x="1270000" y="1270000"/>
            <a:chExt cx="889000" cy="889000"/>
          </a:xfrm>
        </p:grpSpPr>
        <p:sp>
          <p:nvSpPr>
            <p:cNvPr id="17" name="Rectangle 16" hidden="1">
              <a:extLst>
                <a:ext uri="{FF2B5EF4-FFF2-40B4-BE49-F238E27FC236}">
                  <a16:creationId xmlns:a16="http://schemas.microsoft.com/office/drawing/2014/main" id="{E3FDE073-5012-137A-DC68-D5B6AAA2C6C1}"/>
                </a:ext>
              </a:extLst>
            </p:cNvPr>
            <p:cNvSpPr/>
            <p:nvPr/>
          </p:nvSpPr>
          <p:spPr bwMode="gray">
            <a:xfrm>
              <a:off x="1270000" y="1270000"/>
              <a:ext cx="889000" cy="889000"/>
            </a:xfrm>
            <a:prstGeom prst="rect">
              <a:avLst/>
            </a:prstGeom>
            <a:solidFill>
              <a:schemeClr val="accent5">
                <a:alpha val="0"/>
              </a:schemeClr>
            </a:solidFill>
            <a:ln w="9525">
              <a:solidFill>
                <a:schemeClr val="accent1"/>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pic>
          <p:nvPicPr>
            <p:cNvPr id="19" name="Graphic 18">
              <a:extLst>
                <a:ext uri="{FF2B5EF4-FFF2-40B4-BE49-F238E27FC236}">
                  <a16:creationId xmlns:a16="http://schemas.microsoft.com/office/drawing/2014/main" id="{DF204A85-A74F-59C5-2166-582DCD21544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70000" y="1270000"/>
              <a:ext cx="889000" cy="889000"/>
            </a:xfrm>
            <a:prstGeom prst="rect">
              <a:avLst/>
            </a:prstGeom>
          </p:spPr>
        </p:pic>
      </p:grpSp>
      <p:pic>
        <p:nvPicPr>
          <p:cNvPr id="21" name="Graphic 20">
            <a:extLst>
              <a:ext uri="{FF2B5EF4-FFF2-40B4-BE49-F238E27FC236}">
                <a16:creationId xmlns:a16="http://schemas.microsoft.com/office/drawing/2014/main" id="{9236B633-DB0E-2F8C-3E70-F775792BA1BF}"/>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05080" y="2793790"/>
            <a:ext cx="775182" cy="775182"/>
          </a:xfrm>
          <a:prstGeom prst="rect">
            <a:avLst/>
          </a:prstGeom>
        </p:spPr>
      </p:pic>
      <p:grpSp>
        <p:nvGrpSpPr>
          <p:cNvPr id="25" name="Group 24">
            <a:extLst>
              <a:ext uri="{FF2B5EF4-FFF2-40B4-BE49-F238E27FC236}">
                <a16:creationId xmlns:a16="http://schemas.microsoft.com/office/drawing/2014/main" id="{51D60476-3F0B-BFC9-23E1-0C0DEC366883}"/>
              </a:ext>
            </a:extLst>
          </p:cNvPr>
          <p:cNvGrpSpPr>
            <a:grpSpLocks noChangeAspect="1"/>
          </p:cNvGrpSpPr>
          <p:nvPr>
            <p:custDataLst>
              <p:tags r:id="rId3"/>
            </p:custDataLst>
          </p:nvPr>
        </p:nvGrpSpPr>
        <p:grpSpPr>
          <a:xfrm>
            <a:off x="555779" y="1998335"/>
            <a:ext cx="889000" cy="889000"/>
            <a:chOff x="1270000" y="1270000"/>
            <a:chExt cx="889000" cy="889000"/>
          </a:xfrm>
        </p:grpSpPr>
        <p:sp>
          <p:nvSpPr>
            <p:cNvPr id="22" name="Rectangle 21" hidden="1">
              <a:extLst>
                <a:ext uri="{FF2B5EF4-FFF2-40B4-BE49-F238E27FC236}">
                  <a16:creationId xmlns:a16="http://schemas.microsoft.com/office/drawing/2014/main" id="{0D1CD1D8-2879-2644-6777-9BA599129E7B}"/>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pic>
          <p:nvPicPr>
            <p:cNvPr id="24" name="Graphic 23">
              <a:extLst>
                <a:ext uri="{FF2B5EF4-FFF2-40B4-BE49-F238E27FC236}">
                  <a16:creationId xmlns:a16="http://schemas.microsoft.com/office/drawing/2014/main" id="{A5F71774-C3E9-438F-1867-8CF375FADDC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70000" y="1270000"/>
              <a:ext cx="889000" cy="889000"/>
            </a:xfrm>
            <a:prstGeom prst="rect">
              <a:avLst/>
            </a:prstGeom>
          </p:spPr>
        </p:pic>
      </p:grpSp>
    </p:spTree>
    <p:extLst>
      <p:ext uri="{BB962C8B-B14F-4D97-AF65-F5344CB8AC3E}">
        <p14:creationId xmlns:p14="http://schemas.microsoft.com/office/powerpoint/2010/main" val="39626646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2D0ACF-0B0A-AF31-8090-0235AA377955}"/>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700E33FD-6642-0F14-3289-948F86622C49}"/>
              </a:ext>
            </a:extLst>
          </p:cNvPr>
          <p:cNvSpPr/>
          <p:nvPr/>
        </p:nvSpPr>
        <p:spPr bwMode="gray">
          <a:xfrm>
            <a:off x="684000" y="2394000"/>
            <a:ext cx="98028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3" name="Slide Number Placeholder 2">
            <a:extLst>
              <a:ext uri="{FF2B5EF4-FFF2-40B4-BE49-F238E27FC236}">
                <a16:creationId xmlns:a16="http://schemas.microsoft.com/office/drawing/2014/main" id="{DD417A59-7703-1FC3-3121-B2B6DA1B7F95}"/>
              </a:ext>
            </a:extLst>
          </p:cNvPr>
          <p:cNvSpPr>
            <a:spLocks noGrp="1"/>
          </p:cNvSpPr>
          <p:nvPr>
            <p:ph type="sldNum" sz="quarter" idx="12"/>
          </p:nvPr>
        </p:nvSpPr>
        <p:spPr/>
        <p:txBody>
          <a:bodyPr/>
          <a:lstStyle/>
          <a:p>
            <a:fld id="{AD1E7D88-B9F0-490E-9127-FC8A160405D5}" type="slidenum">
              <a:rPr lang="de-DE" smtClean="0"/>
              <a:t>29</a:t>
            </a:fld>
            <a:endParaRPr lang="de-DE"/>
          </a:p>
        </p:txBody>
      </p:sp>
      <p:cxnSp>
        <p:nvCxnSpPr>
          <p:cNvPr id="4" name="TopLine">
            <a:extLst>
              <a:ext uri="{FF2B5EF4-FFF2-40B4-BE49-F238E27FC236}">
                <a16:creationId xmlns:a16="http://schemas.microsoft.com/office/drawing/2014/main" id="{5D7E259F-CC08-0A67-08E0-C3E1F3AF3641}"/>
              </a:ext>
            </a:extLst>
          </p:cNvPr>
          <p:cNvCxnSpPr/>
          <p:nvPr/>
        </p:nvCxnSpPr>
        <p:spPr>
          <a:xfrm>
            <a:off x="684000" y="1512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5" name="index_0">
            <a:hlinkClick r:id="rId2" action="ppaction://hlinksldjump"/>
            <a:extLst>
              <a:ext uri="{FF2B5EF4-FFF2-40B4-BE49-F238E27FC236}">
                <a16:creationId xmlns:a16="http://schemas.microsoft.com/office/drawing/2014/main" id="{37B4456A-1BF3-29B8-9752-C06771FCB4F9}"/>
              </a:ext>
            </a:extLst>
          </p:cNvPr>
          <p:cNvSpPr txBox="1"/>
          <p:nvPr/>
        </p:nvSpPr>
        <p:spPr>
          <a:xfrm>
            <a:off x="684000" y="1520010"/>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Impulsvortrag: Hintergründe und Ziele der Kommunalen Wärmeplanung​</a:t>
            </a:r>
          </a:p>
        </p:txBody>
      </p:sp>
      <p:cxnSp>
        <p:nvCxnSpPr>
          <p:cNvPr id="6" name="Line_0">
            <a:extLst>
              <a:ext uri="{FF2B5EF4-FFF2-40B4-BE49-F238E27FC236}">
                <a16:creationId xmlns:a16="http://schemas.microsoft.com/office/drawing/2014/main" id="{5B6CF72B-7009-13FB-2A73-766A24544847}"/>
              </a:ext>
            </a:extLst>
          </p:cNvPr>
          <p:cNvCxnSpPr/>
          <p:nvPr/>
        </p:nvCxnSpPr>
        <p:spPr>
          <a:xfrm>
            <a:off x="684000" y="1944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7" name="index_1">
            <a:hlinkClick r:id="rId3" action="ppaction://hlinksldjump"/>
            <a:extLst>
              <a:ext uri="{FF2B5EF4-FFF2-40B4-BE49-F238E27FC236}">
                <a16:creationId xmlns:a16="http://schemas.microsoft.com/office/drawing/2014/main" id="{914F5009-6F19-456B-2E11-F0B2C21EB514}"/>
              </a:ext>
            </a:extLst>
          </p:cNvPr>
          <p:cNvSpPr txBox="1"/>
          <p:nvPr/>
        </p:nvSpPr>
        <p:spPr>
          <a:xfrm>
            <a:off x="682400" y="1939800"/>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Was ist die Kommunale Wärmeplanung (KWP)?​</a:t>
            </a:r>
          </a:p>
        </p:txBody>
      </p:sp>
      <p:cxnSp>
        <p:nvCxnSpPr>
          <p:cNvPr id="12" name="Line_3">
            <a:extLst>
              <a:ext uri="{FF2B5EF4-FFF2-40B4-BE49-F238E27FC236}">
                <a16:creationId xmlns:a16="http://schemas.microsoft.com/office/drawing/2014/main" id="{B5900A96-022B-F53E-1DD1-56A8835A8AA6}"/>
              </a:ext>
            </a:extLst>
          </p:cNvPr>
          <p:cNvCxnSpPr/>
          <p:nvPr/>
        </p:nvCxnSpPr>
        <p:spPr>
          <a:xfrm>
            <a:off x="684000" y="3672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3" name="index_4">
            <a:hlinkClick r:id="rId4" action="ppaction://hlinksldjump"/>
            <a:extLst>
              <a:ext uri="{FF2B5EF4-FFF2-40B4-BE49-F238E27FC236}">
                <a16:creationId xmlns:a16="http://schemas.microsoft.com/office/drawing/2014/main" id="{47BF1C95-A8D0-C4EE-564E-ADDF486CFBBC}"/>
              </a:ext>
            </a:extLst>
          </p:cNvPr>
          <p:cNvSpPr txBox="1"/>
          <p:nvPr/>
        </p:nvSpPr>
        <p:spPr>
          <a:xfrm>
            <a:off x="684000" y="2372207"/>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Rückblick: Ergebnisse der Bestands- und Potenzialanalyse der KWP in Rheda-Wiedenbrück​</a:t>
            </a:r>
          </a:p>
        </p:txBody>
      </p:sp>
      <p:sp>
        <p:nvSpPr>
          <p:cNvPr id="19" name="index_7">
            <a:hlinkClick r:id="rId5" action="ppaction://hlinksldjump"/>
            <a:extLst>
              <a:ext uri="{FF2B5EF4-FFF2-40B4-BE49-F238E27FC236}">
                <a16:creationId xmlns:a16="http://schemas.microsoft.com/office/drawing/2014/main" id="{D0F64086-FDFF-B84B-EF4D-C5A38D325603}"/>
              </a:ext>
            </a:extLst>
          </p:cNvPr>
          <p:cNvSpPr txBox="1"/>
          <p:nvPr/>
        </p:nvSpPr>
        <p:spPr>
          <a:xfrm>
            <a:off x="684000" y="2816063"/>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Zielszenario und Maßnahmen</a:t>
            </a:r>
          </a:p>
        </p:txBody>
      </p:sp>
      <p:sp>
        <p:nvSpPr>
          <p:cNvPr id="25" name="Title 1">
            <a:extLst>
              <a:ext uri="{FF2B5EF4-FFF2-40B4-BE49-F238E27FC236}">
                <a16:creationId xmlns:a16="http://schemas.microsoft.com/office/drawing/2014/main" id="{BEAD1F75-5B3E-118E-D10B-D38C37F8163A}"/>
              </a:ext>
            </a:extLst>
          </p:cNvPr>
          <p:cNvSpPr txBox="1">
            <a:spLocks/>
          </p:cNvSpPr>
          <p:nvPr/>
        </p:nvSpPr>
        <p:spPr>
          <a:xfrm>
            <a:off x="687600" y="644400"/>
            <a:ext cx="9799200" cy="360000"/>
          </a:xfrm>
          <a:prstGeom prst="rect">
            <a:avLst/>
          </a:prstGeom>
        </p:spPr>
        <p:txBody>
          <a:bodyPr/>
          <a:lstStyle>
            <a:lvl1pPr algn="l" defTabSz="116754" rtl="0" eaLnBrk="1" latinLnBrk="0" hangingPunct="1">
              <a:spcBef>
                <a:spcPct val="0"/>
              </a:spcBef>
              <a:buNone/>
              <a:defRPr sz="270" kern="1200">
                <a:solidFill>
                  <a:schemeClr val="tx1"/>
                </a:solidFill>
                <a:latin typeface="+mj-lt"/>
                <a:ea typeface="+mj-ea"/>
                <a:cs typeface="+mj-cs"/>
              </a:defRPr>
            </a:lvl1pPr>
          </a:lstStyle>
          <a:p>
            <a:r>
              <a:rPr lang="de-DE" sz="2800"/>
              <a:t>Programm</a:t>
            </a:r>
          </a:p>
        </p:txBody>
      </p:sp>
      <p:sp>
        <p:nvSpPr>
          <p:cNvPr id="26" name="index_10">
            <a:hlinkClick r:id="rId6" action="ppaction://hlinksldjump"/>
            <a:extLst>
              <a:ext uri="{FF2B5EF4-FFF2-40B4-BE49-F238E27FC236}">
                <a16:creationId xmlns:a16="http://schemas.microsoft.com/office/drawing/2014/main" id="{451BF2A9-858B-A89C-DE61-4F018EABF3DE}"/>
              </a:ext>
            </a:extLst>
          </p:cNvPr>
          <p:cNvSpPr txBox="1"/>
          <p:nvPr/>
        </p:nvSpPr>
        <p:spPr>
          <a:xfrm>
            <a:off x="684000" y="3231150"/>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Zusammenfassung und Fazit​</a:t>
            </a:r>
          </a:p>
        </p:txBody>
      </p:sp>
      <p:cxnSp>
        <p:nvCxnSpPr>
          <p:cNvPr id="27" name="Line_3">
            <a:extLst>
              <a:ext uri="{FF2B5EF4-FFF2-40B4-BE49-F238E27FC236}">
                <a16:creationId xmlns:a16="http://schemas.microsoft.com/office/drawing/2014/main" id="{715A4AA1-528C-B415-0CA7-F1E35C7B0E9A}"/>
              </a:ext>
            </a:extLst>
          </p:cNvPr>
          <p:cNvCxnSpPr/>
          <p:nvPr/>
        </p:nvCxnSpPr>
        <p:spPr>
          <a:xfrm>
            <a:off x="682400" y="2376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Line_3">
            <a:extLst>
              <a:ext uri="{FF2B5EF4-FFF2-40B4-BE49-F238E27FC236}">
                <a16:creationId xmlns:a16="http://schemas.microsoft.com/office/drawing/2014/main" id="{F67A7E95-A044-5BCA-7533-A98818A610FD}"/>
              </a:ext>
            </a:extLst>
          </p:cNvPr>
          <p:cNvCxnSpPr/>
          <p:nvPr/>
        </p:nvCxnSpPr>
        <p:spPr>
          <a:xfrm>
            <a:off x="684000" y="2808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Line_3">
            <a:extLst>
              <a:ext uri="{FF2B5EF4-FFF2-40B4-BE49-F238E27FC236}">
                <a16:creationId xmlns:a16="http://schemas.microsoft.com/office/drawing/2014/main" id="{FD82D15D-67EB-8EB5-A583-536F9C19F253}"/>
              </a:ext>
            </a:extLst>
          </p:cNvPr>
          <p:cNvCxnSpPr/>
          <p:nvPr/>
        </p:nvCxnSpPr>
        <p:spPr>
          <a:xfrm>
            <a:off x="684000" y="3240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1751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E15379-97A6-8626-5EC3-F07B8693F73F}"/>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F0EF54FE-2526-2BF6-823E-5278302D095F}"/>
              </a:ext>
            </a:extLst>
          </p:cNvPr>
          <p:cNvSpPr/>
          <p:nvPr/>
        </p:nvSpPr>
        <p:spPr bwMode="gray">
          <a:xfrm>
            <a:off x="690439" y="1529463"/>
            <a:ext cx="98028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3" name="Slide Number Placeholder 2">
            <a:extLst>
              <a:ext uri="{FF2B5EF4-FFF2-40B4-BE49-F238E27FC236}">
                <a16:creationId xmlns:a16="http://schemas.microsoft.com/office/drawing/2014/main" id="{75447EAC-CFB3-D38A-7384-3C125D620577}"/>
              </a:ext>
            </a:extLst>
          </p:cNvPr>
          <p:cNvSpPr>
            <a:spLocks noGrp="1"/>
          </p:cNvSpPr>
          <p:nvPr>
            <p:ph type="sldNum" sz="quarter" idx="12"/>
          </p:nvPr>
        </p:nvSpPr>
        <p:spPr/>
        <p:txBody>
          <a:bodyPr/>
          <a:lstStyle/>
          <a:p>
            <a:fld id="{AD1E7D88-B9F0-490E-9127-FC8A160405D5}" type="slidenum">
              <a:rPr lang="de-DE" smtClean="0"/>
              <a:t>3</a:t>
            </a:fld>
            <a:endParaRPr lang="de-DE"/>
          </a:p>
        </p:txBody>
      </p:sp>
      <p:cxnSp>
        <p:nvCxnSpPr>
          <p:cNvPr id="4" name="TopLine">
            <a:extLst>
              <a:ext uri="{FF2B5EF4-FFF2-40B4-BE49-F238E27FC236}">
                <a16:creationId xmlns:a16="http://schemas.microsoft.com/office/drawing/2014/main" id="{257AA625-A945-898E-B876-40A816D7F94D}"/>
              </a:ext>
            </a:extLst>
          </p:cNvPr>
          <p:cNvCxnSpPr/>
          <p:nvPr/>
        </p:nvCxnSpPr>
        <p:spPr>
          <a:xfrm>
            <a:off x="684000" y="1512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5" name="index_0">
            <a:hlinkClick r:id="rId2" action="ppaction://hlinksldjump"/>
            <a:extLst>
              <a:ext uri="{FF2B5EF4-FFF2-40B4-BE49-F238E27FC236}">
                <a16:creationId xmlns:a16="http://schemas.microsoft.com/office/drawing/2014/main" id="{12EE903D-8326-7B8D-708B-8BF5A7C8783F}"/>
              </a:ext>
            </a:extLst>
          </p:cNvPr>
          <p:cNvSpPr txBox="1"/>
          <p:nvPr/>
        </p:nvSpPr>
        <p:spPr>
          <a:xfrm>
            <a:off x="684000" y="1520010"/>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Impulsvortrag: Hintergründe und Ziele der Kommunalen Wärmeplanung​</a:t>
            </a:r>
          </a:p>
        </p:txBody>
      </p:sp>
      <p:cxnSp>
        <p:nvCxnSpPr>
          <p:cNvPr id="6" name="Line_0">
            <a:extLst>
              <a:ext uri="{FF2B5EF4-FFF2-40B4-BE49-F238E27FC236}">
                <a16:creationId xmlns:a16="http://schemas.microsoft.com/office/drawing/2014/main" id="{3BBCF8FA-BF0D-DDB0-B272-9AA80E4C9FA1}"/>
              </a:ext>
            </a:extLst>
          </p:cNvPr>
          <p:cNvCxnSpPr/>
          <p:nvPr/>
        </p:nvCxnSpPr>
        <p:spPr>
          <a:xfrm>
            <a:off x="684000" y="1944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7" name="index_1">
            <a:hlinkClick r:id="rId3" action="ppaction://hlinksldjump"/>
            <a:extLst>
              <a:ext uri="{FF2B5EF4-FFF2-40B4-BE49-F238E27FC236}">
                <a16:creationId xmlns:a16="http://schemas.microsoft.com/office/drawing/2014/main" id="{5638475E-39C0-5A41-EDEF-5B4D1280C549}"/>
              </a:ext>
            </a:extLst>
          </p:cNvPr>
          <p:cNvSpPr txBox="1"/>
          <p:nvPr/>
        </p:nvSpPr>
        <p:spPr>
          <a:xfrm>
            <a:off x="682400" y="1939800"/>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Was ist die Kommunale Wärmeplanung (KWP)?​</a:t>
            </a:r>
          </a:p>
        </p:txBody>
      </p:sp>
      <p:cxnSp>
        <p:nvCxnSpPr>
          <p:cNvPr id="12" name="Line_3">
            <a:extLst>
              <a:ext uri="{FF2B5EF4-FFF2-40B4-BE49-F238E27FC236}">
                <a16:creationId xmlns:a16="http://schemas.microsoft.com/office/drawing/2014/main" id="{885AA1A4-3BCE-FAE8-C393-90512FDD1FF2}"/>
              </a:ext>
            </a:extLst>
          </p:cNvPr>
          <p:cNvCxnSpPr/>
          <p:nvPr/>
        </p:nvCxnSpPr>
        <p:spPr>
          <a:xfrm>
            <a:off x="684000" y="3672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3" name="index_4">
            <a:hlinkClick r:id="rId4" action="ppaction://hlinksldjump"/>
            <a:extLst>
              <a:ext uri="{FF2B5EF4-FFF2-40B4-BE49-F238E27FC236}">
                <a16:creationId xmlns:a16="http://schemas.microsoft.com/office/drawing/2014/main" id="{B3895285-B088-EC18-ECCE-6EA57B49B173}"/>
              </a:ext>
            </a:extLst>
          </p:cNvPr>
          <p:cNvSpPr txBox="1"/>
          <p:nvPr/>
        </p:nvSpPr>
        <p:spPr>
          <a:xfrm>
            <a:off x="684000" y="2372207"/>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Rückblick: Ergebnisse der Bestands- und Potenzialanalyse der KWP in Rheda-Wiedenbrück​</a:t>
            </a:r>
          </a:p>
        </p:txBody>
      </p:sp>
      <p:sp>
        <p:nvSpPr>
          <p:cNvPr id="19" name="index_7">
            <a:hlinkClick r:id="rId5" action="ppaction://hlinksldjump"/>
            <a:extLst>
              <a:ext uri="{FF2B5EF4-FFF2-40B4-BE49-F238E27FC236}">
                <a16:creationId xmlns:a16="http://schemas.microsoft.com/office/drawing/2014/main" id="{F645C4E1-FA4E-8B77-53A9-E8FEC480AF6F}"/>
              </a:ext>
            </a:extLst>
          </p:cNvPr>
          <p:cNvSpPr txBox="1"/>
          <p:nvPr/>
        </p:nvSpPr>
        <p:spPr>
          <a:xfrm>
            <a:off x="684000" y="2816063"/>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Zielszenario und Maßnahmen</a:t>
            </a:r>
          </a:p>
        </p:txBody>
      </p:sp>
      <p:sp>
        <p:nvSpPr>
          <p:cNvPr id="25" name="Title 1">
            <a:extLst>
              <a:ext uri="{FF2B5EF4-FFF2-40B4-BE49-F238E27FC236}">
                <a16:creationId xmlns:a16="http://schemas.microsoft.com/office/drawing/2014/main" id="{C3A538FE-98BA-A590-3010-84DDF62D234E}"/>
              </a:ext>
            </a:extLst>
          </p:cNvPr>
          <p:cNvSpPr txBox="1">
            <a:spLocks/>
          </p:cNvSpPr>
          <p:nvPr/>
        </p:nvSpPr>
        <p:spPr>
          <a:xfrm>
            <a:off x="687600" y="644400"/>
            <a:ext cx="9799200" cy="360000"/>
          </a:xfrm>
          <a:prstGeom prst="rect">
            <a:avLst/>
          </a:prstGeom>
        </p:spPr>
        <p:txBody>
          <a:bodyPr/>
          <a:lstStyle>
            <a:lvl1pPr algn="l" defTabSz="116754" rtl="0" eaLnBrk="1" latinLnBrk="0" hangingPunct="1">
              <a:spcBef>
                <a:spcPct val="0"/>
              </a:spcBef>
              <a:buNone/>
              <a:defRPr sz="270" kern="1200">
                <a:solidFill>
                  <a:schemeClr val="tx1"/>
                </a:solidFill>
                <a:latin typeface="+mj-lt"/>
                <a:ea typeface="+mj-ea"/>
                <a:cs typeface="+mj-cs"/>
              </a:defRPr>
            </a:lvl1pPr>
          </a:lstStyle>
          <a:p>
            <a:r>
              <a:rPr lang="de-DE" sz="2800"/>
              <a:t>Programm</a:t>
            </a:r>
          </a:p>
        </p:txBody>
      </p:sp>
      <p:sp>
        <p:nvSpPr>
          <p:cNvPr id="26" name="index_10">
            <a:hlinkClick r:id="rId6" action="ppaction://hlinksldjump"/>
            <a:extLst>
              <a:ext uri="{FF2B5EF4-FFF2-40B4-BE49-F238E27FC236}">
                <a16:creationId xmlns:a16="http://schemas.microsoft.com/office/drawing/2014/main" id="{CFE0BD81-A85F-1FDC-EB5A-4FF9EF853B76}"/>
              </a:ext>
            </a:extLst>
          </p:cNvPr>
          <p:cNvSpPr txBox="1"/>
          <p:nvPr/>
        </p:nvSpPr>
        <p:spPr>
          <a:xfrm>
            <a:off x="684000" y="3231150"/>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Zusammenfassung und Fazit​</a:t>
            </a:r>
          </a:p>
        </p:txBody>
      </p:sp>
      <p:cxnSp>
        <p:nvCxnSpPr>
          <p:cNvPr id="27" name="Line_3">
            <a:extLst>
              <a:ext uri="{FF2B5EF4-FFF2-40B4-BE49-F238E27FC236}">
                <a16:creationId xmlns:a16="http://schemas.microsoft.com/office/drawing/2014/main" id="{5AA8610E-DACF-DCA7-7C96-64347F034D38}"/>
              </a:ext>
            </a:extLst>
          </p:cNvPr>
          <p:cNvCxnSpPr/>
          <p:nvPr/>
        </p:nvCxnSpPr>
        <p:spPr>
          <a:xfrm>
            <a:off x="682400" y="2376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Line_3">
            <a:extLst>
              <a:ext uri="{FF2B5EF4-FFF2-40B4-BE49-F238E27FC236}">
                <a16:creationId xmlns:a16="http://schemas.microsoft.com/office/drawing/2014/main" id="{F3B514CA-1FD1-9D20-A1E1-CF83DD860171}"/>
              </a:ext>
            </a:extLst>
          </p:cNvPr>
          <p:cNvCxnSpPr/>
          <p:nvPr/>
        </p:nvCxnSpPr>
        <p:spPr>
          <a:xfrm>
            <a:off x="684000" y="2808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Line_3">
            <a:extLst>
              <a:ext uri="{FF2B5EF4-FFF2-40B4-BE49-F238E27FC236}">
                <a16:creationId xmlns:a16="http://schemas.microsoft.com/office/drawing/2014/main" id="{733099C9-3170-A05C-63E7-69E606D3C382}"/>
              </a:ext>
            </a:extLst>
          </p:cNvPr>
          <p:cNvCxnSpPr/>
          <p:nvPr/>
        </p:nvCxnSpPr>
        <p:spPr>
          <a:xfrm>
            <a:off x="684000" y="3240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91137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72AF3F-CF8C-54C4-C404-EC67FEB235F0}"/>
              </a:ext>
            </a:extLst>
          </p:cNvPr>
          <p:cNvSpPr>
            <a:spLocks noGrp="1"/>
          </p:cNvSpPr>
          <p:nvPr>
            <p:ph type="ctrTitle"/>
          </p:nvPr>
        </p:nvSpPr>
        <p:spPr/>
        <p:txBody>
          <a:bodyPr/>
          <a:lstStyle/>
          <a:p>
            <a:r>
              <a:rPr lang="de-DE" dirty="0"/>
              <a:t>Rückblick: Ergebnisse der Bestands- und Potenzialanalyse der KWP in Rheda-Wiedenbrück</a:t>
            </a:r>
            <a:r>
              <a:rPr lang="en-US" dirty="0"/>
              <a:t>​</a:t>
            </a:r>
            <a:br>
              <a:rPr lang="en-US" dirty="0"/>
            </a:br>
            <a:endParaRPr lang="de-DE" dirty="0"/>
          </a:p>
        </p:txBody>
      </p:sp>
      <p:sp>
        <p:nvSpPr>
          <p:cNvPr id="4" name="Text Placeholder 3">
            <a:extLst>
              <a:ext uri="{FF2B5EF4-FFF2-40B4-BE49-F238E27FC236}">
                <a16:creationId xmlns:a16="http://schemas.microsoft.com/office/drawing/2014/main" id="{345978A4-D02A-07D5-7FE4-81A6E9A8B579}"/>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42645890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5DFF21-6020-56F4-969E-FF237F6A10D4}"/>
              </a:ext>
            </a:extLst>
          </p:cNvPr>
          <p:cNvSpPr>
            <a:spLocks noGrp="1"/>
          </p:cNvSpPr>
          <p:nvPr>
            <p:ph type="ctrTitle"/>
          </p:nvPr>
        </p:nvSpPr>
        <p:spPr/>
        <p:txBody>
          <a:bodyPr/>
          <a:lstStyle/>
          <a:p>
            <a:r>
              <a:rPr lang="de-DE" sz="2400"/>
              <a:t>Rückblick / Zusammenfassung </a:t>
            </a:r>
            <a:r>
              <a:rPr lang="en-US" sz="2400" err="1"/>
              <a:t>Bestandsanalyse</a:t>
            </a:r>
            <a:endParaRPr lang="de-DE" sz="2400"/>
          </a:p>
        </p:txBody>
      </p:sp>
      <p:sp>
        <p:nvSpPr>
          <p:cNvPr id="4" name="Text Placeholder 3">
            <a:extLst>
              <a:ext uri="{FF2B5EF4-FFF2-40B4-BE49-F238E27FC236}">
                <a16:creationId xmlns:a16="http://schemas.microsoft.com/office/drawing/2014/main" id="{8B77FE24-76C4-CB60-A860-F3130D046090}"/>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18605462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139BA84-E3C3-1119-D758-808A122C4672}"/>
              </a:ext>
            </a:extLst>
          </p:cNvPr>
          <p:cNvSpPr>
            <a:spLocks noGrp="1"/>
          </p:cNvSpPr>
          <p:nvPr>
            <p:ph type="title"/>
          </p:nvPr>
        </p:nvSpPr>
        <p:spPr/>
        <p:txBody>
          <a:bodyPr/>
          <a:lstStyle/>
          <a:p>
            <a:br>
              <a:rPr lang="de-DE">
                <a:latin typeface="Roboto" panose="02000000000000000000" pitchFamily="2" charset="0"/>
              </a:rPr>
            </a:br>
            <a:r>
              <a:rPr lang="de-DE" b="1">
                <a:latin typeface="Roboto" panose="02000000000000000000" pitchFamily="2" charset="0"/>
              </a:rPr>
              <a:t>Ergebnisse der Kommunalen Wärmeplanung - Bestandsanalyse</a:t>
            </a:r>
            <a:br>
              <a:rPr lang="de-DE" b="1">
                <a:latin typeface="Roboto" panose="02000000000000000000" pitchFamily="2" charset="0"/>
              </a:rPr>
            </a:br>
            <a:endParaRPr lang="en-US"/>
          </a:p>
        </p:txBody>
      </p:sp>
      <p:sp>
        <p:nvSpPr>
          <p:cNvPr id="6" name="Rectangle 5">
            <a:extLst>
              <a:ext uri="{FF2B5EF4-FFF2-40B4-BE49-F238E27FC236}">
                <a16:creationId xmlns:a16="http://schemas.microsoft.com/office/drawing/2014/main" id="{0E17F7E4-3E4B-E672-F887-35E9B2A481E4}"/>
              </a:ext>
            </a:extLst>
          </p:cNvPr>
          <p:cNvSpPr/>
          <p:nvPr/>
        </p:nvSpPr>
        <p:spPr bwMode="gray">
          <a:xfrm>
            <a:off x="278844" y="1066800"/>
            <a:ext cx="2363554" cy="432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rPr>
              <a:t>Bestandsanalyse</a:t>
            </a:r>
          </a:p>
        </p:txBody>
      </p:sp>
      <p:sp>
        <p:nvSpPr>
          <p:cNvPr id="7" name="Rectangle 6">
            <a:extLst>
              <a:ext uri="{FF2B5EF4-FFF2-40B4-BE49-F238E27FC236}">
                <a16:creationId xmlns:a16="http://schemas.microsoft.com/office/drawing/2014/main" id="{E4ED1889-358C-14E9-65A4-4F780724C366}"/>
              </a:ext>
            </a:extLst>
          </p:cNvPr>
          <p:cNvSpPr/>
          <p:nvPr/>
        </p:nvSpPr>
        <p:spPr bwMode="gray">
          <a:xfrm>
            <a:off x="3532498" y="1083863"/>
            <a:ext cx="2232000" cy="432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rPr>
              <a:t>Potenzialanalyse</a:t>
            </a:r>
          </a:p>
        </p:txBody>
      </p:sp>
      <p:grpSp>
        <p:nvGrpSpPr>
          <p:cNvPr id="8" name="Group 7">
            <a:extLst>
              <a:ext uri="{FF2B5EF4-FFF2-40B4-BE49-F238E27FC236}">
                <a16:creationId xmlns:a16="http://schemas.microsoft.com/office/drawing/2014/main" id="{895C9104-1AE9-554D-DB91-B02C7C0D1030}"/>
              </a:ext>
            </a:extLst>
          </p:cNvPr>
          <p:cNvGrpSpPr>
            <a:grpSpLocks noChangeAspect="1"/>
          </p:cNvGrpSpPr>
          <p:nvPr>
            <p:custDataLst>
              <p:tags r:id="rId1"/>
            </p:custDataLst>
          </p:nvPr>
        </p:nvGrpSpPr>
        <p:grpSpPr>
          <a:xfrm>
            <a:off x="3532498" y="1111988"/>
            <a:ext cx="324000" cy="324000"/>
            <a:chOff x="1270000" y="1270000"/>
            <a:chExt cx="889000" cy="889000"/>
          </a:xfrm>
          <a:solidFill>
            <a:schemeClr val="tx2"/>
          </a:solidFill>
        </p:grpSpPr>
        <p:sp>
          <p:nvSpPr>
            <p:cNvPr id="9" name="Rectangle 8" hidden="1">
              <a:extLst>
                <a:ext uri="{FF2B5EF4-FFF2-40B4-BE49-F238E27FC236}">
                  <a16:creationId xmlns:a16="http://schemas.microsoft.com/office/drawing/2014/main" id="{08312AFB-2684-91B5-909F-A25D9652C2EF}"/>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0" name="Graphic 9">
              <a:extLst>
                <a:ext uri="{FF2B5EF4-FFF2-40B4-BE49-F238E27FC236}">
                  <a16:creationId xmlns:a16="http://schemas.microsoft.com/office/drawing/2014/main" id="{7C5142A2-FDE0-48D3-107B-334C1A04E0B5}"/>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70000" y="1270000"/>
              <a:ext cx="889000" cy="889000"/>
            </a:xfrm>
            <a:prstGeom prst="rect">
              <a:avLst/>
            </a:prstGeom>
          </p:spPr>
        </p:pic>
      </p:grpSp>
      <p:grpSp>
        <p:nvGrpSpPr>
          <p:cNvPr id="11" name="Group 10">
            <a:extLst>
              <a:ext uri="{FF2B5EF4-FFF2-40B4-BE49-F238E27FC236}">
                <a16:creationId xmlns:a16="http://schemas.microsoft.com/office/drawing/2014/main" id="{53ADF602-1BBD-8F25-32ED-0377B9DE67F4}"/>
              </a:ext>
            </a:extLst>
          </p:cNvPr>
          <p:cNvGrpSpPr>
            <a:grpSpLocks noChangeAspect="1"/>
          </p:cNvGrpSpPr>
          <p:nvPr>
            <p:custDataLst>
              <p:tags r:id="rId2"/>
            </p:custDataLst>
          </p:nvPr>
        </p:nvGrpSpPr>
        <p:grpSpPr>
          <a:xfrm>
            <a:off x="280056" y="1124888"/>
            <a:ext cx="324000" cy="324000"/>
            <a:chOff x="1270000" y="1270000"/>
            <a:chExt cx="889000" cy="889000"/>
          </a:xfrm>
          <a:solidFill>
            <a:schemeClr val="tx2"/>
          </a:solidFill>
        </p:grpSpPr>
        <p:sp>
          <p:nvSpPr>
            <p:cNvPr id="12" name="Rectangle 11" hidden="1">
              <a:extLst>
                <a:ext uri="{FF2B5EF4-FFF2-40B4-BE49-F238E27FC236}">
                  <a16:creationId xmlns:a16="http://schemas.microsoft.com/office/drawing/2014/main" id="{BC375806-0A7C-BFF8-6C83-A45C201C3DB6}"/>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3" name="Graphic 12">
              <a:extLst>
                <a:ext uri="{FF2B5EF4-FFF2-40B4-BE49-F238E27FC236}">
                  <a16:creationId xmlns:a16="http://schemas.microsoft.com/office/drawing/2014/main" id="{4B82BBF1-70FD-D0E8-3C66-59B3BDC34EEC}"/>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270000" y="1270000"/>
              <a:ext cx="889000" cy="889000"/>
            </a:xfrm>
            <a:prstGeom prst="rect">
              <a:avLst/>
            </a:prstGeom>
          </p:spPr>
        </p:pic>
      </p:grpSp>
      <p:sp>
        <p:nvSpPr>
          <p:cNvPr id="14" name="Rectangle 13">
            <a:extLst>
              <a:ext uri="{FF2B5EF4-FFF2-40B4-BE49-F238E27FC236}">
                <a16:creationId xmlns:a16="http://schemas.microsoft.com/office/drawing/2014/main" id="{56D0404F-C24D-12CB-E9B6-F7104EE421C1}"/>
              </a:ext>
            </a:extLst>
          </p:cNvPr>
          <p:cNvSpPr/>
          <p:nvPr/>
        </p:nvSpPr>
        <p:spPr bwMode="gray">
          <a:xfrm>
            <a:off x="208025" y="1076248"/>
            <a:ext cx="3024000" cy="165917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Analyse von Gebäude- und Siedlungsstruktur</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Erfassung der Energieinfrastruktur</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BISKO-konforme Basisbilanz</a:t>
            </a:r>
          </a:p>
          <a:p>
            <a:pPr marL="144000" indent="-144000">
              <a:lnSpc>
                <a:spcPct val="95000"/>
              </a:lnSpc>
              <a:spcAft>
                <a:spcPts val="200"/>
              </a:spcAft>
              <a:buClr>
                <a:srgbClr val="003C50"/>
              </a:buClr>
              <a:buFont typeface="Wingdings" panose="05000000000000000000" pitchFamily="2" charset="2"/>
              <a:buChar char="§"/>
            </a:pPr>
            <a:endParaRPr lang="de-DE" sz="1100">
              <a:solidFill>
                <a:schemeClr val="tx1"/>
              </a:solidFill>
            </a:endParaRPr>
          </a:p>
          <a:p>
            <a:pPr marL="144000" indent="-144000">
              <a:lnSpc>
                <a:spcPct val="95000"/>
              </a:lnSpc>
              <a:spcAft>
                <a:spcPts val="200"/>
              </a:spcAft>
              <a:buClr>
                <a:srgbClr val="003C50"/>
              </a:buClr>
              <a:buFont typeface="Wingdings" panose="05000000000000000000" pitchFamily="2" charset="2"/>
              <a:buChar char="§"/>
            </a:pPr>
            <a:endParaRPr lang="de-DE" sz="1100">
              <a:solidFill>
                <a:schemeClr val="tx1"/>
              </a:solidFill>
            </a:endParaRPr>
          </a:p>
          <a:p>
            <a:pPr>
              <a:lnSpc>
                <a:spcPct val="95000"/>
              </a:lnSpc>
              <a:spcAft>
                <a:spcPts val="200"/>
              </a:spcAft>
              <a:buClr>
                <a:srgbClr val="003C50"/>
              </a:buClr>
            </a:pPr>
            <a:endParaRPr lang="de-DE" sz="1100">
              <a:solidFill>
                <a:schemeClr val="tx1"/>
              </a:solidFill>
            </a:endParaRPr>
          </a:p>
        </p:txBody>
      </p:sp>
      <p:sp>
        <p:nvSpPr>
          <p:cNvPr id="15" name="Rectangle 14">
            <a:extLst>
              <a:ext uri="{FF2B5EF4-FFF2-40B4-BE49-F238E27FC236}">
                <a16:creationId xmlns:a16="http://schemas.microsoft.com/office/drawing/2014/main" id="{A08D47FB-089D-B295-8796-2F60959F1368}"/>
              </a:ext>
            </a:extLst>
          </p:cNvPr>
          <p:cNvSpPr/>
          <p:nvPr/>
        </p:nvSpPr>
        <p:spPr bwMode="gray">
          <a:xfrm>
            <a:off x="3382261" y="1076248"/>
            <a:ext cx="3024000" cy="165917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Steigerung der Energieeffizienz von Gebäuden und Industrie</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Nutzung unvermeidbarer Abwärme</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Ausbaupotenziale regenerativer Wärmeversorgung</a:t>
            </a:r>
          </a:p>
        </p:txBody>
      </p:sp>
      <p:grpSp>
        <p:nvGrpSpPr>
          <p:cNvPr id="16" name="Group 15">
            <a:extLst>
              <a:ext uri="{FF2B5EF4-FFF2-40B4-BE49-F238E27FC236}">
                <a16:creationId xmlns:a16="http://schemas.microsoft.com/office/drawing/2014/main" id="{934DF1AE-86BB-1CBE-B1E7-1E227A2A5BAB}"/>
              </a:ext>
            </a:extLst>
          </p:cNvPr>
          <p:cNvGrpSpPr/>
          <p:nvPr/>
        </p:nvGrpSpPr>
        <p:grpSpPr>
          <a:xfrm>
            <a:off x="6556498" y="1076248"/>
            <a:ext cx="3024000" cy="1659178"/>
            <a:chOff x="6556498" y="1076248"/>
            <a:chExt cx="3024000" cy="1659178"/>
          </a:xfrm>
        </p:grpSpPr>
        <p:sp>
          <p:nvSpPr>
            <p:cNvPr id="17" name="Rectangle 16">
              <a:extLst>
                <a:ext uri="{FF2B5EF4-FFF2-40B4-BE49-F238E27FC236}">
                  <a16:creationId xmlns:a16="http://schemas.microsoft.com/office/drawing/2014/main" id="{15A815FC-9173-EB3C-B09A-D978A2AE9AD4}"/>
                </a:ext>
              </a:extLst>
            </p:cNvPr>
            <p:cNvSpPr/>
            <p:nvPr/>
          </p:nvSpPr>
          <p:spPr bwMode="gray">
            <a:xfrm>
              <a:off x="6556498" y="1076248"/>
              <a:ext cx="3024000" cy="165917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Zielszenarien und Zielpfade für 2030, 2035, 2040 und 2045 </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Zentrale und Dezentrale Wärmeversorgungsgebiete</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Energie- und THG-Bilanz </a:t>
              </a:r>
            </a:p>
          </p:txBody>
        </p:sp>
        <p:sp>
          <p:nvSpPr>
            <p:cNvPr id="18" name="Rectangle 17">
              <a:extLst>
                <a:ext uri="{FF2B5EF4-FFF2-40B4-BE49-F238E27FC236}">
                  <a16:creationId xmlns:a16="http://schemas.microsoft.com/office/drawing/2014/main" id="{2E9B122D-2790-1356-780F-61D17B564B95}"/>
                </a:ext>
              </a:extLst>
            </p:cNvPr>
            <p:cNvSpPr/>
            <p:nvPr/>
          </p:nvSpPr>
          <p:spPr bwMode="gray">
            <a:xfrm>
              <a:off x="6594597" y="1083863"/>
              <a:ext cx="2232000" cy="432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rPr>
                <a:t>Zielszenario</a:t>
              </a:r>
            </a:p>
          </p:txBody>
        </p:sp>
        <p:grpSp>
          <p:nvGrpSpPr>
            <p:cNvPr id="19" name="Group 18">
              <a:extLst>
                <a:ext uri="{FF2B5EF4-FFF2-40B4-BE49-F238E27FC236}">
                  <a16:creationId xmlns:a16="http://schemas.microsoft.com/office/drawing/2014/main" id="{4627F173-F4E5-FD37-A934-89998024344B}"/>
                </a:ext>
              </a:extLst>
            </p:cNvPr>
            <p:cNvGrpSpPr>
              <a:grpSpLocks noChangeAspect="1"/>
            </p:cNvGrpSpPr>
            <p:nvPr>
              <p:custDataLst>
                <p:tags r:id="rId8"/>
              </p:custDataLst>
            </p:nvPr>
          </p:nvGrpSpPr>
          <p:grpSpPr>
            <a:xfrm rot="600000">
              <a:off x="6630868" y="1129307"/>
              <a:ext cx="324000" cy="324000"/>
              <a:chOff x="1270000" y="1270000"/>
              <a:chExt cx="889000" cy="889000"/>
            </a:xfrm>
            <a:solidFill>
              <a:schemeClr val="tx2"/>
            </a:solidFill>
          </p:grpSpPr>
          <p:sp>
            <p:nvSpPr>
              <p:cNvPr id="20" name="Rectangle 19" hidden="1">
                <a:extLst>
                  <a:ext uri="{FF2B5EF4-FFF2-40B4-BE49-F238E27FC236}">
                    <a16:creationId xmlns:a16="http://schemas.microsoft.com/office/drawing/2014/main" id="{D5744CDB-5588-267D-48FC-9C3A97E406B2}"/>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21" name="Graphic 20">
                <a:extLst>
                  <a:ext uri="{FF2B5EF4-FFF2-40B4-BE49-F238E27FC236}">
                    <a16:creationId xmlns:a16="http://schemas.microsoft.com/office/drawing/2014/main" id="{473A450B-2006-61A7-1D37-6B4E591CA6E5}"/>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70000" y="1270000"/>
                <a:ext cx="889000" cy="889000"/>
              </a:xfrm>
              <a:prstGeom prst="rect">
                <a:avLst/>
              </a:prstGeom>
            </p:spPr>
          </p:pic>
        </p:grpSp>
      </p:grpSp>
      <p:grpSp>
        <p:nvGrpSpPr>
          <p:cNvPr id="22" name="THM_bar">
            <a:extLst>
              <a:ext uri="{FF2B5EF4-FFF2-40B4-BE49-F238E27FC236}">
                <a16:creationId xmlns:a16="http://schemas.microsoft.com/office/drawing/2014/main" id="{CDC66A6A-153B-E15C-0CC2-AC7A498DFF79}"/>
              </a:ext>
            </a:extLst>
          </p:cNvPr>
          <p:cNvGrpSpPr/>
          <p:nvPr>
            <p:custDataLst>
              <p:tags r:id="rId3"/>
            </p:custDataLst>
          </p:nvPr>
        </p:nvGrpSpPr>
        <p:grpSpPr>
          <a:xfrm>
            <a:off x="208026" y="5549074"/>
            <a:ext cx="9372600" cy="468059"/>
            <a:chOff x="208026" y="5549074"/>
            <a:chExt cx="9372600" cy="468059"/>
          </a:xfrm>
        </p:grpSpPr>
        <p:sp>
          <p:nvSpPr>
            <p:cNvPr id="23" name="THM_bar_background">
              <a:extLst>
                <a:ext uri="{FF2B5EF4-FFF2-40B4-BE49-F238E27FC236}">
                  <a16:creationId xmlns:a16="http://schemas.microsoft.com/office/drawing/2014/main" id="{62AB8119-54A5-0DE0-A3E4-787919850A7B}"/>
                </a:ext>
              </a:extLst>
            </p:cNvPr>
            <p:cNvSpPr/>
            <p:nvPr/>
          </p:nvSpPr>
          <p:spPr bwMode="gray">
            <a:xfrm>
              <a:off x="208026" y="5549074"/>
              <a:ext cx="9372600" cy="468059"/>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45" tIns="0" rIns="144018" bIns="0" rtlCol="0" anchor="ctr">
              <a:noAutofit/>
            </a:bodyPr>
            <a:lstStyle/>
            <a:p>
              <a:r>
                <a:rPr lang="de-DE" sz="1400">
                  <a:solidFill>
                    <a:schemeClr val="tx1"/>
                  </a:solidFill>
                  <a:latin typeface="Roboto" panose="02000000000000000000" pitchFamily="2" charset="0"/>
                </a:rPr>
                <a:t>Ziel der Bestandsanalyse ist die Erstellung einer </a:t>
              </a:r>
              <a:r>
                <a:rPr lang="de-DE" sz="1400" b="1">
                  <a:solidFill>
                    <a:schemeClr val="tx1"/>
                  </a:solidFill>
                  <a:latin typeface="Roboto" panose="02000000000000000000" pitchFamily="2" charset="0"/>
                </a:rPr>
                <a:t>systematischen Daten- und Kartierungsgrundlage</a:t>
              </a:r>
              <a:endParaRPr lang="de-DE" sz="1400">
                <a:solidFill>
                  <a:schemeClr val="tx1"/>
                </a:solidFill>
                <a:latin typeface="Roboto" panose="02000000000000000000" pitchFamily="2" charset="0"/>
              </a:endParaRPr>
            </a:p>
          </p:txBody>
        </p:sp>
        <p:grpSp>
          <p:nvGrpSpPr>
            <p:cNvPr id="24" name="thm_triangle_i52819">
              <a:extLst>
                <a:ext uri="{FF2B5EF4-FFF2-40B4-BE49-F238E27FC236}">
                  <a16:creationId xmlns:a16="http://schemas.microsoft.com/office/drawing/2014/main" id="{C6F0F388-AB6B-F6D9-125B-025ED44E4A32}"/>
                </a:ext>
              </a:extLst>
            </p:cNvPr>
            <p:cNvGrpSpPr/>
            <p:nvPr/>
          </p:nvGrpSpPr>
          <p:grpSpPr>
            <a:xfrm>
              <a:off x="208026" y="5549074"/>
              <a:ext cx="234029" cy="468058"/>
              <a:chOff x="117014" y="-117014"/>
              <a:chExt cx="234029" cy="468058"/>
            </a:xfrm>
          </p:grpSpPr>
          <p:sp>
            <p:nvSpPr>
              <p:cNvPr id="25" name="box">
                <a:extLst>
                  <a:ext uri="{FF2B5EF4-FFF2-40B4-BE49-F238E27FC236}">
                    <a16:creationId xmlns:a16="http://schemas.microsoft.com/office/drawing/2014/main" id="{1BD86A62-A5EE-75AD-12C1-4D17A3E4C6F3}"/>
                  </a:ext>
                </a:extLst>
              </p:cNvPr>
              <p:cNvSpPr/>
              <p:nvPr/>
            </p:nvSpPr>
            <p:spPr bwMode="white">
              <a:xfrm rot="16200000">
                <a:off x="-117015" y="117015"/>
                <a:ext cx="468058" cy="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26" name="triangle_1">
                <a:extLst>
                  <a:ext uri="{FF2B5EF4-FFF2-40B4-BE49-F238E27FC236}">
                    <a16:creationId xmlns:a16="http://schemas.microsoft.com/office/drawing/2014/main" id="{975AFC45-A49D-E247-A605-39BAA64702D6}"/>
                  </a:ext>
                </a:extLst>
              </p:cNvPr>
              <p:cNvSpPr/>
              <p:nvPr/>
            </p:nvSpPr>
            <p:spPr bwMode="white">
              <a:xfrm rot="5400000">
                <a:off x="0" y="0"/>
                <a:ext cx="468058" cy="234029"/>
              </a:xfrm>
              <a:prstGeom prst="triangle">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27" name="triangle_2">
                <a:extLst>
                  <a:ext uri="{FF2B5EF4-FFF2-40B4-BE49-F238E27FC236}">
                    <a16:creationId xmlns:a16="http://schemas.microsoft.com/office/drawing/2014/main" id="{9AEEE3CA-33AF-7A8E-4BBB-344CE52B4B04}"/>
                  </a:ext>
                </a:extLst>
              </p:cNvPr>
              <p:cNvSpPr/>
              <p:nvPr/>
            </p:nvSpPr>
            <p:spPr bwMode="gray">
              <a:xfrm rot="5400000">
                <a:off x="0" y="0"/>
                <a:ext cx="468058" cy="234029"/>
              </a:xfrm>
              <a:prstGeom prst="triangl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grpSp>
      </p:grpSp>
      <p:sp>
        <p:nvSpPr>
          <p:cNvPr id="28" name="box_text_1">
            <a:extLst>
              <a:ext uri="{FF2B5EF4-FFF2-40B4-BE49-F238E27FC236}">
                <a16:creationId xmlns:a16="http://schemas.microsoft.com/office/drawing/2014/main" id="{D6A29292-244C-A3EE-BA8A-8ED3D1EAC2A8}"/>
              </a:ext>
            </a:extLst>
          </p:cNvPr>
          <p:cNvSpPr/>
          <p:nvPr>
            <p:custDataLst>
              <p:tags r:id="rId4"/>
            </p:custDataLst>
          </p:nvPr>
        </p:nvSpPr>
        <p:spPr bwMode="gray">
          <a:xfrm>
            <a:off x="208025" y="3143250"/>
            <a:ext cx="9298709" cy="1998000"/>
          </a:xfrm>
          <a:prstGeom prst="rect">
            <a:avLst/>
          </a:prstGeom>
          <a:noFill/>
          <a:ln w="9525">
            <a:solidFill>
              <a:schemeClr val="accent1"/>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oAutofit/>
          </a:bodyPr>
          <a:lstStyle/>
          <a:p>
            <a:pPr algn="ctr">
              <a:spcAft>
                <a:spcPts val="200"/>
              </a:spcAft>
              <a:buClr>
                <a:srgbClr val="003C50"/>
              </a:buClr>
              <a:tabLst>
                <a:tab pos="144000" algn="l"/>
              </a:tabLst>
            </a:pPr>
            <a:endParaRPr lang="de-DE" sz="1000">
              <a:solidFill>
                <a:schemeClr val="tx1"/>
              </a:solidFill>
              <a:latin typeface="Roboto" panose="02000000000000000000" pitchFamily="2" charset="0"/>
            </a:endParaRPr>
          </a:p>
        </p:txBody>
      </p:sp>
      <p:sp>
        <p:nvSpPr>
          <p:cNvPr id="29" name="Rectangle 28">
            <a:extLst>
              <a:ext uri="{FF2B5EF4-FFF2-40B4-BE49-F238E27FC236}">
                <a16:creationId xmlns:a16="http://schemas.microsoft.com/office/drawing/2014/main" id="{9BA34723-BAF8-F320-1AE7-8281FE8A9817}"/>
              </a:ext>
            </a:extLst>
          </p:cNvPr>
          <p:cNvSpPr/>
          <p:nvPr/>
        </p:nvSpPr>
        <p:spPr bwMode="gray">
          <a:xfrm>
            <a:off x="8853156" y="3932526"/>
            <a:ext cx="72000" cy="360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30" name="Rectangle 29">
            <a:extLst>
              <a:ext uri="{FF2B5EF4-FFF2-40B4-BE49-F238E27FC236}">
                <a16:creationId xmlns:a16="http://schemas.microsoft.com/office/drawing/2014/main" id="{F83A9C50-89A7-C7AF-AC31-2218179D77B2}"/>
              </a:ext>
            </a:extLst>
          </p:cNvPr>
          <p:cNvSpPr/>
          <p:nvPr/>
        </p:nvSpPr>
        <p:spPr bwMode="gray">
          <a:xfrm>
            <a:off x="339725" y="3168683"/>
            <a:ext cx="4389440" cy="432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latin typeface="Roboto" panose="02000000000000000000" pitchFamily="2" charset="0"/>
              </a:rPr>
              <a:t>Was sind die Ergebnisse? </a:t>
            </a:r>
          </a:p>
        </p:txBody>
      </p:sp>
      <p:pic>
        <p:nvPicPr>
          <p:cNvPr id="31" name="Graphic 30" descr="Users with solid fill">
            <a:extLst>
              <a:ext uri="{FF2B5EF4-FFF2-40B4-BE49-F238E27FC236}">
                <a16:creationId xmlns:a16="http://schemas.microsoft.com/office/drawing/2014/main" id="{B449B345-BAA6-AF6B-EEE9-9E9C0E5983A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26056" y="3168683"/>
            <a:ext cx="432000" cy="432000"/>
          </a:xfrm>
          <a:prstGeom prst="rect">
            <a:avLst/>
          </a:prstGeom>
        </p:spPr>
      </p:pic>
      <p:sp>
        <p:nvSpPr>
          <p:cNvPr id="32" name="Rectangle 31">
            <a:extLst>
              <a:ext uri="{FF2B5EF4-FFF2-40B4-BE49-F238E27FC236}">
                <a16:creationId xmlns:a16="http://schemas.microsoft.com/office/drawing/2014/main" id="{506766EE-C1AA-5E4C-9306-4D114CC6CCFE}"/>
              </a:ext>
            </a:extLst>
          </p:cNvPr>
          <p:cNvSpPr/>
          <p:nvPr/>
        </p:nvSpPr>
        <p:spPr bwMode="gray">
          <a:xfrm>
            <a:off x="914444" y="3896221"/>
            <a:ext cx="3886719" cy="1608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0" bIns="0" rtlCol="0" anchor="t">
            <a:spAutoFit/>
          </a:bodyPr>
          <a:lstStyle/>
          <a:p>
            <a:pPr>
              <a:lnSpc>
                <a:spcPct val="95000"/>
              </a:lnSpc>
            </a:pPr>
            <a:r>
              <a:rPr lang="de-DE" sz="1100" b="1" dirty="0">
                <a:solidFill>
                  <a:schemeClr val="tx1"/>
                </a:solidFill>
                <a:latin typeface="Roboto" panose="02000000000000000000" pitchFamily="2" charset="0"/>
              </a:rPr>
              <a:t>Siedlungsstruktur: </a:t>
            </a:r>
            <a:r>
              <a:rPr lang="de-DE" sz="1100" dirty="0">
                <a:solidFill>
                  <a:schemeClr val="tx1"/>
                </a:solidFill>
                <a:latin typeface="Roboto" panose="02000000000000000000" pitchFamily="2" charset="0"/>
              </a:rPr>
              <a:t>z.B. </a:t>
            </a:r>
            <a:r>
              <a:rPr lang="de-DE" sz="1100" i="1" dirty="0">
                <a:solidFill>
                  <a:schemeClr val="tx1"/>
                </a:solidFill>
                <a:latin typeface="Roboto" panose="02000000000000000000" pitchFamily="2" charset="0"/>
              </a:rPr>
              <a:t>Anzahl an Wohngebäuden?</a:t>
            </a:r>
            <a:endParaRPr lang="de-DE" sz="1100" dirty="0">
              <a:solidFill>
                <a:schemeClr val="tx1"/>
              </a:solidFill>
              <a:latin typeface="Roboto" panose="02000000000000000000" pitchFamily="2" charset="0"/>
            </a:endParaRPr>
          </a:p>
        </p:txBody>
      </p:sp>
      <p:grpSp>
        <p:nvGrpSpPr>
          <p:cNvPr id="33" name="Group 32">
            <a:extLst>
              <a:ext uri="{FF2B5EF4-FFF2-40B4-BE49-F238E27FC236}">
                <a16:creationId xmlns:a16="http://schemas.microsoft.com/office/drawing/2014/main" id="{420C809A-FC7E-4D94-D5BA-A5A54AA5B372}"/>
              </a:ext>
            </a:extLst>
          </p:cNvPr>
          <p:cNvGrpSpPr>
            <a:grpSpLocks noChangeAspect="1"/>
          </p:cNvGrpSpPr>
          <p:nvPr>
            <p:custDataLst>
              <p:tags r:id="rId5"/>
            </p:custDataLst>
          </p:nvPr>
        </p:nvGrpSpPr>
        <p:grpSpPr>
          <a:xfrm>
            <a:off x="279601" y="3695665"/>
            <a:ext cx="561925" cy="561925"/>
            <a:chOff x="1270000" y="1270000"/>
            <a:chExt cx="889000" cy="889000"/>
          </a:xfrm>
        </p:grpSpPr>
        <p:sp>
          <p:nvSpPr>
            <p:cNvPr id="34" name="Rectangle 33" hidden="1">
              <a:extLst>
                <a:ext uri="{FF2B5EF4-FFF2-40B4-BE49-F238E27FC236}">
                  <a16:creationId xmlns:a16="http://schemas.microsoft.com/office/drawing/2014/main" id="{FA1BA8A0-7B32-D51E-F995-42A3C1F9C770}"/>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pic>
          <p:nvPicPr>
            <p:cNvPr id="35" name="Graphic 34">
              <a:extLst>
                <a:ext uri="{FF2B5EF4-FFF2-40B4-BE49-F238E27FC236}">
                  <a16:creationId xmlns:a16="http://schemas.microsoft.com/office/drawing/2014/main" id="{CD3ED426-4CB0-E545-B118-C9929EC46F9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270000" y="1270000"/>
              <a:ext cx="889000" cy="889000"/>
            </a:xfrm>
            <a:prstGeom prst="rect">
              <a:avLst/>
            </a:prstGeom>
          </p:spPr>
        </p:pic>
      </p:grpSp>
      <p:sp>
        <p:nvSpPr>
          <p:cNvPr id="36" name="Rectangle 35">
            <a:extLst>
              <a:ext uri="{FF2B5EF4-FFF2-40B4-BE49-F238E27FC236}">
                <a16:creationId xmlns:a16="http://schemas.microsoft.com/office/drawing/2014/main" id="{210B8445-761F-E035-9350-528789A37F4E}"/>
              </a:ext>
            </a:extLst>
          </p:cNvPr>
          <p:cNvSpPr/>
          <p:nvPr/>
        </p:nvSpPr>
        <p:spPr bwMode="gray">
          <a:xfrm>
            <a:off x="914443" y="4651411"/>
            <a:ext cx="3886719" cy="1608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0" bIns="0" rtlCol="0" anchor="t">
            <a:spAutoFit/>
          </a:bodyPr>
          <a:lstStyle/>
          <a:p>
            <a:pPr>
              <a:lnSpc>
                <a:spcPct val="95000"/>
              </a:lnSpc>
            </a:pPr>
            <a:r>
              <a:rPr lang="de-DE" sz="1100" b="1">
                <a:solidFill>
                  <a:schemeClr val="tx1"/>
                </a:solidFill>
                <a:latin typeface="Roboto" panose="02000000000000000000" pitchFamily="2" charset="0"/>
              </a:rPr>
              <a:t>Wärmenetze: </a:t>
            </a:r>
            <a:r>
              <a:rPr lang="de-DE" sz="1100">
                <a:solidFill>
                  <a:schemeClr val="tx1"/>
                </a:solidFill>
                <a:latin typeface="Roboto" panose="02000000000000000000" pitchFamily="2" charset="0"/>
              </a:rPr>
              <a:t>z.B. </a:t>
            </a:r>
            <a:r>
              <a:rPr lang="de-DE" sz="1100" i="1">
                <a:solidFill>
                  <a:schemeClr val="tx1"/>
                </a:solidFill>
                <a:latin typeface="Roboto" panose="02000000000000000000" pitchFamily="2" charset="0"/>
              </a:rPr>
              <a:t>Bestehende oder geplante Wärmenetze?</a:t>
            </a:r>
            <a:endParaRPr lang="de-DE" sz="1100">
              <a:solidFill>
                <a:schemeClr val="tx1"/>
              </a:solidFill>
              <a:latin typeface="Roboto" panose="02000000000000000000" pitchFamily="2" charset="0"/>
            </a:endParaRPr>
          </a:p>
        </p:txBody>
      </p:sp>
      <p:grpSp>
        <p:nvGrpSpPr>
          <p:cNvPr id="37" name="Group 36">
            <a:extLst>
              <a:ext uri="{FF2B5EF4-FFF2-40B4-BE49-F238E27FC236}">
                <a16:creationId xmlns:a16="http://schemas.microsoft.com/office/drawing/2014/main" id="{C1D51A92-C689-E7CA-2C0C-BFCE1E9422E7}"/>
              </a:ext>
            </a:extLst>
          </p:cNvPr>
          <p:cNvGrpSpPr>
            <a:grpSpLocks noChangeAspect="1"/>
          </p:cNvGrpSpPr>
          <p:nvPr>
            <p:custDataLst>
              <p:tags r:id="rId6"/>
            </p:custDataLst>
          </p:nvPr>
        </p:nvGrpSpPr>
        <p:grpSpPr>
          <a:xfrm>
            <a:off x="310716" y="4450857"/>
            <a:ext cx="561920" cy="561920"/>
            <a:chOff x="1270000" y="1270000"/>
            <a:chExt cx="889000" cy="889000"/>
          </a:xfrm>
        </p:grpSpPr>
        <p:sp>
          <p:nvSpPr>
            <p:cNvPr id="38" name="Rectangle 37" hidden="1">
              <a:extLst>
                <a:ext uri="{FF2B5EF4-FFF2-40B4-BE49-F238E27FC236}">
                  <a16:creationId xmlns:a16="http://schemas.microsoft.com/office/drawing/2014/main" id="{57C61629-92D6-EC9F-5DC6-D6B4289B66F8}"/>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pic>
          <p:nvPicPr>
            <p:cNvPr id="39" name="Graphic 38">
              <a:extLst>
                <a:ext uri="{FF2B5EF4-FFF2-40B4-BE49-F238E27FC236}">
                  <a16:creationId xmlns:a16="http://schemas.microsoft.com/office/drawing/2014/main" id="{F7AA4E99-7B16-F444-F5C8-0127FCC4EF8D}"/>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270000" y="1270000"/>
              <a:ext cx="889000" cy="889000"/>
            </a:xfrm>
            <a:prstGeom prst="rect">
              <a:avLst/>
            </a:prstGeom>
          </p:spPr>
        </p:pic>
      </p:grpSp>
      <p:grpSp>
        <p:nvGrpSpPr>
          <p:cNvPr id="40" name="Group 39">
            <a:extLst>
              <a:ext uri="{FF2B5EF4-FFF2-40B4-BE49-F238E27FC236}">
                <a16:creationId xmlns:a16="http://schemas.microsoft.com/office/drawing/2014/main" id="{BF88F569-AF75-1EF6-7BC5-B96C0BD065E1}"/>
              </a:ext>
            </a:extLst>
          </p:cNvPr>
          <p:cNvGrpSpPr>
            <a:grpSpLocks noChangeAspect="1"/>
          </p:cNvGrpSpPr>
          <p:nvPr>
            <p:custDataLst>
              <p:tags r:id="rId7"/>
            </p:custDataLst>
          </p:nvPr>
        </p:nvGrpSpPr>
        <p:grpSpPr>
          <a:xfrm>
            <a:off x="4926305" y="3695827"/>
            <a:ext cx="561600" cy="561600"/>
            <a:chOff x="1270000" y="1270000"/>
            <a:chExt cx="889000" cy="889000"/>
          </a:xfrm>
        </p:grpSpPr>
        <p:sp>
          <p:nvSpPr>
            <p:cNvPr id="41" name="Rectangle 40" hidden="1">
              <a:extLst>
                <a:ext uri="{FF2B5EF4-FFF2-40B4-BE49-F238E27FC236}">
                  <a16:creationId xmlns:a16="http://schemas.microsoft.com/office/drawing/2014/main" id="{2288BC6F-F160-9559-1CEA-8B43F8D0FF80}"/>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pic>
          <p:nvPicPr>
            <p:cNvPr id="42" name="Graphic 41">
              <a:extLst>
                <a:ext uri="{FF2B5EF4-FFF2-40B4-BE49-F238E27FC236}">
                  <a16:creationId xmlns:a16="http://schemas.microsoft.com/office/drawing/2014/main" id="{2002CC58-3E1A-3F07-80AF-D90B6A844FA1}"/>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270000" y="1270000"/>
              <a:ext cx="889000" cy="889000"/>
            </a:xfrm>
            <a:prstGeom prst="rect">
              <a:avLst/>
            </a:prstGeom>
          </p:spPr>
        </p:pic>
      </p:grpSp>
      <p:sp>
        <p:nvSpPr>
          <p:cNvPr id="43" name="Rectangle 42">
            <a:extLst>
              <a:ext uri="{FF2B5EF4-FFF2-40B4-BE49-F238E27FC236}">
                <a16:creationId xmlns:a16="http://schemas.microsoft.com/office/drawing/2014/main" id="{D0A3A147-2980-3510-76FC-3FE11BCED60D}"/>
              </a:ext>
            </a:extLst>
          </p:cNvPr>
          <p:cNvSpPr/>
          <p:nvPr/>
        </p:nvSpPr>
        <p:spPr bwMode="gray">
          <a:xfrm>
            <a:off x="5508592" y="3815814"/>
            <a:ext cx="3998142" cy="32162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0" bIns="0" rtlCol="0" anchor="t">
            <a:spAutoFit/>
          </a:bodyPr>
          <a:lstStyle/>
          <a:p>
            <a:pPr>
              <a:lnSpc>
                <a:spcPct val="95000"/>
              </a:lnSpc>
            </a:pPr>
            <a:r>
              <a:rPr lang="de-DE" sz="1100" b="1">
                <a:solidFill>
                  <a:schemeClr val="tx1"/>
                </a:solidFill>
                <a:latin typeface="Roboto" panose="02000000000000000000" pitchFamily="2" charset="0"/>
              </a:rPr>
              <a:t>Wärmeversorgung: </a:t>
            </a:r>
            <a:r>
              <a:rPr lang="de-DE" sz="1100">
                <a:solidFill>
                  <a:schemeClr val="tx1"/>
                </a:solidFill>
                <a:latin typeface="Roboto" panose="02000000000000000000" pitchFamily="2" charset="0"/>
              </a:rPr>
              <a:t>z.B. </a:t>
            </a:r>
            <a:r>
              <a:rPr lang="de-DE" sz="1100" i="1">
                <a:solidFill>
                  <a:schemeClr val="tx1"/>
                </a:solidFill>
                <a:latin typeface="Roboto" panose="02000000000000000000" pitchFamily="2" charset="0"/>
              </a:rPr>
              <a:t>Endenergieverbrauch nach Energieträger?</a:t>
            </a:r>
            <a:endParaRPr lang="de-DE" sz="1100">
              <a:solidFill>
                <a:schemeClr val="tx1"/>
              </a:solidFill>
              <a:latin typeface="Roboto" panose="02000000000000000000" pitchFamily="2" charset="0"/>
            </a:endParaRPr>
          </a:p>
        </p:txBody>
      </p:sp>
      <p:sp>
        <p:nvSpPr>
          <p:cNvPr id="44" name="Rectangle 43">
            <a:extLst>
              <a:ext uri="{FF2B5EF4-FFF2-40B4-BE49-F238E27FC236}">
                <a16:creationId xmlns:a16="http://schemas.microsoft.com/office/drawing/2014/main" id="{88435B79-641D-59D3-29E2-A66381F76A7E}"/>
              </a:ext>
            </a:extLst>
          </p:cNvPr>
          <p:cNvSpPr/>
          <p:nvPr/>
        </p:nvSpPr>
        <p:spPr bwMode="gray">
          <a:xfrm>
            <a:off x="5487905" y="4651411"/>
            <a:ext cx="4018829" cy="1608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0" bIns="0" rtlCol="0" anchor="t">
            <a:spAutoFit/>
          </a:bodyPr>
          <a:lstStyle/>
          <a:p>
            <a:pPr>
              <a:lnSpc>
                <a:spcPct val="95000"/>
              </a:lnSpc>
            </a:pPr>
            <a:r>
              <a:rPr lang="de-DE" sz="1100" b="1">
                <a:solidFill>
                  <a:schemeClr val="tx1"/>
                </a:solidFill>
                <a:latin typeface="Roboto" panose="02000000000000000000" pitchFamily="2" charset="0"/>
              </a:rPr>
              <a:t>Treibhausgas-Emissionen</a:t>
            </a:r>
            <a:r>
              <a:rPr lang="de-DE" sz="1100">
                <a:solidFill>
                  <a:schemeClr val="tx1"/>
                </a:solidFill>
                <a:latin typeface="Roboto" panose="02000000000000000000" pitchFamily="2" charset="0"/>
              </a:rPr>
              <a:t>: z.B. </a:t>
            </a:r>
            <a:r>
              <a:rPr lang="de-DE" sz="1100" i="1">
                <a:solidFill>
                  <a:schemeClr val="tx1"/>
                </a:solidFill>
                <a:latin typeface="Roboto" panose="02000000000000000000" pitchFamily="2" charset="0"/>
              </a:rPr>
              <a:t>Emissionen pro Energieträger?</a:t>
            </a:r>
            <a:endParaRPr lang="de-DE" sz="1100">
              <a:solidFill>
                <a:schemeClr val="tx1"/>
              </a:solidFill>
              <a:latin typeface="Roboto" panose="02000000000000000000" pitchFamily="2" charset="0"/>
            </a:endParaRPr>
          </a:p>
        </p:txBody>
      </p:sp>
      <p:pic>
        <p:nvPicPr>
          <p:cNvPr id="45" name="Graphic 44" descr="Power Plant outline">
            <a:extLst>
              <a:ext uri="{FF2B5EF4-FFF2-40B4-BE49-F238E27FC236}">
                <a16:creationId xmlns:a16="http://schemas.microsoft.com/office/drawing/2014/main" id="{E2D49C56-BC97-4066-3F6E-4486FB3C56BB}"/>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4927597" y="4451017"/>
            <a:ext cx="561600" cy="561600"/>
          </a:xfrm>
          <a:prstGeom prst="rect">
            <a:avLst/>
          </a:prstGeom>
        </p:spPr>
      </p:pic>
      <p:sp>
        <p:nvSpPr>
          <p:cNvPr id="46" name="Rectangle 45">
            <a:extLst>
              <a:ext uri="{FF2B5EF4-FFF2-40B4-BE49-F238E27FC236}">
                <a16:creationId xmlns:a16="http://schemas.microsoft.com/office/drawing/2014/main" id="{B00666B3-6000-1695-6310-DF8A3E810814}"/>
              </a:ext>
            </a:extLst>
          </p:cNvPr>
          <p:cNvSpPr/>
          <p:nvPr/>
        </p:nvSpPr>
        <p:spPr bwMode="gray">
          <a:xfrm>
            <a:off x="3302844" y="1022837"/>
            <a:ext cx="6401873" cy="1860627"/>
          </a:xfrm>
          <a:prstGeom prst="rect">
            <a:avLst/>
          </a:prstGeom>
          <a:solidFill>
            <a:srgbClr val="FFFFFF">
              <a:alpha val="7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sp>
        <p:nvSpPr>
          <p:cNvPr id="47" name="Arrow: Down 46">
            <a:extLst>
              <a:ext uri="{FF2B5EF4-FFF2-40B4-BE49-F238E27FC236}">
                <a16:creationId xmlns:a16="http://schemas.microsoft.com/office/drawing/2014/main" id="{01092800-626E-837B-3417-4D5ABCC81B1B}"/>
              </a:ext>
            </a:extLst>
          </p:cNvPr>
          <p:cNvSpPr/>
          <p:nvPr/>
        </p:nvSpPr>
        <p:spPr bwMode="gray">
          <a:xfrm>
            <a:off x="1538870" y="2803585"/>
            <a:ext cx="362309" cy="284178"/>
          </a:xfrm>
          <a:prstGeom prst="downArrow">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sp>
        <p:nvSpPr>
          <p:cNvPr id="5" name="Footer Placeholder 4">
            <a:extLst>
              <a:ext uri="{FF2B5EF4-FFF2-40B4-BE49-F238E27FC236}">
                <a16:creationId xmlns:a16="http://schemas.microsoft.com/office/drawing/2014/main" id="{AE172413-ABCB-8FF1-BC5E-9BE1D2850142}"/>
              </a:ext>
            </a:extLst>
          </p:cNvPr>
          <p:cNvSpPr>
            <a:spLocks noGrp="1"/>
          </p:cNvSpPr>
          <p:nvPr>
            <p:ph type="ftr" sz="quarter" idx="12"/>
          </p:nvPr>
        </p:nvSpPr>
        <p:spPr/>
        <p:txBody>
          <a:bodyPr/>
          <a:lstStyle/>
          <a:p>
            <a:r>
              <a:rPr lang="de-DE"/>
              <a:t>© 2026</a:t>
            </a:r>
          </a:p>
          <a:p>
            <a:r>
              <a:rPr lang="de-DE"/>
              <a:t>d-fine</a:t>
            </a:r>
          </a:p>
        </p:txBody>
      </p:sp>
      <p:sp>
        <p:nvSpPr>
          <p:cNvPr id="48" name="Slide Number Placeholder 47">
            <a:extLst>
              <a:ext uri="{FF2B5EF4-FFF2-40B4-BE49-F238E27FC236}">
                <a16:creationId xmlns:a16="http://schemas.microsoft.com/office/drawing/2014/main" id="{51EB20A7-F210-9CAE-68CC-912F5E28BBB0}"/>
              </a:ext>
            </a:extLst>
          </p:cNvPr>
          <p:cNvSpPr>
            <a:spLocks noGrp="1"/>
          </p:cNvSpPr>
          <p:nvPr>
            <p:ph type="sldNum" sz="quarter" idx="11"/>
          </p:nvPr>
        </p:nvSpPr>
        <p:spPr/>
        <p:txBody>
          <a:bodyPr/>
          <a:lstStyle/>
          <a:p>
            <a:endParaRPr lang="de-DE"/>
          </a:p>
          <a:p>
            <a:fld id="{24C420F5-194C-40F2-A080-C5F3EDD89037}" type="slidenum">
              <a:rPr lang="de-DE" smtClean="0"/>
              <a:pPr/>
              <a:t>32</a:t>
            </a:fld>
            <a:endParaRPr lang="de-DE"/>
          </a:p>
        </p:txBody>
      </p:sp>
    </p:spTree>
    <p:extLst>
      <p:ext uri="{BB962C8B-B14F-4D97-AF65-F5344CB8AC3E}">
        <p14:creationId xmlns:p14="http://schemas.microsoft.com/office/powerpoint/2010/main" val="35348518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Placeholder 4" descr="construction_years_Rheda_Wiedenbrueck.png">
            <a:extLst>
              <a:ext uri="{FF2B5EF4-FFF2-40B4-BE49-F238E27FC236}">
                <a16:creationId xmlns:a16="http://schemas.microsoft.com/office/drawing/2014/main" id="{00804B41-92E6-E3C1-21FE-1DA180BD4277}"/>
              </a:ext>
            </a:extLst>
          </p:cNvPr>
          <p:cNvPicPr>
            <a:picLocks noChangeAspect="1"/>
          </p:cNvPicPr>
          <p:nvPr/>
        </p:nvPicPr>
        <p:blipFill>
          <a:blip r:embed="rId11" cstate="screen">
            <a:extLst>
              <a:ext uri="{28A0092B-C50C-407E-A947-70E740481C1C}">
                <a14:useLocalDpi xmlns:a14="http://schemas.microsoft.com/office/drawing/2010/main"/>
              </a:ext>
            </a:extLst>
          </a:blip>
          <a:srcRect/>
          <a:stretch>
            <a:fillRect/>
          </a:stretch>
        </p:blipFill>
        <p:spPr>
          <a:xfrm>
            <a:off x="6074831" y="3518591"/>
            <a:ext cx="2124000" cy="1941271"/>
          </a:xfrm>
          <a:prstGeom prst="rect">
            <a:avLst/>
          </a:prstGeom>
        </p:spPr>
      </p:pic>
      <p:sp>
        <p:nvSpPr>
          <p:cNvPr id="3" name="Title 2">
            <a:extLst>
              <a:ext uri="{FF2B5EF4-FFF2-40B4-BE49-F238E27FC236}">
                <a16:creationId xmlns:a16="http://schemas.microsoft.com/office/drawing/2014/main" id="{D4B69662-CBC1-999D-4EB2-174F6E4AD1CD}"/>
              </a:ext>
            </a:extLst>
          </p:cNvPr>
          <p:cNvSpPr>
            <a:spLocks noGrp="1"/>
          </p:cNvSpPr>
          <p:nvPr>
            <p:ph type="title"/>
          </p:nvPr>
        </p:nvSpPr>
        <p:spPr/>
        <p:txBody>
          <a:bodyPr/>
          <a:lstStyle/>
          <a:p>
            <a:r>
              <a:rPr lang="de-DE" b="1">
                <a:latin typeface="Roboto" panose="02000000000000000000" pitchFamily="2" charset="0"/>
              </a:rPr>
              <a:t>Ergebnisse der Kommunalen Wärmeplanung - Bestandsanalyse</a:t>
            </a:r>
            <a:br>
              <a:rPr lang="de-DE" b="1">
                <a:latin typeface="Roboto" panose="02000000000000000000" pitchFamily="2" charset="0"/>
              </a:rPr>
            </a:br>
            <a:r>
              <a:rPr lang="de-DE">
                <a:latin typeface="Roboto" panose="02000000000000000000" pitchFamily="2" charset="0"/>
              </a:rPr>
              <a:t>Welche Gebäude- und Heizungsstruktur weist Rheda-Wiedenbrück auf?</a:t>
            </a:r>
            <a:endParaRPr lang="de-DE"/>
          </a:p>
        </p:txBody>
      </p:sp>
      <p:pic>
        <p:nvPicPr>
          <p:cNvPr id="6" name="Picture 8">
            <a:extLst>
              <a:ext uri="{FF2B5EF4-FFF2-40B4-BE49-F238E27FC236}">
                <a16:creationId xmlns:a16="http://schemas.microsoft.com/office/drawing/2014/main" id="{6D080F12-F8CB-A0E7-BADB-6CB7B9A01CB9}"/>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8010000" y="3654081"/>
            <a:ext cx="1627943" cy="1630824"/>
          </a:xfrm>
          <a:prstGeom prst="rect">
            <a:avLst/>
          </a:prstGeom>
          <a:noFill/>
          <a:extLst>
            <a:ext uri="{909E8E84-426E-40DD-AFC4-6F175D3DCCD1}">
              <a14:hiddenFill xmlns:a14="http://schemas.microsoft.com/office/drawing/2010/main">
                <a:solidFill>
                  <a:srgbClr val="FFFFFF"/>
                </a:solidFill>
              </a14:hiddenFill>
            </a:ext>
          </a:extLst>
        </p:spPr>
      </p:pic>
      <p:sp>
        <p:nvSpPr>
          <p:cNvPr id="7" name="Arrow: Pentagon 6">
            <a:extLst>
              <a:ext uri="{FF2B5EF4-FFF2-40B4-BE49-F238E27FC236}">
                <a16:creationId xmlns:a16="http://schemas.microsoft.com/office/drawing/2014/main" id="{689F2CC7-9BE4-4C63-3293-E662BDD507CB}"/>
              </a:ext>
            </a:extLst>
          </p:cNvPr>
          <p:cNvSpPr/>
          <p:nvPr/>
        </p:nvSpPr>
        <p:spPr bwMode="gray">
          <a:xfrm>
            <a:off x="4963547" y="3757888"/>
            <a:ext cx="1190433" cy="484632"/>
          </a:xfrm>
          <a:prstGeom prst="homePlate">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72002" defTabSz="914368"/>
            <a:r>
              <a:rPr lang="de-DE" sz="1000">
                <a:solidFill>
                  <a:srgbClr val="003C50"/>
                </a:solidFill>
                <a:latin typeface="Roboto" panose="02000000000000000000" pitchFamily="2" charset="0"/>
                <a:cs typeface="Calibri" panose="020F0502020204030204" pitchFamily="34" charset="0"/>
              </a:rPr>
              <a:t>Gebäude nach Altersklasse</a:t>
            </a:r>
            <a:endParaRPr lang="de-DE" sz="1100">
              <a:solidFill>
                <a:srgbClr val="003C50"/>
              </a:solidFill>
              <a:latin typeface="Roboto" panose="02000000000000000000" pitchFamily="2" charset="0"/>
            </a:endParaRPr>
          </a:p>
        </p:txBody>
      </p:sp>
      <p:sp>
        <p:nvSpPr>
          <p:cNvPr id="8" name="Arrow: Pentagon 7">
            <a:extLst>
              <a:ext uri="{FF2B5EF4-FFF2-40B4-BE49-F238E27FC236}">
                <a16:creationId xmlns:a16="http://schemas.microsoft.com/office/drawing/2014/main" id="{BC645188-7789-1E2C-E78A-0555719F10A3}"/>
              </a:ext>
            </a:extLst>
          </p:cNvPr>
          <p:cNvSpPr/>
          <p:nvPr/>
        </p:nvSpPr>
        <p:spPr bwMode="gray">
          <a:xfrm>
            <a:off x="4963547" y="1659900"/>
            <a:ext cx="1190433" cy="484632"/>
          </a:xfrm>
          <a:prstGeom prst="homePlate">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72002" defTabSz="914368"/>
            <a:r>
              <a:rPr lang="de-DE" sz="1000">
                <a:solidFill>
                  <a:srgbClr val="003C50"/>
                </a:solidFill>
                <a:latin typeface="Roboto" panose="02000000000000000000" pitchFamily="2" charset="0"/>
                <a:cs typeface="Calibri" panose="020F0502020204030204" pitchFamily="34" charset="0"/>
              </a:rPr>
              <a:t>Gebäude nach BISKO Sektor</a:t>
            </a:r>
            <a:endParaRPr lang="de-DE" sz="1000">
              <a:solidFill>
                <a:srgbClr val="003C50"/>
              </a:solidFill>
              <a:latin typeface="Roboto" panose="02000000000000000000" pitchFamily="2" charset="0"/>
            </a:endParaRPr>
          </a:p>
        </p:txBody>
      </p:sp>
      <p:sp>
        <p:nvSpPr>
          <p:cNvPr id="9" name="Rectangle 8">
            <a:extLst>
              <a:ext uri="{FF2B5EF4-FFF2-40B4-BE49-F238E27FC236}">
                <a16:creationId xmlns:a16="http://schemas.microsoft.com/office/drawing/2014/main" id="{BA5C51C3-CE45-B721-EB51-864C26639532}"/>
              </a:ext>
            </a:extLst>
          </p:cNvPr>
          <p:cNvSpPr/>
          <p:nvPr/>
        </p:nvSpPr>
        <p:spPr bwMode="gray">
          <a:xfrm>
            <a:off x="208027" y="1659902"/>
            <a:ext cx="4620000" cy="2937600"/>
          </a:xfrm>
          <a:prstGeom prst="rect">
            <a:avLst/>
          </a:prstGeom>
          <a:solidFill>
            <a:srgbClr val="F0F2F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3000" tIns="33000" rIns="33000" bIns="33000" rtlCol="0" anchor="ctr">
            <a:noAutofit/>
          </a:bodyPr>
          <a:lstStyle/>
          <a:p>
            <a:pPr algn="ctr"/>
            <a:endParaRPr lang="en-US" sz="1283" err="1">
              <a:solidFill>
                <a:schemeClr val="tx1"/>
              </a:solidFill>
            </a:endParaRPr>
          </a:p>
        </p:txBody>
      </p:sp>
      <p:sp>
        <p:nvSpPr>
          <p:cNvPr id="10" name="Rechteck 26">
            <a:extLst>
              <a:ext uri="{FF2B5EF4-FFF2-40B4-BE49-F238E27FC236}">
                <a16:creationId xmlns:a16="http://schemas.microsoft.com/office/drawing/2014/main" id="{68C55FB3-6B6F-78EB-1AAA-388FCE65C45C}"/>
              </a:ext>
            </a:extLst>
          </p:cNvPr>
          <p:cNvSpPr/>
          <p:nvPr>
            <p:custDataLst>
              <p:tags r:id="rId1"/>
            </p:custDataLst>
          </p:nvPr>
        </p:nvSpPr>
        <p:spPr>
          <a:xfrm>
            <a:off x="208026" y="4705821"/>
            <a:ext cx="1485000" cy="664814"/>
          </a:xfrm>
          <a:prstGeom prst="rect">
            <a:avLst/>
          </a:prstGeom>
          <a:solidFill>
            <a:schemeClr val="bg1"/>
          </a:solidFill>
          <a:ln w="19050" cmpd="sng">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368">
              <a:spcBef>
                <a:spcPct val="30000"/>
              </a:spcBef>
              <a:defRPr/>
            </a:pPr>
            <a:r>
              <a:rPr lang="de-DE" altLang="de-DE" sz="1684" b="1">
                <a:solidFill>
                  <a:schemeClr val="accent1"/>
                </a:solidFill>
                <a:latin typeface="Roboto" panose="02000000000000000000" pitchFamily="2" charset="0"/>
                <a:cs typeface="Times New Roman" panose="02020603050405020304" pitchFamily="18" charset="0"/>
              </a:rPr>
              <a:t>4,27 </a:t>
            </a:r>
            <a:r>
              <a:rPr lang="de-DE" altLang="de-DE" sz="1684">
                <a:solidFill>
                  <a:schemeClr val="accent1"/>
                </a:solidFill>
                <a:latin typeface="Roboto" panose="02000000000000000000" pitchFamily="2" charset="0"/>
                <a:cs typeface="Times New Roman" panose="02020603050405020304" pitchFamily="18" charset="0"/>
              </a:rPr>
              <a:t>km²</a:t>
            </a:r>
          </a:p>
          <a:p>
            <a:pPr algn="ctr" defTabSz="914368">
              <a:spcBef>
                <a:spcPct val="30000"/>
              </a:spcBef>
              <a:defRPr/>
            </a:pPr>
            <a:r>
              <a:rPr lang="de-DE" altLang="de-DE" sz="1000" b="1">
                <a:solidFill>
                  <a:schemeClr val="tx1"/>
                </a:solidFill>
                <a:latin typeface="Roboto" panose="02000000000000000000" pitchFamily="2" charset="0"/>
                <a:cs typeface="Times New Roman" panose="02020603050405020304" pitchFamily="18" charset="0"/>
              </a:rPr>
              <a:t>Gebäudenutzfläche</a:t>
            </a:r>
          </a:p>
        </p:txBody>
      </p:sp>
      <p:sp>
        <p:nvSpPr>
          <p:cNvPr id="11" name="Rechteck 26">
            <a:extLst>
              <a:ext uri="{FF2B5EF4-FFF2-40B4-BE49-F238E27FC236}">
                <a16:creationId xmlns:a16="http://schemas.microsoft.com/office/drawing/2014/main" id="{7CD1C3B1-1F5F-3A3D-A823-DE0ED92DBCBA}"/>
              </a:ext>
            </a:extLst>
          </p:cNvPr>
          <p:cNvSpPr/>
          <p:nvPr>
            <p:custDataLst>
              <p:tags r:id="rId2"/>
            </p:custDataLst>
          </p:nvPr>
        </p:nvSpPr>
        <p:spPr>
          <a:xfrm>
            <a:off x="3343027" y="4705821"/>
            <a:ext cx="1485000" cy="664814"/>
          </a:xfrm>
          <a:prstGeom prst="rect">
            <a:avLst/>
          </a:prstGeom>
          <a:solidFill>
            <a:schemeClr val="bg1"/>
          </a:solidFill>
          <a:ln w="19050" cmpd="sng">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1088438">
              <a:spcBef>
                <a:spcPct val="30000"/>
              </a:spcBef>
              <a:defRPr/>
            </a:pPr>
            <a:r>
              <a:rPr lang="de-DE" altLang="de-DE" sz="1684">
                <a:solidFill>
                  <a:schemeClr val="accent1"/>
                </a:solidFill>
                <a:latin typeface="Roboto" panose="02000000000000000000" pitchFamily="2" charset="0"/>
                <a:cs typeface="Times New Roman" panose="02020603050405020304" pitchFamily="18" charset="0"/>
              </a:rPr>
              <a:t>ca. </a:t>
            </a:r>
            <a:r>
              <a:rPr lang="de-DE" altLang="de-DE" sz="1684" b="1">
                <a:solidFill>
                  <a:schemeClr val="accent1"/>
                </a:solidFill>
                <a:latin typeface="Roboto" panose="02000000000000000000" pitchFamily="2" charset="0"/>
                <a:cs typeface="Times New Roman" panose="02020603050405020304" pitchFamily="18" charset="0"/>
              </a:rPr>
              <a:t>60%</a:t>
            </a:r>
            <a:endParaRPr lang="de-DE" altLang="de-DE" sz="1000" b="1">
              <a:solidFill>
                <a:schemeClr val="accent1"/>
              </a:solidFill>
              <a:latin typeface="Roboto" panose="02000000000000000000" pitchFamily="2" charset="0"/>
              <a:cs typeface="Times New Roman" panose="02020603050405020304" pitchFamily="18" charset="0"/>
            </a:endParaRPr>
          </a:p>
          <a:p>
            <a:pPr algn="ctr" defTabSz="1088438">
              <a:spcBef>
                <a:spcPct val="30000"/>
              </a:spcBef>
              <a:defRPr/>
            </a:pPr>
            <a:r>
              <a:rPr lang="de-DE" altLang="de-DE" sz="1000" b="1">
                <a:solidFill>
                  <a:schemeClr val="tx1"/>
                </a:solidFill>
                <a:latin typeface="Roboto" panose="02000000000000000000" pitchFamily="2" charset="0"/>
                <a:cs typeface="Times New Roman" panose="02020603050405020304" pitchFamily="18" charset="0"/>
              </a:rPr>
              <a:t>Einfamilienhäuser</a:t>
            </a:r>
          </a:p>
        </p:txBody>
      </p:sp>
      <p:sp>
        <p:nvSpPr>
          <p:cNvPr id="12" name="Rechteck 26">
            <a:extLst>
              <a:ext uri="{FF2B5EF4-FFF2-40B4-BE49-F238E27FC236}">
                <a16:creationId xmlns:a16="http://schemas.microsoft.com/office/drawing/2014/main" id="{4E6083A8-660A-5A28-F941-70FB159AA3EB}"/>
              </a:ext>
            </a:extLst>
          </p:cNvPr>
          <p:cNvSpPr/>
          <p:nvPr>
            <p:custDataLst>
              <p:tags r:id="rId3"/>
            </p:custDataLst>
          </p:nvPr>
        </p:nvSpPr>
        <p:spPr>
          <a:xfrm>
            <a:off x="1775527" y="4705821"/>
            <a:ext cx="1485000" cy="664814"/>
          </a:xfrm>
          <a:prstGeom prst="rect">
            <a:avLst/>
          </a:prstGeom>
          <a:solidFill>
            <a:schemeClr val="bg1"/>
          </a:solidFill>
          <a:ln w="19050" cmpd="sng">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1088438">
              <a:spcBef>
                <a:spcPct val="30000"/>
              </a:spcBef>
              <a:defRPr/>
            </a:pPr>
            <a:r>
              <a:rPr lang="de-DE" altLang="de-DE" sz="1684">
                <a:solidFill>
                  <a:schemeClr val="accent1"/>
                </a:solidFill>
                <a:latin typeface="Roboto" panose="02000000000000000000" pitchFamily="2" charset="0"/>
                <a:cs typeface="Times New Roman" panose="02020603050405020304" pitchFamily="18" charset="0"/>
              </a:rPr>
              <a:t>ca.</a:t>
            </a:r>
            <a:r>
              <a:rPr lang="de-DE" altLang="de-DE" sz="1684" b="1">
                <a:solidFill>
                  <a:schemeClr val="accent1"/>
                </a:solidFill>
                <a:latin typeface="Roboto" panose="02000000000000000000" pitchFamily="2" charset="0"/>
                <a:cs typeface="Times New Roman" panose="02020603050405020304" pitchFamily="18" charset="0"/>
              </a:rPr>
              <a:t> 49.000</a:t>
            </a:r>
            <a:endParaRPr lang="de-DE" altLang="de-DE" sz="1000" b="1">
              <a:solidFill>
                <a:schemeClr val="accent1"/>
              </a:solidFill>
              <a:latin typeface="Roboto" panose="02000000000000000000" pitchFamily="2" charset="0"/>
              <a:cs typeface="Times New Roman" panose="02020603050405020304" pitchFamily="18" charset="0"/>
            </a:endParaRPr>
          </a:p>
          <a:p>
            <a:pPr algn="ctr" defTabSz="1088438">
              <a:spcBef>
                <a:spcPct val="30000"/>
              </a:spcBef>
              <a:defRPr/>
            </a:pPr>
            <a:r>
              <a:rPr lang="de-DE" altLang="de-DE" sz="1000" b="1">
                <a:solidFill>
                  <a:schemeClr val="tx1"/>
                </a:solidFill>
                <a:latin typeface="Roboto" panose="02000000000000000000" pitchFamily="2" charset="0"/>
                <a:cs typeface="Times New Roman" panose="02020603050405020304" pitchFamily="18" charset="0"/>
              </a:rPr>
              <a:t>Einwohner</a:t>
            </a:r>
          </a:p>
        </p:txBody>
      </p:sp>
      <p:grpSp>
        <p:nvGrpSpPr>
          <p:cNvPr id="13" name="Group 12">
            <a:extLst>
              <a:ext uri="{FF2B5EF4-FFF2-40B4-BE49-F238E27FC236}">
                <a16:creationId xmlns:a16="http://schemas.microsoft.com/office/drawing/2014/main" id="{FC74EADC-C842-AD3D-EAEC-8E6AE5A997AA}"/>
              </a:ext>
            </a:extLst>
          </p:cNvPr>
          <p:cNvGrpSpPr/>
          <p:nvPr/>
        </p:nvGrpSpPr>
        <p:grpSpPr>
          <a:xfrm>
            <a:off x="208026" y="988816"/>
            <a:ext cx="4620000" cy="548690"/>
            <a:chOff x="208026" y="988816"/>
            <a:chExt cx="4620000" cy="548690"/>
          </a:xfrm>
        </p:grpSpPr>
        <p:sp>
          <p:nvSpPr>
            <p:cNvPr id="14" name="Rechteck 26">
              <a:extLst>
                <a:ext uri="{FF2B5EF4-FFF2-40B4-BE49-F238E27FC236}">
                  <a16:creationId xmlns:a16="http://schemas.microsoft.com/office/drawing/2014/main" id="{4205CCE6-EC24-4365-6DB1-0B6ED3E11F67}"/>
                </a:ext>
              </a:extLst>
            </p:cNvPr>
            <p:cNvSpPr/>
            <p:nvPr>
              <p:custDataLst>
                <p:tags r:id="rId8"/>
              </p:custDataLst>
            </p:nvPr>
          </p:nvSpPr>
          <p:spPr>
            <a:xfrm>
              <a:off x="208026" y="990000"/>
              <a:ext cx="4620000" cy="543319"/>
            </a:xfrm>
            <a:prstGeom prst="rect">
              <a:avLst/>
            </a:prstGeom>
            <a:solidFill>
              <a:schemeClr val="accent6">
                <a:lumMod val="40000"/>
                <a:lumOff val="60000"/>
              </a:schemeClr>
            </a:solidFill>
            <a:ln w="9525" cmpd="sng">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368">
                <a:spcBef>
                  <a:spcPct val="30000"/>
                </a:spcBef>
                <a:defRPr/>
              </a:pPr>
              <a:endParaRPr lang="de-DE" altLang="de-DE" sz="1600" b="1">
                <a:solidFill>
                  <a:srgbClr val="003C50"/>
                </a:solidFill>
                <a:latin typeface="Roboto" panose="02000000000000000000" pitchFamily="2" charset="0"/>
                <a:cs typeface="Times New Roman" panose="02020603050405020304" pitchFamily="18" charset="0"/>
              </a:endParaRPr>
            </a:p>
          </p:txBody>
        </p:sp>
        <p:grpSp>
          <p:nvGrpSpPr>
            <p:cNvPr id="15" name="Group 14">
              <a:extLst>
                <a:ext uri="{FF2B5EF4-FFF2-40B4-BE49-F238E27FC236}">
                  <a16:creationId xmlns:a16="http://schemas.microsoft.com/office/drawing/2014/main" id="{BE9B9197-4723-F175-4C06-3D6850BCB290}"/>
                </a:ext>
              </a:extLst>
            </p:cNvPr>
            <p:cNvGrpSpPr>
              <a:grpSpLocks noChangeAspect="1"/>
            </p:cNvGrpSpPr>
            <p:nvPr>
              <p:custDataLst>
                <p:tags r:id="rId9"/>
              </p:custDataLst>
            </p:nvPr>
          </p:nvGrpSpPr>
          <p:grpSpPr>
            <a:xfrm>
              <a:off x="261678" y="994186"/>
              <a:ext cx="543319" cy="543320"/>
              <a:chOff x="1270000" y="1270000"/>
              <a:chExt cx="889000" cy="889002"/>
            </a:xfrm>
          </p:grpSpPr>
          <p:sp>
            <p:nvSpPr>
              <p:cNvPr id="17" name="Rectangle 16" hidden="1">
                <a:extLst>
                  <a:ext uri="{FF2B5EF4-FFF2-40B4-BE49-F238E27FC236}">
                    <a16:creationId xmlns:a16="http://schemas.microsoft.com/office/drawing/2014/main" id="{CCB36554-4DF4-9509-E85A-DC3EC53F975C}"/>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err="1">
                  <a:solidFill>
                    <a:srgbClr val="003C50"/>
                  </a:solidFill>
                  <a:latin typeface="Roboto"/>
                </a:endParaRPr>
              </a:p>
            </p:txBody>
          </p:sp>
          <p:pic>
            <p:nvPicPr>
              <p:cNvPr id="18" name="Graphic 17">
                <a:extLst>
                  <a:ext uri="{FF2B5EF4-FFF2-40B4-BE49-F238E27FC236}">
                    <a16:creationId xmlns:a16="http://schemas.microsoft.com/office/drawing/2014/main" id="{5974F22D-4EBF-0BFB-E2C4-3904A2A766A3}"/>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70000" y="1270002"/>
                <a:ext cx="889000" cy="889000"/>
              </a:xfrm>
              <a:prstGeom prst="rect">
                <a:avLst/>
              </a:prstGeom>
            </p:spPr>
          </p:pic>
        </p:grpSp>
        <p:sp>
          <p:nvSpPr>
            <p:cNvPr id="16" name="TextBox 15">
              <a:extLst>
                <a:ext uri="{FF2B5EF4-FFF2-40B4-BE49-F238E27FC236}">
                  <a16:creationId xmlns:a16="http://schemas.microsoft.com/office/drawing/2014/main" id="{1B6FC552-54AA-B24C-0BF3-090704635E79}"/>
                </a:ext>
              </a:extLst>
            </p:cNvPr>
            <p:cNvSpPr txBox="1"/>
            <p:nvPr/>
          </p:nvSpPr>
          <p:spPr>
            <a:xfrm>
              <a:off x="1152525" y="988816"/>
              <a:ext cx="3675501" cy="544500"/>
            </a:xfrm>
            <a:prstGeom prst="rect">
              <a:avLst/>
            </a:prstGeom>
            <a:noFill/>
          </p:spPr>
          <p:txBody>
            <a:bodyPr wrap="square" lIns="0" tIns="0" rIns="0" bIns="0" rtlCol="0" anchor="ctr">
              <a:noAutofit/>
            </a:bodyPr>
            <a:lstStyle/>
            <a:p>
              <a:r>
                <a:rPr lang="de-DE" altLang="de-DE" sz="1600" b="1">
                  <a:solidFill>
                    <a:srgbClr val="003C50"/>
                  </a:solidFill>
                  <a:latin typeface="Roboto" panose="02000000000000000000" pitchFamily="2" charset="0"/>
                  <a:cs typeface="Times New Roman" panose="02020603050405020304" pitchFamily="18" charset="0"/>
                </a:rPr>
                <a:t>Überblick Gebäudenutzung</a:t>
              </a:r>
            </a:p>
          </p:txBody>
        </p:sp>
      </p:grpSp>
      <p:grpSp>
        <p:nvGrpSpPr>
          <p:cNvPr id="19" name="Group 18">
            <a:extLst>
              <a:ext uri="{FF2B5EF4-FFF2-40B4-BE49-F238E27FC236}">
                <a16:creationId xmlns:a16="http://schemas.microsoft.com/office/drawing/2014/main" id="{90054EB6-1EC1-E7EF-4F31-6ED2A4BB11EF}"/>
              </a:ext>
            </a:extLst>
          </p:cNvPr>
          <p:cNvGrpSpPr/>
          <p:nvPr/>
        </p:nvGrpSpPr>
        <p:grpSpPr>
          <a:xfrm>
            <a:off x="4963547" y="985076"/>
            <a:ext cx="4620000" cy="548243"/>
            <a:chOff x="4963547" y="985076"/>
            <a:chExt cx="4620000" cy="548243"/>
          </a:xfrm>
        </p:grpSpPr>
        <p:sp>
          <p:nvSpPr>
            <p:cNvPr id="20" name="Rechteck 26">
              <a:extLst>
                <a:ext uri="{FF2B5EF4-FFF2-40B4-BE49-F238E27FC236}">
                  <a16:creationId xmlns:a16="http://schemas.microsoft.com/office/drawing/2014/main" id="{E7D91F16-CD8E-649D-F0B8-F18934105A3C}"/>
                </a:ext>
              </a:extLst>
            </p:cNvPr>
            <p:cNvSpPr/>
            <p:nvPr>
              <p:custDataLst>
                <p:tags r:id="rId5"/>
              </p:custDataLst>
            </p:nvPr>
          </p:nvSpPr>
          <p:spPr>
            <a:xfrm>
              <a:off x="4963547" y="985076"/>
              <a:ext cx="4620000" cy="544500"/>
            </a:xfrm>
            <a:prstGeom prst="rect">
              <a:avLst/>
            </a:prstGeom>
            <a:solidFill>
              <a:schemeClr val="accent6">
                <a:lumMod val="40000"/>
                <a:lumOff val="60000"/>
              </a:schemeClr>
            </a:solidFill>
            <a:ln w="9525" cmpd="sng">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368">
                <a:spcBef>
                  <a:spcPct val="30000"/>
                </a:spcBef>
                <a:defRPr/>
              </a:pPr>
              <a:endParaRPr lang="de-DE" altLang="de-DE" sz="1600" b="1">
                <a:solidFill>
                  <a:srgbClr val="003C50"/>
                </a:solidFill>
                <a:latin typeface="Roboto" panose="02000000000000000000" pitchFamily="2" charset="0"/>
                <a:cs typeface="Times New Roman" panose="02020603050405020304" pitchFamily="18" charset="0"/>
              </a:endParaRPr>
            </a:p>
          </p:txBody>
        </p:sp>
        <p:grpSp>
          <p:nvGrpSpPr>
            <p:cNvPr id="21" name="Group 20">
              <a:extLst>
                <a:ext uri="{FF2B5EF4-FFF2-40B4-BE49-F238E27FC236}">
                  <a16:creationId xmlns:a16="http://schemas.microsoft.com/office/drawing/2014/main" id="{0BCB4824-AD48-FD40-475C-3A8B13093719}"/>
                </a:ext>
              </a:extLst>
            </p:cNvPr>
            <p:cNvGrpSpPr/>
            <p:nvPr/>
          </p:nvGrpSpPr>
          <p:grpSpPr>
            <a:xfrm>
              <a:off x="5008527" y="990000"/>
              <a:ext cx="543319" cy="543319"/>
              <a:chOff x="5365489" y="1537107"/>
              <a:chExt cx="592712" cy="592712"/>
            </a:xfrm>
          </p:grpSpPr>
          <p:grpSp>
            <p:nvGrpSpPr>
              <p:cNvPr id="23" name="Group 22">
                <a:extLst>
                  <a:ext uri="{FF2B5EF4-FFF2-40B4-BE49-F238E27FC236}">
                    <a16:creationId xmlns:a16="http://schemas.microsoft.com/office/drawing/2014/main" id="{A68CA254-23E8-7C62-DC7C-F6A523E84A5F}"/>
                  </a:ext>
                </a:extLst>
              </p:cNvPr>
              <p:cNvGrpSpPr>
                <a:grpSpLocks noChangeAspect="1"/>
              </p:cNvGrpSpPr>
              <p:nvPr>
                <p:custDataLst>
                  <p:tags r:id="rId6"/>
                </p:custDataLst>
              </p:nvPr>
            </p:nvGrpSpPr>
            <p:grpSpPr>
              <a:xfrm>
                <a:off x="5365489" y="1537107"/>
                <a:ext cx="592712" cy="592712"/>
                <a:chOff x="1270000" y="1270000"/>
                <a:chExt cx="889000" cy="889000"/>
              </a:xfrm>
              <a:solidFill>
                <a:schemeClr val="accent6">
                  <a:lumMod val="20000"/>
                  <a:lumOff val="80000"/>
                </a:schemeClr>
              </a:solidFill>
            </p:grpSpPr>
            <p:sp>
              <p:nvSpPr>
                <p:cNvPr id="27" name="Rectangle 26" hidden="1">
                  <a:extLst>
                    <a:ext uri="{FF2B5EF4-FFF2-40B4-BE49-F238E27FC236}">
                      <a16:creationId xmlns:a16="http://schemas.microsoft.com/office/drawing/2014/main" id="{B0B1BA39-B2BD-DFEC-9C2B-1CE7D518833E}"/>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a:solidFill>
                      <a:srgbClr val="003C50"/>
                    </a:solidFill>
                    <a:latin typeface="Roboto"/>
                  </a:endParaRPr>
                </a:p>
              </p:txBody>
            </p:sp>
            <p:pic>
              <p:nvPicPr>
                <p:cNvPr id="28" name="Graphic 27">
                  <a:extLst>
                    <a:ext uri="{FF2B5EF4-FFF2-40B4-BE49-F238E27FC236}">
                      <a16:creationId xmlns:a16="http://schemas.microsoft.com/office/drawing/2014/main" id="{B42C2AB3-E571-12FF-4C69-3C8A0AF3F806}"/>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270000" y="1270000"/>
                  <a:ext cx="889000" cy="889000"/>
                </a:xfrm>
                <a:prstGeom prst="rect">
                  <a:avLst/>
                </a:prstGeom>
              </p:spPr>
            </p:pic>
          </p:grpSp>
          <p:grpSp>
            <p:nvGrpSpPr>
              <p:cNvPr id="24" name="Group 23">
                <a:extLst>
                  <a:ext uri="{FF2B5EF4-FFF2-40B4-BE49-F238E27FC236}">
                    <a16:creationId xmlns:a16="http://schemas.microsoft.com/office/drawing/2014/main" id="{3B27AE47-F8B3-2929-42A4-5272D0B70DA3}"/>
                  </a:ext>
                </a:extLst>
              </p:cNvPr>
              <p:cNvGrpSpPr>
                <a:grpSpLocks noChangeAspect="1"/>
              </p:cNvGrpSpPr>
              <p:nvPr>
                <p:custDataLst>
                  <p:tags r:id="rId7"/>
                </p:custDataLst>
              </p:nvPr>
            </p:nvGrpSpPr>
            <p:grpSpPr>
              <a:xfrm>
                <a:off x="5401367" y="1572985"/>
                <a:ext cx="520956" cy="520956"/>
                <a:chOff x="1270000" y="1270000"/>
                <a:chExt cx="889000" cy="889000"/>
              </a:xfrm>
            </p:grpSpPr>
            <p:sp>
              <p:nvSpPr>
                <p:cNvPr id="25" name="Rectangle 24" hidden="1">
                  <a:extLst>
                    <a:ext uri="{FF2B5EF4-FFF2-40B4-BE49-F238E27FC236}">
                      <a16:creationId xmlns:a16="http://schemas.microsoft.com/office/drawing/2014/main" id="{75F86C13-011C-F873-8873-49EAD78FED1F}"/>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err="1">
                    <a:solidFill>
                      <a:srgbClr val="003C50"/>
                    </a:solidFill>
                    <a:latin typeface="Roboto"/>
                  </a:endParaRPr>
                </a:p>
              </p:txBody>
            </p:sp>
            <p:pic>
              <p:nvPicPr>
                <p:cNvPr id="26" name="Graphic 25">
                  <a:extLst>
                    <a:ext uri="{FF2B5EF4-FFF2-40B4-BE49-F238E27FC236}">
                      <a16:creationId xmlns:a16="http://schemas.microsoft.com/office/drawing/2014/main" id="{A2177770-8114-4955-B4CC-5D534CC97F50}"/>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270000" y="1270000"/>
                  <a:ext cx="889000" cy="889000"/>
                </a:xfrm>
                <a:prstGeom prst="rect">
                  <a:avLst/>
                </a:prstGeom>
              </p:spPr>
            </p:pic>
          </p:grpSp>
        </p:grpSp>
        <p:sp>
          <p:nvSpPr>
            <p:cNvPr id="22" name="TextBox 21">
              <a:extLst>
                <a:ext uri="{FF2B5EF4-FFF2-40B4-BE49-F238E27FC236}">
                  <a16:creationId xmlns:a16="http://schemas.microsoft.com/office/drawing/2014/main" id="{3F49D454-7B81-C481-8468-1B0C03B8F9DF}"/>
                </a:ext>
              </a:extLst>
            </p:cNvPr>
            <p:cNvSpPr txBox="1"/>
            <p:nvPr/>
          </p:nvSpPr>
          <p:spPr>
            <a:xfrm>
              <a:off x="5908046" y="985076"/>
              <a:ext cx="3675501" cy="544500"/>
            </a:xfrm>
            <a:prstGeom prst="rect">
              <a:avLst/>
            </a:prstGeom>
            <a:noFill/>
          </p:spPr>
          <p:txBody>
            <a:bodyPr wrap="square" lIns="0" tIns="0" rIns="0" bIns="0" rtlCol="0" anchor="ctr">
              <a:noAutofit/>
            </a:bodyPr>
            <a:lstStyle/>
            <a:p>
              <a:r>
                <a:rPr lang="de-DE" altLang="de-DE" sz="1600" b="1">
                  <a:solidFill>
                    <a:srgbClr val="003C50"/>
                  </a:solidFill>
                  <a:latin typeface="Roboto" panose="02000000000000000000" pitchFamily="2" charset="0"/>
                  <a:cs typeface="Times New Roman" panose="02020603050405020304" pitchFamily="18" charset="0"/>
                </a:rPr>
                <a:t>Angaben zur Siedlungsstruktur</a:t>
              </a:r>
            </a:p>
          </p:txBody>
        </p:sp>
      </p:grpSp>
      <p:pic>
        <p:nvPicPr>
          <p:cNvPr id="33" name="Picture 2">
            <a:extLst>
              <a:ext uri="{FF2B5EF4-FFF2-40B4-BE49-F238E27FC236}">
                <a16:creationId xmlns:a16="http://schemas.microsoft.com/office/drawing/2014/main" id="{08862C03-D9A1-4575-CF83-58B7703BB21E}"/>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7964264" y="1646990"/>
            <a:ext cx="1861901" cy="1865196"/>
          </a:xfrm>
          <a:prstGeom prst="rect">
            <a:avLst/>
          </a:prstGeom>
          <a:noFill/>
          <a:extLst>
            <a:ext uri="{909E8E84-426E-40DD-AFC4-6F175D3DCCD1}">
              <a14:hiddenFill xmlns:a14="http://schemas.microsoft.com/office/drawing/2010/main">
                <a:solidFill>
                  <a:srgbClr val="FFFFFF"/>
                </a:solidFill>
              </a14:hiddenFill>
            </a:ext>
          </a:extLst>
        </p:spPr>
      </p:pic>
      <p:grpSp>
        <p:nvGrpSpPr>
          <p:cNvPr id="5" name="THM_bar">
            <a:extLst>
              <a:ext uri="{FF2B5EF4-FFF2-40B4-BE49-F238E27FC236}">
                <a16:creationId xmlns:a16="http://schemas.microsoft.com/office/drawing/2014/main" id="{F4DA0270-BD47-15EB-4C68-6A9E5CF26F5A}"/>
              </a:ext>
            </a:extLst>
          </p:cNvPr>
          <p:cNvGrpSpPr/>
          <p:nvPr>
            <p:custDataLst>
              <p:tags r:id="rId4"/>
            </p:custDataLst>
          </p:nvPr>
        </p:nvGrpSpPr>
        <p:grpSpPr>
          <a:xfrm>
            <a:off x="208026" y="5549074"/>
            <a:ext cx="9372600" cy="482593"/>
            <a:chOff x="208026" y="5549074"/>
            <a:chExt cx="9372600" cy="482593"/>
          </a:xfrm>
        </p:grpSpPr>
        <p:sp>
          <p:nvSpPr>
            <p:cNvPr id="34" name="THM_bar_background">
              <a:extLst>
                <a:ext uri="{FF2B5EF4-FFF2-40B4-BE49-F238E27FC236}">
                  <a16:creationId xmlns:a16="http://schemas.microsoft.com/office/drawing/2014/main" id="{8D077C0A-351F-5A33-9BF4-C5FF44E45ED4}"/>
                </a:ext>
              </a:extLst>
            </p:cNvPr>
            <p:cNvSpPr/>
            <p:nvPr/>
          </p:nvSpPr>
          <p:spPr bwMode="gray">
            <a:xfrm>
              <a:off x="208026" y="5563608"/>
              <a:ext cx="9372600" cy="468059"/>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45" tIns="0" rIns="144018" bIns="0" rtlCol="0" anchor="ctr">
              <a:noAutofit/>
            </a:bodyPr>
            <a:lstStyle/>
            <a:p>
              <a:r>
                <a:rPr lang="de-DE" sz="1400">
                  <a:solidFill>
                    <a:srgbClr val="003C50"/>
                  </a:solidFill>
                  <a:latin typeface="Roboto" panose="02000000000000000000" pitchFamily="2" charset="0"/>
                </a:rPr>
                <a:t>~89 % der Gebäude sind private Haushalte – viele davon älter als 1980</a:t>
              </a:r>
              <a:endParaRPr lang="de-DE" sz="1400">
                <a:solidFill>
                  <a:schemeClr val="tx1"/>
                </a:solidFill>
                <a:latin typeface="Roboto" panose="02000000000000000000" pitchFamily="2" charset="0"/>
              </a:endParaRPr>
            </a:p>
          </p:txBody>
        </p:sp>
        <p:grpSp>
          <p:nvGrpSpPr>
            <p:cNvPr id="35" name="thm_triangle_i52819">
              <a:extLst>
                <a:ext uri="{FF2B5EF4-FFF2-40B4-BE49-F238E27FC236}">
                  <a16:creationId xmlns:a16="http://schemas.microsoft.com/office/drawing/2014/main" id="{918A3DC8-305D-9E2F-C0C3-C415FDE673F9}"/>
                </a:ext>
              </a:extLst>
            </p:cNvPr>
            <p:cNvGrpSpPr/>
            <p:nvPr/>
          </p:nvGrpSpPr>
          <p:grpSpPr>
            <a:xfrm>
              <a:off x="208026" y="5549074"/>
              <a:ext cx="234029" cy="468058"/>
              <a:chOff x="117014" y="-117014"/>
              <a:chExt cx="234029" cy="468058"/>
            </a:xfrm>
          </p:grpSpPr>
          <p:sp>
            <p:nvSpPr>
              <p:cNvPr id="36" name="box">
                <a:extLst>
                  <a:ext uri="{FF2B5EF4-FFF2-40B4-BE49-F238E27FC236}">
                    <a16:creationId xmlns:a16="http://schemas.microsoft.com/office/drawing/2014/main" id="{D55480BF-7683-91A1-BB1B-21721633062C}"/>
                  </a:ext>
                </a:extLst>
              </p:cNvPr>
              <p:cNvSpPr/>
              <p:nvPr/>
            </p:nvSpPr>
            <p:spPr bwMode="white">
              <a:xfrm rot="16200000">
                <a:off x="-117015" y="117015"/>
                <a:ext cx="468058" cy="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37" name="triangle_1">
                <a:extLst>
                  <a:ext uri="{FF2B5EF4-FFF2-40B4-BE49-F238E27FC236}">
                    <a16:creationId xmlns:a16="http://schemas.microsoft.com/office/drawing/2014/main" id="{5D25BA76-6761-5E0B-D720-DB1A4EBD5A6A}"/>
                  </a:ext>
                </a:extLst>
              </p:cNvPr>
              <p:cNvSpPr/>
              <p:nvPr/>
            </p:nvSpPr>
            <p:spPr bwMode="white">
              <a:xfrm rot="5400000">
                <a:off x="0" y="0"/>
                <a:ext cx="468058" cy="234029"/>
              </a:xfrm>
              <a:prstGeom prst="triangle">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38" name="triangle_2">
                <a:extLst>
                  <a:ext uri="{FF2B5EF4-FFF2-40B4-BE49-F238E27FC236}">
                    <a16:creationId xmlns:a16="http://schemas.microsoft.com/office/drawing/2014/main" id="{E46E7DBD-B027-46ED-BD0D-B4A1F29A805F}"/>
                  </a:ext>
                </a:extLst>
              </p:cNvPr>
              <p:cNvSpPr/>
              <p:nvPr/>
            </p:nvSpPr>
            <p:spPr bwMode="gray">
              <a:xfrm rot="5400000">
                <a:off x="0" y="0"/>
                <a:ext cx="468058" cy="234029"/>
              </a:xfrm>
              <a:prstGeom prst="triangl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grpSp>
      </p:grpSp>
      <p:pic>
        <p:nvPicPr>
          <p:cNvPr id="39" name="Picture Placeholder 6" descr="sectors_rheda_wiedenbrueck.png">
            <a:extLst>
              <a:ext uri="{FF2B5EF4-FFF2-40B4-BE49-F238E27FC236}">
                <a16:creationId xmlns:a16="http://schemas.microsoft.com/office/drawing/2014/main" id="{0D00F55C-A1AC-1034-A878-8D48CADB465B}"/>
              </a:ext>
            </a:extLst>
          </p:cNvPr>
          <p:cNvPicPr>
            <a:picLocks noChangeAspect="1"/>
          </p:cNvPicPr>
          <p:nvPr/>
        </p:nvPicPr>
        <p:blipFill>
          <a:blip r:embed="rId20" cstate="screen">
            <a:extLst>
              <a:ext uri="{28A0092B-C50C-407E-A947-70E740481C1C}">
                <a14:useLocalDpi xmlns:a14="http://schemas.microsoft.com/office/drawing/2010/main"/>
              </a:ext>
            </a:extLst>
          </a:blip>
          <a:srcRect/>
          <a:stretch>
            <a:fillRect/>
          </a:stretch>
        </p:blipFill>
        <p:spPr>
          <a:xfrm>
            <a:off x="918609" y="1679586"/>
            <a:ext cx="3209707" cy="2917915"/>
          </a:xfrm>
          <a:prstGeom prst="rect">
            <a:avLst/>
          </a:prstGeom>
        </p:spPr>
      </p:pic>
      <p:pic>
        <p:nvPicPr>
          <p:cNvPr id="42" name="Picture Placeholder 5" descr="sectors_Rheda_Wiedenbrueck.png">
            <a:extLst>
              <a:ext uri="{FF2B5EF4-FFF2-40B4-BE49-F238E27FC236}">
                <a16:creationId xmlns:a16="http://schemas.microsoft.com/office/drawing/2014/main" id="{0CE25D2F-9E1B-6499-054F-FF7522B09D95}"/>
              </a:ext>
            </a:extLst>
          </p:cNvPr>
          <p:cNvPicPr>
            <a:picLocks noChangeAspect="1"/>
          </p:cNvPicPr>
          <p:nvPr/>
        </p:nvPicPr>
        <p:blipFill>
          <a:blip r:embed="rId21" cstate="screen">
            <a:extLst>
              <a:ext uri="{28A0092B-C50C-407E-A947-70E740481C1C}">
                <a14:useLocalDpi xmlns:a14="http://schemas.microsoft.com/office/drawing/2010/main"/>
              </a:ext>
            </a:extLst>
          </a:blip>
          <a:srcRect/>
          <a:stretch>
            <a:fillRect/>
          </a:stretch>
        </p:blipFill>
        <p:spPr>
          <a:xfrm>
            <a:off x="6074831" y="1602629"/>
            <a:ext cx="2124008" cy="1965035"/>
          </a:xfrm>
          <a:prstGeom prst="rect">
            <a:avLst/>
          </a:prstGeom>
        </p:spPr>
      </p:pic>
      <p:sp>
        <p:nvSpPr>
          <p:cNvPr id="29" name="Footer Placeholder 28">
            <a:extLst>
              <a:ext uri="{FF2B5EF4-FFF2-40B4-BE49-F238E27FC236}">
                <a16:creationId xmlns:a16="http://schemas.microsoft.com/office/drawing/2014/main" id="{9A16E282-425D-9500-DD5A-556420C69D92}"/>
              </a:ext>
            </a:extLst>
          </p:cNvPr>
          <p:cNvSpPr>
            <a:spLocks noGrp="1"/>
          </p:cNvSpPr>
          <p:nvPr>
            <p:ph type="ftr" sz="quarter" idx="12"/>
          </p:nvPr>
        </p:nvSpPr>
        <p:spPr/>
        <p:txBody>
          <a:bodyPr/>
          <a:lstStyle/>
          <a:p>
            <a:r>
              <a:rPr lang="de-DE"/>
              <a:t>© 2026</a:t>
            </a:r>
          </a:p>
          <a:p>
            <a:r>
              <a:rPr lang="de-DE"/>
              <a:t>d-fine</a:t>
            </a:r>
          </a:p>
        </p:txBody>
      </p:sp>
      <p:sp>
        <p:nvSpPr>
          <p:cNvPr id="30" name="Slide Number Placeholder 29">
            <a:extLst>
              <a:ext uri="{FF2B5EF4-FFF2-40B4-BE49-F238E27FC236}">
                <a16:creationId xmlns:a16="http://schemas.microsoft.com/office/drawing/2014/main" id="{44AFC4B0-EFC7-FC46-8135-A852A3F4C7C9}"/>
              </a:ext>
            </a:extLst>
          </p:cNvPr>
          <p:cNvSpPr>
            <a:spLocks noGrp="1"/>
          </p:cNvSpPr>
          <p:nvPr>
            <p:ph type="sldNum" sz="quarter" idx="11"/>
          </p:nvPr>
        </p:nvSpPr>
        <p:spPr/>
        <p:txBody>
          <a:bodyPr/>
          <a:lstStyle/>
          <a:p>
            <a:endParaRPr lang="de-DE"/>
          </a:p>
          <a:p>
            <a:fld id="{24C420F5-194C-40F2-A080-C5F3EDD89037}" type="slidenum">
              <a:rPr lang="de-DE" smtClean="0"/>
              <a:pPr/>
              <a:t>33</a:t>
            </a:fld>
            <a:endParaRPr lang="de-DE"/>
          </a:p>
        </p:txBody>
      </p:sp>
    </p:spTree>
    <p:extLst>
      <p:ext uri="{BB962C8B-B14F-4D97-AF65-F5344CB8AC3E}">
        <p14:creationId xmlns:p14="http://schemas.microsoft.com/office/powerpoint/2010/main" val="24979777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15" descr="energy_carriers_Rheda_Wiedenbrueck.png">
            <a:extLst>
              <a:ext uri="{FF2B5EF4-FFF2-40B4-BE49-F238E27FC236}">
                <a16:creationId xmlns:a16="http://schemas.microsoft.com/office/drawing/2014/main" id="{1F82DE47-7B3C-D13B-ACB7-B3956A6950BF}"/>
              </a:ext>
            </a:extLst>
          </p:cNvPr>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a:xfrm>
            <a:off x="5805736" y="1579954"/>
            <a:ext cx="2735273" cy="1960734"/>
          </a:xfrm>
          <a:prstGeom prst="rect">
            <a:avLst/>
          </a:prstGeom>
        </p:spPr>
      </p:pic>
      <p:sp>
        <p:nvSpPr>
          <p:cNvPr id="3" name="Title 2">
            <a:extLst>
              <a:ext uri="{FF2B5EF4-FFF2-40B4-BE49-F238E27FC236}">
                <a16:creationId xmlns:a16="http://schemas.microsoft.com/office/drawing/2014/main" id="{B1754C65-76B6-ED09-6A3C-52A006D30654}"/>
              </a:ext>
            </a:extLst>
          </p:cNvPr>
          <p:cNvSpPr>
            <a:spLocks noGrp="1"/>
          </p:cNvSpPr>
          <p:nvPr>
            <p:ph type="title"/>
          </p:nvPr>
        </p:nvSpPr>
        <p:spPr/>
        <p:txBody>
          <a:bodyPr/>
          <a:lstStyle/>
          <a:p>
            <a:r>
              <a:rPr lang="de-DE" b="1">
                <a:latin typeface="Roboto" panose="02000000000000000000" pitchFamily="2" charset="0"/>
              </a:rPr>
              <a:t>Ergebnisse der Kommunalen Wärmeplanung - Bestandsanalyse</a:t>
            </a:r>
            <a:br>
              <a:rPr lang="de-DE" b="1">
                <a:latin typeface="Roboto" panose="02000000000000000000" pitchFamily="2" charset="0"/>
              </a:rPr>
            </a:br>
            <a:r>
              <a:rPr lang="de-DE">
                <a:latin typeface="Roboto" panose="02000000000000000000" pitchFamily="2" charset="0"/>
              </a:rPr>
              <a:t>Wie viel Wärme benötigt Rheda-Wiedenbrück?</a:t>
            </a:r>
            <a:endParaRPr lang="de-DE"/>
          </a:p>
        </p:txBody>
      </p:sp>
      <p:sp>
        <p:nvSpPr>
          <p:cNvPr id="7" name="Content Placeholder 3">
            <a:extLst>
              <a:ext uri="{FF2B5EF4-FFF2-40B4-BE49-F238E27FC236}">
                <a16:creationId xmlns:a16="http://schemas.microsoft.com/office/drawing/2014/main" id="{905B6B22-EDE0-6D96-235D-C2584A97DF76}"/>
              </a:ext>
            </a:extLst>
          </p:cNvPr>
          <p:cNvSpPr txBox="1">
            <a:spLocks/>
          </p:cNvSpPr>
          <p:nvPr/>
        </p:nvSpPr>
        <p:spPr>
          <a:xfrm>
            <a:off x="208025" y="5332512"/>
            <a:ext cx="9372600" cy="123111"/>
          </a:xfrm>
          <a:prstGeom prst="rect">
            <a:avLst/>
          </a:prstGeom>
          <a:ln w="12700" cap="rnd">
            <a:noFill/>
            <a:prstDash val="solid"/>
          </a:ln>
        </p:spPr>
        <p:style>
          <a:lnRef idx="1">
            <a:schemeClr val="accent1"/>
          </a:lnRef>
          <a:fillRef idx="0">
            <a:schemeClr val="accent1"/>
          </a:fillRef>
          <a:effectRef idx="0">
            <a:schemeClr val="accent1"/>
          </a:effectRef>
          <a:fontRef idx="minor">
            <a:schemeClr val="tx1"/>
          </a:fontRef>
        </p:style>
        <p:txBody>
          <a:bodyPr lIns="0" tIns="0" rIns="0" bIns="0" anchor="t" anchorCtr="0">
            <a:spAutoFit/>
          </a:bodyPr>
          <a:lstStyle>
            <a:lvl1pPr algn="l" rtl="0" eaLnBrk="1" fontAlgn="base" hangingPunct="1">
              <a:spcBef>
                <a:spcPct val="20000"/>
              </a:spcBef>
              <a:spcAft>
                <a:spcPct val="0"/>
              </a:spcAft>
              <a:defRPr sz="1400">
                <a:solidFill>
                  <a:schemeClr val="tx1"/>
                </a:solidFill>
                <a:latin typeface="+mn-lt"/>
                <a:ea typeface="+mn-ea"/>
                <a:cs typeface="+mn-cs"/>
              </a:defRPr>
            </a:lvl1pPr>
            <a:lvl2pPr marL="381000" indent="-190500" algn="l" rtl="0" eaLnBrk="1" fontAlgn="base" hangingPunct="1">
              <a:spcBef>
                <a:spcPct val="20000"/>
              </a:spcBef>
              <a:spcAft>
                <a:spcPct val="0"/>
              </a:spcAft>
              <a:buFont typeface="Wingdings" pitchFamily="84" charset="2"/>
              <a:buChar char="§"/>
              <a:defRPr sz="1400">
                <a:solidFill>
                  <a:schemeClr val="tx1"/>
                </a:solidFill>
                <a:latin typeface="+mn-lt"/>
              </a:defRPr>
            </a:lvl2pPr>
            <a:lvl3pPr marL="747713" indent="-176213" algn="l" rtl="0" eaLnBrk="1" fontAlgn="base" hangingPunct="1">
              <a:spcBef>
                <a:spcPct val="20000"/>
              </a:spcBef>
              <a:spcAft>
                <a:spcPct val="0"/>
              </a:spcAft>
              <a:buChar char="-"/>
              <a:defRPr sz="1200">
                <a:solidFill>
                  <a:schemeClr val="tx1"/>
                </a:solidFill>
                <a:latin typeface="+mn-lt"/>
              </a:defRPr>
            </a:lvl3pPr>
            <a:lvl4pPr marL="1125538" indent="-187325" algn="l" rtl="0" eaLnBrk="1" fontAlgn="base" hangingPunct="1">
              <a:spcBef>
                <a:spcPct val="20000"/>
              </a:spcBef>
              <a:spcAft>
                <a:spcPct val="0"/>
              </a:spcAft>
              <a:buFont typeface="Times" pitchFamily="84" charset="0"/>
              <a:buChar char="•"/>
              <a:defRPr sz="1000">
                <a:solidFill>
                  <a:schemeClr val="tx1"/>
                </a:solidFill>
                <a:latin typeface="+mn-lt"/>
              </a:defRPr>
            </a:lvl4pPr>
            <a:lvl5pPr marL="1431925" indent="-115888" algn="l" rtl="0" eaLnBrk="1" fontAlgn="base" hangingPunct="1">
              <a:spcBef>
                <a:spcPct val="20000"/>
              </a:spcBef>
              <a:spcAft>
                <a:spcPct val="0"/>
              </a:spcAft>
              <a:buChar char="•"/>
              <a:defRPr sz="1000">
                <a:solidFill>
                  <a:schemeClr val="tx1"/>
                </a:solidFill>
                <a:latin typeface="+mn-lt"/>
              </a:defRPr>
            </a:lvl5pPr>
            <a:lvl6pPr marL="1889125" indent="-115888" algn="l" rtl="0" eaLnBrk="1" fontAlgn="base" hangingPunct="1">
              <a:spcBef>
                <a:spcPct val="20000"/>
              </a:spcBef>
              <a:spcAft>
                <a:spcPct val="0"/>
              </a:spcAft>
              <a:buChar char="•"/>
              <a:defRPr sz="1000">
                <a:solidFill>
                  <a:schemeClr val="tx1"/>
                </a:solidFill>
                <a:latin typeface="+mn-lt"/>
              </a:defRPr>
            </a:lvl6pPr>
            <a:lvl7pPr marL="2346325" indent="-115888" algn="l" rtl="0" eaLnBrk="1" fontAlgn="base" hangingPunct="1">
              <a:spcBef>
                <a:spcPct val="20000"/>
              </a:spcBef>
              <a:spcAft>
                <a:spcPct val="0"/>
              </a:spcAft>
              <a:buChar char="•"/>
              <a:defRPr sz="1000">
                <a:solidFill>
                  <a:schemeClr val="tx1"/>
                </a:solidFill>
                <a:latin typeface="+mn-lt"/>
              </a:defRPr>
            </a:lvl7pPr>
            <a:lvl8pPr marL="2803525" indent="-115888" algn="l" rtl="0" eaLnBrk="1" fontAlgn="base" hangingPunct="1">
              <a:spcBef>
                <a:spcPct val="20000"/>
              </a:spcBef>
              <a:spcAft>
                <a:spcPct val="0"/>
              </a:spcAft>
              <a:buChar char="•"/>
              <a:defRPr sz="1000">
                <a:solidFill>
                  <a:schemeClr val="tx1"/>
                </a:solidFill>
                <a:latin typeface="+mn-lt"/>
              </a:defRPr>
            </a:lvl8pPr>
            <a:lvl9pPr marL="3260725" indent="-115888" algn="l" rtl="0" eaLnBrk="1" fontAlgn="base" hangingPunct="1">
              <a:spcBef>
                <a:spcPct val="20000"/>
              </a:spcBef>
              <a:spcAft>
                <a:spcPct val="0"/>
              </a:spcAft>
              <a:buChar char="•"/>
              <a:defRPr sz="1000">
                <a:solidFill>
                  <a:schemeClr val="tx1"/>
                </a:solidFill>
                <a:latin typeface="+mn-lt"/>
              </a:defRPr>
            </a:lvl9pPr>
          </a:lstStyle>
          <a:p>
            <a:pPr defTabSz="914368"/>
            <a:r>
              <a:rPr lang="de-DE" sz="800" i="1">
                <a:solidFill>
                  <a:srgbClr val="F07D00"/>
                </a:solidFill>
                <a:latin typeface="Roboto" panose="02000000000000000000" pitchFamily="2" charset="0"/>
              </a:rPr>
              <a:t>Anmerkung: </a:t>
            </a:r>
            <a:r>
              <a:rPr lang="de-DE" sz="800">
                <a:solidFill>
                  <a:srgbClr val="003C50"/>
                </a:solidFill>
                <a:latin typeface="Roboto" panose="02000000000000000000" pitchFamily="2" charset="0"/>
              </a:rPr>
              <a:t>Hohe Wärmenachfrage mehr als 120 kWh/m</a:t>
            </a:r>
            <a:r>
              <a:rPr lang="de-DE" sz="800" baseline="30000">
                <a:solidFill>
                  <a:srgbClr val="003C50"/>
                </a:solidFill>
                <a:latin typeface="Roboto" panose="02000000000000000000" pitchFamily="2" charset="0"/>
              </a:rPr>
              <a:t>2</a:t>
            </a:r>
            <a:r>
              <a:rPr lang="de-DE" sz="800">
                <a:solidFill>
                  <a:srgbClr val="003C50"/>
                </a:solidFill>
                <a:latin typeface="Roboto" panose="02000000000000000000" pitchFamily="2" charset="0"/>
              </a:rPr>
              <a:t>a | Mittlere Wärmenachfrage 75 kWh/m</a:t>
            </a:r>
            <a:r>
              <a:rPr lang="de-DE" sz="800" baseline="30000">
                <a:solidFill>
                  <a:srgbClr val="003C50"/>
                </a:solidFill>
                <a:latin typeface="Roboto" panose="02000000000000000000" pitchFamily="2" charset="0"/>
              </a:rPr>
              <a:t>2</a:t>
            </a:r>
            <a:r>
              <a:rPr lang="de-DE" sz="800">
                <a:solidFill>
                  <a:srgbClr val="003C50"/>
                </a:solidFill>
                <a:latin typeface="Roboto" panose="02000000000000000000" pitchFamily="2" charset="0"/>
              </a:rPr>
              <a:t>a bis 120 kWh/m²a | Niedrige Wärmenachfrage weniger als 75 kWh/m</a:t>
            </a:r>
            <a:r>
              <a:rPr lang="de-DE" sz="800" baseline="30000">
                <a:solidFill>
                  <a:srgbClr val="003C50"/>
                </a:solidFill>
                <a:latin typeface="Roboto" panose="02000000000000000000" pitchFamily="2" charset="0"/>
              </a:rPr>
              <a:t>2</a:t>
            </a:r>
            <a:r>
              <a:rPr lang="de-DE" sz="800">
                <a:solidFill>
                  <a:srgbClr val="003C50"/>
                </a:solidFill>
                <a:latin typeface="Roboto" panose="02000000000000000000" pitchFamily="2" charset="0"/>
              </a:rPr>
              <a:t>a</a:t>
            </a:r>
          </a:p>
        </p:txBody>
      </p:sp>
      <p:sp>
        <p:nvSpPr>
          <p:cNvPr id="8" name="Rectangle 7">
            <a:extLst>
              <a:ext uri="{FF2B5EF4-FFF2-40B4-BE49-F238E27FC236}">
                <a16:creationId xmlns:a16="http://schemas.microsoft.com/office/drawing/2014/main" id="{FF83023A-91A6-3349-F9F1-6FC582B2D7E1}"/>
              </a:ext>
            </a:extLst>
          </p:cNvPr>
          <p:cNvSpPr/>
          <p:nvPr/>
        </p:nvSpPr>
        <p:spPr bwMode="gray">
          <a:xfrm>
            <a:off x="208027" y="1660884"/>
            <a:ext cx="4620000" cy="2935633"/>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3000" tIns="33000" rIns="33000" bIns="33000" rtlCol="0" anchor="ctr">
            <a:noAutofit/>
          </a:bodyPr>
          <a:lstStyle/>
          <a:p>
            <a:pPr algn="ctr"/>
            <a:endParaRPr lang="en-US" sz="1283" err="1">
              <a:solidFill>
                <a:schemeClr val="tx1"/>
              </a:solidFill>
            </a:endParaRPr>
          </a:p>
        </p:txBody>
      </p:sp>
      <p:sp>
        <p:nvSpPr>
          <p:cNvPr id="9" name="Rechteck 26">
            <a:extLst>
              <a:ext uri="{FF2B5EF4-FFF2-40B4-BE49-F238E27FC236}">
                <a16:creationId xmlns:a16="http://schemas.microsoft.com/office/drawing/2014/main" id="{434200F0-8D5B-1BF6-8C60-48A643C6D95A}"/>
              </a:ext>
            </a:extLst>
          </p:cNvPr>
          <p:cNvSpPr/>
          <p:nvPr>
            <p:custDataLst>
              <p:tags r:id="rId1"/>
            </p:custDataLst>
          </p:nvPr>
        </p:nvSpPr>
        <p:spPr>
          <a:xfrm>
            <a:off x="208026" y="4713376"/>
            <a:ext cx="4620000" cy="555659"/>
          </a:xfrm>
          <a:prstGeom prst="rect">
            <a:avLst/>
          </a:prstGeom>
          <a:solidFill>
            <a:schemeClr val="bg1"/>
          </a:solidFill>
          <a:ln w="19050" cmpd="sng">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368">
              <a:spcBef>
                <a:spcPct val="30000"/>
              </a:spcBef>
              <a:defRPr/>
            </a:pPr>
            <a:r>
              <a:rPr lang="de-DE" altLang="de-DE" sz="1684" b="1">
                <a:solidFill>
                  <a:schemeClr val="accent1"/>
                </a:solidFill>
                <a:latin typeface="Roboto" panose="02000000000000000000" pitchFamily="2" charset="0"/>
                <a:cs typeface="Times New Roman" panose="02020603050405020304" pitchFamily="18" charset="0"/>
              </a:rPr>
              <a:t>254,9 </a:t>
            </a:r>
            <a:r>
              <a:rPr lang="de-DE" altLang="de-DE" sz="1684">
                <a:solidFill>
                  <a:schemeClr val="accent1"/>
                </a:solidFill>
                <a:latin typeface="Roboto" panose="02000000000000000000" pitchFamily="2" charset="0"/>
                <a:cs typeface="Times New Roman" panose="02020603050405020304" pitchFamily="18" charset="0"/>
              </a:rPr>
              <a:t>kt pro Jahr</a:t>
            </a:r>
            <a:endParaRPr lang="de-DE" altLang="de-DE" sz="1684">
              <a:solidFill>
                <a:srgbClr val="003C50"/>
              </a:solidFill>
              <a:latin typeface="Roboto" panose="02000000000000000000" pitchFamily="2" charset="0"/>
              <a:cs typeface="Times New Roman" panose="02020603050405020304" pitchFamily="18" charset="0"/>
            </a:endParaRPr>
          </a:p>
          <a:p>
            <a:pPr algn="ctr" defTabSz="914368">
              <a:spcBef>
                <a:spcPct val="30000"/>
              </a:spcBef>
              <a:defRPr/>
            </a:pPr>
            <a:r>
              <a:rPr lang="de-DE" altLang="de-DE" sz="1000" b="1">
                <a:solidFill>
                  <a:srgbClr val="003C50"/>
                </a:solidFill>
                <a:latin typeface="Roboto" panose="02000000000000000000" pitchFamily="2" charset="0"/>
                <a:cs typeface="Times New Roman" panose="02020603050405020304" pitchFamily="18" charset="0"/>
              </a:rPr>
              <a:t>CO</a:t>
            </a:r>
            <a:r>
              <a:rPr lang="de-DE" altLang="de-DE" sz="1000" b="1" baseline="-25000">
                <a:solidFill>
                  <a:srgbClr val="003C50"/>
                </a:solidFill>
                <a:latin typeface="Roboto" panose="02000000000000000000" pitchFamily="2" charset="0"/>
                <a:cs typeface="Times New Roman" panose="02020603050405020304" pitchFamily="18" charset="0"/>
              </a:rPr>
              <a:t>2</a:t>
            </a:r>
            <a:r>
              <a:rPr lang="de-DE" altLang="de-DE" sz="1000" b="1">
                <a:solidFill>
                  <a:srgbClr val="003C50"/>
                </a:solidFill>
                <a:latin typeface="Roboto" panose="02000000000000000000" pitchFamily="2" charset="0"/>
                <a:cs typeface="Times New Roman" panose="02020603050405020304" pitchFamily="18" charset="0"/>
              </a:rPr>
              <a:t>-Emissionen der Wärmeversorgung 2025</a:t>
            </a:r>
            <a:endParaRPr lang="de-DE" altLang="de-DE" sz="1000" b="1">
              <a:solidFill>
                <a:schemeClr val="accent1"/>
              </a:solidFill>
              <a:latin typeface="Roboto" panose="02000000000000000000" pitchFamily="2" charset="0"/>
              <a:cs typeface="Times New Roman" panose="02020603050405020304" pitchFamily="18" charset="0"/>
            </a:endParaRPr>
          </a:p>
        </p:txBody>
      </p:sp>
      <p:grpSp>
        <p:nvGrpSpPr>
          <p:cNvPr id="11" name="Group 10">
            <a:extLst>
              <a:ext uri="{FF2B5EF4-FFF2-40B4-BE49-F238E27FC236}">
                <a16:creationId xmlns:a16="http://schemas.microsoft.com/office/drawing/2014/main" id="{A98B6555-164A-8C95-D184-43F08E49ACBD}"/>
              </a:ext>
            </a:extLst>
          </p:cNvPr>
          <p:cNvGrpSpPr/>
          <p:nvPr/>
        </p:nvGrpSpPr>
        <p:grpSpPr>
          <a:xfrm>
            <a:off x="3485196" y="2346062"/>
            <a:ext cx="2573999" cy="365101"/>
            <a:chOff x="234802" y="5160764"/>
            <a:chExt cx="2807999" cy="398292"/>
          </a:xfrm>
        </p:grpSpPr>
        <p:sp>
          <p:nvSpPr>
            <p:cNvPr id="18" name="Rectangle: Rounded Corners 17">
              <a:extLst>
                <a:ext uri="{FF2B5EF4-FFF2-40B4-BE49-F238E27FC236}">
                  <a16:creationId xmlns:a16="http://schemas.microsoft.com/office/drawing/2014/main" id="{F3F169F5-767C-FAEC-F9CD-44F3BA31E25C}"/>
                </a:ext>
              </a:extLst>
            </p:cNvPr>
            <p:cNvSpPr/>
            <p:nvPr/>
          </p:nvSpPr>
          <p:spPr bwMode="gray">
            <a:xfrm>
              <a:off x="234802" y="5197911"/>
              <a:ext cx="324000" cy="324000"/>
            </a:xfrm>
            <a:prstGeom prst="roundRect">
              <a:avLst/>
            </a:prstGeom>
            <a:solidFill>
              <a:srgbClr val="F68D6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999">
                <a:solidFill>
                  <a:srgbClr val="003C50"/>
                </a:solidFill>
                <a:latin typeface="Roboto"/>
              </a:endParaRPr>
            </a:p>
          </p:txBody>
        </p:sp>
        <p:sp>
          <p:nvSpPr>
            <p:cNvPr id="19" name="box_text">
              <a:extLst>
                <a:ext uri="{FF2B5EF4-FFF2-40B4-BE49-F238E27FC236}">
                  <a16:creationId xmlns:a16="http://schemas.microsoft.com/office/drawing/2014/main" id="{9DF65C45-17E7-6EA8-7860-3D9652EE7FBE}"/>
                </a:ext>
              </a:extLst>
            </p:cNvPr>
            <p:cNvSpPr/>
            <p:nvPr/>
          </p:nvSpPr>
          <p:spPr bwMode="gray">
            <a:xfrm>
              <a:off x="594801" y="5160764"/>
              <a:ext cx="2448000" cy="398292"/>
            </a:xfrm>
            <a:prstGeom prst="rect">
              <a:avLst/>
            </a:prstGeom>
            <a:noFill/>
            <a:ln w="9525">
              <a:no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33000" tIns="36005" rIns="36005" bIns="36005" rtlCol="0" anchor="ctr">
              <a:sp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defTabSz="914368"/>
              <a:r>
                <a:rPr lang="de-DE" sz="950">
                  <a:solidFill>
                    <a:srgbClr val="003C50"/>
                  </a:solidFill>
                  <a:latin typeface="Roboto" panose="02000000000000000000" pitchFamily="2" charset="0"/>
                </a:rPr>
                <a:t>Hohe </a:t>
              </a:r>
              <a:br>
                <a:rPr lang="de-DE" sz="950">
                  <a:solidFill>
                    <a:srgbClr val="003C50"/>
                  </a:solidFill>
                  <a:latin typeface="Roboto" panose="02000000000000000000" pitchFamily="2" charset="0"/>
                </a:rPr>
              </a:br>
              <a:r>
                <a:rPr lang="de-DE" sz="950">
                  <a:solidFill>
                    <a:srgbClr val="003C50"/>
                  </a:solidFill>
                  <a:latin typeface="Roboto" panose="02000000000000000000" pitchFamily="2" charset="0"/>
                </a:rPr>
                <a:t>Wärmenachfrage</a:t>
              </a:r>
            </a:p>
          </p:txBody>
        </p:sp>
      </p:grpSp>
      <p:grpSp>
        <p:nvGrpSpPr>
          <p:cNvPr id="12" name="Group 11">
            <a:extLst>
              <a:ext uri="{FF2B5EF4-FFF2-40B4-BE49-F238E27FC236}">
                <a16:creationId xmlns:a16="http://schemas.microsoft.com/office/drawing/2014/main" id="{CEE6664A-1034-D352-AE27-CB910C4B9B9D}"/>
              </a:ext>
            </a:extLst>
          </p:cNvPr>
          <p:cNvGrpSpPr/>
          <p:nvPr/>
        </p:nvGrpSpPr>
        <p:grpSpPr>
          <a:xfrm>
            <a:off x="3489709" y="2803627"/>
            <a:ext cx="1353000" cy="365101"/>
            <a:chOff x="234802" y="5610764"/>
            <a:chExt cx="1476000" cy="398292"/>
          </a:xfrm>
        </p:grpSpPr>
        <p:sp>
          <p:nvSpPr>
            <p:cNvPr id="16" name="Rectangle: Rounded Corners 15">
              <a:extLst>
                <a:ext uri="{FF2B5EF4-FFF2-40B4-BE49-F238E27FC236}">
                  <a16:creationId xmlns:a16="http://schemas.microsoft.com/office/drawing/2014/main" id="{4153A3FE-6EDB-D7EF-BDA2-089B94A46E2F}"/>
                </a:ext>
              </a:extLst>
            </p:cNvPr>
            <p:cNvSpPr/>
            <p:nvPr/>
          </p:nvSpPr>
          <p:spPr bwMode="gray">
            <a:xfrm>
              <a:off x="234802" y="5647911"/>
              <a:ext cx="324000" cy="324000"/>
            </a:xfrm>
            <a:prstGeom prst="roundRect">
              <a:avLst/>
            </a:prstGeom>
            <a:solidFill>
              <a:srgbClr val="F6CD6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999" err="1">
                <a:solidFill>
                  <a:srgbClr val="003C50"/>
                </a:solidFill>
                <a:latin typeface="Roboto"/>
              </a:endParaRPr>
            </a:p>
          </p:txBody>
        </p:sp>
        <p:sp>
          <p:nvSpPr>
            <p:cNvPr id="17" name="box_text">
              <a:extLst>
                <a:ext uri="{FF2B5EF4-FFF2-40B4-BE49-F238E27FC236}">
                  <a16:creationId xmlns:a16="http://schemas.microsoft.com/office/drawing/2014/main" id="{3E030643-CD31-108D-FBCF-191B160F954D}"/>
                </a:ext>
              </a:extLst>
            </p:cNvPr>
            <p:cNvSpPr/>
            <p:nvPr/>
          </p:nvSpPr>
          <p:spPr bwMode="gray">
            <a:xfrm>
              <a:off x="594802" y="5610764"/>
              <a:ext cx="1116000" cy="398292"/>
            </a:xfrm>
            <a:prstGeom prst="rect">
              <a:avLst/>
            </a:prstGeom>
            <a:noFill/>
            <a:ln w="9525">
              <a:no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33000" tIns="36005" rIns="36005" bIns="36005" rtlCol="0" anchor="ctr">
              <a:sp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defTabSz="914368"/>
              <a:r>
                <a:rPr lang="de-DE" sz="950">
                  <a:solidFill>
                    <a:srgbClr val="003C50"/>
                  </a:solidFill>
                  <a:latin typeface="Roboto" panose="02000000000000000000" pitchFamily="2" charset="0"/>
                </a:rPr>
                <a:t>Mittlere </a:t>
              </a:r>
              <a:br>
                <a:rPr lang="de-DE" sz="950">
                  <a:solidFill>
                    <a:srgbClr val="003C50"/>
                  </a:solidFill>
                  <a:latin typeface="Roboto" panose="02000000000000000000" pitchFamily="2" charset="0"/>
                </a:rPr>
              </a:br>
              <a:r>
                <a:rPr lang="de-DE" sz="950">
                  <a:solidFill>
                    <a:srgbClr val="003C50"/>
                  </a:solidFill>
                  <a:latin typeface="Roboto" panose="02000000000000000000" pitchFamily="2" charset="0"/>
                </a:rPr>
                <a:t>Wärmenachfrage</a:t>
              </a:r>
            </a:p>
          </p:txBody>
        </p:sp>
      </p:grpSp>
      <p:grpSp>
        <p:nvGrpSpPr>
          <p:cNvPr id="13" name="Group 12">
            <a:extLst>
              <a:ext uri="{FF2B5EF4-FFF2-40B4-BE49-F238E27FC236}">
                <a16:creationId xmlns:a16="http://schemas.microsoft.com/office/drawing/2014/main" id="{763A75C4-A6C5-F467-0CE9-35CCC730956F}"/>
              </a:ext>
            </a:extLst>
          </p:cNvPr>
          <p:cNvGrpSpPr/>
          <p:nvPr/>
        </p:nvGrpSpPr>
        <p:grpSpPr>
          <a:xfrm>
            <a:off x="3489709" y="3261193"/>
            <a:ext cx="1353000" cy="365101"/>
            <a:chOff x="234802" y="6060764"/>
            <a:chExt cx="1476000" cy="398292"/>
          </a:xfrm>
        </p:grpSpPr>
        <p:sp>
          <p:nvSpPr>
            <p:cNvPr id="14" name="Rectangle: Rounded Corners 13">
              <a:extLst>
                <a:ext uri="{FF2B5EF4-FFF2-40B4-BE49-F238E27FC236}">
                  <a16:creationId xmlns:a16="http://schemas.microsoft.com/office/drawing/2014/main" id="{8A99F9A8-A25C-9C1C-EDC1-905352D7806A}"/>
                </a:ext>
              </a:extLst>
            </p:cNvPr>
            <p:cNvSpPr/>
            <p:nvPr/>
          </p:nvSpPr>
          <p:spPr bwMode="gray">
            <a:xfrm>
              <a:off x="234802" y="6097911"/>
              <a:ext cx="324000" cy="324000"/>
            </a:xfrm>
            <a:prstGeom prst="roundRect">
              <a:avLst/>
            </a:prstGeom>
            <a:solidFill>
              <a:srgbClr val="FFFFB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999">
                <a:solidFill>
                  <a:srgbClr val="003C50"/>
                </a:solidFill>
                <a:latin typeface="Roboto"/>
              </a:endParaRPr>
            </a:p>
          </p:txBody>
        </p:sp>
        <p:sp>
          <p:nvSpPr>
            <p:cNvPr id="15" name="box_text">
              <a:extLst>
                <a:ext uri="{FF2B5EF4-FFF2-40B4-BE49-F238E27FC236}">
                  <a16:creationId xmlns:a16="http://schemas.microsoft.com/office/drawing/2014/main" id="{3C435D5C-BEBF-6011-E6EB-1C34487D88E8}"/>
                </a:ext>
              </a:extLst>
            </p:cNvPr>
            <p:cNvSpPr/>
            <p:nvPr/>
          </p:nvSpPr>
          <p:spPr bwMode="gray">
            <a:xfrm>
              <a:off x="594802" y="6060764"/>
              <a:ext cx="1116000" cy="398292"/>
            </a:xfrm>
            <a:prstGeom prst="rect">
              <a:avLst/>
            </a:prstGeom>
            <a:noFill/>
            <a:ln w="9525">
              <a:no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33000" tIns="36005" rIns="0" bIns="36005" rtlCol="0" anchor="ctr">
              <a:sp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defTabSz="914368"/>
              <a:r>
                <a:rPr lang="de-DE" sz="950">
                  <a:solidFill>
                    <a:srgbClr val="003C50"/>
                  </a:solidFill>
                  <a:latin typeface="Roboto" panose="02000000000000000000" pitchFamily="2" charset="0"/>
                </a:rPr>
                <a:t>Niedrige </a:t>
              </a:r>
              <a:br>
                <a:rPr lang="de-DE" sz="950">
                  <a:solidFill>
                    <a:srgbClr val="003C50"/>
                  </a:solidFill>
                  <a:latin typeface="Roboto" panose="02000000000000000000" pitchFamily="2" charset="0"/>
                </a:rPr>
              </a:br>
              <a:r>
                <a:rPr lang="de-DE" sz="950">
                  <a:solidFill>
                    <a:srgbClr val="003C50"/>
                  </a:solidFill>
                  <a:latin typeface="Roboto" panose="02000000000000000000" pitchFamily="2" charset="0"/>
                </a:rPr>
                <a:t>Wärmenachfrage</a:t>
              </a:r>
            </a:p>
          </p:txBody>
        </p:sp>
      </p:grpSp>
      <p:sp>
        <p:nvSpPr>
          <p:cNvPr id="20" name="Arrow: Pentagon 19">
            <a:extLst>
              <a:ext uri="{FF2B5EF4-FFF2-40B4-BE49-F238E27FC236}">
                <a16:creationId xmlns:a16="http://schemas.microsoft.com/office/drawing/2014/main" id="{5D9255D9-DA7B-D968-828D-F10B3F5F5F22}"/>
              </a:ext>
            </a:extLst>
          </p:cNvPr>
          <p:cNvSpPr/>
          <p:nvPr/>
        </p:nvSpPr>
        <p:spPr bwMode="gray">
          <a:xfrm>
            <a:off x="4963547" y="3757887"/>
            <a:ext cx="1190433" cy="484632"/>
          </a:xfrm>
          <a:prstGeom prst="homePlate">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72002" defTabSz="914368"/>
            <a:r>
              <a:rPr lang="de-DE" sz="1000">
                <a:solidFill>
                  <a:srgbClr val="003C50"/>
                </a:solidFill>
                <a:latin typeface="Roboto" panose="02000000000000000000" pitchFamily="2" charset="0"/>
                <a:cs typeface="Calibri" panose="020F0502020204030204" pitchFamily="34" charset="0"/>
              </a:rPr>
              <a:t>nach Energie-nachfrage</a:t>
            </a:r>
            <a:endParaRPr lang="de-DE" sz="1100">
              <a:solidFill>
                <a:srgbClr val="003C50"/>
              </a:solidFill>
              <a:latin typeface="Roboto" panose="02000000000000000000" pitchFamily="2" charset="0"/>
            </a:endParaRPr>
          </a:p>
        </p:txBody>
      </p:sp>
      <p:sp>
        <p:nvSpPr>
          <p:cNvPr id="21" name="Arrow: Pentagon 20">
            <a:extLst>
              <a:ext uri="{FF2B5EF4-FFF2-40B4-BE49-F238E27FC236}">
                <a16:creationId xmlns:a16="http://schemas.microsoft.com/office/drawing/2014/main" id="{97977401-AEF8-F4E2-C753-E9C449C835C5}"/>
              </a:ext>
            </a:extLst>
          </p:cNvPr>
          <p:cNvSpPr/>
          <p:nvPr/>
        </p:nvSpPr>
        <p:spPr bwMode="gray">
          <a:xfrm>
            <a:off x="4963547" y="1659899"/>
            <a:ext cx="1190433" cy="484632"/>
          </a:xfrm>
          <a:prstGeom prst="homePlate">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72002" defTabSz="914368"/>
            <a:r>
              <a:rPr lang="de-DE" sz="1000">
                <a:solidFill>
                  <a:srgbClr val="003C50"/>
                </a:solidFill>
                <a:latin typeface="Roboto" panose="02000000000000000000" pitchFamily="2" charset="0"/>
                <a:cs typeface="Calibri" panose="020F0502020204030204" pitchFamily="34" charset="0"/>
              </a:rPr>
              <a:t>nach Gebäuden</a:t>
            </a:r>
            <a:endParaRPr lang="de-DE" sz="1000">
              <a:solidFill>
                <a:srgbClr val="003C50"/>
              </a:solidFill>
              <a:latin typeface="Roboto" panose="02000000000000000000" pitchFamily="2" charset="0"/>
            </a:endParaRPr>
          </a:p>
        </p:txBody>
      </p:sp>
      <p:sp>
        <p:nvSpPr>
          <p:cNvPr id="22" name="Rectangle 21">
            <a:extLst>
              <a:ext uri="{FF2B5EF4-FFF2-40B4-BE49-F238E27FC236}">
                <a16:creationId xmlns:a16="http://schemas.microsoft.com/office/drawing/2014/main" id="{8E913F89-501A-27E1-CE31-5C3B0F0A46B3}"/>
              </a:ext>
            </a:extLst>
          </p:cNvPr>
          <p:cNvSpPr/>
          <p:nvPr/>
        </p:nvSpPr>
        <p:spPr bwMode="gray">
          <a:xfrm>
            <a:off x="8291614" y="3075161"/>
            <a:ext cx="1238137" cy="1524466"/>
          </a:xfrm>
          <a:prstGeom prst="rect">
            <a:avLst/>
          </a:prstGeom>
          <a:solidFill>
            <a:srgbClr val="FFFFF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3000" tIns="33000" rIns="33000" bIns="33000" rtlCol="0" anchor="ctr">
            <a:noAutofit/>
          </a:bodyPr>
          <a:lstStyle/>
          <a:p>
            <a:pPr algn="ctr"/>
            <a:endParaRPr lang="de-DE" sz="1283">
              <a:solidFill>
                <a:schemeClr val="tx1"/>
              </a:solidFill>
            </a:endParaRPr>
          </a:p>
        </p:txBody>
      </p:sp>
      <p:grpSp>
        <p:nvGrpSpPr>
          <p:cNvPr id="27" name="Group 26">
            <a:extLst>
              <a:ext uri="{FF2B5EF4-FFF2-40B4-BE49-F238E27FC236}">
                <a16:creationId xmlns:a16="http://schemas.microsoft.com/office/drawing/2014/main" id="{F307B34E-25C8-3ABD-CBFD-335D5ABA344F}"/>
              </a:ext>
            </a:extLst>
          </p:cNvPr>
          <p:cNvGrpSpPr/>
          <p:nvPr/>
        </p:nvGrpSpPr>
        <p:grpSpPr>
          <a:xfrm>
            <a:off x="208027" y="988816"/>
            <a:ext cx="4620000" cy="544503"/>
            <a:chOff x="208027" y="988816"/>
            <a:chExt cx="4620000" cy="544503"/>
          </a:xfrm>
        </p:grpSpPr>
        <p:grpSp>
          <p:nvGrpSpPr>
            <p:cNvPr id="28" name="Group 27">
              <a:extLst>
                <a:ext uri="{FF2B5EF4-FFF2-40B4-BE49-F238E27FC236}">
                  <a16:creationId xmlns:a16="http://schemas.microsoft.com/office/drawing/2014/main" id="{C61344C3-F455-3D41-5C60-D2DDE6755C7C}"/>
                </a:ext>
              </a:extLst>
            </p:cNvPr>
            <p:cNvGrpSpPr/>
            <p:nvPr/>
          </p:nvGrpSpPr>
          <p:grpSpPr>
            <a:xfrm>
              <a:off x="208027" y="990000"/>
              <a:ext cx="4620000" cy="543319"/>
              <a:chOff x="226938" y="1537108"/>
              <a:chExt cx="5040000" cy="592712"/>
            </a:xfrm>
          </p:grpSpPr>
          <p:sp>
            <p:nvSpPr>
              <p:cNvPr id="30" name="Rechteck 26">
                <a:extLst>
                  <a:ext uri="{FF2B5EF4-FFF2-40B4-BE49-F238E27FC236}">
                    <a16:creationId xmlns:a16="http://schemas.microsoft.com/office/drawing/2014/main" id="{27464549-8E6D-04F6-3199-59DEB9629BD5}"/>
                  </a:ext>
                </a:extLst>
              </p:cNvPr>
              <p:cNvSpPr/>
              <p:nvPr>
                <p:custDataLst>
                  <p:tags r:id="rId5"/>
                </p:custDataLst>
              </p:nvPr>
            </p:nvSpPr>
            <p:spPr>
              <a:xfrm>
                <a:off x="226938" y="1537108"/>
                <a:ext cx="5040000" cy="592712"/>
              </a:xfrm>
              <a:prstGeom prst="rect">
                <a:avLst/>
              </a:prstGeom>
              <a:solidFill>
                <a:schemeClr val="accent6">
                  <a:lumMod val="40000"/>
                  <a:lumOff val="60000"/>
                </a:schemeClr>
              </a:solidFill>
              <a:ln w="9525" cmpd="sng">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368">
                  <a:spcBef>
                    <a:spcPct val="30000"/>
                  </a:spcBef>
                  <a:defRPr/>
                </a:pPr>
                <a:endParaRPr lang="de-DE" altLang="de-DE" sz="1600" b="1">
                  <a:solidFill>
                    <a:srgbClr val="003C50"/>
                  </a:solidFill>
                  <a:latin typeface="Roboto" panose="02000000000000000000" pitchFamily="2" charset="0"/>
                  <a:cs typeface="Times New Roman" panose="02020603050405020304" pitchFamily="18" charset="0"/>
                </a:endParaRPr>
              </a:p>
            </p:txBody>
          </p:sp>
          <p:grpSp>
            <p:nvGrpSpPr>
              <p:cNvPr id="31" name="Group 30">
                <a:extLst>
                  <a:ext uri="{FF2B5EF4-FFF2-40B4-BE49-F238E27FC236}">
                    <a16:creationId xmlns:a16="http://schemas.microsoft.com/office/drawing/2014/main" id="{C9D0C859-6CA0-14BA-AD2F-7BB1BF60370E}"/>
                  </a:ext>
                </a:extLst>
              </p:cNvPr>
              <p:cNvGrpSpPr>
                <a:grpSpLocks noChangeAspect="1"/>
              </p:cNvGrpSpPr>
              <p:nvPr>
                <p:custDataLst>
                  <p:tags r:id="rId6"/>
                </p:custDataLst>
              </p:nvPr>
            </p:nvGrpSpPr>
            <p:grpSpPr>
              <a:xfrm>
                <a:off x="234801" y="1579268"/>
                <a:ext cx="515955" cy="515955"/>
                <a:chOff x="1270000" y="1270000"/>
                <a:chExt cx="889000" cy="889000"/>
              </a:xfrm>
            </p:grpSpPr>
            <p:sp>
              <p:nvSpPr>
                <p:cNvPr id="32" name="Rectangle 31" hidden="1">
                  <a:extLst>
                    <a:ext uri="{FF2B5EF4-FFF2-40B4-BE49-F238E27FC236}">
                      <a16:creationId xmlns:a16="http://schemas.microsoft.com/office/drawing/2014/main" id="{7FFB2365-FB31-7573-E5FB-0643ACADB267}"/>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a:solidFill>
                      <a:srgbClr val="003C50"/>
                    </a:solidFill>
                    <a:latin typeface="Roboto"/>
                  </a:endParaRPr>
                </a:p>
              </p:txBody>
            </p:sp>
            <p:pic>
              <p:nvPicPr>
                <p:cNvPr id="33" name="Graphic 32">
                  <a:extLst>
                    <a:ext uri="{FF2B5EF4-FFF2-40B4-BE49-F238E27FC236}">
                      <a16:creationId xmlns:a16="http://schemas.microsoft.com/office/drawing/2014/main" id="{6049B083-C54D-56C1-34FE-7E4558C8D08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70000" y="1270000"/>
                  <a:ext cx="889000" cy="889000"/>
                </a:xfrm>
                <a:prstGeom prst="rect">
                  <a:avLst/>
                </a:prstGeom>
              </p:spPr>
            </p:pic>
          </p:grpSp>
        </p:grpSp>
        <p:sp>
          <p:nvSpPr>
            <p:cNvPr id="29" name="TextBox 28">
              <a:extLst>
                <a:ext uri="{FF2B5EF4-FFF2-40B4-BE49-F238E27FC236}">
                  <a16:creationId xmlns:a16="http://schemas.microsoft.com/office/drawing/2014/main" id="{20044330-5E2D-66BF-9F07-E5C3C281D0CA}"/>
                </a:ext>
              </a:extLst>
            </p:cNvPr>
            <p:cNvSpPr txBox="1"/>
            <p:nvPr/>
          </p:nvSpPr>
          <p:spPr>
            <a:xfrm>
              <a:off x="1152525" y="988816"/>
              <a:ext cx="3675501" cy="544500"/>
            </a:xfrm>
            <a:prstGeom prst="rect">
              <a:avLst/>
            </a:prstGeom>
            <a:noFill/>
          </p:spPr>
          <p:txBody>
            <a:bodyPr wrap="square" lIns="0" tIns="0" rIns="0" bIns="0" rtlCol="0" anchor="ctr">
              <a:noAutofit/>
            </a:bodyPr>
            <a:lstStyle/>
            <a:p>
              <a:r>
                <a:rPr lang="de-DE" altLang="de-DE" sz="1600" b="1">
                  <a:solidFill>
                    <a:srgbClr val="003C50"/>
                  </a:solidFill>
                  <a:latin typeface="Roboto" panose="02000000000000000000" pitchFamily="2" charset="0"/>
                  <a:cs typeface="Times New Roman" panose="02020603050405020304" pitchFamily="18" charset="0"/>
                </a:rPr>
                <a:t>Überblick Wärmenachfrage</a:t>
              </a:r>
            </a:p>
          </p:txBody>
        </p:sp>
      </p:grpSp>
      <p:grpSp>
        <p:nvGrpSpPr>
          <p:cNvPr id="34" name="Group 33">
            <a:extLst>
              <a:ext uri="{FF2B5EF4-FFF2-40B4-BE49-F238E27FC236}">
                <a16:creationId xmlns:a16="http://schemas.microsoft.com/office/drawing/2014/main" id="{00DC20C0-E302-6643-0B42-58E2363A2C3B}"/>
              </a:ext>
            </a:extLst>
          </p:cNvPr>
          <p:cNvGrpSpPr/>
          <p:nvPr/>
        </p:nvGrpSpPr>
        <p:grpSpPr>
          <a:xfrm>
            <a:off x="4963547" y="985076"/>
            <a:ext cx="4620000" cy="544500"/>
            <a:chOff x="4963547" y="985076"/>
            <a:chExt cx="4620000" cy="544500"/>
          </a:xfrm>
        </p:grpSpPr>
        <p:sp>
          <p:nvSpPr>
            <p:cNvPr id="35" name="Rechteck 26">
              <a:extLst>
                <a:ext uri="{FF2B5EF4-FFF2-40B4-BE49-F238E27FC236}">
                  <a16:creationId xmlns:a16="http://schemas.microsoft.com/office/drawing/2014/main" id="{060CF4A5-D5FE-319D-37DF-263318DBA0C0}"/>
                </a:ext>
              </a:extLst>
            </p:cNvPr>
            <p:cNvSpPr/>
            <p:nvPr>
              <p:custDataLst>
                <p:tags r:id="rId3"/>
              </p:custDataLst>
            </p:nvPr>
          </p:nvSpPr>
          <p:spPr>
            <a:xfrm>
              <a:off x="4963547" y="985076"/>
              <a:ext cx="4620000" cy="544500"/>
            </a:xfrm>
            <a:prstGeom prst="rect">
              <a:avLst/>
            </a:prstGeom>
            <a:solidFill>
              <a:schemeClr val="accent6">
                <a:lumMod val="40000"/>
                <a:lumOff val="60000"/>
              </a:schemeClr>
            </a:solidFill>
            <a:ln w="9525" cmpd="sng">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368">
                <a:spcBef>
                  <a:spcPct val="30000"/>
                </a:spcBef>
                <a:defRPr/>
              </a:pPr>
              <a:endParaRPr lang="de-DE" altLang="de-DE" sz="1600" b="1">
                <a:solidFill>
                  <a:srgbClr val="003C50"/>
                </a:solidFill>
                <a:latin typeface="Roboto" panose="02000000000000000000" pitchFamily="2" charset="0"/>
                <a:cs typeface="Times New Roman" panose="02020603050405020304" pitchFamily="18" charset="0"/>
              </a:endParaRPr>
            </a:p>
          </p:txBody>
        </p:sp>
        <p:grpSp>
          <p:nvGrpSpPr>
            <p:cNvPr id="36" name="Group 35">
              <a:extLst>
                <a:ext uri="{FF2B5EF4-FFF2-40B4-BE49-F238E27FC236}">
                  <a16:creationId xmlns:a16="http://schemas.microsoft.com/office/drawing/2014/main" id="{8FF6CC7E-6A00-6B05-3AC6-146CAFA892D2}"/>
                </a:ext>
              </a:extLst>
            </p:cNvPr>
            <p:cNvGrpSpPr>
              <a:grpSpLocks noChangeAspect="1"/>
            </p:cNvGrpSpPr>
            <p:nvPr>
              <p:custDataLst>
                <p:tags r:id="rId4"/>
              </p:custDataLst>
            </p:nvPr>
          </p:nvGrpSpPr>
          <p:grpSpPr>
            <a:xfrm>
              <a:off x="5007600" y="1058580"/>
              <a:ext cx="440026" cy="440025"/>
              <a:chOff x="1270000" y="1270000"/>
              <a:chExt cx="889000" cy="889000"/>
            </a:xfrm>
          </p:grpSpPr>
          <p:sp>
            <p:nvSpPr>
              <p:cNvPr id="38" name="Rectangle 37" hidden="1">
                <a:extLst>
                  <a:ext uri="{FF2B5EF4-FFF2-40B4-BE49-F238E27FC236}">
                    <a16:creationId xmlns:a16="http://schemas.microsoft.com/office/drawing/2014/main" id="{25AF4BE1-38CC-878A-E0CC-293D57541AB9}"/>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a:solidFill>
                    <a:srgbClr val="003C50"/>
                  </a:solidFill>
                  <a:latin typeface="Roboto"/>
                </a:endParaRPr>
              </a:p>
            </p:txBody>
          </p:sp>
          <p:pic>
            <p:nvPicPr>
              <p:cNvPr id="39" name="Graphic 38">
                <a:extLst>
                  <a:ext uri="{FF2B5EF4-FFF2-40B4-BE49-F238E27FC236}">
                    <a16:creationId xmlns:a16="http://schemas.microsoft.com/office/drawing/2014/main" id="{2ABAA572-E21A-BAAF-551A-B9B723FF2ED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270000" y="1270000"/>
                <a:ext cx="889000" cy="889000"/>
              </a:xfrm>
              <a:prstGeom prst="rect">
                <a:avLst/>
              </a:prstGeom>
            </p:spPr>
          </p:pic>
        </p:grpSp>
        <p:sp>
          <p:nvSpPr>
            <p:cNvPr id="37" name="TextBox 36">
              <a:extLst>
                <a:ext uri="{FF2B5EF4-FFF2-40B4-BE49-F238E27FC236}">
                  <a16:creationId xmlns:a16="http://schemas.microsoft.com/office/drawing/2014/main" id="{CEECA3E1-8D9A-8850-26A3-66BB23BA1ED3}"/>
                </a:ext>
              </a:extLst>
            </p:cNvPr>
            <p:cNvSpPr txBox="1"/>
            <p:nvPr/>
          </p:nvSpPr>
          <p:spPr>
            <a:xfrm>
              <a:off x="5908046" y="985076"/>
              <a:ext cx="3675501" cy="544500"/>
            </a:xfrm>
            <a:prstGeom prst="rect">
              <a:avLst/>
            </a:prstGeom>
            <a:noFill/>
          </p:spPr>
          <p:txBody>
            <a:bodyPr wrap="square" lIns="0" tIns="0" rIns="0" bIns="0" rtlCol="0" anchor="ctr">
              <a:noAutofit/>
            </a:bodyPr>
            <a:lstStyle/>
            <a:p>
              <a:r>
                <a:rPr lang="de-DE" altLang="de-DE" sz="1600" b="1">
                  <a:solidFill>
                    <a:srgbClr val="003C50"/>
                  </a:solidFill>
                  <a:latin typeface="Roboto" panose="02000000000000000000" pitchFamily="2" charset="0"/>
                  <a:cs typeface="Times New Roman" panose="02020603050405020304" pitchFamily="18" charset="0"/>
                </a:rPr>
                <a:t>Angaben zur Wärmeversorgung</a:t>
              </a:r>
            </a:p>
          </p:txBody>
        </p:sp>
      </p:grpSp>
      <p:pic>
        <p:nvPicPr>
          <p:cNvPr id="42" name="Picture Placeholder 16" descr="energy_demands_Rheda_Wiedenbrueck.png">
            <a:extLst>
              <a:ext uri="{FF2B5EF4-FFF2-40B4-BE49-F238E27FC236}">
                <a16:creationId xmlns:a16="http://schemas.microsoft.com/office/drawing/2014/main" id="{7FAD42FF-1C1F-322E-D18B-CAF5F0707778}"/>
              </a:ext>
            </a:extLst>
          </p:cNvPr>
          <p:cNvPicPr>
            <a:picLocks noChangeAspect="1"/>
          </p:cNvPicPr>
          <p:nvPr/>
        </p:nvPicPr>
        <p:blipFill>
          <a:blip r:embed="rId13" cstate="screen">
            <a:extLst>
              <a:ext uri="{28A0092B-C50C-407E-A947-70E740481C1C}">
                <a14:useLocalDpi xmlns:a14="http://schemas.microsoft.com/office/drawing/2010/main"/>
              </a:ext>
            </a:extLst>
          </a:blip>
          <a:srcRect/>
          <a:stretch>
            <a:fillRect/>
          </a:stretch>
        </p:blipFill>
        <p:spPr>
          <a:xfrm>
            <a:off x="5800419" y="3480337"/>
            <a:ext cx="2735273" cy="1960752"/>
          </a:xfrm>
          <a:prstGeom prst="rect">
            <a:avLst/>
          </a:prstGeom>
        </p:spPr>
      </p:pic>
      <p:grpSp>
        <p:nvGrpSpPr>
          <p:cNvPr id="55" name="Group 54">
            <a:extLst>
              <a:ext uri="{FF2B5EF4-FFF2-40B4-BE49-F238E27FC236}">
                <a16:creationId xmlns:a16="http://schemas.microsoft.com/office/drawing/2014/main" id="{7AE79A96-B8F6-7CEE-8059-ACEFDFF6F7F3}"/>
              </a:ext>
            </a:extLst>
          </p:cNvPr>
          <p:cNvGrpSpPr/>
          <p:nvPr/>
        </p:nvGrpSpPr>
        <p:grpSpPr>
          <a:xfrm>
            <a:off x="8261008" y="2983533"/>
            <a:ext cx="1808314" cy="1002021"/>
            <a:chOff x="5908046" y="6548856"/>
            <a:chExt cx="1808314" cy="1002021"/>
          </a:xfrm>
        </p:grpSpPr>
        <p:sp>
          <p:nvSpPr>
            <p:cNvPr id="43" name="TextBox 42">
              <a:extLst>
                <a:ext uri="{FF2B5EF4-FFF2-40B4-BE49-F238E27FC236}">
                  <a16:creationId xmlns:a16="http://schemas.microsoft.com/office/drawing/2014/main" id="{1BE15D5C-608A-F68D-9CB7-5144A7C652EA}"/>
                </a:ext>
              </a:extLst>
            </p:cNvPr>
            <p:cNvSpPr txBox="1"/>
            <p:nvPr/>
          </p:nvSpPr>
          <p:spPr>
            <a:xfrm>
              <a:off x="6155248" y="6554217"/>
              <a:ext cx="699875" cy="161583"/>
            </a:xfrm>
            <a:prstGeom prst="rect">
              <a:avLst/>
            </a:prstGeom>
            <a:noFill/>
            <a:ln>
              <a:noFill/>
            </a:ln>
          </p:spPr>
          <p:txBody>
            <a:bodyPr wrap="square" lIns="0" tIns="0" rIns="0" bIns="0" rtlCol="0" anchor="t">
              <a:spAutoFit/>
            </a:bodyPr>
            <a:lstStyle/>
            <a:p>
              <a:r>
                <a:rPr lang="de-DE" sz="1050">
                  <a:solidFill>
                    <a:schemeClr val="accent5">
                      <a:lumMod val="10000"/>
                    </a:schemeClr>
                  </a:solidFill>
                  <a:latin typeface="Roboto" panose="02000000000000000000" pitchFamily="2" charset="0"/>
                  <a:ea typeface="Roboto Slab" pitchFamily="2" charset="0"/>
                  <a:cs typeface="Calibri" panose="020F0502020204030204" pitchFamily="34" charset="0"/>
                </a:rPr>
                <a:t>Erdgas</a:t>
              </a:r>
            </a:p>
          </p:txBody>
        </p:sp>
        <p:sp>
          <p:nvSpPr>
            <p:cNvPr id="45" name="Rectangle: Rounded Corners 44">
              <a:extLst>
                <a:ext uri="{FF2B5EF4-FFF2-40B4-BE49-F238E27FC236}">
                  <a16:creationId xmlns:a16="http://schemas.microsoft.com/office/drawing/2014/main" id="{BBA9F938-E51A-E27B-6E21-43F9E1E266D1}"/>
                </a:ext>
              </a:extLst>
            </p:cNvPr>
            <p:cNvSpPr/>
            <p:nvPr/>
          </p:nvSpPr>
          <p:spPr bwMode="gray">
            <a:xfrm>
              <a:off x="5915169" y="6548856"/>
              <a:ext cx="180000" cy="180000"/>
            </a:xfrm>
            <a:prstGeom prst="roundRect">
              <a:avLst/>
            </a:prstGeom>
            <a:solidFill>
              <a:srgbClr val="FDDB7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8" tIns="36008" rIns="36008" bIns="36008" rtlCol="0" anchor="ctr">
              <a:noAutofit/>
            </a:bodyPr>
            <a:lstStyle/>
            <a:p>
              <a:pPr algn="ctr"/>
              <a:endParaRPr lang="de-DE" sz="1400">
                <a:solidFill>
                  <a:schemeClr val="tx1"/>
                </a:solidFill>
                <a:latin typeface="Calibri" panose="020F0502020204030204" pitchFamily="34" charset="0"/>
                <a:cs typeface="Calibri" panose="020F0502020204030204" pitchFamily="34" charset="0"/>
              </a:endParaRPr>
            </a:p>
          </p:txBody>
        </p:sp>
        <p:sp>
          <p:nvSpPr>
            <p:cNvPr id="46" name="Rectangle: Rounded Corners 45">
              <a:extLst>
                <a:ext uri="{FF2B5EF4-FFF2-40B4-BE49-F238E27FC236}">
                  <a16:creationId xmlns:a16="http://schemas.microsoft.com/office/drawing/2014/main" id="{2F634762-0A99-C565-06FD-30F45D82BD85}"/>
                </a:ext>
              </a:extLst>
            </p:cNvPr>
            <p:cNvSpPr/>
            <p:nvPr/>
          </p:nvSpPr>
          <p:spPr bwMode="gray">
            <a:xfrm>
              <a:off x="5915169" y="6822863"/>
              <a:ext cx="180000" cy="180000"/>
            </a:xfrm>
            <a:prstGeom prst="roundRect">
              <a:avLst/>
            </a:prstGeom>
            <a:solidFill>
              <a:srgbClr val="787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8" tIns="36008" rIns="36008" bIns="36008" rtlCol="0" anchor="ctr">
              <a:noAutofit/>
            </a:bodyPr>
            <a:lstStyle/>
            <a:p>
              <a:pPr algn="ctr"/>
              <a:endParaRPr lang="de-DE" sz="1400">
                <a:solidFill>
                  <a:schemeClr val="tx1"/>
                </a:solidFill>
                <a:latin typeface="Calibri" panose="020F0502020204030204" pitchFamily="34" charset="0"/>
                <a:cs typeface="Calibri" panose="020F0502020204030204" pitchFamily="34" charset="0"/>
              </a:endParaRPr>
            </a:p>
          </p:txBody>
        </p:sp>
        <p:sp>
          <p:nvSpPr>
            <p:cNvPr id="48" name="Rectangle: Rounded Corners 47">
              <a:extLst>
                <a:ext uri="{FF2B5EF4-FFF2-40B4-BE49-F238E27FC236}">
                  <a16:creationId xmlns:a16="http://schemas.microsoft.com/office/drawing/2014/main" id="{CCA05610-24DB-5600-D6CE-418E04CE8524}"/>
                </a:ext>
              </a:extLst>
            </p:cNvPr>
            <p:cNvSpPr/>
            <p:nvPr/>
          </p:nvSpPr>
          <p:spPr bwMode="gray">
            <a:xfrm>
              <a:off x="5912009" y="7096870"/>
              <a:ext cx="180000" cy="180000"/>
            </a:xfrm>
            <a:prstGeom prst="roundRect">
              <a:avLst/>
            </a:prstGeom>
            <a:solidFill>
              <a:srgbClr val="44CD8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8" tIns="36008" rIns="36008" bIns="36008" rtlCol="0" anchor="ctr">
              <a:noAutofit/>
            </a:bodyPr>
            <a:lstStyle/>
            <a:p>
              <a:pPr algn="ctr"/>
              <a:endParaRPr lang="de-DE" sz="1400" err="1">
                <a:solidFill>
                  <a:schemeClr val="tx1"/>
                </a:solidFill>
                <a:latin typeface="Calibri" panose="020F0502020204030204" pitchFamily="34" charset="0"/>
                <a:cs typeface="Calibri" panose="020F0502020204030204" pitchFamily="34" charset="0"/>
              </a:endParaRPr>
            </a:p>
          </p:txBody>
        </p:sp>
        <p:sp>
          <p:nvSpPr>
            <p:cNvPr id="50" name="TextBox 49">
              <a:extLst>
                <a:ext uri="{FF2B5EF4-FFF2-40B4-BE49-F238E27FC236}">
                  <a16:creationId xmlns:a16="http://schemas.microsoft.com/office/drawing/2014/main" id="{95FD6B45-C028-DCFF-9734-61487200B2D6}"/>
                </a:ext>
              </a:extLst>
            </p:cNvPr>
            <p:cNvSpPr txBox="1"/>
            <p:nvPr/>
          </p:nvSpPr>
          <p:spPr>
            <a:xfrm>
              <a:off x="6155248" y="6828225"/>
              <a:ext cx="699875" cy="161583"/>
            </a:xfrm>
            <a:prstGeom prst="rect">
              <a:avLst/>
            </a:prstGeom>
            <a:noFill/>
            <a:ln>
              <a:noFill/>
            </a:ln>
          </p:spPr>
          <p:txBody>
            <a:bodyPr wrap="square" lIns="0" tIns="0" rIns="0" bIns="0" rtlCol="0" anchor="t">
              <a:spAutoFit/>
            </a:bodyPr>
            <a:lstStyle/>
            <a:p>
              <a:r>
                <a:rPr lang="de-DE" sz="1050">
                  <a:solidFill>
                    <a:schemeClr val="accent5">
                      <a:lumMod val="10000"/>
                    </a:schemeClr>
                  </a:solidFill>
                  <a:latin typeface="Roboto" panose="02000000000000000000" pitchFamily="2" charset="0"/>
                  <a:ea typeface="Roboto Slab" pitchFamily="2" charset="0"/>
                  <a:cs typeface="Calibri" panose="020F0502020204030204" pitchFamily="34" charset="0"/>
                </a:rPr>
                <a:t>Heizöl</a:t>
              </a:r>
            </a:p>
          </p:txBody>
        </p:sp>
        <p:sp>
          <p:nvSpPr>
            <p:cNvPr id="51" name="TextBox 50">
              <a:extLst>
                <a:ext uri="{FF2B5EF4-FFF2-40B4-BE49-F238E27FC236}">
                  <a16:creationId xmlns:a16="http://schemas.microsoft.com/office/drawing/2014/main" id="{E72DAB42-A68B-13A0-ABC8-48CC01A20AE9}"/>
                </a:ext>
              </a:extLst>
            </p:cNvPr>
            <p:cNvSpPr txBox="1"/>
            <p:nvPr/>
          </p:nvSpPr>
          <p:spPr>
            <a:xfrm>
              <a:off x="6155248" y="7102231"/>
              <a:ext cx="1561112" cy="161583"/>
            </a:xfrm>
            <a:prstGeom prst="rect">
              <a:avLst/>
            </a:prstGeom>
            <a:noFill/>
            <a:ln>
              <a:noFill/>
            </a:ln>
          </p:spPr>
          <p:txBody>
            <a:bodyPr wrap="square" lIns="0" tIns="0" rIns="0" bIns="0" rtlCol="0" anchor="t">
              <a:spAutoFit/>
            </a:bodyPr>
            <a:lstStyle/>
            <a:p>
              <a:r>
                <a:rPr lang="de-DE" sz="1050">
                  <a:solidFill>
                    <a:schemeClr val="accent5">
                      <a:lumMod val="10000"/>
                    </a:schemeClr>
                  </a:solidFill>
                  <a:latin typeface="Roboto" panose="02000000000000000000" pitchFamily="2" charset="0"/>
                  <a:ea typeface="Roboto Slab" pitchFamily="2" charset="0"/>
                  <a:cs typeface="Calibri" panose="020F0502020204030204" pitchFamily="34" charset="0"/>
                </a:rPr>
                <a:t>Biogene Brennstoffe</a:t>
              </a:r>
            </a:p>
          </p:txBody>
        </p:sp>
        <p:sp>
          <p:nvSpPr>
            <p:cNvPr id="52" name="TextBox 51">
              <a:extLst>
                <a:ext uri="{FF2B5EF4-FFF2-40B4-BE49-F238E27FC236}">
                  <a16:creationId xmlns:a16="http://schemas.microsoft.com/office/drawing/2014/main" id="{F6CD9628-1297-970D-78D0-33D635F75043}"/>
                </a:ext>
              </a:extLst>
            </p:cNvPr>
            <p:cNvSpPr txBox="1"/>
            <p:nvPr/>
          </p:nvSpPr>
          <p:spPr>
            <a:xfrm>
              <a:off x="6155248" y="7376238"/>
              <a:ext cx="950469" cy="161583"/>
            </a:xfrm>
            <a:prstGeom prst="rect">
              <a:avLst/>
            </a:prstGeom>
            <a:noFill/>
            <a:ln>
              <a:noFill/>
            </a:ln>
          </p:spPr>
          <p:txBody>
            <a:bodyPr wrap="square" lIns="0" tIns="0" rIns="0" bIns="0" rtlCol="0" anchor="t">
              <a:spAutoFit/>
            </a:bodyPr>
            <a:lstStyle/>
            <a:p>
              <a:r>
                <a:rPr lang="de-DE" sz="1050">
                  <a:solidFill>
                    <a:schemeClr val="accent5">
                      <a:lumMod val="10000"/>
                    </a:schemeClr>
                  </a:solidFill>
                  <a:latin typeface="Roboto" panose="02000000000000000000" pitchFamily="2" charset="0"/>
                  <a:ea typeface="Roboto Slab" pitchFamily="2" charset="0"/>
                  <a:cs typeface="Calibri" panose="020F0502020204030204" pitchFamily="34" charset="0"/>
                </a:rPr>
                <a:t>Strom</a:t>
              </a:r>
            </a:p>
          </p:txBody>
        </p:sp>
        <p:sp>
          <p:nvSpPr>
            <p:cNvPr id="54" name="Rectangle: Rounded Corners 53">
              <a:extLst>
                <a:ext uri="{FF2B5EF4-FFF2-40B4-BE49-F238E27FC236}">
                  <a16:creationId xmlns:a16="http://schemas.microsoft.com/office/drawing/2014/main" id="{3E8E38F7-BEC5-C6E5-D9A0-BE318C7DF5F1}"/>
                </a:ext>
              </a:extLst>
            </p:cNvPr>
            <p:cNvSpPr/>
            <p:nvPr/>
          </p:nvSpPr>
          <p:spPr bwMode="gray">
            <a:xfrm>
              <a:off x="5908046" y="7370877"/>
              <a:ext cx="180000" cy="180000"/>
            </a:xfrm>
            <a:prstGeom prst="roundRect">
              <a:avLst/>
            </a:prstGeom>
            <a:solidFill>
              <a:srgbClr val="5CB6E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8" tIns="36008" rIns="36008" bIns="36008" rtlCol="0" anchor="ctr">
              <a:noAutofit/>
            </a:bodyPr>
            <a:lstStyle/>
            <a:p>
              <a:pPr algn="ctr"/>
              <a:endParaRPr lang="de-DE" sz="1400" err="1">
                <a:solidFill>
                  <a:schemeClr val="tx1"/>
                </a:solidFill>
                <a:latin typeface="Calibri" panose="020F0502020204030204" pitchFamily="34" charset="0"/>
                <a:cs typeface="Calibri" panose="020F0502020204030204" pitchFamily="34" charset="0"/>
              </a:endParaRPr>
            </a:p>
          </p:txBody>
        </p:sp>
      </p:grpSp>
      <p:grpSp>
        <p:nvGrpSpPr>
          <p:cNvPr id="47" name="THM_bar">
            <a:extLst>
              <a:ext uri="{FF2B5EF4-FFF2-40B4-BE49-F238E27FC236}">
                <a16:creationId xmlns:a16="http://schemas.microsoft.com/office/drawing/2014/main" id="{01B86F7F-983B-3ABB-8039-0FE2C4BAB3DD}"/>
              </a:ext>
            </a:extLst>
          </p:cNvPr>
          <p:cNvGrpSpPr/>
          <p:nvPr>
            <p:custDataLst>
              <p:tags r:id="rId2"/>
            </p:custDataLst>
          </p:nvPr>
        </p:nvGrpSpPr>
        <p:grpSpPr>
          <a:xfrm>
            <a:off x="208026" y="5549074"/>
            <a:ext cx="9372600" cy="482593"/>
            <a:chOff x="208026" y="5549074"/>
            <a:chExt cx="9372600" cy="482593"/>
          </a:xfrm>
        </p:grpSpPr>
        <p:sp>
          <p:nvSpPr>
            <p:cNvPr id="49" name="THM_bar_background">
              <a:extLst>
                <a:ext uri="{FF2B5EF4-FFF2-40B4-BE49-F238E27FC236}">
                  <a16:creationId xmlns:a16="http://schemas.microsoft.com/office/drawing/2014/main" id="{12323830-9B33-C8D7-9694-15C77C4362B3}"/>
                </a:ext>
              </a:extLst>
            </p:cNvPr>
            <p:cNvSpPr/>
            <p:nvPr/>
          </p:nvSpPr>
          <p:spPr bwMode="gray">
            <a:xfrm>
              <a:off x="208026" y="5563608"/>
              <a:ext cx="9372600" cy="468059"/>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45" tIns="0" rIns="144018" bIns="0" rtlCol="0" anchor="ctr">
              <a:noAutofit/>
            </a:bodyPr>
            <a:lstStyle/>
            <a:p>
              <a:r>
                <a:rPr lang="de-DE" sz="1400" b="1">
                  <a:solidFill>
                    <a:srgbClr val="003C50"/>
                  </a:solidFill>
                  <a:latin typeface="Roboto" panose="02000000000000000000" pitchFamily="2" charset="0"/>
                </a:rPr>
                <a:t>Wärmeversorgung</a:t>
              </a:r>
              <a:r>
                <a:rPr lang="de-DE" sz="1400">
                  <a:solidFill>
                    <a:srgbClr val="003C50"/>
                  </a:solidFill>
                  <a:latin typeface="Roboto" panose="02000000000000000000" pitchFamily="2" charset="0"/>
                </a:rPr>
                <a:t> von </a:t>
              </a:r>
              <a:r>
                <a:rPr lang="de-DE" sz="1400" b="1">
                  <a:solidFill>
                    <a:srgbClr val="003C50"/>
                  </a:solidFill>
                  <a:latin typeface="Roboto" panose="02000000000000000000" pitchFamily="2" charset="0"/>
                </a:rPr>
                <a:t>fossilen Energieträgern </a:t>
              </a:r>
              <a:r>
                <a:rPr lang="de-DE" sz="1400">
                  <a:solidFill>
                    <a:srgbClr val="003C50"/>
                  </a:solidFill>
                  <a:latin typeface="Roboto" panose="02000000000000000000" pitchFamily="2" charset="0"/>
                </a:rPr>
                <a:t>wie Erdgas geprägt</a:t>
              </a:r>
              <a:endParaRPr lang="de-DE" sz="1400">
                <a:solidFill>
                  <a:schemeClr val="tx1"/>
                </a:solidFill>
                <a:latin typeface="Roboto" panose="02000000000000000000" pitchFamily="2" charset="0"/>
              </a:endParaRPr>
            </a:p>
          </p:txBody>
        </p:sp>
        <p:grpSp>
          <p:nvGrpSpPr>
            <p:cNvPr id="53" name="thm_triangle_i52819">
              <a:extLst>
                <a:ext uri="{FF2B5EF4-FFF2-40B4-BE49-F238E27FC236}">
                  <a16:creationId xmlns:a16="http://schemas.microsoft.com/office/drawing/2014/main" id="{B8E2701E-CAC6-43D7-C2E3-CDD2BBC0F982}"/>
                </a:ext>
              </a:extLst>
            </p:cNvPr>
            <p:cNvGrpSpPr/>
            <p:nvPr/>
          </p:nvGrpSpPr>
          <p:grpSpPr>
            <a:xfrm>
              <a:off x="208026" y="5549074"/>
              <a:ext cx="234029" cy="468058"/>
              <a:chOff x="117014" y="-117014"/>
              <a:chExt cx="234029" cy="468058"/>
            </a:xfrm>
          </p:grpSpPr>
          <p:sp>
            <p:nvSpPr>
              <p:cNvPr id="56" name="box">
                <a:extLst>
                  <a:ext uri="{FF2B5EF4-FFF2-40B4-BE49-F238E27FC236}">
                    <a16:creationId xmlns:a16="http://schemas.microsoft.com/office/drawing/2014/main" id="{BBE8844D-CC58-159A-3701-F50F1D386B73}"/>
                  </a:ext>
                </a:extLst>
              </p:cNvPr>
              <p:cNvSpPr/>
              <p:nvPr/>
            </p:nvSpPr>
            <p:spPr bwMode="white">
              <a:xfrm rot="16200000">
                <a:off x="-117015" y="117015"/>
                <a:ext cx="468058" cy="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57" name="triangle_1">
                <a:extLst>
                  <a:ext uri="{FF2B5EF4-FFF2-40B4-BE49-F238E27FC236}">
                    <a16:creationId xmlns:a16="http://schemas.microsoft.com/office/drawing/2014/main" id="{B8229A67-4C91-EB0A-6121-A15D2B1ED8D4}"/>
                  </a:ext>
                </a:extLst>
              </p:cNvPr>
              <p:cNvSpPr/>
              <p:nvPr/>
            </p:nvSpPr>
            <p:spPr bwMode="white">
              <a:xfrm rot="5400000">
                <a:off x="0" y="0"/>
                <a:ext cx="468058" cy="234029"/>
              </a:xfrm>
              <a:prstGeom prst="triangle">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58" name="triangle_2">
                <a:extLst>
                  <a:ext uri="{FF2B5EF4-FFF2-40B4-BE49-F238E27FC236}">
                    <a16:creationId xmlns:a16="http://schemas.microsoft.com/office/drawing/2014/main" id="{0FE5AFA7-9846-0425-41F8-B0E09BFFF3F9}"/>
                  </a:ext>
                </a:extLst>
              </p:cNvPr>
              <p:cNvSpPr/>
              <p:nvPr/>
            </p:nvSpPr>
            <p:spPr bwMode="gray">
              <a:xfrm rot="5400000">
                <a:off x="0" y="0"/>
                <a:ext cx="468058" cy="234029"/>
              </a:xfrm>
              <a:prstGeom prst="triangl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grpSp>
      </p:grpSp>
      <p:pic>
        <p:nvPicPr>
          <p:cNvPr id="5" name="Picture Placeholder 1" descr="spez_wärmenachfrage_heute_rheda_wiedenbrueck.png">
            <a:extLst>
              <a:ext uri="{FF2B5EF4-FFF2-40B4-BE49-F238E27FC236}">
                <a16:creationId xmlns:a16="http://schemas.microsoft.com/office/drawing/2014/main" id="{F9BA589C-A263-1FEE-9F6F-08FC57699B76}"/>
              </a:ext>
            </a:extLst>
          </p:cNvPr>
          <p:cNvPicPr>
            <a:picLocks noChangeAspect="1"/>
          </p:cNvPicPr>
          <p:nvPr/>
        </p:nvPicPr>
        <p:blipFill>
          <a:blip r:embed="rId14" cstate="screen">
            <a:extLst>
              <a:ext uri="{28A0092B-C50C-407E-A947-70E740481C1C}">
                <a14:useLocalDpi xmlns:a14="http://schemas.microsoft.com/office/drawing/2010/main"/>
              </a:ext>
            </a:extLst>
          </a:blip>
          <a:srcRect/>
          <a:stretch>
            <a:fillRect/>
          </a:stretch>
        </p:blipFill>
        <p:spPr>
          <a:xfrm>
            <a:off x="208027" y="1655531"/>
            <a:ext cx="3229173" cy="2935612"/>
          </a:xfrm>
          <a:prstGeom prst="rect">
            <a:avLst/>
          </a:prstGeom>
        </p:spPr>
      </p:pic>
      <p:sp>
        <p:nvSpPr>
          <p:cNvPr id="23" name="Footer Placeholder 22">
            <a:extLst>
              <a:ext uri="{FF2B5EF4-FFF2-40B4-BE49-F238E27FC236}">
                <a16:creationId xmlns:a16="http://schemas.microsoft.com/office/drawing/2014/main" id="{7C9EF93C-69CD-4B00-6F4A-8E704AAE289B}"/>
              </a:ext>
            </a:extLst>
          </p:cNvPr>
          <p:cNvSpPr>
            <a:spLocks noGrp="1"/>
          </p:cNvSpPr>
          <p:nvPr>
            <p:ph type="ftr" sz="quarter" idx="12"/>
          </p:nvPr>
        </p:nvSpPr>
        <p:spPr/>
        <p:txBody>
          <a:bodyPr/>
          <a:lstStyle/>
          <a:p>
            <a:r>
              <a:rPr lang="de-DE"/>
              <a:t>© 2026</a:t>
            </a:r>
          </a:p>
          <a:p>
            <a:r>
              <a:rPr lang="de-DE"/>
              <a:t>d-fine</a:t>
            </a:r>
          </a:p>
        </p:txBody>
      </p:sp>
      <p:sp>
        <p:nvSpPr>
          <p:cNvPr id="24" name="Slide Number Placeholder 23">
            <a:extLst>
              <a:ext uri="{FF2B5EF4-FFF2-40B4-BE49-F238E27FC236}">
                <a16:creationId xmlns:a16="http://schemas.microsoft.com/office/drawing/2014/main" id="{40D477E4-1A7E-4383-52C8-3117AE220E92}"/>
              </a:ext>
            </a:extLst>
          </p:cNvPr>
          <p:cNvSpPr>
            <a:spLocks noGrp="1"/>
          </p:cNvSpPr>
          <p:nvPr>
            <p:ph type="sldNum" sz="quarter" idx="11"/>
          </p:nvPr>
        </p:nvSpPr>
        <p:spPr/>
        <p:txBody>
          <a:bodyPr/>
          <a:lstStyle/>
          <a:p>
            <a:endParaRPr lang="de-DE"/>
          </a:p>
          <a:p>
            <a:fld id="{24C420F5-194C-40F2-A080-C5F3EDD89037}" type="slidenum">
              <a:rPr lang="de-DE" smtClean="0"/>
              <a:pPr/>
              <a:t>34</a:t>
            </a:fld>
            <a:endParaRPr lang="de-DE"/>
          </a:p>
        </p:txBody>
      </p:sp>
    </p:spTree>
    <p:extLst>
      <p:ext uri="{BB962C8B-B14F-4D97-AF65-F5344CB8AC3E}">
        <p14:creationId xmlns:p14="http://schemas.microsoft.com/office/powerpoint/2010/main" val="11939519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0DD907-911C-D432-1DF3-D8819F6D7323}"/>
              </a:ext>
            </a:extLst>
          </p:cNvPr>
          <p:cNvSpPr>
            <a:spLocks noGrp="1"/>
          </p:cNvSpPr>
          <p:nvPr>
            <p:ph type="title"/>
          </p:nvPr>
        </p:nvSpPr>
        <p:spPr/>
        <p:txBody>
          <a:bodyPr/>
          <a:lstStyle/>
          <a:p>
            <a:r>
              <a:rPr lang="de-DE" b="1">
                <a:latin typeface="Roboto" panose="02000000000000000000" pitchFamily="2" charset="0"/>
              </a:rPr>
              <a:t>Ergebnisse der Kommunalen Wärmeplanung - Bestandsanalyse</a:t>
            </a:r>
            <a:br>
              <a:rPr lang="de-DE" b="1">
                <a:latin typeface="Roboto" panose="02000000000000000000" pitchFamily="2" charset="0"/>
              </a:rPr>
            </a:br>
            <a:r>
              <a:rPr lang="de-DE">
                <a:latin typeface="Roboto" panose="02000000000000000000" pitchFamily="2" charset="0"/>
              </a:rPr>
              <a:t>Spezifische Steckbriefe für alle Stadtteile/Gemarkungen in Rheda-Wiedenbrück</a:t>
            </a:r>
            <a:endParaRPr lang="de-DE"/>
          </a:p>
        </p:txBody>
      </p:sp>
      <p:grpSp>
        <p:nvGrpSpPr>
          <p:cNvPr id="7" name="THM_bar">
            <a:extLst>
              <a:ext uri="{FF2B5EF4-FFF2-40B4-BE49-F238E27FC236}">
                <a16:creationId xmlns:a16="http://schemas.microsoft.com/office/drawing/2014/main" id="{9865BC43-C4F0-8307-4161-D8846A1639A5}"/>
              </a:ext>
            </a:extLst>
          </p:cNvPr>
          <p:cNvGrpSpPr/>
          <p:nvPr>
            <p:custDataLst>
              <p:tags r:id="rId1"/>
            </p:custDataLst>
          </p:nvPr>
        </p:nvGrpSpPr>
        <p:grpSpPr>
          <a:xfrm>
            <a:off x="208026" y="5549075"/>
            <a:ext cx="9372600" cy="468059"/>
            <a:chOff x="208026" y="5549074"/>
            <a:chExt cx="9372600" cy="468059"/>
          </a:xfrm>
        </p:grpSpPr>
        <p:sp>
          <p:nvSpPr>
            <p:cNvPr id="8" name="THM_bar_background">
              <a:extLst>
                <a:ext uri="{FF2B5EF4-FFF2-40B4-BE49-F238E27FC236}">
                  <a16:creationId xmlns:a16="http://schemas.microsoft.com/office/drawing/2014/main" id="{F405F989-DADE-012E-55A1-D422382A3AA2}"/>
                </a:ext>
              </a:extLst>
            </p:cNvPr>
            <p:cNvSpPr/>
            <p:nvPr/>
          </p:nvSpPr>
          <p:spPr bwMode="gray">
            <a:xfrm>
              <a:off x="208026" y="5549074"/>
              <a:ext cx="9372600" cy="468059"/>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45" tIns="0" rIns="144018" bIns="0" rtlCol="0" anchor="ctr">
              <a:noAutofit/>
            </a:bodyPr>
            <a:lstStyle/>
            <a:p>
              <a:pPr defTabSz="914368"/>
              <a:r>
                <a:rPr lang="de-DE" sz="1400">
                  <a:solidFill>
                    <a:srgbClr val="003C50"/>
                  </a:solidFill>
                  <a:latin typeface="Roboto" panose="02000000000000000000" pitchFamily="2" charset="0"/>
                </a:rPr>
                <a:t>Die Ergebnisse der verschiedenen Planungsschritte lassen sich beliebig aggregieren und beispielsweise auf </a:t>
              </a:r>
              <a:r>
                <a:rPr lang="de-DE" sz="1400" b="1">
                  <a:solidFill>
                    <a:srgbClr val="003C50"/>
                  </a:solidFill>
                  <a:latin typeface="Roboto" panose="02000000000000000000" pitchFamily="2" charset="0"/>
                </a:rPr>
                <a:t>Ebene einzelner Stadtteile/Gemarkungen </a:t>
              </a:r>
              <a:r>
                <a:rPr lang="de-DE" sz="1400">
                  <a:solidFill>
                    <a:srgbClr val="003C50"/>
                  </a:solidFill>
                  <a:latin typeface="Roboto" panose="02000000000000000000" pitchFamily="2" charset="0"/>
                </a:rPr>
                <a:t>darstellen.</a:t>
              </a:r>
            </a:p>
          </p:txBody>
        </p:sp>
        <p:grpSp>
          <p:nvGrpSpPr>
            <p:cNvPr id="9" name="thm_triangle_i38059">
              <a:extLst>
                <a:ext uri="{FF2B5EF4-FFF2-40B4-BE49-F238E27FC236}">
                  <a16:creationId xmlns:a16="http://schemas.microsoft.com/office/drawing/2014/main" id="{DDC6641E-1CF7-18F6-7EF2-013907A5B043}"/>
                </a:ext>
              </a:extLst>
            </p:cNvPr>
            <p:cNvGrpSpPr/>
            <p:nvPr/>
          </p:nvGrpSpPr>
          <p:grpSpPr>
            <a:xfrm>
              <a:off x="208026" y="5549074"/>
              <a:ext cx="234029" cy="468058"/>
              <a:chOff x="117014" y="-117014"/>
              <a:chExt cx="234029" cy="468058"/>
            </a:xfrm>
          </p:grpSpPr>
          <p:sp>
            <p:nvSpPr>
              <p:cNvPr id="10" name="box">
                <a:extLst>
                  <a:ext uri="{FF2B5EF4-FFF2-40B4-BE49-F238E27FC236}">
                    <a16:creationId xmlns:a16="http://schemas.microsoft.com/office/drawing/2014/main" id="{5DAAC557-D4DF-750E-FABD-3720679CC6FC}"/>
                  </a:ext>
                </a:extLst>
              </p:cNvPr>
              <p:cNvSpPr/>
              <p:nvPr/>
            </p:nvSpPr>
            <p:spPr bwMode="white">
              <a:xfrm rot="16200000">
                <a:off x="-117015" y="117015"/>
                <a:ext cx="468058" cy="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err="1">
                  <a:solidFill>
                    <a:srgbClr val="003C50"/>
                  </a:solidFill>
                  <a:latin typeface="Roboto"/>
                </a:endParaRPr>
              </a:p>
            </p:txBody>
          </p:sp>
          <p:sp>
            <p:nvSpPr>
              <p:cNvPr id="11" name="triangle_1">
                <a:extLst>
                  <a:ext uri="{FF2B5EF4-FFF2-40B4-BE49-F238E27FC236}">
                    <a16:creationId xmlns:a16="http://schemas.microsoft.com/office/drawing/2014/main" id="{6AAD4DDC-04FC-A1FD-3285-EB63BF01F49A}"/>
                  </a:ext>
                </a:extLst>
              </p:cNvPr>
              <p:cNvSpPr/>
              <p:nvPr/>
            </p:nvSpPr>
            <p:spPr bwMode="white">
              <a:xfrm rot="5400000">
                <a:off x="0" y="0"/>
                <a:ext cx="468058" cy="234029"/>
              </a:xfrm>
              <a:prstGeom prst="triangle">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err="1">
                  <a:solidFill>
                    <a:srgbClr val="003C50"/>
                  </a:solidFill>
                  <a:latin typeface="Roboto"/>
                </a:endParaRPr>
              </a:p>
            </p:txBody>
          </p:sp>
          <p:sp>
            <p:nvSpPr>
              <p:cNvPr id="12" name="triangle_2">
                <a:extLst>
                  <a:ext uri="{FF2B5EF4-FFF2-40B4-BE49-F238E27FC236}">
                    <a16:creationId xmlns:a16="http://schemas.microsoft.com/office/drawing/2014/main" id="{4EF8FF15-423F-6EBC-4D11-02634F2651AF}"/>
                  </a:ext>
                </a:extLst>
              </p:cNvPr>
              <p:cNvSpPr/>
              <p:nvPr/>
            </p:nvSpPr>
            <p:spPr bwMode="gray">
              <a:xfrm rot="5400000">
                <a:off x="0" y="0"/>
                <a:ext cx="468058" cy="234029"/>
              </a:xfrm>
              <a:prstGeom prst="triangl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err="1">
                  <a:solidFill>
                    <a:srgbClr val="003C50"/>
                  </a:solidFill>
                  <a:latin typeface="Roboto"/>
                </a:endParaRPr>
              </a:p>
            </p:txBody>
          </p:sp>
        </p:grpSp>
      </p:grpSp>
      <p:pic>
        <p:nvPicPr>
          <p:cNvPr id="5" name="Picture 4">
            <a:extLst>
              <a:ext uri="{FF2B5EF4-FFF2-40B4-BE49-F238E27FC236}">
                <a16:creationId xmlns:a16="http://schemas.microsoft.com/office/drawing/2014/main" id="{489462AA-D0E3-5AEB-AFCB-34943D14ABC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19696" y="1148119"/>
            <a:ext cx="1404000" cy="1955439"/>
          </a:xfrm>
          <a:prstGeom prst="rect">
            <a:avLst/>
          </a:prstGeom>
          <a:ln>
            <a:solidFill>
              <a:schemeClr val="tx1"/>
            </a:solidFill>
          </a:ln>
        </p:spPr>
      </p:pic>
      <p:pic>
        <p:nvPicPr>
          <p:cNvPr id="21" name="Picture 20">
            <a:extLst>
              <a:ext uri="{FF2B5EF4-FFF2-40B4-BE49-F238E27FC236}">
                <a16:creationId xmlns:a16="http://schemas.microsoft.com/office/drawing/2014/main" id="{2670156F-05DB-A421-1D05-499D1C2A4CF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19696" y="3235792"/>
            <a:ext cx="1404000" cy="1972053"/>
          </a:xfrm>
          <a:prstGeom prst="rect">
            <a:avLst/>
          </a:prstGeom>
          <a:ln>
            <a:solidFill>
              <a:schemeClr val="tx1"/>
            </a:solidFill>
          </a:ln>
        </p:spPr>
      </p:pic>
      <p:sp>
        <p:nvSpPr>
          <p:cNvPr id="22" name="Arrow: Right 21">
            <a:extLst>
              <a:ext uri="{FF2B5EF4-FFF2-40B4-BE49-F238E27FC236}">
                <a16:creationId xmlns:a16="http://schemas.microsoft.com/office/drawing/2014/main" id="{9937D41F-4980-72D9-673C-058EF350D3EA}"/>
              </a:ext>
            </a:extLst>
          </p:cNvPr>
          <p:cNvSpPr/>
          <p:nvPr/>
        </p:nvSpPr>
        <p:spPr bwMode="gray">
          <a:xfrm>
            <a:off x="6633799" y="3143250"/>
            <a:ext cx="847793" cy="508642"/>
          </a:xfrm>
          <a:prstGeom prst="rightArrow">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sp>
        <p:nvSpPr>
          <p:cNvPr id="23" name="TextBox 22">
            <a:extLst>
              <a:ext uri="{FF2B5EF4-FFF2-40B4-BE49-F238E27FC236}">
                <a16:creationId xmlns:a16="http://schemas.microsoft.com/office/drawing/2014/main" id="{5D7BDBED-D2F0-34AF-9793-A026A4FD7551}"/>
              </a:ext>
            </a:extLst>
          </p:cNvPr>
          <p:cNvSpPr txBox="1"/>
          <p:nvPr/>
        </p:nvSpPr>
        <p:spPr>
          <a:xfrm>
            <a:off x="6357891" y="2144814"/>
            <a:ext cx="1372443" cy="958744"/>
          </a:xfrm>
          <a:prstGeom prst="rect">
            <a:avLst/>
          </a:prstGeom>
          <a:noFill/>
        </p:spPr>
        <p:txBody>
          <a:bodyPr wrap="square" lIns="0" tIns="0" rIns="0" bIns="0" rtlCol="0" anchor="t">
            <a:noAutofit/>
          </a:bodyPr>
          <a:lstStyle/>
          <a:p>
            <a:pPr algn="ctr"/>
            <a:r>
              <a:rPr lang="de-DE" sz="1400"/>
              <a:t>Eigener Steckbrief je Stadtteil / Gemarkung</a:t>
            </a:r>
          </a:p>
        </p:txBody>
      </p:sp>
      <p:grpSp>
        <p:nvGrpSpPr>
          <p:cNvPr id="33" name="Group 32">
            <a:extLst>
              <a:ext uri="{FF2B5EF4-FFF2-40B4-BE49-F238E27FC236}">
                <a16:creationId xmlns:a16="http://schemas.microsoft.com/office/drawing/2014/main" id="{AFFDE478-AB55-40EF-6C57-E5EFA201108B}"/>
              </a:ext>
            </a:extLst>
          </p:cNvPr>
          <p:cNvGrpSpPr/>
          <p:nvPr/>
        </p:nvGrpSpPr>
        <p:grpSpPr>
          <a:xfrm>
            <a:off x="442056" y="1311565"/>
            <a:ext cx="6015895" cy="3663369"/>
            <a:chOff x="442056" y="1311565"/>
            <a:chExt cx="6015895" cy="3663369"/>
          </a:xfrm>
        </p:grpSpPr>
        <p:grpSp>
          <p:nvGrpSpPr>
            <p:cNvPr id="13" name="Group 12">
              <a:extLst>
                <a:ext uri="{FF2B5EF4-FFF2-40B4-BE49-F238E27FC236}">
                  <a16:creationId xmlns:a16="http://schemas.microsoft.com/office/drawing/2014/main" id="{6660716A-F402-36A1-58C8-BE81C6FA2899}"/>
                </a:ext>
              </a:extLst>
            </p:cNvPr>
            <p:cNvGrpSpPr/>
            <p:nvPr/>
          </p:nvGrpSpPr>
          <p:grpSpPr>
            <a:xfrm>
              <a:off x="442056" y="1311565"/>
              <a:ext cx="6015895" cy="3663369"/>
              <a:chOff x="1461231" y="1356306"/>
              <a:chExt cx="6015895" cy="3663369"/>
            </a:xfrm>
          </p:grpSpPr>
          <p:pic>
            <p:nvPicPr>
              <p:cNvPr id="14" name="Picture 13">
                <a:extLst>
                  <a:ext uri="{FF2B5EF4-FFF2-40B4-BE49-F238E27FC236}">
                    <a16:creationId xmlns:a16="http://schemas.microsoft.com/office/drawing/2014/main" id="{C169B966-9F9D-86F4-9180-0C1C8F96790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461231" y="1356306"/>
                <a:ext cx="4927341" cy="2526200"/>
              </a:xfrm>
              <a:prstGeom prst="rect">
                <a:avLst/>
              </a:prstGeom>
              <a:ln>
                <a:solidFill>
                  <a:schemeClr val="tx1"/>
                </a:solidFill>
              </a:ln>
            </p:spPr>
          </p:pic>
          <p:pic>
            <p:nvPicPr>
              <p:cNvPr id="15" name="Picture 14">
                <a:extLst>
                  <a:ext uri="{FF2B5EF4-FFF2-40B4-BE49-F238E27FC236}">
                    <a16:creationId xmlns:a16="http://schemas.microsoft.com/office/drawing/2014/main" id="{1EB12672-08D7-959D-1252-49695AC1925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613631" y="1508706"/>
                <a:ext cx="4927341" cy="2526200"/>
              </a:xfrm>
              <a:prstGeom prst="rect">
                <a:avLst/>
              </a:prstGeom>
              <a:ln>
                <a:solidFill>
                  <a:schemeClr val="tx1"/>
                </a:solidFill>
              </a:ln>
            </p:spPr>
          </p:pic>
          <p:pic>
            <p:nvPicPr>
              <p:cNvPr id="16" name="Picture 15">
                <a:extLst>
                  <a:ext uri="{FF2B5EF4-FFF2-40B4-BE49-F238E27FC236}">
                    <a16:creationId xmlns:a16="http://schemas.microsoft.com/office/drawing/2014/main" id="{51E7CDDC-27CE-AE4E-59D3-A9DE7A28AAB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766031" y="1661106"/>
                <a:ext cx="4927341" cy="2526200"/>
              </a:xfrm>
              <a:prstGeom prst="rect">
                <a:avLst/>
              </a:prstGeom>
              <a:ln>
                <a:solidFill>
                  <a:schemeClr val="tx1"/>
                </a:solidFill>
              </a:ln>
            </p:spPr>
          </p:pic>
          <p:pic>
            <p:nvPicPr>
              <p:cNvPr id="17" name="Picture 16">
                <a:extLst>
                  <a:ext uri="{FF2B5EF4-FFF2-40B4-BE49-F238E27FC236}">
                    <a16:creationId xmlns:a16="http://schemas.microsoft.com/office/drawing/2014/main" id="{12297D6F-218D-EA1F-0052-3756C211BD1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18431" y="1813506"/>
                <a:ext cx="4927341" cy="2526200"/>
              </a:xfrm>
              <a:prstGeom prst="rect">
                <a:avLst/>
              </a:prstGeom>
              <a:ln>
                <a:solidFill>
                  <a:schemeClr val="tx1"/>
                </a:solidFill>
              </a:ln>
            </p:spPr>
          </p:pic>
          <p:pic>
            <p:nvPicPr>
              <p:cNvPr id="18" name="Picture 17">
                <a:extLst>
                  <a:ext uri="{FF2B5EF4-FFF2-40B4-BE49-F238E27FC236}">
                    <a16:creationId xmlns:a16="http://schemas.microsoft.com/office/drawing/2014/main" id="{A34379D3-0D7F-83E1-5699-4483533C29C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070831" y="1965906"/>
                <a:ext cx="4927341" cy="2526200"/>
              </a:xfrm>
              <a:prstGeom prst="rect">
                <a:avLst/>
              </a:prstGeom>
              <a:ln>
                <a:solidFill>
                  <a:schemeClr val="tx1"/>
                </a:solidFill>
              </a:ln>
            </p:spPr>
          </p:pic>
          <p:pic>
            <p:nvPicPr>
              <p:cNvPr id="19" name="Picture 18">
                <a:extLst>
                  <a:ext uri="{FF2B5EF4-FFF2-40B4-BE49-F238E27FC236}">
                    <a16:creationId xmlns:a16="http://schemas.microsoft.com/office/drawing/2014/main" id="{62F185BD-C4FE-F5FD-571D-D0D22BEF44F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223231" y="2118306"/>
                <a:ext cx="4927341" cy="2526200"/>
              </a:xfrm>
              <a:prstGeom prst="rect">
                <a:avLst/>
              </a:prstGeom>
              <a:ln>
                <a:solidFill>
                  <a:schemeClr val="tx1"/>
                </a:solidFill>
              </a:ln>
            </p:spPr>
          </p:pic>
          <p:sp>
            <p:nvSpPr>
              <p:cNvPr id="20" name="TextBox 19">
                <a:extLst>
                  <a:ext uri="{FF2B5EF4-FFF2-40B4-BE49-F238E27FC236}">
                    <a16:creationId xmlns:a16="http://schemas.microsoft.com/office/drawing/2014/main" id="{A92C2B61-008C-FF53-ECA2-C639B57D4FC0}"/>
                  </a:ext>
                </a:extLst>
              </p:cNvPr>
              <p:cNvSpPr txBox="1"/>
              <p:nvPr/>
            </p:nvSpPr>
            <p:spPr>
              <a:xfrm>
                <a:off x="7267576" y="4654947"/>
                <a:ext cx="209550" cy="364728"/>
              </a:xfrm>
              <a:prstGeom prst="rect">
                <a:avLst/>
              </a:prstGeom>
              <a:noFill/>
            </p:spPr>
            <p:txBody>
              <a:bodyPr wrap="none" lIns="0" tIns="0" rIns="0" bIns="0" rtlCol="0" anchor="t">
                <a:noAutofit/>
              </a:bodyPr>
              <a:lstStyle/>
              <a:p>
                <a:r>
                  <a:rPr lang="de-DE" sz="2000" b="1"/>
                  <a:t>…</a:t>
                </a:r>
                <a:endParaRPr lang="en-US" sz="1400" b="1"/>
              </a:p>
            </p:txBody>
          </p:sp>
        </p:grpSp>
        <p:pic>
          <p:nvPicPr>
            <p:cNvPr id="24" name="Picture Placeholder 6" descr="sectors_rheda.png">
              <a:extLst>
                <a:ext uri="{FF2B5EF4-FFF2-40B4-BE49-F238E27FC236}">
                  <a16:creationId xmlns:a16="http://schemas.microsoft.com/office/drawing/2014/main" id="{45C72735-06B3-55BF-5B0B-F489807FE3C4}"/>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1430550" y="2421105"/>
              <a:ext cx="1979399" cy="1734970"/>
            </a:xfrm>
            <a:prstGeom prst="rect">
              <a:avLst/>
            </a:prstGeom>
          </p:spPr>
        </p:pic>
        <p:sp>
          <p:nvSpPr>
            <p:cNvPr id="31" name="Rectangle 30">
              <a:extLst>
                <a:ext uri="{FF2B5EF4-FFF2-40B4-BE49-F238E27FC236}">
                  <a16:creationId xmlns:a16="http://schemas.microsoft.com/office/drawing/2014/main" id="{695E5B30-4A1C-9FA1-B472-BB28DC7F725B}"/>
                </a:ext>
              </a:extLst>
            </p:cNvPr>
            <p:cNvSpPr/>
            <p:nvPr/>
          </p:nvSpPr>
          <p:spPr bwMode="gray">
            <a:xfrm>
              <a:off x="4395831" y="2533475"/>
              <a:ext cx="1007217" cy="195032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29" name="Picture Placeholder 4" descr="construction_years_Rheda.png">
              <a:extLst>
                <a:ext uri="{FF2B5EF4-FFF2-40B4-BE49-F238E27FC236}">
                  <a16:creationId xmlns:a16="http://schemas.microsoft.com/office/drawing/2014/main" id="{82392CDE-049C-EB3E-5B3C-527CB5D93138}"/>
                </a:ext>
              </a:extLst>
            </p:cNvPr>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a:xfrm>
              <a:off x="4267823" y="3475164"/>
              <a:ext cx="1164609" cy="1064416"/>
            </a:xfrm>
            <a:prstGeom prst="rect">
              <a:avLst/>
            </a:prstGeom>
          </p:spPr>
        </p:pic>
        <p:pic>
          <p:nvPicPr>
            <p:cNvPr id="30" name="Picture Placeholder 5" descr="sectors_Rheda.png">
              <a:extLst>
                <a:ext uri="{FF2B5EF4-FFF2-40B4-BE49-F238E27FC236}">
                  <a16:creationId xmlns:a16="http://schemas.microsoft.com/office/drawing/2014/main" id="{ECEC4036-F28D-5AB3-CA01-8C768EC9D9BB}"/>
                </a:ext>
              </a:extLst>
            </p:cNvPr>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a:xfrm>
              <a:off x="4267823" y="2421105"/>
              <a:ext cx="1164613" cy="1077447"/>
            </a:xfrm>
            <a:prstGeom prst="rect">
              <a:avLst/>
            </a:prstGeom>
          </p:spPr>
        </p:pic>
      </p:grpSp>
      <p:sp>
        <p:nvSpPr>
          <p:cNvPr id="25" name="Footer Placeholder 24">
            <a:extLst>
              <a:ext uri="{FF2B5EF4-FFF2-40B4-BE49-F238E27FC236}">
                <a16:creationId xmlns:a16="http://schemas.microsoft.com/office/drawing/2014/main" id="{C6999A76-0E34-06F1-A4DC-3D7DDC9CD6F7}"/>
              </a:ext>
            </a:extLst>
          </p:cNvPr>
          <p:cNvSpPr>
            <a:spLocks noGrp="1"/>
          </p:cNvSpPr>
          <p:nvPr>
            <p:ph type="ftr" sz="quarter" idx="12"/>
          </p:nvPr>
        </p:nvSpPr>
        <p:spPr/>
        <p:txBody>
          <a:bodyPr/>
          <a:lstStyle/>
          <a:p>
            <a:r>
              <a:rPr lang="de-DE"/>
              <a:t>© 2026</a:t>
            </a:r>
          </a:p>
          <a:p>
            <a:r>
              <a:rPr lang="de-DE"/>
              <a:t>d-fine</a:t>
            </a:r>
          </a:p>
        </p:txBody>
      </p:sp>
      <p:sp>
        <p:nvSpPr>
          <p:cNvPr id="26" name="Slide Number Placeholder 25">
            <a:extLst>
              <a:ext uri="{FF2B5EF4-FFF2-40B4-BE49-F238E27FC236}">
                <a16:creationId xmlns:a16="http://schemas.microsoft.com/office/drawing/2014/main" id="{3E775808-7AE9-EDDB-7EA7-0592209C3FF9}"/>
              </a:ext>
            </a:extLst>
          </p:cNvPr>
          <p:cNvSpPr>
            <a:spLocks noGrp="1"/>
          </p:cNvSpPr>
          <p:nvPr>
            <p:ph type="sldNum" sz="quarter" idx="11"/>
          </p:nvPr>
        </p:nvSpPr>
        <p:spPr/>
        <p:txBody>
          <a:bodyPr/>
          <a:lstStyle/>
          <a:p>
            <a:endParaRPr lang="de-DE"/>
          </a:p>
          <a:p>
            <a:fld id="{24C420F5-194C-40F2-A080-C5F3EDD89037}" type="slidenum">
              <a:rPr lang="de-DE" smtClean="0"/>
              <a:pPr/>
              <a:t>35</a:t>
            </a:fld>
            <a:endParaRPr lang="de-DE"/>
          </a:p>
        </p:txBody>
      </p:sp>
    </p:spTree>
    <p:extLst>
      <p:ext uri="{BB962C8B-B14F-4D97-AF65-F5344CB8AC3E}">
        <p14:creationId xmlns:p14="http://schemas.microsoft.com/office/powerpoint/2010/main" val="13450388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25AC0A-0E44-D26E-67DC-D011EE355AA5}"/>
              </a:ext>
            </a:extLst>
          </p:cNvPr>
          <p:cNvSpPr>
            <a:spLocks noGrp="1"/>
          </p:cNvSpPr>
          <p:nvPr>
            <p:ph type="title"/>
          </p:nvPr>
        </p:nvSpPr>
        <p:spPr/>
        <p:txBody>
          <a:bodyPr/>
          <a:lstStyle/>
          <a:p>
            <a:r>
              <a:rPr lang="de-DE" b="1">
                <a:latin typeface="Roboto" panose="02000000000000000000" pitchFamily="2" charset="0"/>
              </a:rPr>
              <a:t>Ergebnisse der Kommunalen Wärmeplanung - Bestandsanalyse</a:t>
            </a:r>
            <a:br>
              <a:rPr lang="de-DE" b="1">
                <a:latin typeface="Roboto" panose="02000000000000000000" pitchFamily="2" charset="0"/>
              </a:rPr>
            </a:br>
            <a:r>
              <a:rPr lang="de-DE"/>
              <a:t>Ein öffentlich einsehbarer digitaler Zwilling Ihrer Stadt</a:t>
            </a:r>
            <a:endParaRPr lang="en-US"/>
          </a:p>
        </p:txBody>
      </p:sp>
      <p:sp>
        <p:nvSpPr>
          <p:cNvPr id="8" name="TextBox 7">
            <a:extLst>
              <a:ext uri="{FF2B5EF4-FFF2-40B4-BE49-F238E27FC236}">
                <a16:creationId xmlns:a16="http://schemas.microsoft.com/office/drawing/2014/main" id="{8AF6EF47-67B1-9A9D-2CB2-E9C05F9B9E5A}"/>
              </a:ext>
            </a:extLst>
          </p:cNvPr>
          <p:cNvSpPr txBox="1"/>
          <p:nvPr/>
        </p:nvSpPr>
        <p:spPr>
          <a:xfrm>
            <a:off x="915205" y="3757502"/>
            <a:ext cx="2340127" cy="807827"/>
          </a:xfrm>
          <a:prstGeom prst="rect">
            <a:avLst/>
          </a:prstGeom>
          <a:noFill/>
        </p:spPr>
        <p:txBody>
          <a:bodyPr wrap="square" lIns="0" tIns="0" rIns="0" bIns="0" rtlCol="0" anchor="t">
            <a:noAutofit/>
          </a:bodyPr>
          <a:lstStyle/>
          <a:p>
            <a:pPr marL="180023" indent="-180023">
              <a:buClr>
                <a:srgbClr val="003C50"/>
              </a:buClr>
              <a:buFont typeface="Wingdings" panose="05000000000000000000" pitchFamily="2" charset="2"/>
              <a:buChar char="§"/>
            </a:pPr>
            <a:r>
              <a:rPr lang="de-DE" sz="1400" dirty="0"/>
              <a:t>keine Rückschlüsse auf private Verbräuche</a:t>
            </a:r>
          </a:p>
          <a:p>
            <a:pPr marL="180023" indent="-180023">
              <a:buClr>
                <a:srgbClr val="003C50"/>
              </a:buClr>
              <a:buFont typeface="Wingdings" panose="05000000000000000000" pitchFamily="2" charset="2"/>
              <a:buChar char="§"/>
            </a:pPr>
            <a:r>
              <a:rPr lang="de-DE" sz="1400" dirty="0"/>
              <a:t>Möglichkeit 30 Tage Stellungnahme abzugeben</a:t>
            </a:r>
          </a:p>
        </p:txBody>
      </p:sp>
      <p:grpSp>
        <p:nvGrpSpPr>
          <p:cNvPr id="42" name="Group 41">
            <a:extLst>
              <a:ext uri="{FF2B5EF4-FFF2-40B4-BE49-F238E27FC236}">
                <a16:creationId xmlns:a16="http://schemas.microsoft.com/office/drawing/2014/main" id="{4BDF8311-2B55-47BE-E60B-3DD5E7E1541F}"/>
              </a:ext>
            </a:extLst>
          </p:cNvPr>
          <p:cNvGrpSpPr/>
          <p:nvPr>
            <p:custDataLst>
              <p:tags r:id="rId2"/>
            </p:custDataLst>
          </p:nvPr>
        </p:nvGrpSpPr>
        <p:grpSpPr>
          <a:xfrm>
            <a:off x="362315" y="1168643"/>
            <a:ext cx="2880360" cy="508000"/>
            <a:chOff x="362315" y="3436975"/>
            <a:chExt cx="2880360" cy="508000"/>
          </a:xfrm>
        </p:grpSpPr>
        <p:grpSp>
          <p:nvGrpSpPr>
            <p:cNvPr id="17" name="Group 16">
              <a:extLst>
                <a:ext uri="{FF2B5EF4-FFF2-40B4-BE49-F238E27FC236}">
                  <a16:creationId xmlns:a16="http://schemas.microsoft.com/office/drawing/2014/main" id="{571933D4-944C-5A54-43C3-8758E62BEB7D}"/>
                </a:ext>
              </a:extLst>
            </p:cNvPr>
            <p:cNvGrpSpPr/>
            <p:nvPr>
              <p:custDataLst>
                <p:tags r:id="rId21"/>
              </p:custDataLst>
            </p:nvPr>
          </p:nvGrpSpPr>
          <p:grpSpPr>
            <a:xfrm>
              <a:off x="362315" y="3436975"/>
              <a:ext cx="2880360" cy="508000"/>
              <a:chOff x="4147820" y="2243138"/>
              <a:chExt cx="2880360" cy="508000"/>
            </a:xfrm>
          </p:grpSpPr>
          <p:sp>
            <p:nvSpPr>
              <p:cNvPr id="16" name="Rectangle 15">
                <a:extLst>
                  <a:ext uri="{FF2B5EF4-FFF2-40B4-BE49-F238E27FC236}">
                    <a16:creationId xmlns:a16="http://schemas.microsoft.com/office/drawing/2014/main" id="{537AFAA5-3BF8-A336-904F-EF62BA197331}"/>
                  </a:ext>
                </a:extLst>
              </p:cNvPr>
              <p:cNvSpPr/>
              <p:nvPr>
                <p:custDataLst>
                  <p:tags r:id="rId25"/>
                </p:custDataLst>
              </p:nvPr>
            </p:nvSpPr>
            <p:spPr bwMode="gray">
              <a:xfrm>
                <a:off x="4655820" y="2243138"/>
                <a:ext cx="2372360" cy="50800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r>
                  <a:rPr lang="de-DE" sz="1400">
                    <a:solidFill>
                      <a:schemeClr val="tx1"/>
                    </a:solidFill>
                  </a:rPr>
                  <a:t>Öffentlich einsehbar im Internet auf Ihren Geräten</a:t>
                </a:r>
              </a:p>
            </p:txBody>
          </p:sp>
          <p:cxnSp>
            <p:nvCxnSpPr>
              <p:cNvPr id="15" name="Straight Connector 14">
                <a:extLst>
                  <a:ext uri="{FF2B5EF4-FFF2-40B4-BE49-F238E27FC236}">
                    <a16:creationId xmlns:a16="http://schemas.microsoft.com/office/drawing/2014/main" id="{557D4903-8165-4C33-51CB-34A6BDA0790D}"/>
                  </a:ext>
                </a:extLst>
              </p:cNvPr>
              <p:cNvCxnSpPr/>
              <p:nvPr>
                <p:custDataLst>
                  <p:tags r:id="rId26"/>
                </p:custDataLst>
              </p:nvPr>
            </p:nvCxnSpPr>
            <p:spPr>
              <a:xfrm>
                <a:off x="4147820" y="2751138"/>
                <a:ext cx="2880360" cy="0"/>
              </a:xfrm>
              <a:prstGeom prst="line">
                <a:avLst/>
              </a:prstGeom>
              <a:ln w="19050">
                <a:solidFill>
                  <a:srgbClr val="99B1B9"/>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E30618CC-CFB6-36BE-997D-DE9B96239CB2}"/>
                  </a:ext>
                </a:extLst>
              </p:cNvPr>
              <p:cNvSpPr>
                <a:spLocks/>
              </p:cNvSpPr>
              <p:nvPr>
                <p:custDataLst>
                  <p:tags r:id="rId27"/>
                </p:custDataLst>
              </p:nvPr>
            </p:nvSpPr>
            <p:spPr bwMode="gray">
              <a:xfrm>
                <a:off x="4147820" y="2243138"/>
                <a:ext cx="508000" cy="508000"/>
              </a:xfrm>
              <a:prstGeom prst="rect">
                <a:avLst/>
              </a:prstGeom>
              <a:solidFill>
                <a:srgbClr val="99B1B9"/>
              </a:solidFill>
              <a:ln w="9525">
                <a:solidFill>
                  <a:srgbClr val="99B1B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grpSp>
        <p:grpSp>
          <p:nvGrpSpPr>
            <p:cNvPr id="12" name="Group 11">
              <a:extLst>
                <a:ext uri="{FF2B5EF4-FFF2-40B4-BE49-F238E27FC236}">
                  <a16:creationId xmlns:a16="http://schemas.microsoft.com/office/drawing/2014/main" id="{6F91F0F2-41E7-DBA3-9101-2424DD0D4F99}"/>
                </a:ext>
              </a:extLst>
            </p:cNvPr>
            <p:cNvGrpSpPr>
              <a:grpSpLocks/>
            </p:cNvGrpSpPr>
            <p:nvPr>
              <p:custDataLst>
                <p:tags r:id="rId22"/>
              </p:custDataLst>
            </p:nvPr>
          </p:nvGrpSpPr>
          <p:grpSpPr>
            <a:xfrm>
              <a:off x="413115" y="3487775"/>
              <a:ext cx="406400" cy="406400"/>
              <a:chOff x="1270000" y="1270000"/>
              <a:chExt cx="889000" cy="889000"/>
            </a:xfrm>
          </p:grpSpPr>
          <p:sp>
            <p:nvSpPr>
              <p:cNvPr id="9" name="Rectangle 8" hidden="1">
                <a:extLst>
                  <a:ext uri="{FF2B5EF4-FFF2-40B4-BE49-F238E27FC236}">
                    <a16:creationId xmlns:a16="http://schemas.microsoft.com/office/drawing/2014/main" id="{61A7B5D0-4256-1A83-4197-B045B91D1ACC}"/>
                  </a:ext>
                </a:extLst>
              </p:cNvPr>
              <p:cNvSpPr/>
              <p:nvPr>
                <p:custDataLst>
                  <p:tags r:id="rId23"/>
                </p:custDataLst>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pic>
            <p:nvPicPr>
              <p:cNvPr id="11" name="Graphic 10">
                <a:extLst>
                  <a:ext uri="{FF2B5EF4-FFF2-40B4-BE49-F238E27FC236}">
                    <a16:creationId xmlns:a16="http://schemas.microsoft.com/office/drawing/2014/main" id="{728784AC-0FDA-AC26-4DD8-E35329C21C43}"/>
                  </a:ext>
                </a:extLst>
              </p:cNvPr>
              <p:cNvPicPr>
                <a:picLocks noChangeAspect="1"/>
              </p:cNvPicPr>
              <p:nvPr>
                <p:custDataLst>
                  <p:tags r:id="rId24"/>
                </p:custDataLst>
              </p:nvPr>
            </p:nvPicPr>
            <p:blipFill>
              <a:blip r:embed="rId30">
                <a:extLst>
                  <a:ext uri="{96DAC541-7B7A-43D3-8B79-37D633B846F1}">
                    <asvg:svgBlip xmlns:asvg="http://schemas.microsoft.com/office/drawing/2016/SVG/main" r:embed="rId31"/>
                  </a:ext>
                </a:extLst>
              </a:blip>
              <a:stretch>
                <a:fillRect/>
              </a:stretch>
            </p:blipFill>
            <p:spPr>
              <a:xfrm>
                <a:off x="1270000" y="1270000"/>
                <a:ext cx="889000" cy="889000"/>
              </a:xfrm>
              <a:prstGeom prst="rect">
                <a:avLst/>
              </a:prstGeom>
            </p:spPr>
          </p:pic>
        </p:grpSp>
      </p:grpSp>
      <p:grpSp>
        <p:nvGrpSpPr>
          <p:cNvPr id="43" name="Group 42">
            <a:extLst>
              <a:ext uri="{FF2B5EF4-FFF2-40B4-BE49-F238E27FC236}">
                <a16:creationId xmlns:a16="http://schemas.microsoft.com/office/drawing/2014/main" id="{EF86A194-43E3-B647-2AF2-DD19A91E37AB}"/>
              </a:ext>
            </a:extLst>
          </p:cNvPr>
          <p:cNvGrpSpPr/>
          <p:nvPr>
            <p:custDataLst>
              <p:tags r:id="rId3"/>
            </p:custDataLst>
          </p:nvPr>
        </p:nvGrpSpPr>
        <p:grpSpPr>
          <a:xfrm>
            <a:off x="362315" y="2031597"/>
            <a:ext cx="2880360" cy="508000"/>
            <a:chOff x="362315" y="3436975"/>
            <a:chExt cx="2880360" cy="508000"/>
          </a:xfrm>
        </p:grpSpPr>
        <p:grpSp>
          <p:nvGrpSpPr>
            <p:cNvPr id="44" name="Group 43">
              <a:extLst>
                <a:ext uri="{FF2B5EF4-FFF2-40B4-BE49-F238E27FC236}">
                  <a16:creationId xmlns:a16="http://schemas.microsoft.com/office/drawing/2014/main" id="{7E7FF9E2-69DB-D568-2A5D-A960CBCA7180}"/>
                </a:ext>
              </a:extLst>
            </p:cNvPr>
            <p:cNvGrpSpPr/>
            <p:nvPr>
              <p:custDataLst>
                <p:tags r:id="rId14"/>
              </p:custDataLst>
            </p:nvPr>
          </p:nvGrpSpPr>
          <p:grpSpPr>
            <a:xfrm>
              <a:off x="362315" y="3436975"/>
              <a:ext cx="2880360" cy="508000"/>
              <a:chOff x="4147820" y="2243138"/>
              <a:chExt cx="2880360" cy="508000"/>
            </a:xfrm>
          </p:grpSpPr>
          <p:sp>
            <p:nvSpPr>
              <p:cNvPr id="48" name="Rectangle 47">
                <a:extLst>
                  <a:ext uri="{FF2B5EF4-FFF2-40B4-BE49-F238E27FC236}">
                    <a16:creationId xmlns:a16="http://schemas.microsoft.com/office/drawing/2014/main" id="{6DD24DD4-14D3-5457-0F0A-3401D8540BD5}"/>
                  </a:ext>
                </a:extLst>
              </p:cNvPr>
              <p:cNvSpPr/>
              <p:nvPr>
                <p:custDataLst>
                  <p:tags r:id="rId18"/>
                </p:custDataLst>
              </p:nvPr>
            </p:nvSpPr>
            <p:spPr bwMode="gray">
              <a:xfrm>
                <a:off x="4655820" y="2243138"/>
                <a:ext cx="2372360" cy="50800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r>
                  <a:rPr lang="de-DE" sz="1400">
                    <a:solidFill>
                      <a:schemeClr val="tx1"/>
                    </a:solidFill>
                  </a:rPr>
                  <a:t>Alle Vorzüge und Inhalte aus der KWP</a:t>
                </a:r>
              </a:p>
            </p:txBody>
          </p:sp>
          <p:cxnSp>
            <p:nvCxnSpPr>
              <p:cNvPr id="49" name="Straight Connector 48">
                <a:extLst>
                  <a:ext uri="{FF2B5EF4-FFF2-40B4-BE49-F238E27FC236}">
                    <a16:creationId xmlns:a16="http://schemas.microsoft.com/office/drawing/2014/main" id="{743FA29F-721E-C316-0CD6-8864AF00C843}"/>
                  </a:ext>
                </a:extLst>
              </p:cNvPr>
              <p:cNvCxnSpPr/>
              <p:nvPr>
                <p:custDataLst>
                  <p:tags r:id="rId19"/>
                </p:custDataLst>
              </p:nvPr>
            </p:nvCxnSpPr>
            <p:spPr>
              <a:xfrm>
                <a:off x="4147820" y="2751138"/>
                <a:ext cx="2880360" cy="0"/>
              </a:xfrm>
              <a:prstGeom prst="line">
                <a:avLst/>
              </a:prstGeom>
              <a:ln w="19050">
                <a:solidFill>
                  <a:srgbClr val="99B1B9"/>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4D0E55CC-D038-11C5-D8B4-BFDB1287AEDA}"/>
                  </a:ext>
                </a:extLst>
              </p:cNvPr>
              <p:cNvSpPr>
                <a:spLocks/>
              </p:cNvSpPr>
              <p:nvPr>
                <p:custDataLst>
                  <p:tags r:id="rId20"/>
                </p:custDataLst>
              </p:nvPr>
            </p:nvSpPr>
            <p:spPr bwMode="gray">
              <a:xfrm>
                <a:off x="4147820" y="2243138"/>
                <a:ext cx="508000" cy="508000"/>
              </a:xfrm>
              <a:prstGeom prst="rect">
                <a:avLst/>
              </a:prstGeom>
              <a:solidFill>
                <a:srgbClr val="99B1B9"/>
              </a:solidFill>
              <a:ln w="9525">
                <a:solidFill>
                  <a:srgbClr val="99B1B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grpSp>
        <p:grpSp>
          <p:nvGrpSpPr>
            <p:cNvPr id="45" name="Group 44">
              <a:extLst>
                <a:ext uri="{FF2B5EF4-FFF2-40B4-BE49-F238E27FC236}">
                  <a16:creationId xmlns:a16="http://schemas.microsoft.com/office/drawing/2014/main" id="{3EC26367-3110-3475-B87D-328ED9134611}"/>
                </a:ext>
              </a:extLst>
            </p:cNvPr>
            <p:cNvGrpSpPr>
              <a:grpSpLocks/>
            </p:cNvGrpSpPr>
            <p:nvPr>
              <p:custDataLst>
                <p:tags r:id="rId15"/>
              </p:custDataLst>
            </p:nvPr>
          </p:nvGrpSpPr>
          <p:grpSpPr>
            <a:xfrm>
              <a:off x="413115" y="3487775"/>
              <a:ext cx="406400" cy="406400"/>
              <a:chOff x="1270000" y="1270000"/>
              <a:chExt cx="889000" cy="889000"/>
            </a:xfrm>
          </p:grpSpPr>
          <p:sp>
            <p:nvSpPr>
              <p:cNvPr id="46" name="Rectangle 45" hidden="1">
                <a:extLst>
                  <a:ext uri="{FF2B5EF4-FFF2-40B4-BE49-F238E27FC236}">
                    <a16:creationId xmlns:a16="http://schemas.microsoft.com/office/drawing/2014/main" id="{56948802-DA0B-C81F-C907-E701D378BB6D}"/>
                  </a:ext>
                </a:extLst>
              </p:cNvPr>
              <p:cNvSpPr/>
              <p:nvPr>
                <p:custDataLst>
                  <p:tags r:id="rId16"/>
                </p:custDataLst>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pic>
            <p:nvPicPr>
              <p:cNvPr id="47" name="Graphic 46">
                <a:extLst>
                  <a:ext uri="{FF2B5EF4-FFF2-40B4-BE49-F238E27FC236}">
                    <a16:creationId xmlns:a16="http://schemas.microsoft.com/office/drawing/2014/main" id="{2CDB506F-4823-EDF5-0AC2-ADC358AAC1A3}"/>
                  </a:ext>
                </a:extLst>
              </p:cNvPr>
              <p:cNvPicPr>
                <a:picLocks noChangeAspect="1"/>
              </p:cNvPicPr>
              <p:nvPr>
                <p:custDataLst>
                  <p:tags r:id="rId17"/>
                </p:custDataLst>
              </p:nvPr>
            </p:nvPicPr>
            <p:blipFill>
              <a:blip r:embed="rId30">
                <a:extLst>
                  <a:ext uri="{96DAC541-7B7A-43D3-8B79-37D633B846F1}">
                    <asvg:svgBlip xmlns:asvg="http://schemas.microsoft.com/office/drawing/2016/SVG/main" r:embed="rId31"/>
                  </a:ext>
                </a:extLst>
              </a:blip>
              <a:stretch>
                <a:fillRect/>
              </a:stretch>
            </p:blipFill>
            <p:spPr>
              <a:xfrm>
                <a:off x="1270000" y="1270000"/>
                <a:ext cx="889000" cy="889000"/>
              </a:xfrm>
              <a:prstGeom prst="rect">
                <a:avLst/>
              </a:prstGeom>
            </p:spPr>
          </p:pic>
        </p:grpSp>
      </p:grpSp>
      <p:grpSp>
        <p:nvGrpSpPr>
          <p:cNvPr id="51" name="Group 50">
            <a:extLst>
              <a:ext uri="{FF2B5EF4-FFF2-40B4-BE49-F238E27FC236}">
                <a16:creationId xmlns:a16="http://schemas.microsoft.com/office/drawing/2014/main" id="{8D7B5017-86D0-6202-115F-3ADE5D20920C}"/>
              </a:ext>
            </a:extLst>
          </p:cNvPr>
          <p:cNvGrpSpPr/>
          <p:nvPr>
            <p:custDataLst>
              <p:tags r:id="rId4"/>
            </p:custDataLst>
          </p:nvPr>
        </p:nvGrpSpPr>
        <p:grpSpPr>
          <a:xfrm>
            <a:off x="362315" y="2894550"/>
            <a:ext cx="2880360" cy="508000"/>
            <a:chOff x="362315" y="3436975"/>
            <a:chExt cx="2880360" cy="508000"/>
          </a:xfrm>
        </p:grpSpPr>
        <p:grpSp>
          <p:nvGrpSpPr>
            <p:cNvPr id="52" name="Group 51">
              <a:extLst>
                <a:ext uri="{FF2B5EF4-FFF2-40B4-BE49-F238E27FC236}">
                  <a16:creationId xmlns:a16="http://schemas.microsoft.com/office/drawing/2014/main" id="{4CFC5C81-AB32-60D7-C6D2-764BB0CCCFB0}"/>
                </a:ext>
              </a:extLst>
            </p:cNvPr>
            <p:cNvGrpSpPr/>
            <p:nvPr>
              <p:custDataLst>
                <p:tags r:id="rId7"/>
              </p:custDataLst>
            </p:nvPr>
          </p:nvGrpSpPr>
          <p:grpSpPr>
            <a:xfrm>
              <a:off x="362315" y="3436975"/>
              <a:ext cx="2880360" cy="508000"/>
              <a:chOff x="4147820" y="2243138"/>
              <a:chExt cx="2880360" cy="508000"/>
            </a:xfrm>
          </p:grpSpPr>
          <p:sp>
            <p:nvSpPr>
              <p:cNvPr id="56" name="Rectangle 55">
                <a:extLst>
                  <a:ext uri="{FF2B5EF4-FFF2-40B4-BE49-F238E27FC236}">
                    <a16:creationId xmlns:a16="http://schemas.microsoft.com/office/drawing/2014/main" id="{608B0C63-C61C-F984-7EBD-6798CEDBD3A8}"/>
                  </a:ext>
                </a:extLst>
              </p:cNvPr>
              <p:cNvSpPr/>
              <p:nvPr>
                <p:custDataLst>
                  <p:tags r:id="rId11"/>
                </p:custDataLst>
              </p:nvPr>
            </p:nvSpPr>
            <p:spPr bwMode="gray">
              <a:xfrm>
                <a:off x="4655820" y="2243138"/>
                <a:ext cx="2372360" cy="50800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r>
                  <a:rPr lang="de-DE" sz="1400">
                    <a:solidFill>
                      <a:schemeClr val="tx1"/>
                    </a:solidFill>
                  </a:rPr>
                  <a:t>Datenschutzkonform</a:t>
                </a:r>
              </a:p>
            </p:txBody>
          </p:sp>
          <p:cxnSp>
            <p:nvCxnSpPr>
              <p:cNvPr id="57" name="Straight Connector 56">
                <a:extLst>
                  <a:ext uri="{FF2B5EF4-FFF2-40B4-BE49-F238E27FC236}">
                    <a16:creationId xmlns:a16="http://schemas.microsoft.com/office/drawing/2014/main" id="{51917AD7-AEF4-252F-B90D-9F8D5E14B1FC}"/>
                  </a:ext>
                </a:extLst>
              </p:cNvPr>
              <p:cNvCxnSpPr/>
              <p:nvPr>
                <p:custDataLst>
                  <p:tags r:id="rId12"/>
                </p:custDataLst>
              </p:nvPr>
            </p:nvCxnSpPr>
            <p:spPr>
              <a:xfrm>
                <a:off x="4147820" y="2751138"/>
                <a:ext cx="2880360" cy="0"/>
              </a:xfrm>
              <a:prstGeom prst="line">
                <a:avLst/>
              </a:prstGeom>
              <a:ln w="19050">
                <a:solidFill>
                  <a:srgbClr val="99B1B9"/>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C6B03805-691A-7F8D-902B-9130AB4EBF1B}"/>
                  </a:ext>
                </a:extLst>
              </p:cNvPr>
              <p:cNvSpPr>
                <a:spLocks/>
              </p:cNvSpPr>
              <p:nvPr>
                <p:custDataLst>
                  <p:tags r:id="rId13"/>
                </p:custDataLst>
              </p:nvPr>
            </p:nvSpPr>
            <p:spPr bwMode="gray">
              <a:xfrm>
                <a:off x="4147820" y="2243138"/>
                <a:ext cx="508000" cy="508000"/>
              </a:xfrm>
              <a:prstGeom prst="rect">
                <a:avLst/>
              </a:prstGeom>
              <a:solidFill>
                <a:srgbClr val="99B1B9"/>
              </a:solidFill>
              <a:ln w="9525">
                <a:solidFill>
                  <a:srgbClr val="99B1B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grpSp>
        <p:grpSp>
          <p:nvGrpSpPr>
            <p:cNvPr id="53" name="Group 52">
              <a:extLst>
                <a:ext uri="{FF2B5EF4-FFF2-40B4-BE49-F238E27FC236}">
                  <a16:creationId xmlns:a16="http://schemas.microsoft.com/office/drawing/2014/main" id="{5158B1B0-34BD-B87C-C5F1-0BE69A2F8815}"/>
                </a:ext>
              </a:extLst>
            </p:cNvPr>
            <p:cNvGrpSpPr>
              <a:grpSpLocks/>
            </p:cNvGrpSpPr>
            <p:nvPr>
              <p:custDataLst>
                <p:tags r:id="rId8"/>
              </p:custDataLst>
            </p:nvPr>
          </p:nvGrpSpPr>
          <p:grpSpPr>
            <a:xfrm>
              <a:off x="413115" y="3487775"/>
              <a:ext cx="406400" cy="406400"/>
              <a:chOff x="1270000" y="1270000"/>
              <a:chExt cx="889000" cy="889000"/>
            </a:xfrm>
          </p:grpSpPr>
          <p:sp>
            <p:nvSpPr>
              <p:cNvPr id="54" name="Rectangle 53" hidden="1">
                <a:extLst>
                  <a:ext uri="{FF2B5EF4-FFF2-40B4-BE49-F238E27FC236}">
                    <a16:creationId xmlns:a16="http://schemas.microsoft.com/office/drawing/2014/main" id="{FBFFBCAE-FCAF-1885-9D3B-87CFF8162056}"/>
                  </a:ext>
                </a:extLst>
              </p:cNvPr>
              <p:cNvSpPr/>
              <p:nvPr>
                <p:custDataLst>
                  <p:tags r:id="rId9"/>
                </p:custDataLst>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pic>
            <p:nvPicPr>
              <p:cNvPr id="55" name="Graphic 54">
                <a:extLst>
                  <a:ext uri="{FF2B5EF4-FFF2-40B4-BE49-F238E27FC236}">
                    <a16:creationId xmlns:a16="http://schemas.microsoft.com/office/drawing/2014/main" id="{554328BB-95EE-5953-39EB-F38F9173377D}"/>
                  </a:ext>
                </a:extLst>
              </p:cNvPr>
              <p:cNvPicPr>
                <a:picLocks noChangeAspect="1"/>
              </p:cNvPicPr>
              <p:nvPr>
                <p:custDataLst>
                  <p:tags r:id="rId10"/>
                </p:custDataLst>
              </p:nvPr>
            </p:nvPicPr>
            <p:blipFill>
              <a:blip r:embed="rId30">
                <a:extLst>
                  <a:ext uri="{96DAC541-7B7A-43D3-8B79-37D633B846F1}">
                    <asvg:svgBlip xmlns:asvg="http://schemas.microsoft.com/office/drawing/2016/SVG/main" r:embed="rId31"/>
                  </a:ext>
                </a:extLst>
              </a:blip>
              <a:stretch>
                <a:fillRect/>
              </a:stretch>
            </p:blipFill>
            <p:spPr>
              <a:xfrm>
                <a:off x="1270000" y="1270000"/>
                <a:ext cx="889000" cy="889000"/>
              </a:xfrm>
              <a:prstGeom prst="rect">
                <a:avLst/>
              </a:prstGeom>
            </p:spPr>
          </p:pic>
        </p:grpSp>
      </p:grpSp>
      <p:sp>
        <p:nvSpPr>
          <p:cNvPr id="60" name="line_bottom">
            <a:extLst>
              <a:ext uri="{FF2B5EF4-FFF2-40B4-BE49-F238E27FC236}">
                <a16:creationId xmlns:a16="http://schemas.microsoft.com/office/drawing/2014/main" id="{858A7626-CAF9-F0B2-104B-204071E1AC2E}"/>
              </a:ext>
            </a:extLst>
          </p:cNvPr>
          <p:cNvSpPr/>
          <p:nvPr>
            <p:custDataLst>
              <p:tags r:id="rId5"/>
            </p:custDataLst>
          </p:nvPr>
        </p:nvSpPr>
        <p:spPr bwMode="gray">
          <a:xfrm>
            <a:off x="1156382" y="3528737"/>
            <a:ext cx="1800226" cy="114301"/>
          </a:xfrm>
          <a:custGeom>
            <a:avLst/>
            <a:gdLst/>
            <a:ahLst/>
            <a:cxnLst/>
            <a:rect l="0" t="0" r="0" b="0"/>
            <a:pathLst>
              <a:path w="1800226" h="114301">
                <a:moveTo>
                  <a:pt x="0" y="0"/>
                </a:moveTo>
                <a:lnTo>
                  <a:pt x="785813" y="0"/>
                </a:lnTo>
                <a:lnTo>
                  <a:pt x="900113" y="114300"/>
                </a:lnTo>
                <a:lnTo>
                  <a:pt x="1014413" y="0"/>
                </a:lnTo>
                <a:lnTo>
                  <a:pt x="1800225" y="0"/>
                </a:lnTo>
              </a:path>
            </a:pathLst>
          </a:custGeom>
          <a:ln w="19050">
            <a:solidFill>
              <a:srgbClr val="99B1B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62" name="THM_bar">
            <a:extLst>
              <a:ext uri="{FF2B5EF4-FFF2-40B4-BE49-F238E27FC236}">
                <a16:creationId xmlns:a16="http://schemas.microsoft.com/office/drawing/2014/main" id="{1196F34E-FBCA-DA1B-A772-A1378735251D}"/>
              </a:ext>
            </a:extLst>
          </p:cNvPr>
          <p:cNvGrpSpPr/>
          <p:nvPr>
            <p:custDataLst>
              <p:tags r:id="rId6"/>
            </p:custDataLst>
          </p:nvPr>
        </p:nvGrpSpPr>
        <p:grpSpPr>
          <a:xfrm>
            <a:off x="208026" y="5549075"/>
            <a:ext cx="9372600" cy="468059"/>
            <a:chOff x="208026" y="5549074"/>
            <a:chExt cx="9372600" cy="468059"/>
          </a:xfrm>
        </p:grpSpPr>
        <p:sp>
          <p:nvSpPr>
            <p:cNvPr id="63" name="THM_bar_background">
              <a:extLst>
                <a:ext uri="{FF2B5EF4-FFF2-40B4-BE49-F238E27FC236}">
                  <a16:creationId xmlns:a16="http://schemas.microsoft.com/office/drawing/2014/main" id="{43D00E5F-5FD8-7A35-240B-F07A57A9B224}"/>
                </a:ext>
              </a:extLst>
            </p:cNvPr>
            <p:cNvSpPr/>
            <p:nvPr/>
          </p:nvSpPr>
          <p:spPr bwMode="gray">
            <a:xfrm>
              <a:off x="208026" y="5549074"/>
              <a:ext cx="9372600" cy="468059"/>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45" tIns="0" rIns="144018" bIns="0" rtlCol="0" anchor="ctr">
              <a:noAutofit/>
            </a:bodyPr>
            <a:lstStyle/>
            <a:p>
              <a:pPr defTabSz="914368"/>
              <a:r>
                <a:rPr lang="de-DE" sz="1400">
                  <a:solidFill>
                    <a:srgbClr val="003C50"/>
                  </a:solidFill>
                  <a:latin typeface="Roboto" panose="02000000000000000000" pitchFamily="2" charset="0"/>
                </a:rPr>
                <a:t>Die verfügbare Online-Energiekarte (</a:t>
              </a:r>
              <a:r>
                <a:rPr lang="de-DE" sz="1400">
                  <a:solidFill>
                    <a:srgbClr val="003C50"/>
                  </a:solidFill>
                  <a:latin typeface="Roboto" panose="02000000000000000000" pitchFamily="2" charset="0"/>
                  <a:hlinkClick r:id="rId32"/>
                </a:rPr>
                <a:t>Link</a:t>
              </a:r>
              <a:r>
                <a:rPr lang="de-DE" sz="1400">
                  <a:solidFill>
                    <a:srgbClr val="003C50"/>
                  </a:solidFill>
                  <a:latin typeface="Roboto" panose="02000000000000000000" pitchFamily="2" charset="0"/>
                </a:rPr>
                <a:t>) macht die Ergebnisse der KWP für Sie transparent und nachvollziehbar</a:t>
              </a:r>
            </a:p>
          </p:txBody>
        </p:sp>
        <p:grpSp>
          <p:nvGrpSpPr>
            <p:cNvPr id="64" name="thm_triangle_i38059">
              <a:extLst>
                <a:ext uri="{FF2B5EF4-FFF2-40B4-BE49-F238E27FC236}">
                  <a16:creationId xmlns:a16="http://schemas.microsoft.com/office/drawing/2014/main" id="{D5EE0152-284B-548A-D60F-DAC247E52CFD}"/>
                </a:ext>
              </a:extLst>
            </p:cNvPr>
            <p:cNvGrpSpPr/>
            <p:nvPr/>
          </p:nvGrpSpPr>
          <p:grpSpPr>
            <a:xfrm>
              <a:off x="208026" y="5549074"/>
              <a:ext cx="234029" cy="468058"/>
              <a:chOff x="117014" y="-117014"/>
              <a:chExt cx="234029" cy="468058"/>
            </a:xfrm>
          </p:grpSpPr>
          <p:sp>
            <p:nvSpPr>
              <p:cNvPr id="65" name="box">
                <a:extLst>
                  <a:ext uri="{FF2B5EF4-FFF2-40B4-BE49-F238E27FC236}">
                    <a16:creationId xmlns:a16="http://schemas.microsoft.com/office/drawing/2014/main" id="{C6847520-6490-2DFC-BC05-F961DB5DA9B8}"/>
                  </a:ext>
                </a:extLst>
              </p:cNvPr>
              <p:cNvSpPr/>
              <p:nvPr/>
            </p:nvSpPr>
            <p:spPr bwMode="white">
              <a:xfrm rot="16200000">
                <a:off x="-117015" y="117015"/>
                <a:ext cx="468058" cy="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err="1">
                  <a:solidFill>
                    <a:srgbClr val="003C50"/>
                  </a:solidFill>
                  <a:latin typeface="Roboto"/>
                </a:endParaRPr>
              </a:p>
            </p:txBody>
          </p:sp>
          <p:sp>
            <p:nvSpPr>
              <p:cNvPr id="66" name="triangle_1">
                <a:extLst>
                  <a:ext uri="{FF2B5EF4-FFF2-40B4-BE49-F238E27FC236}">
                    <a16:creationId xmlns:a16="http://schemas.microsoft.com/office/drawing/2014/main" id="{7FBD571A-92F4-7498-7464-46061BDD0693}"/>
                  </a:ext>
                </a:extLst>
              </p:cNvPr>
              <p:cNvSpPr/>
              <p:nvPr/>
            </p:nvSpPr>
            <p:spPr bwMode="white">
              <a:xfrm rot="5400000">
                <a:off x="0" y="0"/>
                <a:ext cx="468058" cy="234029"/>
              </a:xfrm>
              <a:prstGeom prst="triangle">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err="1">
                  <a:solidFill>
                    <a:srgbClr val="003C50"/>
                  </a:solidFill>
                  <a:latin typeface="Roboto"/>
                </a:endParaRPr>
              </a:p>
            </p:txBody>
          </p:sp>
          <p:sp>
            <p:nvSpPr>
              <p:cNvPr id="67" name="triangle_2">
                <a:extLst>
                  <a:ext uri="{FF2B5EF4-FFF2-40B4-BE49-F238E27FC236}">
                    <a16:creationId xmlns:a16="http://schemas.microsoft.com/office/drawing/2014/main" id="{4E8EB35E-43EA-235C-D8B6-0329DB617244}"/>
                  </a:ext>
                </a:extLst>
              </p:cNvPr>
              <p:cNvSpPr/>
              <p:nvPr/>
            </p:nvSpPr>
            <p:spPr bwMode="gray">
              <a:xfrm rot="5400000">
                <a:off x="0" y="0"/>
                <a:ext cx="468058" cy="234029"/>
              </a:xfrm>
              <a:prstGeom prst="triangl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err="1">
                  <a:solidFill>
                    <a:srgbClr val="003C50"/>
                  </a:solidFill>
                  <a:latin typeface="Roboto"/>
                </a:endParaRPr>
              </a:p>
            </p:txBody>
          </p:sp>
        </p:grpSp>
      </p:grpSp>
      <p:sp>
        <p:nvSpPr>
          <p:cNvPr id="5" name="Footer Placeholder 4">
            <a:extLst>
              <a:ext uri="{FF2B5EF4-FFF2-40B4-BE49-F238E27FC236}">
                <a16:creationId xmlns:a16="http://schemas.microsoft.com/office/drawing/2014/main" id="{36521B22-986D-6BFC-474C-95F869A13825}"/>
              </a:ext>
            </a:extLst>
          </p:cNvPr>
          <p:cNvSpPr>
            <a:spLocks noGrp="1"/>
          </p:cNvSpPr>
          <p:nvPr>
            <p:ph type="ftr" sz="quarter" idx="12"/>
          </p:nvPr>
        </p:nvSpPr>
        <p:spPr/>
        <p:txBody>
          <a:bodyPr/>
          <a:lstStyle/>
          <a:p>
            <a:r>
              <a:rPr lang="de-DE"/>
              <a:t>© 2026</a:t>
            </a:r>
          </a:p>
          <a:p>
            <a:r>
              <a:rPr lang="de-DE"/>
              <a:t>d-fine</a:t>
            </a:r>
          </a:p>
        </p:txBody>
      </p:sp>
      <p:sp>
        <p:nvSpPr>
          <p:cNvPr id="6" name="Slide Number Placeholder 5">
            <a:extLst>
              <a:ext uri="{FF2B5EF4-FFF2-40B4-BE49-F238E27FC236}">
                <a16:creationId xmlns:a16="http://schemas.microsoft.com/office/drawing/2014/main" id="{1228D043-50D4-9B55-479B-3C939677232F}"/>
              </a:ext>
            </a:extLst>
          </p:cNvPr>
          <p:cNvSpPr>
            <a:spLocks noGrp="1"/>
          </p:cNvSpPr>
          <p:nvPr>
            <p:ph type="sldNum" sz="quarter" idx="11"/>
          </p:nvPr>
        </p:nvSpPr>
        <p:spPr/>
        <p:txBody>
          <a:bodyPr/>
          <a:lstStyle/>
          <a:p>
            <a:endParaRPr lang="de-DE"/>
          </a:p>
          <a:p>
            <a:fld id="{24C420F5-194C-40F2-A080-C5F3EDD89037}" type="slidenum">
              <a:rPr lang="de-DE" smtClean="0"/>
              <a:pPr/>
              <a:t>36</a:t>
            </a:fld>
            <a:endParaRPr lang="de-DE"/>
          </a:p>
        </p:txBody>
      </p:sp>
      <p:pic>
        <p:nvPicPr>
          <p:cNvPr id="13" name="Picture 12">
            <a:extLst>
              <a:ext uri="{FF2B5EF4-FFF2-40B4-BE49-F238E27FC236}">
                <a16:creationId xmlns:a16="http://schemas.microsoft.com/office/drawing/2014/main" id="{DF4CACB1-4111-12CD-3272-47CAA2297623}"/>
              </a:ext>
            </a:extLst>
          </p:cNvPr>
          <p:cNvPicPr>
            <a:picLocks noChangeAspect="1"/>
          </p:cNvPicPr>
          <p:nvPr/>
        </p:nvPicPr>
        <p:blipFill>
          <a:blip r:embed="rId33"/>
          <a:stretch>
            <a:fillRect/>
          </a:stretch>
        </p:blipFill>
        <p:spPr>
          <a:xfrm>
            <a:off x="3489030" y="1168643"/>
            <a:ext cx="6023270" cy="3603290"/>
          </a:xfrm>
          <a:prstGeom prst="rect">
            <a:avLst/>
          </a:prstGeom>
        </p:spPr>
      </p:pic>
      <p:pic>
        <p:nvPicPr>
          <p:cNvPr id="4" name="Picture 3" descr="A qr code with a few squares&#10;&#10;AI-generated content may be incorrect.">
            <a:extLst>
              <a:ext uri="{FF2B5EF4-FFF2-40B4-BE49-F238E27FC236}">
                <a16:creationId xmlns:a16="http://schemas.microsoft.com/office/drawing/2014/main" id="{94A6DC45-0C73-D40E-F5F9-F97895D271B9}"/>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8110570" y="3973545"/>
            <a:ext cx="1401730" cy="1401730"/>
          </a:xfrm>
          <a:prstGeom prst="rect">
            <a:avLst/>
          </a:prstGeom>
          <a:ln w="28575">
            <a:solidFill>
              <a:schemeClr val="tx1"/>
            </a:solidFill>
          </a:ln>
        </p:spPr>
      </p:pic>
    </p:spTree>
    <p:custDataLst>
      <p:tags r:id="rId1"/>
    </p:custDataLst>
    <p:extLst>
      <p:ext uri="{BB962C8B-B14F-4D97-AF65-F5344CB8AC3E}">
        <p14:creationId xmlns:p14="http://schemas.microsoft.com/office/powerpoint/2010/main" val="35087309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0D5053-E6D8-FE01-27E1-5CA5433557F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AACD536-7675-10A7-1B83-F3AC85C714ED}"/>
              </a:ext>
            </a:extLst>
          </p:cNvPr>
          <p:cNvSpPr>
            <a:spLocks noGrp="1"/>
          </p:cNvSpPr>
          <p:nvPr>
            <p:ph type="ctrTitle"/>
          </p:nvPr>
        </p:nvSpPr>
        <p:spPr/>
        <p:txBody>
          <a:bodyPr/>
          <a:lstStyle/>
          <a:p>
            <a:r>
              <a:rPr lang="de-DE" sz="2400"/>
              <a:t>Rückblick / Zusammenfassung </a:t>
            </a:r>
            <a:r>
              <a:rPr lang="en-US" sz="2400" err="1"/>
              <a:t>Potenzialanalyse</a:t>
            </a:r>
            <a:endParaRPr lang="de-DE" sz="2400"/>
          </a:p>
        </p:txBody>
      </p:sp>
      <p:sp>
        <p:nvSpPr>
          <p:cNvPr id="4" name="Text Placeholder 3">
            <a:extLst>
              <a:ext uri="{FF2B5EF4-FFF2-40B4-BE49-F238E27FC236}">
                <a16:creationId xmlns:a16="http://schemas.microsoft.com/office/drawing/2014/main" id="{5591A6AD-CB1A-E3A5-6E75-EA222B241914}"/>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25799985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03CEF3-5A92-5B2D-F1C9-D2534F5760A5}"/>
              </a:ext>
            </a:extLst>
          </p:cNvPr>
          <p:cNvSpPr>
            <a:spLocks noGrp="1"/>
          </p:cNvSpPr>
          <p:nvPr>
            <p:ph type="title"/>
          </p:nvPr>
        </p:nvSpPr>
        <p:spPr/>
        <p:txBody>
          <a:bodyPr/>
          <a:lstStyle/>
          <a:p>
            <a:r>
              <a:rPr lang="de-DE" b="1">
                <a:latin typeface="Roboto" panose="02000000000000000000" pitchFamily="2" charset="0"/>
              </a:rPr>
              <a:t>Ergebnisse der Kommunalen Wärmeplanung - Potenzialanalyse</a:t>
            </a:r>
            <a:br>
              <a:rPr lang="de-DE" b="1">
                <a:latin typeface="Roboto" panose="02000000000000000000" pitchFamily="2" charset="0"/>
              </a:rPr>
            </a:br>
            <a:endParaRPr lang="de-DE"/>
          </a:p>
        </p:txBody>
      </p:sp>
      <p:grpSp>
        <p:nvGrpSpPr>
          <p:cNvPr id="11" name="THM_bar">
            <a:extLst>
              <a:ext uri="{FF2B5EF4-FFF2-40B4-BE49-F238E27FC236}">
                <a16:creationId xmlns:a16="http://schemas.microsoft.com/office/drawing/2014/main" id="{50DC0148-AE12-CCC5-DA6E-FBE92A91620A}"/>
              </a:ext>
            </a:extLst>
          </p:cNvPr>
          <p:cNvGrpSpPr/>
          <p:nvPr>
            <p:custDataLst>
              <p:tags r:id="rId1"/>
            </p:custDataLst>
          </p:nvPr>
        </p:nvGrpSpPr>
        <p:grpSpPr>
          <a:xfrm>
            <a:off x="208026" y="5549074"/>
            <a:ext cx="9372600" cy="468059"/>
            <a:chOff x="208026" y="5549074"/>
            <a:chExt cx="9372600" cy="468059"/>
          </a:xfrm>
        </p:grpSpPr>
        <p:sp>
          <p:nvSpPr>
            <p:cNvPr id="12" name="THM_bar_background">
              <a:extLst>
                <a:ext uri="{FF2B5EF4-FFF2-40B4-BE49-F238E27FC236}">
                  <a16:creationId xmlns:a16="http://schemas.microsoft.com/office/drawing/2014/main" id="{C8E22F66-400A-5C3F-B296-B4B0D7D7EA6B}"/>
                </a:ext>
              </a:extLst>
            </p:cNvPr>
            <p:cNvSpPr/>
            <p:nvPr/>
          </p:nvSpPr>
          <p:spPr bwMode="gray">
            <a:xfrm>
              <a:off x="208026" y="5549074"/>
              <a:ext cx="9372600" cy="468059"/>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45" tIns="0" rIns="144018" bIns="0" rtlCol="0" anchor="ctr">
              <a:noAutofit/>
            </a:bodyPr>
            <a:lstStyle/>
            <a:p>
              <a:r>
                <a:rPr lang="de-DE" sz="1400">
                  <a:solidFill>
                    <a:schemeClr val="tx1"/>
                  </a:solidFill>
                  <a:latin typeface="Roboto" panose="02000000000000000000" pitchFamily="2" charset="0"/>
                </a:rPr>
                <a:t>Ziel ist die </a:t>
              </a:r>
              <a:r>
                <a:rPr lang="de-DE" sz="1400" b="1">
                  <a:solidFill>
                    <a:schemeClr val="tx1"/>
                  </a:solidFill>
                  <a:latin typeface="Roboto" panose="02000000000000000000" pitchFamily="2" charset="0"/>
                </a:rPr>
                <a:t>Ermittlung von Einsparpotenzialen </a:t>
              </a:r>
              <a:r>
                <a:rPr lang="de-DE" sz="1400">
                  <a:solidFill>
                    <a:schemeClr val="tx1"/>
                  </a:solidFill>
                  <a:latin typeface="Roboto" panose="02000000000000000000" pitchFamily="2" charset="0"/>
                </a:rPr>
                <a:t>und Potenzialen aus </a:t>
              </a:r>
              <a:r>
                <a:rPr lang="de-DE" sz="1400" b="1">
                  <a:solidFill>
                    <a:schemeClr val="tx1"/>
                  </a:solidFill>
                  <a:latin typeface="Roboto" panose="02000000000000000000" pitchFamily="2" charset="0"/>
                </a:rPr>
                <a:t>Erneuerbaren </a:t>
              </a:r>
              <a:r>
                <a:rPr lang="de-DE" sz="1400">
                  <a:solidFill>
                    <a:schemeClr val="tx1"/>
                  </a:solidFill>
                  <a:latin typeface="Roboto" panose="02000000000000000000" pitchFamily="2" charset="0"/>
                </a:rPr>
                <a:t>in Rheda-Wiedenbrück </a:t>
              </a:r>
            </a:p>
          </p:txBody>
        </p:sp>
        <p:grpSp>
          <p:nvGrpSpPr>
            <p:cNvPr id="13" name="thm_triangle_i52819">
              <a:extLst>
                <a:ext uri="{FF2B5EF4-FFF2-40B4-BE49-F238E27FC236}">
                  <a16:creationId xmlns:a16="http://schemas.microsoft.com/office/drawing/2014/main" id="{72FD79A3-623A-BFF9-5D75-B6E9704DDB23}"/>
                </a:ext>
              </a:extLst>
            </p:cNvPr>
            <p:cNvGrpSpPr/>
            <p:nvPr/>
          </p:nvGrpSpPr>
          <p:grpSpPr>
            <a:xfrm>
              <a:off x="208026" y="5549074"/>
              <a:ext cx="234029" cy="468058"/>
              <a:chOff x="117014" y="-117014"/>
              <a:chExt cx="234029" cy="468058"/>
            </a:xfrm>
          </p:grpSpPr>
          <p:sp>
            <p:nvSpPr>
              <p:cNvPr id="14" name="box">
                <a:extLst>
                  <a:ext uri="{FF2B5EF4-FFF2-40B4-BE49-F238E27FC236}">
                    <a16:creationId xmlns:a16="http://schemas.microsoft.com/office/drawing/2014/main" id="{C873D84B-3A51-E934-CC37-44A6C1D98BCA}"/>
                  </a:ext>
                </a:extLst>
              </p:cNvPr>
              <p:cNvSpPr/>
              <p:nvPr/>
            </p:nvSpPr>
            <p:spPr bwMode="white">
              <a:xfrm rot="16200000">
                <a:off x="-117015" y="117015"/>
                <a:ext cx="468058" cy="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15" name="triangle_1">
                <a:extLst>
                  <a:ext uri="{FF2B5EF4-FFF2-40B4-BE49-F238E27FC236}">
                    <a16:creationId xmlns:a16="http://schemas.microsoft.com/office/drawing/2014/main" id="{55D05E22-8F65-3CE9-B8DB-E80E40A1AC63}"/>
                  </a:ext>
                </a:extLst>
              </p:cNvPr>
              <p:cNvSpPr/>
              <p:nvPr/>
            </p:nvSpPr>
            <p:spPr bwMode="white">
              <a:xfrm rot="5400000">
                <a:off x="0" y="0"/>
                <a:ext cx="468058" cy="234029"/>
              </a:xfrm>
              <a:prstGeom prst="triangle">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16" name="triangle_2">
                <a:extLst>
                  <a:ext uri="{FF2B5EF4-FFF2-40B4-BE49-F238E27FC236}">
                    <a16:creationId xmlns:a16="http://schemas.microsoft.com/office/drawing/2014/main" id="{9D462E6C-AAB4-4EA0-9FAB-C06F4FEA1A45}"/>
                  </a:ext>
                </a:extLst>
              </p:cNvPr>
              <p:cNvSpPr/>
              <p:nvPr/>
            </p:nvSpPr>
            <p:spPr bwMode="gray">
              <a:xfrm rot="5400000">
                <a:off x="0" y="0"/>
                <a:ext cx="468058" cy="234029"/>
              </a:xfrm>
              <a:prstGeom prst="triangl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grpSp>
      </p:grpSp>
      <p:sp>
        <p:nvSpPr>
          <p:cNvPr id="17" name="box_text_1">
            <a:extLst>
              <a:ext uri="{FF2B5EF4-FFF2-40B4-BE49-F238E27FC236}">
                <a16:creationId xmlns:a16="http://schemas.microsoft.com/office/drawing/2014/main" id="{1F5B728F-48A3-2B7D-4667-DB599686239D}"/>
              </a:ext>
            </a:extLst>
          </p:cNvPr>
          <p:cNvSpPr/>
          <p:nvPr>
            <p:custDataLst>
              <p:tags r:id="rId2"/>
            </p:custDataLst>
          </p:nvPr>
        </p:nvSpPr>
        <p:spPr bwMode="gray">
          <a:xfrm>
            <a:off x="208025" y="3221700"/>
            <a:ext cx="9298709" cy="1383667"/>
          </a:xfrm>
          <a:prstGeom prst="rect">
            <a:avLst/>
          </a:prstGeom>
          <a:noFill/>
          <a:ln w="9525">
            <a:solidFill>
              <a:schemeClr val="accent1"/>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oAutofit/>
          </a:bodyPr>
          <a:lstStyle/>
          <a:p>
            <a:pPr algn="ctr">
              <a:spcAft>
                <a:spcPts val="200"/>
              </a:spcAft>
              <a:buClr>
                <a:srgbClr val="003C50"/>
              </a:buClr>
              <a:tabLst>
                <a:tab pos="144000" algn="l"/>
              </a:tabLst>
            </a:pPr>
            <a:endParaRPr lang="de-DE" sz="1000">
              <a:solidFill>
                <a:schemeClr val="tx1"/>
              </a:solidFill>
              <a:latin typeface="Roboto" panose="02000000000000000000" pitchFamily="2" charset="0"/>
            </a:endParaRPr>
          </a:p>
        </p:txBody>
      </p:sp>
      <p:sp>
        <p:nvSpPr>
          <p:cNvPr id="18" name="Rectangle 17">
            <a:extLst>
              <a:ext uri="{FF2B5EF4-FFF2-40B4-BE49-F238E27FC236}">
                <a16:creationId xmlns:a16="http://schemas.microsoft.com/office/drawing/2014/main" id="{B0555AB1-2047-E468-183E-04F83E93239F}"/>
              </a:ext>
            </a:extLst>
          </p:cNvPr>
          <p:cNvSpPr/>
          <p:nvPr/>
        </p:nvSpPr>
        <p:spPr bwMode="gray">
          <a:xfrm>
            <a:off x="8853156" y="4010976"/>
            <a:ext cx="72000" cy="360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37" name="Rectangle 36">
            <a:extLst>
              <a:ext uri="{FF2B5EF4-FFF2-40B4-BE49-F238E27FC236}">
                <a16:creationId xmlns:a16="http://schemas.microsoft.com/office/drawing/2014/main" id="{784FAD90-F7DF-8066-2715-C1B03A24ACA4}"/>
              </a:ext>
            </a:extLst>
          </p:cNvPr>
          <p:cNvSpPr/>
          <p:nvPr/>
        </p:nvSpPr>
        <p:spPr bwMode="gray">
          <a:xfrm>
            <a:off x="339725" y="3247133"/>
            <a:ext cx="4389440" cy="432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latin typeface="Roboto" panose="02000000000000000000" pitchFamily="2" charset="0"/>
              </a:rPr>
              <a:t>Was sind die Ergebnisse? </a:t>
            </a:r>
          </a:p>
        </p:txBody>
      </p:sp>
      <p:pic>
        <p:nvPicPr>
          <p:cNvPr id="38" name="Graphic 37" descr="Users with solid fill">
            <a:extLst>
              <a:ext uri="{FF2B5EF4-FFF2-40B4-BE49-F238E27FC236}">
                <a16:creationId xmlns:a16="http://schemas.microsoft.com/office/drawing/2014/main" id="{ABA36209-B7D7-9F0A-3B19-A0D28CC5ACB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26056" y="3247133"/>
            <a:ext cx="432000" cy="432000"/>
          </a:xfrm>
          <a:prstGeom prst="rect">
            <a:avLst/>
          </a:prstGeom>
        </p:spPr>
      </p:pic>
      <p:sp>
        <p:nvSpPr>
          <p:cNvPr id="40" name="TextBox 39">
            <a:extLst>
              <a:ext uri="{FF2B5EF4-FFF2-40B4-BE49-F238E27FC236}">
                <a16:creationId xmlns:a16="http://schemas.microsoft.com/office/drawing/2014/main" id="{04A91E9D-1AFA-47A7-DFDE-49678B769A35}"/>
              </a:ext>
            </a:extLst>
          </p:cNvPr>
          <p:cNvSpPr txBox="1"/>
          <p:nvPr/>
        </p:nvSpPr>
        <p:spPr>
          <a:xfrm>
            <a:off x="4946999" y="3723998"/>
            <a:ext cx="4559742" cy="627189"/>
          </a:xfrm>
          <a:prstGeom prst="rect">
            <a:avLst/>
          </a:prstGeom>
          <a:noFill/>
        </p:spPr>
        <p:txBody>
          <a:bodyPr wrap="none" lIns="0" tIns="0" rIns="0" bIns="0" rtlCol="0" anchor="t">
            <a:noAutofit/>
          </a:bodyPr>
          <a:lstStyle/>
          <a:p>
            <a:endParaRPr lang="de-DE" sz="1400"/>
          </a:p>
        </p:txBody>
      </p:sp>
      <p:grpSp>
        <p:nvGrpSpPr>
          <p:cNvPr id="41" name="Group 40">
            <a:extLst>
              <a:ext uri="{FF2B5EF4-FFF2-40B4-BE49-F238E27FC236}">
                <a16:creationId xmlns:a16="http://schemas.microsoft.com/office/drawing/2014/main" id="{6E432B3E-74EE-5C61-0F50-4C6E8F579AF0}"/>
              </a:ext>
            </a:extLst>
          </p:cNvPr>
          <p:cNvGrpSpPr>
            <a:grpSpLocks noChangeAspect="1"/>
          </p:cNvGrpSpPr>
          <p:nvPr>
            <p:custDataLst>
              <p:tags r:id="rId3"/>
            </p:custDataLst>
          </p:nvPr>
        </p:nvGrpSpPr>
        <p:grpSpPr>
          <a:xfrm>
            <a:off x="279926" y="3772500"/>
            <a:ext cx="561600" cy="561600"/>
            <a:chOff x="1270000" y="1270000"/>
            <a:chExt cx="889000" cy="889000"/>
          </a:xfrm>
          <a:solidFill>
            <a:srgbClr val="136B93"/>
          </a:solidFill>
        </p:grpSpPr>
        <p:sp>
          <p:nvSpPr>
            <p:cNvPr id="42" name="Rectangle 41" hidden="1">
              <a:extLst>
                <a:ext uri="{FF2B5EF4-FFF2-40B4-BE49-F238E27FC236}">
                  <a16:creationId xmlns:a16="http://schemas.microsoft.com/office/drawing/2014/main" id="{3C6AD0D8-CB98-D936-3069-8D03379FAEFC}"/>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43" name="Graphic 42">
              <a:extLst>
                <a:ext uri="{FF2B5EF4-FFF2-40B4-BE49-F238E27FC236}">
                  <a16:creationId xmlns:a16="http://schemas.microsoft.com/office/drawing/2014/main" id="{786AE06C-3958-FF6E-C504-188BE06C8373}"/>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70000" y="1270000"/>
              <a:ext cx="889000" cy="889000"/>
            </a:xfrm>
            <a:prstGeom prst="rect">
              <a:avLst/>
            </a:prstGeom>
          </p:spPr>
        </p:pic>
      </p:grpSp>
      <p:sp>
        <p:nvSpPr>
          <p:cNvPr id="44" name="Rectangle 43">
            <a:extLst>
              <a:ext uri="{FF2B5EF4-FFF2-40B4-BE49-F238E27FC236}">
                <a16:creationId xmlns:a16="http://schemas.microsoft.com/office/drawing/2014/main" id="{E5E9A184-506F-0C1D-7078-73BBDC258553}"/>
              </a:ext>
            </a:extLst>
          </p:cNvPr>
          <p:cNvSpPr/>
          <p:nvPr/>
        </p:nvSpPr>
        <p:spPr bwMode="gray">
          <a:xfrm>
            <a:off x="914446" y="3892486"/>
            <a:ext cx="2467816" cy="32162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0" bIns="0" rtlCol="0" anchor="t">
            <a:spAutoFit/>
          </a:bodyPr>
          <a:lstStyle/>
          <a:p>
            <a:pPr>
              <a:lnSpc>
                <a:spcPct val="95000"/>
              </a:lnSpc>
            </a:pPr>
            <a:r>
              <a:rPr lang="de-DE" sz="1100" i="1" dirty="0">
                <a:solidFill>
                  <a:schemeClr val="tx1"/>
                </a:solidFill>
                <a:latin typeface="Roboto" panose="02000000000000000000" pitchFamily="2" charset="0"/>
              </a:rPr>
              <a:t>Wo liegen Synergiepotenziale? (technisch, organisatorisch, finanziell)</a:t>
            </a:r>
          </a:p>
        </p:txBody>
      </p:sp>
      <p:pic>
        <p:nvPicPr>
          <p:cNvPr id="45" name="Graphic 44" descr="Renewable Energy outline">
            <a:extLst>
              <a:ext uri="{FF2B5EF4-FFF2-40B4-BE49-F238E27FC236}">
                <a16:creationId xmlns:a16="http://schemas.microsoft.com/office/drawing/2014/main" id="{6B038E02-456D-D96D-513F-F18F1DAD242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930300" y="3772500"/>
            <a:ext cx="561600" cy="561600"/>
          </a:xfrm>
          <a:prstGeom prst="rect">
            <a:avLst/>
          </a:prstGeom>
        </p:spPr>
      </p:pic>
      <p:sp>
        <p:nvSpPr>
          <p:cNvPr id="46" name="Rectangle 45">
            <a:extLst>
              <a:ext uri="{FF2B5EF4-FFF2-40B4-BE49-F238E27FC236}">
                <a16:creationId xmlns:a16="http://schemas.microsoft.com/office/drawing/2014/main" id="{B7C2205C-033B-50FD-7798-4702E34F9B32}"/>
              </a:ext>
            </a:extLst>
          </p:cNvPr>
          <p:cNvSpPr/>
          <p:nvPr/>
        </p:nvSpPr>
        <p:spPr bwMode="gray">
          <a:xfrm>
            <a:off x="5555957" y="3957186"/>
            <a:ext cx="3950777" cy="1608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0" bIns="0" rtlCol="0" anchor="t">
            <a:spAutoFit/>
          </a:bodyPr>
          <a:lstStyle/>
          <a:p>
            <a:pPr>
              <a:lnSpc>
                <a:spcPct val="95000"/>
              </a:lnSpc>
            </a:pPr>
            <a:r>
              <a:rPr lang="de-DE" sz="1100" i="1">
                <a:solidFill>
                  <a:schemeClr val="tx1"/>
                </a:solidFill>
                <a:latin typeface="Roboto" panose="02000000000000000000" pitchFamily="2" charset="0"/>
              </a:rPr>
              <a:t>Welche energetischen Potenziale können erschlossen werden?</a:t>
            </a:r>
          </a:p>
        </p:txBody>
      </p:sp>
      <p:sp>
        <p:nvSpPr>
          <p:cNvPr id="5" name="Rectangle 4">
            <a:extLst>
              <a:ext uri="{FF2B5EF4-FFF2-40B4-BE49-F238E27FC236}">
                <a16:creationId xmlns:a16="http://schemas.microsoft.com/office/drawing/2014/main" id="{1495B089-30D8-B0C7-0A66-2ED3E5339CAC}"/>
              </a:ext>
            </a:extLst>
          </p:cNvPr>
          <p:cNvSpPr/>
          <p:nvPr/>
        </p:nvSpPr>
        <p:spPr bwMode="gray">
          <a:xfrm>
            <a:off x="278844" y="1066800"/>
            <a:ext cx="2363554" cy="432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rPr>
              <a:t>Bestandsanalyse</a:t>
            </a:r>
          </a:p>
        </p:txBody>
      </p:sp>
      <p:sp>
        <p:nvSpPr>
          <p:cNvPr id="47" name="Rectangle 46">
            <a:extLst>
              <a:ext uri="{FF2B5EF4-FFF2-40B4-BE49-F238E27FC236}">
                <a16:creationId xmlns:a16="http://schemas.microsoft.com/office/drawing/2014/main" id="{7F2FF2D5-EAA3-5017-E45B-55D761F847F4}"/>
              </a:ext>
            </a:extLst>
          </p:cNvPr>
          <p:cNvSpPr/>
          <p:nvPr/>
        </p:nvSpPr>
        <p:spPr bwMode="gray">
          <a:xfrm>
            <a:off x="3532498" y="1083863"/>
            <a:ext cx="2232000" cy="432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rPr>
              <a:t>Potenzialanalyse</a:t>
            </a:r>
          </a:p>
        </p:txBody>
      </p:sp>
      <p:grpSp>
        <p:nvGrpSpPr>
          <p:cNvPr id="48" name="Group 47">
            <a:extLst>
              <a:ext uri="{FF2B5EF4-FFF2-40B4-BE49-F238E27FC236}">
                <a16:creationId xmlns:a16="http://schemas.microsoft.com/office/drawing/2014/main" id="{BB947AD8-F644-7657-9988-8DB37797E52D}"/>
              </a:ext>
            </a:extLst>
          </p:cNvPr>
          <p:cNvGrpSpPr>
            <a:grpSpLocks noChangeAspect="1"/>
          </p:cNvGrpSpPr>
          <p:nvPr>
            <p:custDataLst>
              <p:tags r:id="rId4"/>
            </p:custDataLst>
          </p:nvPr>
        </p:nvGrpSpPr>
        <p:grpSpPr>
          <a:xfrm>
            <a:off x="3532498" y="1111988"/>
            <a:ext cx="324000" cy="324000"/>
            <a:chOff x="1270000" y="1270000"/>
            <a:chExt cx="889000" cy="889000"/>
          </a:xfrm>
          <a:solidFill>
            <a:schemeClr val="tx2"/>
          </a:solidFill>
        </p:grpSpPr>
        <p:sp>
          <p:nvSpPr>
            <p:cNvPr id="49" name="Rectangle 48" hidden="1">
              <a:extLst>
                <a:ext uri="{FF2B5EF4-FFF2-40B4-BE49-F238E27FC236}">
                  <a16:creationId xmlns:a16="http://schemas.microsoft.com/office/drawing/2014/main" id="{36BCC48F-F744-37A9-A6F4-947F107DDAAC}"/>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50" name="Graphic 49">
              <a:extLst>
                <a:ext uri="{FF2B5EF4-FFF2-40B4-BE49-F238E27FC236}">
                  <a16:creationId xmlns:a16="http://schemas.microsoft.com/office/drawing/2014/main" id="{4AF2F831-6C8C-2F56-F6E4-6E5EB53DB93D}"/>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70000" y="1270000"/>
              <a:ext cx="889000" cy="889000"/>
            </a:xfrm>
            <a:prstGeom prst="rect">
              <a:avLst/>
            </a:prstGeom>
          </p:spPr>
        </p:pic>
      </p:grpSp>
      <p:grpSp>
        <p:nvGrpSpPr>
          <p:cNvPr id="51" name="Group 50">
            <a:extLst>
              <a:ext uri="{FF2B5EF4-FFF2-40B4-BE49-F238E27FC236}">
                <a16:creationId xmlns:a16="http://schemas.microsoft.com/office/drawing/2014/main" id="{A95718CB-1EE1-5836-BA9F-B981D3E7DB8F}"/>
              </a:ext>
            </a:extLst>
          </p:cNvPr>
          <p:cNvGrpSpPr>
            <a:grpSpLocks noChangeAspect="1"/>
          </p:cNvGrpSpPr>
          <p:nvPr>
            <p:custDataLst>
              <p:tags r:id="rId5"/>
            </p:custDataLst>
          </p:nvPr>
        </p:nvGrpSpPr>
        <p:grpSpPr>
          <a:xfrm>
            <a:off x="280056" y="1124888"/>
            <a:ext cx="324000" cy="324000"/>
            <a:chOff x="1270000" y="1270000"/>
            <a:chExt cx="889000" cy="889000"/>
          </a:xfrm>
          <a:solidFill>
            <a:schemeClr val="tx2"/>
          </a:solidFill>
        </p:grpSpPr>
        <p:sp>
          <p:nvSpPr>
            <p:cNvPr id="52" name="Rectangle 51" hidden="1">
              <a:extLst>
                <a:ext uri="{FF2B5EF4-FFF2-40B4-BE49-F238E27FC236}">
                  <a16:creationId xmlns:a16="http://schemas.microsoft.com/office/drawing/2014/main" id="{7B5894E4-733B-B725-1BE1-E820F4959525}"/>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53" name="Graphic 52">
              <a:extLst>
                <a:ext uri="{FF2B5EF4-FFF2-40B4-BE49-F238E27FC236}">
                  <a16:creationId xmlns:a16="http://schemas.microsoft.com/office/drawing/2014/main" id="{E620659D-ABEA-08D3-925C-2EFDD42A6EDB}"/>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270000" y="1270000"/>
              <a:ext cx="889000" cy="889000"/>
            </a:xfrm>
            <a:prstGeom prst="rect">
              <a:avLst/>
            </a:prstGeom>
          </p:spPr>
        </p:pic>
      </p:grpSp>
      <p:sp>
        <p:nvSpPr>
          <p:cNvPr id="54" name="Rectangle 53">
            <a:extLst>
              <a:ext uri="{FF2B5EF4-FFF2-40B4-BE49-F238E27FC236}">
                <a16:creationId xmlns:a16="http://schemas.microsoft.com/office/drawing/2014/main" id="{A4132B34-3073-0E59-A1F1-D0121F2CD1F5}"/>
              </a:ext>
            </a:extLst>
          </p:cNvPr>
          <p:cNvSpPr/>
          <p:nvPr/>
        </p:nvSpPr>
        <p:spPr bwMode="gray">
          <a:xfrm>
            <a:off x="208025" y="1076248"/>
            <a:ext cx="3024000" cy="165917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Analyse von Gebäude- und Siedlungsstruktur</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Erfassung der Energieinfrastruktur</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BISKO-konforme Basisbilanz</a:t>
            </a:r>
          </a:p>
          <a:p>
            <a:pPr marL="144000" indent="-144000">
              <a:lnSpc>
                <a:spcPct val="95000"/>
              </a:lnSpc>
              <a:spcAft>
                <a:spcPts val="200"/>
              </a:spcAft>
              <a:buClr>
                <a:srgbClr val="003C50"/>
              </a:buClr>
              <a:buFont typeface="Wingdings" panose="05000000000000000000" pitchFamily="2" charset="2"/>
              <a:buChar char="§"/>
            </a:pPr>
            <a:endParaRPr lang="de-DE" sz="1100">
              <a:solidFill>
                <a:schemeClr val="tx1"/>
              </a:solidFill>
            </a:endParaRPr>
          </a:p>
          <a:p>
            <a:pPr marL="144000" indent="-144000">
              <a:lnSpc>
                <a:spcPct val="95000"/>
              </a:lnSpc>
              <a:spcAft>
                <a:spcPts val="200"/>
              </a:spcAft>
              <a:buClr>
                <a:srgbClr val="003C50"/>
              </a:buClr>
              <a:buFont typeface="Wingdings" panose="05000000000000000000" pitchFamily="2" charset="2"/>
              <a:buChar char="§"/>
            </a:pPr>
            <a:endParaRPr lang="de-DE" sz="1100">
              <a:solidFill>
                <a:schemeClr val="tx1"/>
              </a:solidFill>
            </a:endParaRPr>
          </a:p>
          <a:p>
            <a:pPr>
              <a:lnSpc>
                <a:spcPct val="95000"/>
              </a:lnSpc>
              <a:spcAft>
                <a:spcPts val="200"/>
              </a:spcAft>
              <a:buClr>
                <a:srgbClr val="003C50"/>
              </a:buClr>
            </a:pPr>
            <a:endParaRPr lang="de-DE" sz="1100">
              <a:solidFill>
                <a:schemeClr val="tx1"/>
              </a:solidFill>
            </a:endParaRPr>
          </a:p>
        </p:txBody>
      </p:sp>
      <p:sp>
        <p:nvSpPr>
          <p:cNvPr id="55" name="Rectangle 54">
            <a:extLst>
              <a:ext uri="{FF2B5EF4-FFF2-40B4-BE49-F238E27FC236}">
                <a16:creationId xmlns:a16="http://schemas.microsoft.com/office/drawing/2014/main" id="{9EC22323-7A65-05F3-450A-3D8D7425AAD8}"/>
              </a:ext>
            </a:extLst>
          </p:cNvPr>
          <p:cNvSpPr/>
          <p:nvPr/>
        </p:nvSpPr>
        <p:spPr bwMode="gray">
          <a:xfrm>
            <a:off x="3382261" y="1076248"/>
            <a:ext cx="3024000" cy="165917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Steigerung der Energieeffizienz von Gebäuden und Industrie</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Nutzung unvermeidbarer Abwärme</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Ausbaupotenziale regenerativer Wärmeversorgung</a:t>
            </a:r>
          </a:p>
        </p:txBody>
      </p:sp>
      <p:grpSp>
        <p:nvGrpSpPr>
          <p:cNvPr id="56" name="Group 55">
            <a:extLst>
              <a:ext uri="{FF2B5EF4-FFF2-40B4-BE49-F238E27FC236}">
                <a16:creationId xmlns:a16="http://schemas.microsoft.com/office/drawing/2014/main" id="{D3B3C654-7D30-E5DB-A9A3-AB870800A9B5}"/>
              </a:ext>
            </a:extLst>
          </p:cNvPr>
          <p:cNvGrpSpPr/>
          <p:nvPr/>
        </p:nvGrpSpPr>
        <p:grpSpPr>
          <a:xfrm>
            <a:off x="6556498" y="1076248"/>
            <a:ext cx="3024000" cy="1659178"/>
            <a:chOff x="6556498" y="1076248"/>
            <a:chExt cx="3024000" cy="1659178"/>
          </a:xfrm>
        </p:grpSpPr>
        <p:sp>
          <p:nvSpPr>
            <p:cNvPr id="57" name="Rectangle 56">
              <a:extLst>
                <a:ext uri="{FF2B5EF4-FFF2-40B4-BE49-F238E27FC236}">
                  <a16:creationId xmlns:a16="http://schemas.microsoft.com/office/drawing/2014/main" id="{1E558B25-A14E-3F33-A728-19DEA19C0E32}"/>
                </a:ext>
              </a:extLst>
            </p:cNvPr>
            <p:cNvSpPr/>
            <p:nvPr/>
          </p:nvSpPr>
          <p:spPr bwMode="gray">
            <a:xfrm>
              <a:off x="6556498" y="1076248"/>
              <a:ext cx="3024000" cy="165917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Zielszenarien und Zielpfade für 2030, 2035, 2040 und 2045 </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Zentrale und Dezentrale Wärmeversorgungsgebiete</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Energie- und THG-Bilanz </a:t>
              </a:r>
            </a:p>
          </p:txBody>
        </p:sp>
        <p:sp>
          <p:nvSpPr>
            <p:cNvPr id="58" name="Rectangle 57">
              <a:extLst>
                <a:ext uri="{FF2B5EF4-FFF2-40B4-BE49-F238E27FC236}">
                  <a16:creationId xmlns:a16="http://schemas.microsoft.com/office/drawing/2014/main" id="{4369DFDD-945C-3531-96AB-D4F712AE50F1}"/>
                </a:ext>
              </a:extLst>
            </p:cNvPr>
            <p:cNvSpPr/>
            <p:nvPr/>
          </p:nvSpPr>
          <p:spPr bwMode="gray">
            <a:xfrm>
              <a:off x="6594597" y="1083863"/>
              <a:ext cx="2232000" cy="432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rPr>
                <a:t>Zielszenario</a:t>
              </a:r>
            </a:p>
          </p:txBody>
        </p:sp>
        <p:grpSp>
          <p:nvGrpSpPr>
            <p:cNvPr id="59" name="Group 58">
              <a:extLst>
                <a:ext uri="{FF2B5EF4-FFF2-40B4-BE49-F238E27FC236}">
                  <a16:creationId xmlns:a16="http://schemas.microsoft.com/office/drawing/2014/main" id="{1693CF50-D1D9-CCEA-8198-F7C0D0A5468E}"/>
                </a:ext>
              </a:extLst>
            </p:cNvPr>
            <p:cNvGrpSpPr>
              <a:grpSpLocks noChangeAspect="1"/>
            </p:cNvGrpSpPr>
            <p:nvPr>
              <p:custDataLst>
                <p:tags r:id="rId6"/>
              </p:custDataLst>
            </p:nvPr>
          </p:nvGrpSpPr>
          <p:grpSpPr>
            <a:xfrm rot="600000">
              <a:off x="6630868" y="1129307"/>
              <a:ext cx="324000" cy="324000"/>
              <a:chOff x="1270000" y="1270000"/>
              <a:chExt cx="889000" cy="889000"/>
            </a:xfrm>
            <a:solidFill>
              <a:schemeClr val="tx2"/>
            </a:solidFill>
          </p:grpSpPr>
          <p:sp>
            <p:nvSpPr>
              <p:cNvPr id="60" name="Rectangle 59" hidden="1">
                <a:extLst>
                  <a:ext uri="{FF2B5EF4-FFF2-40B4-BE49-F238E27FC236}">
                    <a16:creationId xmlns:a16="http://schemas.microsoft.com/office/drawing/2014/main" id="{F2DF6554-0DB4-80FA-F062-34796FD46C86}"/>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61" name="Graphic 60">
                <a:extLst>
                  <a:ext uri="{FF2B5EF4-FFF2-40B4-BE49-F238E27FC236}">
                    <a16:creationId xmlns:a16="http://schemas.microsoft.com/office/drawing/2014/main" id="{3D84B4A8-F26A-EC07-B87F-35026EED1BF7}"/>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270000" y="1270000"/>
                <a:ext cx="889000" cy="889000"/>
              </a:xfrm>
              <a:prstGeom prst="rect">
                <a:avLst/>
              </a:prstGeom>
            </p:spPr>
          </p:pic>
        </p:grpSp>
      </p:grpSp>
      <p:sp>
        <p:nvSpPr>
          <p:cNvPr id="62" name="Arrow: Down 61">
            <a:extLst>
              <a:ext uri="{FF2B5EF4-FFF2-40B4-BE49-F238E27FC236}">
                <a16:creationId xmlns:a16="http://schemas.microsoft.com/office/drawing/2014/main" id="{38D5A658-8596-75AF-662E-27038E51FCB6}"/>
              </a:ext>
            </a:extLst>
          </p:cNvPr>
          <p:cNvSpPr/>
          <p:nvPr/>
        </p:nvSpPr>
        <p:spPr bwMode="gray">
          <a:xfrm>
            <a:off x="4713107" y="2803585"/>
            <a:ext cx="362309" cy="284178"/>
          </a:xfrm>
          <a:prstGeom prst="downArrow">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sp>
        <p:nvSpPr>
          <p:cNvPr id="63" name="Rectangle 62">
            <a:extLst>
              <a:ext uri="{FF2B5EF4-FFF2-40B4-BE49-F238E27FC236}">
                <a16:creationId xmlns:a16="http://schemas.microsoft.com/office/drawing/2014/main" id="{E9EF7E0A-B25A-E89F-8F6D-24E3678ED884}"/>
              </a:ext>
            </a:extLst>
          </p:cNvPr>
          <p:cNvSpPr/>
          <p:nvPr/>
        </p:nvSpPr>
        <p:spPr bwMode="gray">
          <a:xfrm>
            <a:off x="173782" y="975523"/>
            <a:ext cx="3121509" cy="1860627"/>
          </a:xfrm>
          <a:prstGeom prst="rect">
            <a:avLst/>
          </a:prstGeom>
          <a:solidFill>
            <a:srgbClr val="FFFFFF">
              <a:alpha val="7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sp>
        <p:nvSpPr>
          <p:cNvPr id="64" name="Rectangle 63">
            <a:extLst>
              <a:ext uri="{FF2B5EF4-FFF2-40B4-BE49-F238E27FC236}">
                <a16:creationId xmlns:a16="http://schemas.microsoft.com/office/drawing/2014/main" id="{7982928A-BB89-BB03-6DAD-3ABDD8D8F81F}"/>
              </a:ext>
            </a:extLst>
          </p:cNvPr>
          <p:cNvSpPr/>
          <p:nvPr/>
        </p:nvSpPr>
        <p:spPr bwMode="gray">
          <a:xfrm>
            <a:off x="6459880" y="975523"/>
            <a:ext cx="3236211" cy="1860627"/>
          </a:xfrm>
          <a:prstGeom prst="rect">
            <a:avLst/>
          </a:prstGeom>
          <a:solidFill>
            <a:srgbClr val="FFFFFF">
              <a:alpha val="7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sp>
        <p:nvSpPr>
          <p:cNvPr id="6" name="Footer Placeholder 5">
            <a:extLst>
              <a:ext uri="{FF2B5EF4-FFF2-40B4-BE49-F238E27FC236}">
                <a16:creationId xmlns:a16="http://schemas.microsoft.com/office/drawing/2014/main" id="{314C58F8-085C-94FE-5B6F-0CC020AD6D7C}"/>
              </a:ext>
            </a:extLst>
          </p:cNvPr>
          <p:cNvSpPr>
            <a:spLocks noGrp="1"/>
          </p:cNvSpPr>
          <p:nvPr>
            <p:ph type="ftr" sz="quarter" idx="12"/>
          </p:nvPr>
        </p:nvSpPr>
        <p:spPr/>
        <p:txBody>
          <a:bodyPr/>
          <a:lstStyle/>
          <a:p>
            <a:r>
              <a:rPr lang="de-DE"/>
              <a:t>© 2026</a:t>
            </a:r>
          </a:p>
          <a:p>
            <a:r>
              <a:rPr lang="de-DE"/>
              <a:t>d-fine</a:t>
            </a:r>
          </a:p>
        </p:txBody>
      </p:sp>
      <p:sp>
        <p:nvSpPr>
          <p:cNvPr id="7" name="Slide Number Placeholder 6">
            <a:extLst>
              <a:ext uri="{FF2B5EF4-FFF2-40B4-BE49-F238E27FC236}">
                <a16:creationId xmlns:a16="http://schemas.microsoft.com/office/drawing/2014/main" id="{506750A4-30E2-7EBD-98B3-5367264BD016}"/>
              </a:ext>
            </a:extLst>
          </p:cNvPr>
          <p:cNvSpPr>
            <a:spLocks noGrp="1"/>
          </p:cNvSpPr>
          <p:nvPr>
            <p:ph type="sldNum" sz="quarter" idx="11"/>
          </p:nvPr>
        </p:nvSpPr>
        <p:spPr/>
        <p:txBody>
          <a:bodyPr/>
          <a:lstStyle/>
          <a:p>
            <a:endParaRPr lang="de-DE"/>
          </a:p>
          <a:p>
            <a:fld id="{24C420F5-194C-40F2-A080-C5F3EDD89037}" type="slidenum">
              <a:rPr lang="de-DE" smtClean="0"/>
              <a:pPr/>
              <a:t>38</a:t>
            </a:fld>
            <a:endParaRPr lang="de-DE"/>
          </a:p>
        </p:txBody>
      </p:sp>
    </p:spTree>
    <p:extLst>
      <p:ext uri="{BB962C8B-B14F-4D97-AF65-F5344CB8AC3E}">
        <p14:creationId xmlns:p14="http://schemas.microsoft.com/office/powerpoint/2010/main" val="19554130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9F7374-25BA-ACA7-0FEC-A39825F8422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6D580A8-B250-B551-8F3F-51B94EFAF951}"/>
              </a:ext>
            </a:extLst>
          </p:cNvPr>
          <p:cNvSpPr>
            <a:spLocks noGrp="1"/>
          </p:cNvSpPr>
          <p:nvPr>
            <p:ph type="title"/>
          </p:nvPr>
        </p:nvSpPr>
        <p:spPr/>
        <p:txBody>
          <a:bodyPr/>
          <a:lstStyle/>
          <a:p>
            <a:r>
              <a:rPr lang="de-DE" b="1">
                <a:latin typeface="Roboto" panose="02000000000000000000" pitchFamily="2" charset="0"/>
              </a:rPr>
              <a:t>Ergebnisse der Kommunalen Wärmeplanung - Potenzialanalyse</a:t>
            </a:r>
            <a:br>
              <a:rPr lang="de-DE" b="1">
                <a:latin typeface="Roboto" panose="02000000000000000000" pitchFamily="2" charset="0"/>
              </a:rPr>
            </a:br>
            <a:r>
              <a:rPr lang="de-DE">
                <a:latin typeface="Roboto" panose="02000000000000000000" pitchFamily="2" charset="0"/>
              </a:rPr>
              <a:t>Welche Potenziale können in Rheda-Wiedenbrück realisiert werden?</a:t>
            </a:r>
            <a:endParaRPr lang="de-DE"/>
          </a:p>
        </p:txBody>
      </p:sp>
      <p:sp>
        <p:nvSpPr>
          <p:cNvPr id="7" name="Content Placeholder 3">
            <a:extLst>
              <a:ext uri="{FF2B5EF4-FFF2-40B4-BE49-F238E27FC236}">
                <a16:creationId xmlns:a16="http://schemas.microsoft.com/office/drawing/2014/main" id="{FC474FF8-D79F-1779-7BE1-80C270E9FFB3}"/>
              </a:ext>
            </a:extLst>
          </p:cNvPr>
          <p:cNvSpPr txBox="1">
            <a:spLocks/>
          </p:cNvSpPr>
          <p:nvPr/>
        </p:nvSpPr>
        <p:spPr>
          <a:xfrm>
            <a:off x="208025" y="5874000"/>
            <a:ext cx="9372600" cy="123111"/>
          </a:xfrm>
          <a:prstGeom prst="rect">
            <a:avLst/>
          </a:prstGeom>
          <a:ln w="12700" cap="rnd">
            <a:noFill/>
            <a:prstDash val="solid"/>
          </a:ln>
        </p:spPr>
        <p:style>
          <a:lnRef idx="1">
            <a:schemeClr val="accent1"/>
          </a:lnRef>
          <a:fillRef idx="0">
            <a:schemeClr val="accent1"/>
          </a:fillRef>
          <a:effectRef idx="0">
            <a:schemeClr val="accent1"/>
          </a:effectRef>
          <a:fontRef idx="minor">
            <a:schemeClr val="tx1"/>
          </a:fontRef>
        </p:style>
        <p:txBody>
          <a:bodyPr lIns="0" tIns="0" rIns="0" bIns="0" anchor="t" anchorCtr="0">
            <a:spAutoFit/>
          </a:bodyPr>
          <a:lstStyle>
            <a:lvl1pPr algn="l" rtl="0" eaLnBrk="1" fontAlgn="base" hangingPunct="1">
              <a:spcBef>
                <a:spcPct val="20000"/>
              </a:spcBef>
              <a:spcAft>
                <a:spcPct val="0"/>
              </a:spcAft>
              <a:defRPr sz="1400">
                <a:solidFill>
                  <a:schemeClr val="tx1"/>
                </a:solidFill>
                <a:latin typeface="+mn-lt"/>
                <a:ea typeface="+mn-ea"/>
                <a:cs typeface="+mn-cs"/>
              </a:defRPr>
            </a:lvl1pPr>
            <a:lvl2pPr marL="381000" indent="-190500" algn="l" rtl="0" eaLnBrk="1" fontAlgn="base" hangingPunct="1">
              <a:spcBef>
                <a:spcPct val="20000"/>
              </a:spcBef>
              <a:spcAft>
                <a:spcPct val="0"/>
              </a:spcAft>
              <a:buFont typeface="Wingdings" pitchFamily="84" charset="2"/>
              <a:buChar char="§"/>
              <a:defRPr sz="1400">
                <a:solidFill>
                  <a:schemeClr val="tx1"/>
                </a:solidFill>
                <a:latin typeface="+mn-lt"/>
              </a:defRPr>
            </a:lvl2pPr>
            <a:lvl3pPr marL="747713" indent="-176213" algn="l" rtl="0" eaLnBrk="1" fontAlgn="base" hangingPunct="1">
              <a:spcBef>
                <a:spcPct val="20000"/>
              </a:spcBef>
              <a:spcAft>
                <a:spcPct val="0"/>
              </a:spcAft>
              <a:buChar char="-"/>
              <a:defRPr sz="1200">
                <a:solidFill>
                  <a:schemeClr val="tx1"/>
                </a:solidFill>
                <a:latin typeface="+mn-lt"/>
              </a:defRPr>
            </a:lvl3pPr>
            <a:lvl4pPr marL="1125538" indent="-187325" algn="l" rtl="0" eaLnBrk="1" fontAlgn="base" hangingPunct="1">
              <a:spcBef>
                <a:spcPct val="20000"/>
              </a:spcBef>
              <a:spcAft>
                <a:spcPct val="0"/>
              </a:spcAft>
              <a:buFont typeface="Times" pitchFamily="84" charset="0"/>
              <a:buChar char="•"/>
              <a:defRPr sz="1000">
                <a:solidFill>
                  <a:schemeClr val="tx1"/>
                </a:solidFill>
                <a:latin typeface="+mn-lt"/>
              </a:defRPr>
            </a:lvl4pPr>
            <a:lvl5pPr marL="1431925" indent="-115888" algn="l" rtl="0" eaLnBrk="1" fontAlgn="base" hangingPunct="1">
              <a:spcBef>
                <a:spcPct val="20000"/>
              </a:spcBef>
              <a:spcAft>
                <a:spcPct val="0"/>
              </a:spcAft>
              <a:buChar char="•"/>
              <a:defRPr sz="1000">
                <a:solidFill>
                  <a:schemeClr val="tx1"/>
                </a:solidFill>
                <a:latin typeface="+mn-lt"/>
              </a:defRPr>
            </a:lvl5pPr>
            <a:lvl6pPr marL="1889125" indent="-115888" algn="l" rtl="0" eaLnBrk="1" fontAlgn="base" hangingPunct="1">
              <a:spcBef>
                <a:spcPct val="20000"/>
              </a:spcBef>
              <a:spcAft>
                <a:spcPct val="0"/>
              </a:spcAft>
              <a:buChar char="•"/>
              <a:defRPr sz="1000">
                <a:solidFill>
                  <a:schemeClr val="tx1"/>
                </a:solidFill>
                <a:latin typeface="+mn-lt"/>
              </a:defRPr>
            </a:lvl6pPr>
            <a:lvl7pPr marL="2346325" indent="-115888" algn="l" rtl="0" eaLnBrk="1" fontAlgn="base" hangingPunct="1">
              <a:spcBef>
                <a:spcPct val="20000"/>
              </a:spcBef>
              <a:spcAft>
                <a:spcPct val="0"/>
              </a:spcAft>
              <a:buChar char="•"/>
              <a:defRPr sz="1000">
                <a:solidFill>
                  <a:schemeClr val="tx1"/>
                </a:solidFill>
                <a:latin typeface="+mn-lt"/>
              </a:defRPr>
            </a:lvl7pPr>
            <a:lvl8pPr marL="2803525" indent="-115888" algn="l" rtl="0" eaLnBrk="1" fontAlgn="base" hangingPunct="1">
              <a:spcBef>
                <a:spcPct val="20000"/>
              </a:spcBef>
              <a:spcAft>
                <a:spcPct val="0"/>
              </a:spcAft>
              <a:buChar char="•"/>
              <a:defRPr sz="1000">
                <a:solidFill>
                  <a:schemeClr val="tx1"/>
                </a:solidFill>
                <a:latin typeface="+mn-lt"/>
              </a:defRPr>
            </a:lvl8pPr>
            <a:lvl9pPr marL="3260725" indent="-115888" algn="l" rtl="0" eaLnBrk="1" fontAlgn="base" hangingPunct="1">
              <a:spcBef>
                <a:spcPct val="20000"/>
              </a:spcBef>
              <a:spcAft>
                <a:spcPct val="0"/>
              </a:spcAft>
              <a:buChar char="•"/>
              <a:defRPr sz="1000">
                <a:solidFill>
                  <a:schemeClr val="tx1"/>
                </a:solidFill>
                <a:latin typeface="+mn-lt"/>
              </a:defRPr>
            </a:lvl9pPr>
          </a:lstStyle>
          <a:p>
            <a:pPr defTabSz="914368"/>
            <a:r>
              <a:rPr lang="de-DE" sz="800" i="1">
                <a:solidFill>
                  <a:srgbClr val="F07D00"/>
                </a:solidFill>
                <a:latin typeface="Roboto" panose="02000000000000000000" pitchFamily="2" charset="0"/>
              </a:rPr>
              <a:t>Anmerkung: </a:t>
            </a:r>
            <a:r>
              <a:rPr lang="de-DE" sz="800">
                <a:solidFill>
                  <a:srgbClr val="003C50"/>
                </a:solidFill>
                <a:latin typeface="Roboto" panose="02000000000000000000" pitchFamily="2" charset="0"/>
              </a:rPr>
              <a:t>Hohe Wärmenachfrage mehr als 120 kWh/m</a:t>
            </a:r>
            <a:r>
              <a:rPr lang="de-DE" sz="800" baseline="30000">
                <a:solidFill>
                  <a:srgbClr val="003C50"/>
                </a:solidFill>
                <a:latin typeface="Roboto" panose="02000000000000000000" pitchFamily="2" charset="0"/>
              </a:rPr>
              <a:t>2</a:t>
            </a:r>
            <a:r>
              <a:rPr lang="de-DE" sz="800">
                <a:solidFill>
                  <a:srgbClr val="003C50"/>
                </a:solidFill>
                <a:latin typeface="Roboto" panose="02000000000000000000" pitchFamily="2" charset="0"/>
              </a:rPr>
              <a:t>a | Mittlere Wärmenachfrage 75 kWh/m</a:t>
            </a:r>
            <a:r>
              <a:rPr lang="de-DE" sz="800" baseline="30000">
                <a:solidFill>
                  <a:srgbClr val="003C50"/>
                </a:solidFill>
                <a:latin typeface="Roboto" panose="02000000000000000000" pitchFamily="2" charset="0"/>
              </a:rPr>
              <a:t>2</a:t>
            </a:r>
            <a:r>
              <a:rPr lang="de-DE" sz="800">
                <a:solidFill>
                  <a:srgbClr val="003C50"/>
                </a:solidFill>
                <a:latin typeface="Roboto" panose="02000000000000000000" pitchFamily="2" charset="0"/>
              </a:rPr>
              <a:t>a bis 120 kWh/m²a | Niedrige Wärmenachfrage weniger als 75 kWh/m</a:t>
            </a:r>
            <a:r>
              <a:rPr lang="de-DE" sz="800" baseline="30000">
                <a:solidFill>
                  <a:srgbClr val="003C50"/>
                </a:solidFill>
                <a:latin typeface="Roboto" panose="02000000000000000000" pitchFamily="2" charset="0"/>
              </a:rPr>
              <a:t>2</a:t>
            </a:r>
            <a:r>
              <a:rPr lang="de-DE" sz="800">
                <a:solidFill>
                  <a:srgbClr val="003C50"/>
                </a:solidFill>
                <a:latin typeface="Roboto" panose="02000000000000000000" pitchFamily="2" charset="0"/>
              </a:rPr>
              <a:t>a</a:t>
            </a:r>
          </a:p>
        </p:txBody>
      </p:sp>
      <p:grpSp>
        <p:nvGrpSpPr>
          <p:cNvPr id="8" name="Group 7">
            <a:extLst>
              <a:ext uri="{FF2B5EF4-FFF2-40B4-BE49-F238E27FC236}">
                <a16:creationId xmlns:a16="http://schemas.microsoft.com/office/drawing/2014/main" id="{E425B3BC-190E-3D0D-1712-88112FB33BFB}"/>
              </a:ext>
            </a:extLst>
          </p:cNvPr>
          <p:cNvGrpSpPr/>
          <p:nvPr/>
        </p:nvGrpSpPr>
        <p:grpSpPr>
          <a:xfrm>
            <a:off x="4950203" y="990000"/>
            <a:ext cx="4646247" cy="4681782"/>
            <a:chOff x="4950203" y="990000"/>
            <a:chExt cx="4646247" cy="4681782"/>
          </a:xfrm>
        </p:grpSpPr>
        <p:grpSp>
          <p:nvGrpSpPr>
            <p:cNvPr id="9" name="Group 8">
              <a:extLst>
                <a:ext uri="{FF2B5EF4-FFF2-40B4-BE49-F238E27FC236}">
                  <a16:creationId xmlns:a16="http://schemas.microsoft.com/office/drawing/2014/main" id="{1AC1F7AA-8018-AA0A-1A81-5DF30BAF7323}"/>
                </a:ext>
              </a:extLst>
            </p:cNvPr>
            <p:cNvGrpSpPr/>
            <p:nvPr/>
          </p:nvGrpSpPr>
          <p:grpSpPr>
            <a:xfrm>
              <a:off x="4963327" y="990000"/>
              <a:ext cx="4620000" cy="544705"/>
              <a:chOff x="5316420" y="1537106"/>
              <a:chExt cx="5040000" cy="594224"/>
            </a:xfrm>
          </p:grpSpPr>
          <p:grpSp>
            <p:nvGrpSpPr>
              <p:cNvPr id="12" name="Group 11">
                <a:extLst>
                  <a:ext uri="{FF2B5EF4-FFF2-40B4-BE49-F238E27FC236}">
                    <a16:creationId xmlns:a16="http://schemas.microsoft.com/office/drawing/2014/main" id="{DE5B5CA4-BC17-CBD2-E122-665235B909B3}"/>
                  </a:ext>
                </a:extLst>
              </p:cNvPr>
              <p:cNvGrpSpPr/>
              <p:nvPr/>
            </p:nvGrpSpPr>
            <p:grpSpPr>
              <a:xfrm>
                <a:off x="5316420" y="1537106"/>
                <a:ext cx="5040000" cy="594224"/>
                <a:chOff x="4942892" y="1400502"/>
                <a:chExt cx="4620000" cy="544706"/>
              </a:xfrm>
              <a:solidFill>
                <a:schemeClr val="accent6">
                  <a:lumMod val="20000"/>
                  <a:lumOff val="80000"/>
                </a:schemeClr>
              </a:solidFill>
            </p:grpSpPr>
            <p:sp>
              <p:nvSpPr>
                <p:cNvPr id="16" name="Rechteck 26">
                  <a:extLst>
                    <a:ext uri="{FF2B5EF4-FFF2-40B4-BE49-F238E27FC236}">
                      <a16:creationId xmlns:a16="http://schemas.microsoft.com/office/drawing/2014/main" id="{DD2AB092-148E-BFDB-9551-012F588C4B58}"/>
                    </a:ext>
                  </a:extLst>
                </p:cNvPr>
                <p:cNvSpPr/>
                <p:nvPr>
                  <p:custDataLst>
                    <p:tags r:id="rId4"/>
                  </p:custDataLst>
                </p:nvPr>
              </p:nvSpPr>
              <p:spPr>
                <a:xfrm>
                  <a:off x="4942892" y="1400707"/>
                  <a:ext cx="4620000" cy="544501"/>
                </a:xfrm>
                <a:prstGeom prst="rect">
                  <a:avLst/>
                </a:prstGeom>
                <a:solidFill>
                  <a:schemeClr val="accent6">
                    <a:lumMod val="40000"/>
                    <a:lumOff val="60000"/>
                  </a:schemeClr>
                </a:solidFill>
                <a:ln w="9525" cmpd="sng">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368">
                    <a:spcBef>
                      <a:spcPct val="30000"/>
                    </a:spcBef>
                    <a:defRPr/>
                  </a:pPr>
                  <a:r>
                    <a:rPr lang="de-DE" altLang="de-DE" sz="1600" b="1">
                      <a:solidFill>
                        <a:srgbClr val="003C50"/>
                      </a:solidFill>
                      <a:latin typeface="Roboto" panose="02000000000000000000" pitchFamily="2" charset="0"/>
                      <a:cs typeface="Times New Roman" panose="02020603050405020304" pitchFamily="18" charset="0"/>
                    </a:rPr>
                    <a:t>Potenziale in der Wärmeversorgung</a:t>
                  </a:r>
                </a:p>
              </p:txBody>
            </p:sp>
            <p:sp>
              <p:nvSpPr>
                <p:cNvPr id="17" name="Rectangle 16" hidden="1">
                  <a:extLst>
                    <a:ext uri="{FF2B5EF4-FFF2-40B4-BE49-F238E27FC236}">
                      <a16:creationId xmlns:a16="http://schemas.microsoft.com/office/drawing/2014/main" id="{758EA046-C685-914D-B261-A0C46D065B4F}"/>
                    </a:ext>
                  </a:extLst>
                </p:cNvPr>
                <p:cNvSpPr/>
                <p:nvPr/>
              </p:nvSpPr>
              <p:spPr bwMode="gray">
                <a:xfrm>
                  <a:off x="5015058" y="1400502"/>
                  <a:ext cx="543319" cy="543319"/>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a:solidFill>
                      <a:srgbClr val="003C50"/>
                    </a:solidFill>
                    <a:latin typeface="Roboto"/>
                  </a:endParaRPr>
                </a:p>
              </p:txBody>
            </p:sp>
          </p:grpSp>
          <p:grpSp>
            <p:nvGrpSpPr>
              <p:cNvPr id="13" name="Group 12">
                <a:extLst>
                  <a:ext uri="{FF2B5EF4-FFF2-40B4-BE49-F238E27FC236}">
                    <a16:creationId xmlns:a16="http://schemas.microsoft.com/office/drawing/2014/main" id="{C41C1177-75A4-4F82-B492-04EB811F54B4}"/>
                  </a:ext>
                </a:extLst>
              </p:cNvPr>
              <p:cNvGrpSpPr>
                <a:grpSpLocks noChangeAspect="1"/>
              </p:cNvGrpSpPr>
              <p:nvPr>
                <p:custDataLst>
                  <p:tags r:id="rId3"/>
                </p:custDataLst>
              </p:nvPr>
            </p:nvGrpSpPr>
            <p:grpSpPr>
              <a:xfrm>
                <a:off x="5340976" y="1570423"/>
                <a:ext cx="548111" cy="548111"/>
                <a:chOff x="1270000" y="1270000"/>
                <a:chExt cx="889000" cy="889000"/>
              </a:xfrm>
            </p:grpSpPr>
            <p:sp>
              <p:nvSpPr>
                <p:cNvPr id="14" name="Rectangle 13" hidden="1">
                  <a:extLst>
                    <a:ext uri="{FF2B5EF4-FFF2-40B4-BE49-F238E27FC236}">
                      <a16:creationId xmlns:a16="http://schemas.microsoft.com/office/drawing/2014/main" id="{7E4975EF-390B-7A04-DD8F-5A7010BA16AD}"/>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a:solidFill>
                      <a:srgbClr val="003C50"/>
                    </a:solidFill>
                    <a:latin typeface="Roboto"/>
                  </a:endParaRPr>
                </a:p>
              </p:txBody>
            </p:sp>
            <p:pic>
              <p:nvPicPr>
                <p:cNvPr id="15" name="Graphic 14">
                  <a:extLst>
                    <a:ext uri="{FF2B5EF4-FFF2-40B4-BE49-F238E27FC236}">
                      <a16:creationId xmlns:a16="http://schemas.microsoft.com/office/drawing/2014/main" id="{2DD138DD-A054-6BF2-0518-4A69229FA60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70000" y="1270000"/>
                  <a:ext cx="889000" cy="889000"/>
                </a:xfrm>
                <a:prstGeom prst="rect">
                  <a:avLst/>
                </a:prstGeom>
              </p:spPr>
            </p:pic>
          </p:grpSp>
        </p:grpSp>
        <p:sp>
          <p:nvSpPr>
            <p:cNvPr id="10" name="Rectangle 9">
              <a:extLst>
                <a:ext uri="{FF2B5EF4-FFF2-40B4-BE49-F238E27FC236}">
                  <a16:creationId xmlns:a16="http://schemas.microsoft.com/office/drawing/2014/main" id="{88B913FE-1F68-9C62-BDB6-358F0898B40B}"/>
                </a:ext>
              </a:extLst>
            </p:cNvPr>
            <p:cNvSpPr/>
            <p:nvPr/>
          </p:nvSpPr>
          <p:spPr bwMode="gray">
            <a:xfrm>
              <a:off x="4963327" y="4744440"/>
              <a:ext cx="4620000" cy="927342"/>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171455" indent="-171455" defTabSz="914368">
                <a:spcBef>
                  <a:spcPts val="550"/>
                </a:spcBef>
                <a:buFont typeface="Wingdings" panose="05000000000000000000" pitchFamily="2" charset="2"/>
                <a:buChar char="§"/>
              </a:pPr>
              <a:r>
                <a:rPr lang="de-DE" sz="1100" b="1">
                  <a:solidFill>
                    <a:schemeClr val="accent1"/>
                  </a:solidFill>
                  <a:latin typeface="Roboto" panose="02000000000000000000" pitchFamily="2" charset="0"/>
                </a:rPr>
                <a:t>Flächenkonkurrenz</a:t>
              </a:r>
              <a:r>
                <a:rPr lang="de-DE" sz="1100">
                  <a:solidFill>
                    <a:srgbClr val="003C50"/>
                  </a:solidFill>
                  <a:latin typeface="Roboto" panose="02000000000000000000" pitchFamily="2" charset="0"/>
                </a:rPr>
                <a:t> auf Dachflächen möglich bei gleichzeitigem Heben von Photovoltaik- und </a:t>
              </a:r>
              <a:r>
                <a:rPr lang="de-DE" sz="1100" err="1">
                  <a:solidFill>
                    <a:srgbClr val="003C50"/>
                  </a:solidFill>
                  <a:latin typeface="Roboto" panose="02000000000000000000" pitchFamily="2" charset="0"/>
                </a:rPr>
                <a:t>Solarthermiepotenzialen</a:t>
              </a:r>
              <a:endParaRPr lang="de-DE" sz="1100">
                <a:solidFill>
                  <a:srgbClr val="003C50"/>
                </a:solidFill>
                <a:latin typeface="Roboto" panose="02000000000000000000" pitchFamily="2" charset="0"/>
              </a:endParaRPr>
            </a:p>
            <a:p>
              <a:pPr marL="171455" indent="-171455" defTabSz="914368">
                <a:spcBef>
                  <a:spcPts val="550"/>
                </a:spcBef>
                <a:buFont typeface="Wingdings" panose="05000000000000000000" pitchFamily="2" charset="2"/>
                <a:buChar char="§"/>
              </a:pPr>
              <a:r>
                <a:rPr lang="de-DE" sz="1100" b="1">
                  <a:solidFill>
                    <a:schemeClr val="accent1"/>
                  </a:solidFill>
                  <a:latin typeface="Roboto" panose="02000000000000000000" pitchFamily="2" charset="0"/>
                </a:rPr>
                <a:t>Wärme-Potenziale </a:t>
              </a:r>
              <a:r>
                <a:rPr lang="de-DE" sz="1100">
                  <a:solidFill>
                    <a:schemeClr val="tx1"/>
                  </a:solidFill>
                  <a:latin typeface="Roboto" panose="02000000000000000000" pitchFamily="2" charset="0"/>
                </a:rPr>
                <a:t>aus unterschiedlichen Quellen, wie z.B. Luft- oder Erdwärme oder bisher ungenutzte Abwärme (aus Industrie/Abwasser)</a:t>
              </a:r>
            </a:p>
          </p:txBody>
        </p:sp>
        <p:pic>
          <p:nvPicPr>
            <p:cNvPr id="11" name="Picture Placeholder 5">
              <a:extLst>
                <a:ext uri="{FF2B5EF4-FFF2-40B4-BE49-F238E27FC236}">
                  <a16:creationId xmlns:a16="http://schemas.microsoft.com/office/drawing/2014/main" id="{5B12BD74-B6B5-526C-8103-318521735CB5}"/>
                </a:ext>
              </a:extLst>
            </p:cNvPr>
            <p:cNvPicPr>
              <a:picLocks noChangeAspect="1"/>
            </p:cNvPicPr>
            <p:nvPr/>
          </p:nvPicPr>
          <p:blipFill>
            <a:blip r:embed="rId9" cstate="screen">
              <a:extLst>
                <a:ext uri="{28A0092B-C50C-407E-A947-70E740481C1C}">
                  <a14:useLocalDpi xmlns:a14="http://schemas.microsoft.com/office/drawing/2010/main"/>
                </a:ext>
              </a:extLst>
            </a:blip>
            <a:srcRect b="-1925"/>
            <a:stretch>
              <a:fillRect/>
            </a:stretch>
          </p:blipFill>
          <p:spPr>
            <a:xfrm>
              <a:off x="4950203" y="1683295"/>
              <a:ext cx="4646247" cy="3049416"/>
            </a:xfrm>
            <a:prstGeom prst="rect">
              <a:avLst/>
            </a:prstGeom>
          </p:spPr>
        </p:pic>
      </p:grpSp>
      <p:grpSp>
        <p:nvGrpSpPr>
          <p:cNvPr id="18" name="Group 17">
            <a:extLst>
              <a:ext uri="{FF2B5EF4-FFF2-40B4-BE49-F238E27FC236}">
                <a16:creationId xmlns:a16="http://schemas.microsoft.com/office/drawing/2014/main" id="{902721AA-D06D-7C86-784B-CBB4214DA6BD}"/>
              </a:ext>
            </a:extLst>
          </p:cNvPr>
          <p:cNvGrpSpPr/>
          <p:nvPr/>
        </p:nvGrpSpPr>
        <p:grpSpPr>
          <a:xfrm>
            <a:off x="208027" y="990000"/>
            <a:ext cx="4642972" cy="4681781"/>
            <a:chOff x="208027" y="990000"/>
            <a:chExt cx="4642972" cy="4681781"/>
          </a:xfrm>
        </p:grpSpPr>
        <p:sp>
          <p:nvSpPr>
            <p:cNvPr id="19" name="Rectangle 18">
              <a:extLst>
                <a:ext uri="{FF2B5EF4-FFF2-40B4-BE49-F238E27FC236}">
                  <a16:creationId xmlns:a16="http://schemas.microsoft.com/office/drawing/2014/main" id="{C05B2EB6-25D7-8A7C-AE8A-6C45E896F8AD}"/>
                </a:ext>
              </a:extLst>
            </p:cNvPr>
            <p:cNvSpPr/>
            <p:nvPr/>
          </p:nvSpPr>
          <p:spPr bwMode="gray">
            <a:xfrm>
              <a:off x="208027" y="1659901"/>
              <a:ext cx="4620000" cy="2572057"/>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3000" tIns="33000" rIns="33000" bIns="33000" rtlCol="0" anchor="ctr">
              <a:noAutofit/>
            </a:bodyPr>
            <a:lstStyle/>
            <a:p>
              <a:pPr algn="ctr"/>
              <a:endParaRPr lang="en-US" sz="1283" err="1">
                <a:solidFill>
                  <a:schemeClr val="tx1"/>
                </a:solidFill>
              </a:endParaRPr>
            </a:p>
          </p:txBody>
        </p:sp>
        <p:grpSp>
          <p:nvGrpSpPr>
            <p:cNvPr id="20" name="Group 19">
              <a:extLst>
                <a:ext uri="{FF2B5EF4-FFF2-40B4-BE49-F238E27FC236}">
                  <a16:creationId xmlns:a16="http://schemas.microsoft.com/office/drawing/2014/main" id="{8C187521-5F58-6160-6D69-349A12B1A68B}"/>
                </a:ext>
              </a:extLst>
            </p:cNvPr>
            <p:cNvGrpSpPr/>
            <p:nvPr/>
          </p:nvGrpSpPr>
          <p:grpSpPr>
            <a:xfrm>
              <a:off x="208027" y="990000"/>
              <a:ext cx="4620000" cy="544500"/>
              <a:chOff x="226938" y="1537106"/>
              <a:chExt cx="5040000" cy="594000"/>
            </a:xfrm>
          </p:grpSpPr>
          <p:sp>
            <p:nvSpPr>
              <p:cNvPr id="37" name="Rechteck 26">
                <a:extLst>
                  <a:ext uri="{FF2B5EF4-FFF2-40B4-BE49-F238E27FC236}">
                    <a16:creationId xmlns:a16="http://schemas.microsoft.com/office/drawing/2014/main" id="{F7506A16-3E65-C6C6-67F5-E37F66DE380F}"/>
                  </a:ext>
                </a:extLst>
              </p:cNvPr>
              <p:cNvSpPr/>
              <p:nvPr>
                <p:custDataLst>
                  <p:tags r:id="rId1"/>
                </p:custDataLst>
              </p:nvPr>
            </p:nvSpPr>
            <p:spPr>
              <a:xfrm>
                <a:off x="226938" y="1537106"/>
                <a:ext cx="5040000" cy="594000"/>
              </a:xfrm>
              <a:prstGeom prst="rect">
                <a:avLst/>
              </a:prstGeom>
              <a:solidFill>
                <a:schemeClr val="accent6">
                  <a:lumMod val="40000"/>
                  <a:lumOff val="60000"/>
                </a:schemeClr>
              </a:solidFill>
              <a:ln w="9525" cmpd="sng">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368">
                  <a:spcBef>
                    <a:spcPct val="30000"/>
                  </a:spcBef>
                  <a:defRPr/>
                </a:pPr>
                <a:r>
                  <a:rPr lang="de-DE" altLang="de-DE" sz="1600" b="1">
                    <a:solidFill>
                      <a:srgbClr val="003C50"/>
                    </a:solidFill>
                    <a:latin typeface="Roboto" panose="02000000000000000000" pitchFamily="2" charset="0"/>
                    <a:cs typeface="Times New Roman" panose="02020603050405020304" pitchFamily="18" charset="0"/>
                  </a:rPr>
                  <a:t>Überblick Wärmenachfrage</a:t>
                </a:r>
              </a:p>
            </p:txBody>
          </p:sp>
          <p:grpSp>
            <p:nvGrpSpPr>
              <p:cNvPr id="38" name="Group 37">
                <a:extLst>
                  <a:ext uri="{FF2B5EF4-FFF2-40B4-BE49-F238E27FC236}">
                    <a16:creationId xmlns:a16="http://schemas.microsoft.com/office/drawing/2014/main" id="{B40798A0-320E-BA9E-E271-FE0ED8E214D1}"/>
                  </a:ext>
                </a:extLst>
              </p:cNvPr>
              <p:cNvGrpSpPr>
                <a:grpSpLocks noChangeAspect="1"/>
              </p:cNvGrpSpPr>
              <p:nvPr>
                <p:custDataLst>
                  <p:tags r:id="rId2"/>
                </p:custDataLst>
              </p:nvPr>
            </p:nvGrpSpPr>
            <p:grpSpPr>
              <a:xfrm>
                <a:off x="272473" y="1584597"/>
                <a:ext cx="491424" cy="491424"/>
                <a:chOff x="1270000" y="1270000"/>
                <a:chExt cx="889000" cy="889000"/>
              </a:xfrm>
            </p:grpSpPr>
            <p:sp>
              <p:nvSpPr>
                <p:cNvPr id="39" name="Rectangle 38" hidden="1">
                  <a:extLst>
                    <a:ext uri="{FF2B5EF4-FFF2-40B4-BE49-F238E27FC236}">
                      <a16:creationId xmlns:a16="http://schemas.microsoft.com/office/drawing/2014/main" id="{6355F8B5-4E22-38DE-2B8D-4E2E0FFF939E}"/>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a:solidFill>
                      <a:srgbClr val="003C50"/>
                    </a:solidFill>
                    <a:latin typeface="Roboto"/>
                  </a:endParaRPr>
                </a:p>
              </p:txBody>
            </p:sp>
            <p:pic>
              <p:nvPicPr>
                <p:cNvPr id="40" name="Graphic 39">
                  <a:extLst>
                    <a:ext uri="{FF2B5EF4-FFF2-40B4-BE49-F238E27FC236}">
                      <a16:creationId xmlns:a16="http://schemas.microsoft.com/office/drawing/2014/main" id="{5BCD43BA-96F3-A96C-59F7-5806429D540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70000" y="1270000"/>
                  <a:ext cx="889000" cy="889000"/>
                </a:xfrm>
                <a:prstGeom prst="rect">
                  <a:avLst/>
                </a:prstGeom>
              </p:spPr>
            </p:pic>
          </p:grpSp>
        </p:grpSp>
        <p:sp>
          <p:nvSpPr>
            <p:cNvPr id="21" name="Arrow: Right 20">
              <a:extLst>
                <a:ext uri="{FF2B5EF4-FFF2-40B4-BE49-F238E27FC236}">
                  <a16:creationId xmlns:a16="http://schemas.microsoft.com/office/drawing/2014/main" id="{67D24FDC-49E8-8270-54F7-BA9152816309}"/>
                </a:ext>
              </a:extLst>
            </p:cNvPr>
            <p:cNvSpPr/>
            <p:nvPr/>
          </p:nvSpPr>
          <p:spPr bwMode="gray">
            <a:xfrm>
              <a:off x="2422738" y="2658753"/>
              <a:ext cx="238539" cy="657559"/>
            </a:xfrm>
            <a:prstGeom prst="rightArrow">
              <a:avLst/>
            </a:pr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a:solidFill>
                  <a:srgbClr val="003C50"/>
                </a:solidFill>
                <a:latin typeface="Roboto"/>
              </a:endParaRPr>
            </a:p>
          </p:txBody>
        </p:sp>
        <p:sp>
          <p:nvSpPr>
            <p:cNvPr id="22" name="Rectangle 21">
              <a:extLst>
                <a:ext uri="{FF2B5EF4-FFF2-40B4-BE49-F238E27FC236}">
                  <a16:creationId xmlns:a16="http://schemas.microsoft.com/office/drawing/2014/main" id="{C9A06165-4113-FE2E-CA93-F990A943A984}"/>
                </a:ext>
              </a:extLst>
            </p:cNvPr>
            <p:cNvSpPr/>
            <p:nvPr/>
          </p:nvSpPr>
          <p:spPr bwMode="gray">
            <a:xfrm>
              <a:off x="215781" y="4744439"/>
              <a:ext cx="4620000" cy="927342"/>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171455" indent="-171455" defTabSz="914368">
                <a:spcBef>
                  <a:spcPts val="550"/>
                </a:spcBef>
                <a:buFont typeface="Wingdings" panose="05000000000000000000" pitchFamily="2" charset="2"/>
                <a:buChar char="§"/>
              </a:pPr>
              <a:r>
                <a:rPr lang="de-DE" sz="1100" b="1">
                  <a:solidFill>
                    <a:schemeClr val="accent1"/>
                  </a:solidFill>
                  <a:latin typeface="Roboto" panose="02000000000000000000" pitchFamily="2" charset="0"/>
                </a:rPr>
                <a:t>Reduktionspotenziale</a:t>
              </a:r>
              <a:r>
                <a:rPr lang="de-DE" sz="1100">
                  <a:solidFill>
                    <a:srgbClr val="003C50"/>
                  </a:solidFill>
                  <a:latin typeface="Roboto" panose="02000000000000000000" pitchFamily="2" charset="0"/>
                </a:rPr>
                <a:t> resultieren aus Gebäudesanierungen unter Berücksichtigung städtebaulicher Gegebenheiten</a:t>
              </a:r>
            </a:p>
            <a:p>
              <a:pPr marL="171455" indent="-171455" defTabSz="914368">
                <a:spcBef>
                  <a:spcPts val="550"/>
                </a:spcBef>
                <a:buFont typeface="Wingdings" panose="05000000000000000000" pitchFamily="2" charset="2"/>
                <a:buChar char="§"/>
              </a:pPr>
              <a:r>
                <a:rPr lang="de-DE" sz="1100" b="1">
                  <a:solidFill>
                    <a:schemeClr val="accent1"/>
                  </a:solidFill>
                  <a:latin typeface="Roboto" panose="02000000000000000000" pitchFamily="2" charset="0"/>
                </a:rPr>
                <a:t>Wasserstoff</a:t>
              </a:r>
              <a:r>
                <a:rPr lang="de-DE" sz="1100" b="1">
                  <a:solidFill>
                    <a:srgbClr val="003C50"/>
                  </a:solidFill>
                  <a:latin typeface="Roboto" panose="02000000000000000000" pitchFamily="2" charset="0"/>
                </a:rPr>
                <a:t> </a:t>
              </a:r>
              <a:r>
                <a:rPr lang="de-DE" sz="1100">
                  <a:solidFill>
                    <a:srgbClr val="003C50"/>
                  </a:solidFill>
                  <a:latin typeface="Roboto" panose="02000000000000000000" pitchFamily="2" charset="0"/>
                </a:rPr>
                <a:t>wird annahmegemäß auch künftig </a:t>
              </a:r>
              <a:r>
                <a:rPr lang="de-DE" sz="1100" b="1">
                  <a:solidFill>
                    <a:srgbClr val="003C50"/>
                  </a:solidFill>
                  <a:latin typeface="Roboto" panose="02000000000000000000" pitchFamily="2" charset="0"/>
                </a:rPr>
                <a:t>knapp und teuer </a:t>
              </a:r>
              <a:r>
                <a:rPr lang="de-DE" sz="1100">
                  <a:solidFill>
                    <a:srgbClr val="003C50"/>
                  </a:solidFill>
                  <a:latin typeface="Roboto" panose="02000000000000000000" pitchFamily="2" charset="0"/>
                </a:rPr>
                <a:t>sein, und somit nicht in der dezentralen Wärmeversorgung eingesetzt</a:t>
              </a:r>
            </a:p>
          </p:txBody>
        </p:sp>
        <p:grpSp>
          <p:nvGrpSpPr>
            <p:cNvPr id="23" name="Group 22">
              <a:extLst>
                <a:ext uri="{FF2B5EF4-FFF2-40B4-BE49-F238E27FC236}">
                  <a16:creationId xmlns:a16="http://schemas.microsoft.com/office/drawing/2014/main" id="{CD6F8166-F689-429A-247D-05F5120C2FE4}"/>
                </a:ext>
              </a:extLst>
            </p:cNvPr>
            <p:cNvGrpSpPr/>
            <p:nvPr/>
          </p:nvGrpSpPr>
          <p:grpSpPr>
            <a:xfrm>
              <a:off x="215235" y="4298079"/>
              <a:ext cx="4635764" cy="380233"/>
              <a:chOff x="234802" y="5152510"/>
              <a:chExt cx="5057198" cy="414800"/>
            </a:xfrm>
          </p:grpSpPr>
          <p:grpSp>
            <p:nvGrpSpPr>
              <p:cNvPr id="28" name="Group 27">
                <a:extLst>
                  <a:ext uri="{FF2B5EF4-FFF2-40B4-BE49-F238E27FC236}">
                    <a16:creationId xmlns:a16="http://schemas.microsoft.com/office/drawing/2014/main" id="{82393030-EB77-C925-CE53-EB74A15634DC}"/>
                  </a:ext>
                </a:extLst>
              </p:cNvPr>
              <p:cNvGrpSpPr/>
              <p:nvPr/>
            </p:nvGrpSpPr>
            <p:grpSpPr>
              <a:xfrm>
                <a:off x="234802" y="5152510"/>
                <a:ext cx="2807999" cy="414800"/>
                <a:chOff x="234802" y="5152510"/>
                <a:chExt cx="2807999" cy="414800"/>
              </a:xfrm>
            </p:grpSpPr>
            <p:sp>
              <p:nvSpPr>
                <p:cNvPr id="35" name="Rectangle: Rounded Corners 34">
                  <a:extLst>
                    <a:ext uri="{FF2B5EF4-FFF2-40B4-BE49-F238E27FC236}">
                      <a16:creationId xmlns:a16="http://schemas.microsoft.com/office/drawing/2014/main" id="{265BC521-EEEC-3445-27AC-F8BAAF1EED82}"/>
                    </a:ext>
                  </a:extLst>
                </p:cNvPr>
                <p:cNvSpPr/>
                <p:nvPr/>
              </p:nvSpPr>
              <p:spPr bwMode="gray">
                <a:xfrm>
                  <a:off x="234802" y="5197911"/>
                  <a:ext cx="324000" cy="324000"/>
                </a:xfrm>
                <a:prstGeom prst="roundRect">
                  <a:avLst/>
                </a:prstGeom>
                <a:solidFill>
                  <a:srgbClr val="F78E6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999">
                    <a:solidFill>
                      <a:srgbClr val="003C50"/>
                    </a:solidFill>
                    <a:latin typeface="Roboto"/>
                  </a:endParaRPr>
                </a:p>
              </p:txBody>
            </p:sp>
            <p:sp>
              <p:nvSpPr>
                <p:cNvPr id="36" name="box_text">
                  <a:extLst>
                    <a:ext uri="{FF2B5EF4-FFF2-40B4-BE49-F238E27FC236}">
                      <a16:creationId xmlns:a16="http://schemas.microsoft.com/office/drawing/2014/main" id="{967EEEF3-A414-5700-FC30-2BBD73FDCF6A}"/>
                    </a:ext>
                  </a:extLst>
                </p:cNvPr>
                <p:cNvSpPr/>
                <p:nvPr/>
              </p:nvSpPr>
              <p:spPr bwMode="gray">
                <a:xfrm>
                  <a:off x="594801" y="5152510"/>
                  <a:ext cx="2448000" cy="414800"/>
                </a:xfrm>
                <a:prstGeom prst="rect">
                  <a:avLst/>
                </a:prstGeom>
                <a:noFill/>
                <a:ln w="9525">
                  <a:no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33000" tIns="36005" rIns="36005" bIns="36005" rtlCol="0" anchor="ctr">
                  <a:sp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defTabSz="914368"/>
                  <a:r>
                    <a:rPr lang="de-DE" sz="999">
                      <a:solidFill>
                        <a:srgbClr val="003C50"/>
                      </a:solidFill>
                      <a:latin typeface="Roboto" panose="02000000000000000000" pitchFamily="2" charset="0"/>
                    </a:rPr>
                    <a:t>Hohe </a:t>
                  </a:r>
                  <a:br>
                    <a:rPr lang="de-DE" sz="999">
                      <a:solidFill>
                        <a:srgbClr val="003C50"/>
                      </a:solidFill>
                      <a:latin typeface="Roboto" panose="02000000000000000000" pitchFamily="2" charset="0"/>
                    </a:rPr>
                  </a:br>
                  <a:r>
                    <a:rPr lang="de-DE" sz="999">
                      <a:solidFill>
                        <a:srgbClr val="003C50"/>
                      </a:solidFill>
                      <a:latin typeface="Roboto" panose="02000000000000000000" pitchFamily="2" charset="0"/>
                    </a:rPr>
                    <a:t>Wärmenachfrage</a:t>
                  </a:r>
                </a:p>
              </p:txBody>
            </p:sp>
          </p:grpSp>
          <p:grpSp>
            <p:nvGrpSpPr>
              <p:cNvPr id="29" name="Group 28">
                <a:extLst>
                  <a:ext uri="{FF2B5EF4-FFF2-40B4-BE49-F238E27FC236}">
                    <a16:creationId xmlns:a16="http://schemas.microsoft.com/office/drawing/2014/main" id="{80BFB0AC-8709-230D-6C2F-4A551ABFCAE4}"/>
                  </a:ext>
                </a:extLst>
              </p:cNvPr>
              <p:cNvGrpSpPr/>
              <p:nvPr/>
            </p:nvGrpSpPr>
            <p:grpSpPr>
              <a:xfrm>
                <a:off x="2025401" y="5152510"/>
                <a:ext cx="2808000" cy="414800"/>
                <a:chOff x="234802" y="5602510"/>
                <a:chExt cx="2808000" cy="414800"/>
              </a:xfrm>
            </p:grpSpPr>
            <p:sp>
              <p:nvSpPr>
                <p:cNvPr id="33" name="Rectangle: Rounded Corners 32">
                  <a:extLst>
                    <a:ext uri="{FF2B5EF4-FFF2-40B4-BE49-F238E27FC236}">
                      <a16:creationId xmlns:a16="http://schemas.microsoft.com/office/drawing/2014/main" id="{7AC0BA04-69EA-7905-4EF9-8BAFC6C24856}"/>
                    </a:ext>
                  </a:extLst>
                </p:cNvPr>
                <p:cNvSpPr/>
                <p:nvPr/>
              </p:nvSpPr>
              <p:spPr bwMode="gray">
                <a:xfrm>
                  <a:off x="234802" y="5647911"/>
                  <a:ext cx="324000" cy="324000"/>
                </a:xfrm>
                <a:prstGeom prst="roundRect">
                  <a:avLst/>
                </a:prstGeom>
                <a:solidFill>
                  <a:srgbClr val="FAD16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999">
                    <a:solidFill>
                      <a:srgbClr val="003C50"/>
                    </a:solidFill>
                    <a:latin typeface="Roboto"/>
                  </a:endParaRPr>
                </a:p>
              </p:txBody>
            </p:sp>
            <p:sp>
              <p:nvSpPr>
                <p:cNvPr id="34" name="box_text">
                  <a:extLst>
                    <a:ext uri="{FF2B5EF4-FFF2-40B4-BE49-F238E27FC236}">
                      <a16:creationId xmlns:a16="http://schemas.microsoft.com/office/drawing/2014/main" id="{863F916D-0E44-79D7-26B3-8BF3AF75EC1E}"/>
                    </a:ext>
                  </a:extLst>
                </p:cNvPr>
                <p:cNvSpPr/>
                <p:nvPr/>
              </p:nvSpPr>
              <p:spPr bwMode="gray">
                <a:xfrm>
                  <a:off x="594802" y="5602510"/>
                  <a:ext cx="2448000" cy="414800"/>
                </a:xfrm>
                <a:prstGeom prst="rect">
                  <a:avLst/>
                </a:prstGeom>
                <a:noFill/>
                <a:ln w="9525">
                  <a:no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33000" tIns="36005" rIns="36005" bIns="36005" rtlCol="0" anchor="ctr">
                  <a:sp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defTabSz="914368"/>
                  <a:r>
                    <a:rPr lang="de-DE" sz="999">
                      <a:solidFill>
                        <a:srgbClr val="003C50"/>
                      </a:solidFill>
                      <a:latin typeface="Roboto" panose="02000000000000000000" pitchFamily="2" charset="0"/>
                    </a:rPr>
                    <a:t>Mittlere </a:t>
                  </a:r>
                  <a:br>
                    <a:rPr lang="de-DE" sz="999">
                      <a:solidFill>
                        <a:srgbClr val="003C50"/>
                      </a:solidFill>
                      <a:latin typeface="Roboto" panose="02000000000000000000" pitchFamily="2" charset="0"/>
                    </a:rPr>
                  </a:br>
                  <a:r>
                    <a:rPr lang="de-DE" sz="999">
                      <a:solidFill>
                        <a:srgbClr val="003C50"/>
                      </a:solidFill>
                      <a:latin typeface="Roboto" panose="02000000000000000000" pitchFamily="2" charset="0"/>
                    </a:rPr>
                    <a:t>Wärmenachfrage</a:t>
                  </a:r>
                </a:p>
              </p:txBody>
            </p:sp>
          </p:grpSp>
          <p:grpSp>
            <p:nvGrpSpPr>
              <p:cNvPr id="30" name="Group 29">
                <a:extLst>
                  <a:ext uri="{FF2B5EF4-FFF2-40B4-BE49-F238E27FC236}">
                    <a16:creationId xmlns:a16="http://schemas.microsoft.com/office/drawing/2014/main" id="{6DB48A0F-7E7C-DB92-9F76-B787A880AB30}"/>
                  </a:ext>
                </a:extLst>
              </p:cNvPr>
              <p:cNvGrpSpPr/>
              <p:nvPr/>
            </p:nvGrpSpPr>
            <p:grpSpPr>
              <a:xfrm>
                <a:off x="3816000" y="5152510"/>
                <a:ext cx="1476000" cy="414800"/>
                <a:chOff x="234802" y="6052510"/>
                <a:chExt cx="1476000" cy="414800"/>
              </a:xfrm>
            </p:grpSpPr>
            <p:sp>
              <p:nvSpPr>
                <p:cNvPr id="31" name="Rectangle: Rounded Corners 30">
                  <a:extLst>
                    <a:ext uri="{FF2B5EF4-FFF2-40B4-BE49-F238E27FC236}">
                      <a16:creationId xmlns:a16="http://schemas.microsoft.com/office/drawing/2014/main" id="{1CE61871-72A0-D3E0-0A54-E4CA07550A4B}"/>
                    </a:ext>
                  </a:extLst>
                </p:cNvPr>
                <p:cNvSpPr/>
                <p:nvPr/>
              </p:nvSpPr>
              <p:spPr bwMode="gray">
                <a:xfrm>
                  <a:off x="234802" y="6097911"/>
                  <a:ext cx="324000" cy="324000"/>
                </a:xfrm>
                <a:prstGeom prst="roundRect">
                  <a:avLst/>
                </a:prstGeom>
                <a:solidFill>
                  <a:srgbClr val="FFFFB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999">
                    <a:solidFill>
                      <a:srgbClr val="003C50"/>
                    </a:solidFill>
                    <a:latin typeface="Roboto"/>
                  </a:endParaRPr>
                </a:p>
              </p:txBody>
            </p:sp>
            <p:sp>
              <p:nvSpPr>
                <p:cNvPr id="32" name="box_text">
                  <a:extLst>
                    <a:ext uri="{FF2B5EF4-FFF2-40B4-BE49-F238E27FC236}">
                      <a16:creationId xmlns:a16="http://schemas.microsoft.com/office/drawing/2014/main" id="{0E1663D3-1F1E-19E3-0978-A6927CF28834}"/>
                    </a:ext>
                  </a:extLst>
                </p:cNvPr>
                <p:cNvSpPr/>
                <p:nvPr/>
              </p:nvSpPr>
              <p:spPr bwMode="gray">
                <a:xfrm>
                  <a:off x="594802" y="6052510"/>
                  <a:ext cx="1116000" cy="414800"/>
                </a:xfrm>
                <a:prstGeom prst="rect">
                  <a:avLst/>
                </a:prstGeom>
                <a:noFill/>
                <a:ln w="9525">
                  <a:no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33000" tIns="36005" rIns="0" bIns="36005" rtlCol="0" anchor="ctr">
                  <a:sp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defTabSz="914368"/>
                  <a:r>
                    <a:rPr lang="de-DE" sz="999">
                      <a:solidFill>
                        <a:srgbClr val="003C50"/>
                      </a:solidFill>
                      <a:latin typeface="Roboto" panose="02000000000000000000" pitchFamily="2" charset="0"/>
                    </a:rPr>
                    <a:t>Niedrige </a:t>
                  </a:r>
                  <a:br>
                    <a:rPr lang="de-DE" sz="999">
                      <a:solidFill>
                        <a:srgbClr val="003C50"/>
                      </a:solidFill>
                      <a:latin typeface="Roboto" panose="02000000000000000000" pitchFamily="2" charset="0"/>
                    </a:rPr>
                  </a:br>
                  <a:r>
                    <a:rPr lang="de-DE" sz="999">
                      <a:solidFill>
                        <a:srgbClr val="003C50"/>
                      </a:solidFill>
                      <a:latin typeface="Roboto" panose="02000000000000000000" pitchFamily="2" charset="0"/>
                    </a:rPr>
                    <a:t>Wärmenachfrage</a:t>
                  </a:r>
                </a:p>
              </p:txBody>
            </p:sp>
          </p:grpSp>
        </p:grpSp>
        <p:sp>
          <p:nvSpPr>
            <p:cNvPr id="24" name="box_text">
              <a:extLst>
                <a:ext uri="{FF2B5EF4-FFF2-40B4-BE49-F238E27FC236}">
                  <a16:creationId xmlns:a16="http://schemas.microsoft.com/office/drawing/2014/main" id="{2204B7E7-6500-2B05-D7DA-AC06E63651F5}"/>
                </a:ext>
              </a:extLst>
            </p:cNvPr>
            <p:cNvSpPr/>
            <p:nvPr/>
          </p:nvSpPr>
          <p:spPr bwMode="gray">
            <a:xfrm>
              <a:off x="208027" y="1659888"/>
              <a:ext cx="660000" cy="288157"/>
            </a:xfrm>
            <a:prstGeom prst="rect">
              <a:avLst/>
            </a:prstGeom>
            <a:noFill/>
            <a:ln w="9525">
              <a:no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66000" tIns="36005" rIns="36005" bIns="36005" rtlCol="0" anchor="ctr">
              <a:sp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defTabSz="914368"/>
              <a:r>
                <a:rPr lang="de-DE" sz="1400" b="1">
                  <a:solidFill>
                    <a:srgbClr val="003C50"/>
                  </a:solidFill>
                  <a:latin typeface="Roboto" panose="02000000000000000000" pitchFamily="2" charset="0"/>
                </a:rPr>
                <a:t>2025</a:t>
              </a:r>
            </a:p>
          </p:txBody>
        </p:sp>
        <p:sp>
          <p:nvSpPr>
            <p:cNvPr id="25" name="box_text">
              <a:extLst>
                <a:ext uri="{FF2B5EF4-FFF2-40B4-BE49-F238E27FC236}">
                  <a16:creationId xmlns:a16="http://schemas.microsoft.com/office/drawing/2014/main" id="{F88384E1-B433-FA05-585B-272CF7D236E8}"/>
                </a:ext>
              </a:extLst>
            </p:cNvPr>
            <p:cNvSpPr/>
            <p:nvPr/>
          </p:nvSpPr>
          <p:spPr bwMode="gray">
            <a:xfrm>
              <a:off x="2683027" y="1659888"/>
              <a:ext cx="660000" cy="288157"/>
            </a:xfrm>
            <a:prstGeom prst="rect">
              <a:avLst/>
            </a:prstGeom>
            <a:noFill/>
            <a:ln w="9525">
              <a:no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66000" tIns="36005" rIns="36005" bIns="36005" rtlCol="0" anchor="ctr">
              <a:sp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defTabSz="914368"/>
              <a:r>
                <a:rPr lang="de-DE" sz="1400" b="1">
                  <a:solidFill>
                    <a:srgbClr val="003C50"/>
                  </a:solidFill>
                  <a:latin typeface="Roboto" panose="02000000000000000000" pitchFamily="2" charset="0"/>
                </a:rPr>
                <a:t>2045</a:t>
              </a:r>
            </a:p>
          </p:txBody>
        </p:sp>
        <p:pic>
          <p:nvPicPr>
            <p:cNvPr id="26" name="Picture 25">
              <a:extLst>
                <a:ext uri="{FF2B5EF4-FFF2-40B4-BE49-F238E27FC236}">
                  <a16:creationId xmlns:a16="http://schemas.microsoft.com/office/drawing/2014/main" id="{B3951087-6DBA-0551-AA2A-D47501736555}"/>
                </a:ext>
              </a:extLst>
            </p:cNvPr>
            <p:cNvPicPr>
              <a:picLocks noChangeAspect="1"/>
            </p:cNvPicPr>
            <p:nvPr/>
          </p:nvPicPr>
          <p:blipFill>
            <a:blip r:embed="rId12"/>
            <a:srcRect/>
            <a:stretch/>
          </p:blipFill>
          <p:spPr>
            <a:xfrm>
              <a:off x="208027" y="2047793"/>
              <a:ext cx="2139058" cy="1995389"/>
            </a:xfrm>
            <a:prstGeom prst="rect">
              <a:avLst/>
            </a:prstGeom>
          </p:spPr>
        </p:pic>
        <p:pic>
          <p:nvPicPr>
            <p:cNvPr id="27" name="Picture 26">
              <a:extLst>
                <a:ext uri="{FF2B5EF4-FFF2-40B4-BE49-F238E27FC236}">
                  <a16:creationId xmlns:a16="http://schemas.microsoft.com/office/drawing/2014/main" id="{103151A0-EAE8-AF22-6AFA-61EB62CCD33B}"/>
                </a:ext>
              </a:extLst>
            </p:cNvPr>
            <p:cNvPicPr>
              <a:picLocks noChangeAspect="1"/>
            </p:cNvPicPr>
            <p:nvPr/>
          </p:nvPicPr>
          <p:blipFill>
            <a:blip r:embed="rId13"/>
            <a:srcRect/>
            <a:stretch/>
          </p:blipFill>
          <p:spPr>
            <a:xfrm>
              <a:off x="2688969" y="2043802"/>
              <a:ext cx="2139058" cy="2003371"/>
            </a:xfrm>
            <a:prstGeom prst="rect">
              <a:avLst/>
            </a:prstGeom>
          </p:spPr>
        </p:pic>
      </p:grpSp>
      <p:sp>
        <p:nvSpPr>
          <p:cNvPr id="43" name="Footer Placeholder 42">
            <a:extLst>
              <a:ext uri="{FF2B5EF4-FFF2-40B4-BE49-F238E27FC236}">
                <a16:creationId xmlns:a16="http://schemas.microsoft.com/office/drawing/2014/main" id="{67C469E0-B3A7-914C-1A64-CDEB5FEB8CDC}"/>
              </a:ext>
            </a:extLst>
          </p:cNvPr>
          <p:cNvSpPr>
            <a:spLocks noGrp="1"/>
          </p:cNvSpPr>
          <p:nvPr>
            <p:ph type="ftr" sz="quarter" idx="12"/>
          </p:nvPr>
        </p:nvSpPr>
        <p:spPr/>
        <p:txBody>
          <a:bodyPr/>
          <a:lstStyle/>
          <a:p>
            <a:r>
              <a:rPr lang="de-DE"/>
              <a:t>© 2026</a:t>
            </a:r>
          </a:p>
          <a:p>
            <a:r>
              <a:rPr lang="de-DE"/>
              <a:t>d-fine</a:t>
            </a:r>
          </a:p>
        </p:txBody>
      </p:sp>
      <p:sp>
        <p:nvSpPr>
          <p:cNvPr id="44" name="Slide Number Placeholder 43">
            <a:extLst>
              <a:ext uri="{FF2B5EF4-FFF2-40B4-BE49-F238E27FC236}">
                <a16:creationId xmlns:a16="http://schemas.microsoft.com/office/drawing/2014/main" id="{B3A480E8-5D11-DC76-8C6D-7E7A5EF881A3}"/>
              </a:ext>
            </a:extLst>
          </p:cNvPr>
          <p:cNvSpPr>
            <a:spLocks noGrp="1"/>
          </p:cNvSpPr>
          <p:nvPr>
            <p:ph type="sldNum" sz="quarter" idx="11"/>
          </p:nvPr>
        </p:nvSpPr>
        <p:spPr/>
        <p:txBody>
          <a:bodyPr/>
          <a:lstStyle/>
          <a:p>
            <a:endParaRPr lang="de-DE"/>
          </a:p>
          <a:p>
            <a:fld id="{24C420F5-194C-40F2-A080-C5F3EDD89037}" type="slidenum">
              <a:rPr lang="de-DE" smtClean="0"/>
              <a:pPr/>
              <a:t>39</a:t>
            </a:fld>
            <a:endParaRPr lang="de-DE"/>
          </a:p>
        </p:txBody>
      </p:sp>
    </p:spTree>
    <p:extLst>
      <p:ext uri="{BB962C8B-B14F-4D97-AF65-F5344CB8AC3E}">
        <p14:creationId xmlns:p14="http://schemas.microsoft.com/office/powerpoint/2010/main" val="28180653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D0C35D-BCF3-B0D0-ABB1-5633093B047B}"/>
              </a:ext>
            </a:extLst>
          </p:cNvPr>
          <p:cNvSpPr>
            <a:spLocks noGrp="1"/>
          </p:cNvSpPr>
          <p:nvPr>
            <p:ph type="ctrTitle"/>
          </p:nvPr>
        </p:nvSpPr>
        <p:spPr/>
        <p:txBody>
          <a:bodyPr/>
          <a:lstStyle/>
          <a:p>
            <a:r>
              <a:rPr lang="de-DE"/>
              <a:t>Impulsvortrag: Hintergründe und Ziele der Kommunalen Wärmeplanung​</a:t>
            </a:r>
          </a:p>
        </p:txBody>
      </p:sp>
      <p:sp>
        <p:nvSpPr>
          <p:cNvPr id="4" name="Text Placeholder 3">
            <a:extLst>
              <a:ext uri="{FF2B5EF4-FFF2-40B4-BE49-F238E27FC236}">
                <a16:creationId xmlns:a16="http://schemas.microsoft.com/office/drawing/2014/main" id="{054276AD-C49F-96C7-E638-CE0FA040A51A}"/>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17260735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1882DE3-7378-B2A2-2835-AD68913E723C}"/>
              </a:ext>
            </a:extLst>
          </p:cNvPr>
          <p:cNvSpPr>
            <a:spLocks noGrp="1"/>
          </p:cNvSpPr>
          <p:nvPr>
            <p:ph type="sldNum" sz="quarter" idx="11"/>
          </p:nvPr>
        </p:nvSpPr>
        <p:spPr/>
        <p:txBody>
          <a:bodyPr/>
          <a:lstStyle/>
          <a:p>
            <a:endParaRPr lang="de-DE"/>
          </a:p>
          <a:p>
            <a:fld id="{24C420F5-194C-40F2-A080-C5F3EDD89037}" type="slidenum">
              <a:rPr lang="de-DE" smtClean="0"/>
              <a:pPr/>
              <a:t>40</a:t>
            </a:fld>
            <a:endParaRPr lang="de-DE"/>
          </a:p>
        </p:txBody>
      </p:sp>
      <p:sp>
        <p:nvSpPr>
          <p:cNvPr id="3" name="Title 2">
            <a:extLst>
              <a:ext uri="{FF2B5EF4-FFF2-40B4-BE49-F238E27FC236}">
                <a16:creationId xmlns:a16="http://schemas.microsoft.com/office/drawing/2014/main" id="{40215446-795C-6AD9-1F88-DC060CA880DE}"/>
              </a:ext>
            </a:extLst>
          </p:cNvPr>
          <p:cNvSpPr>
            <a:spLocks noGrp="1"/>
          </p:cNvSpPr>
          <p:nvPr>
            <p:ph type="title"/>
          </p:nvPr>
        </p:nvSpPr>
        <p:spPr/>
        <p:txBody>
          <a:bodyPr/>
          <a:lstStyle/>
          <a:p>
            <a:r>
              <a:rPr lang="de-DE" b="1">
                <a:latin typeface="Roboto" panose="02000000000000000000" pitchFamily="2" charset="0"/>
              </a:rPr>
              <a:t>Ergebnisse der Kommunalen Wärmeplanung - Bestands- und Potenzialanalyse</a:t>
            </a:r>
            <a:br>
              <a:rPr lang="de-DE" b="1">
                <a:latin typeface="Roboto" panose="02000000000000000000" pitchFamily="2" charset="0"/>
              </a:rPr>
            </a:br>
            <a:r>
              <a:rPr lang="de-DE">
                <a:latin typeface="Roboto" panose="02000000000000000000" pitchFamily="2" charset="0"/>
              </a:rPr>
              <a:t>Übersicht</a:t>
            </a:r>
            <a:endParaRPr lang="de-DE"/>
          </a:p>
        </p:txBody>
      </p:sp>
      <p:sp>
        <p:nvSpPr>
          <p:cNvPr id="4" name="Footer Placeholder 3">
            <a:extLst>
              <a:ext uri="{FF2B5EF4-FFF2-40B4-BE49-F238E27FC236}">
                <a16:creationId xmlns:a16="http://schemas.microsoft.com/office/drawing/2014/main" id="{7A404D19-2876-F993-6356-3191377C09E6}"/>
              </a:ext>
            </a:extLst>
          </p:cNvPr>
          <p:cNvSpPr>
            <a:spLocks noGrp="1"/>
          </p:cNvSpPr>
          <p:nvPr>
            <p:ph type="ftr" sz="quarter" idx="12"/>
          </p:nvPr>
        </p:nvSpPr>
        <p:spPr/>
        <p:txBody>
          <a:bodyPr/>
          <a:lstStyle/>
          <a:p>
            <a:r>
              <a:rPr lang="de-DE"/>
              <a:t>© 2026</a:t>
            </a:r>
          </a:p>
          <a:p>
            <a:r>
              <a:rPr lang="de-DE"/>
              <a:t>d-fine</a:t>
            </a:r>
          </a:p>
        </p:txBody>
      </p:sp>
      <p:pic>
        <p:nvPicPr>
          <p:cNvPr id="8" name="Picture Placeholder 16" descr="energy_demands_Rheda_Wiedenbrueck.png">
            <a:extLst>
              <a:ext uri="{FF2B5EF4-FFF2-40B4-BE49-F238E27FC236}">
                <a16:creationId xmlns:a16="http://schemas.microsoft.com/office/drawing/2014/main" id="{7D273001-2135-0F45-6623-6F38EC2AED7F}"/>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0" y="1563689"/>
            <a:ext cx="3331182" cy="2387923"/>
          </a:xfrm>
          <a:prstGeom prst="rect">
            <a:avLst/>
          </a:prstGeom>
        </p:spPr>
      </p:pic>
      <p:grpSp>
        <p:nvGrpSpPr>
          <p:cNvPr id="18" name="Group 17">
            <a:extLst>
              <a:ext uri="{FF2B5EF4-FFF2-40B4-BE49-F238E27FC236}">
                <a16:creationId xmlns:a16="http://schemas.microsoft.com/office/drawing/2014/main" id="{6BD18EFB-1FFF-7D9F-67BB-21BE39653C29}"/>
              </a:ext>
            </a:extLst>
          </p:cNvPr>
          <p:cNvGrpSpPr/>
          <p:nvPr/>
        </p:nvGrpSpPr>
        <p:grpSpPr>
          <a:xfrm>
            <a:off x="2839187" y="2235899"/>
            <a:ext cx="1808314" cy="1002021"/>
            <a:chOff x="5908046" y="6548856"/>
            <a:chExt cx="1808314" cy="1002021"/>
          </a:xfrm>
        </p:grpSpPr>
        <p:sp>
          <p:nvSpPr>
            <p:cNvPr id="19" name="TextBox 18">
              <a:extLst>
                <a:ext uri="{FF2B5EF4-FFF2-40B4-BE49-F238E27FC236}">
                  <a16:creationId xmlns:a16="http://schemas.microsoft.com/office/drawing/2014/main" id="{DB9ED3E3-4564-4314-E1FF-F50A553B7DDC}"/>
                </a:ext>
              </a:extLst>
            </p:cNvPr>
            <p:cNvSpPr txBox="1"/>
            <p:nvPr/>
          </p:nvSpPr>
          <p:spPr>
            <a:xfrm>
              <a:off x="6155248" y="6554217"/>
              <a:ext cx="699875" cy="161583"/>
            </a:xfrm>
            <a:prstGeom prst="rect">
              <a:avLst/>
            </a:prstGeom>
            <a:noFill/>
            <a:ln>
              <a:noFill/>
            </a:ln>
          </p:spPr>
          <p:txBody>
            <a:bodyPr wrap="square" lIns="0" tIns="0" rIns="0" bIns="0" rtlCol="0" anchor="t">
              <a:spAutoFit/>
            </a:bodyPr>
            <a:lstStyle/>
            <a:p>
              <a:r>
                <a:rPr lang="de-DE" sz="1050">
                  <a:solidFill>
                    <a:schemeClr val="accent5">
                      <a:lumMod val="10000"/>
                    </a:schemeClr>
                  </a:solidFill>
                  <a:latin typeface="Roboto" panose="02000000000000000000" pitchFamily="2" charset="0"/>
                  <a:ea typeface="Roboto Slab" pitchFamily="2" charset="0"/>
                  <a:cs typeface="Calibri" panose="020F0502020204030204" pitchFamily="34" charset="0"/>
                </a:rPr>
                <a:t>Erdgas</a:t>
              </a:r>
            </a:p>
          </p:txBody>
        </p:sp>
        <p:sp>
          <p:nvSpPr>
            <p:cNvPr id="20" name="Rectangle: Rounded Corners 19">
              <a:extLst>
                <a:ext uri="{FF2B5EF4-FFF2-40B4-BE49-F238E27FC236}">
                  <a16:creationId xmlns:a16="http://schemas.microsoft.com/office/drawing/2014/main" id="{9682F9C7-EF1D-960E-1F55-6BC3C97E6E76}"/>
                </a:ext>
              </a:extLst>
            </p:cNvPr>
            <p:cNvSpPr/>
            <p:nvPr/>
          </p:nvSpPr>
          <p:spPr bwMode="gray">
            <a:xfrm>
              <a:off x="5915169" y="6548856"/>
              <a:ext cx="180000" cy="180000"/>
            </a:xfrm>
            <a:prstGeom prst="roundRect">
              <a:avLst/>
            </a:prstGeom>
            <a:solidFill>
              <a:srgbClr val="FDDB7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8" tIns="36008" rIns="36008" bIns="36008" rtlCol="0" anchor="ctr">
              <a:noAutofit/>
            </a:bodyPr>
            <a:lstStyle/>
            <a:p>
              <a:pPr algn="ctr"/>
              <a:endParaRPr lang="de-DE" sz="1400">
                <a:solidFill>
                  <a:schemeClr val="tx1"/>
                </a:solidFill>
                <a:latin typeface="Calibri" panose="020F0502020204030204" pitchFamily="34" charset="0"/>
                <a:cs typeface="Calibri" panose="020F0502020204030204" pitchFamily="34" charset="0"/>
              </a:endParaRPr>
            </a:p>
          </p:txBody>
        </p:sp>
        <p:sp>
          <p:nvSpPr>
            <p:cNvPr id="21" name="Rectangle: Rounded Corners 20">
              <a:extLst>
                <a:ext uri="{FF2B5EF4-FFF2-40B4-BE49-F238E27FC236}">
                  <a16:creationId xmlns:a16="http://schemas.microsoft.com/office/drawing/2014/main" id="{91DEEB27-0C94-C06C-7AE5-F5C0B32BDEC7}"/>
                </a:ext>
              </a:extLst>
            </p:cNvPr>
            <p:cNvSpPr/>
            <p:nvPr/>
          </p:nvSpPr>
          <p:spPr bwMode="gray">
            <a:xfrm>
              <a:off x="5915169" y="6822863"/>
              <a:ext cx="180000" cy="180000"/>
            </a:xfrm>
            <a:prstGeom prst="roundRect">
              <a:avLst/>
            </a:prstGeom>
            <a:solidFill>
              <a:srgbClr val="787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8" tIns="36008" rIns="36008" bIns="36008" rtlCol="0" anchor="ctr">
              <a:noAutofit/>
            </a:bodyPr>
            <a:lstStyle/>
            <a:p>
              <a:pPr algn="ctr"/>
              <a:endParaRPr lang="de-DE" sz="1400">
                <a:solidFill>
                  <a:schemeClr val="tx1"/>
                </a:solidFill>
                <a:latin typeface="Calibri" panose="020F0502020204030204" pitchFamily="34" charset="0"/>
                <a:cs typeface="Calibri" panose="020F0502020204030204" pitchFamily="34" charset="0"/>
              </a:endParaRPr>
            </a:p>
          </p:txBody>
        </p:sp>
        <p:sp>
          <p:nvSpPr>
            <p:cNvPr id="22" name="Rectangle: Rounded Corners 21">
              <a:extLst>
                <a:ext uri="{FF2B5EF4-FFF2-40B4-BE49-F238E27FC236}">
                  <a16:creationId xmlns:a16="http://schemas.microsoft.com/office/drawing/2014/main" id="{CDBB44FB-1AF4-DB39-95FE-9CD7C0E7764F}"/>
                </a:ext>
              </a:extLst>
            </p:cNvPr>
            <p:cNvSpPr/>
            <p:nvPr/>
          </p:nvSpPr>
          <p:spPr bwMode="gray">
            <a:xfrm>
              <a:off x="5912009" y="7096870"/>
              <a:ext cx="180000" cy="180000"/>
            </a:xfrm>
            <a:prstGeom prst="roundRect">
              <a:avLst/>
            </a:prstGeom>
            <a:solidFill>
              <a:srgbClr val="44CD8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8" tIns="36008" rIns="36008" bIns="36008" rtlCol="0" anchor="ctr">
              <a:noAutofit/>
            </a:bodyPr>
            <a:lstStyle/>
            <a:p>
              <a:pPr algn="ctr"/>
              <a:endParaRPr lang="de-DE" sz="1400" err="1">
                <a:solidFill>
                  <a:schemeClr val="tx1"/>
                </a:solidFill>
                <a:latin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9F5DC9DC-3F58-8A45-3181-D294F3C8C869}"/>
                </a:ext>
              </a:extLst>
            </p:cNvPr>
            <p:cNvSpPr txBox="1"/>
            <p:nvPr/>
          </p:nvSpPr>
          <p:spPr>
            <a:xfrm>
              <a:off x="6155248" y="6828225"/>
              <a:ext cx="699875" cy="161583"/>
            </a:xfrm>
            <a:prstGeom prst="rect">
              <a:avLst/>
            </a:prstGeom>
            <a:noFill/>
            <a:ln>
              <a:noFill/>
            </a:ln>
          </p:spPr>
          <p:txBody>
            <a:bodyPr wrap="square" lIns="0" tIns="0" rIns="0" bIns="0" rtlCol="0" anchor="t">
              <a:spAutoFit/>
            </a:bodyPr>
            <a:lstStyle/>
            <a:p>
              <a:r>
                <a:rPr lang="de-DE" sz="1050">
                  <a:solidFill>
                    <a:schemeClr val="accent5">
                      <a:lumMod val="10000"/>
                    </a:schemeClr>
                  </a:solidFill>
                  <a:latin typeface="Roboto" panose="02000000000000000000" pitchFamily="2" charset="0"/>
                  <a:ea typeface="Roboto Slab" pitchFamily="2" charset="0"/>
                  <a:cs typeface="Calibri" panose="020F0502020204030204" pitchFamily="34" charset="0"/>
                </a:rPr>
                <a:t>Heizöl</a:t>
              </a:r>
            </a:p>
          </p:txBody>
        </p:sp>
        <p:sp>
          <p:nvSpPr>
            <p:cNvPr id="24" name="TextBox 23">
              <a:extLst>
                <a:ext uri="{FF2B5EF4-FFF2-40B4-BE49-F238E27FC236}">
                  <a16:creationId xmlns:a16="http://schemas.microsoft.com/office/drawing/2014/main" id="{46F1D034-B436-9E32-8F22-61D0A90B6DDE}"/>
                </a:ext>
              </a:extLst>
            </p:cNvPr>
            <p:cNvSpPr txBox="1"/>
            <p:nvPr/>
          </p:nvSpPr>
          <p:spPr>
            <a:xfrm>
              <a:off x="6155248" y="7102231"/>
              <a:ext cx="1561112" cy="161583"/>
            </a:xfrm>
            <a:prstGeom prst="rect">
              <a:avLst/>
            </a:prstGeom>
            <a:noFill/>
            <a:ln>
              <a:noFill/>
            </a:ln>
          </p:spPr>
          <p:txBody>
            <a:bodyPr wrap="square" lIns="0" tIns="0" rIns="0" bIns="0" rtlCol="0" anchor="t">
              <a:spAutoFit/>
            </a:bodyPr>
            <a:lstStyle/>
            <a:p>
              <a:r>
                <a:rPr lang="de-DE" sz="1050">
                  <a:solidFill>
                    <a:schemeClr val="accent5">
                      <a:lumMod val="10000"/>
                    </a:schemeClr>
                  </a:solidFill>
                  <a:latin typeface="Roboto" panose="02000000000000000000" pitchFamily="2" charset="0"/>
                  <a:ea typeface="Roboto Slab" pitchFamily="2" charset="0"/>
                  <a:cs typeface="Calibri" panose="020F0502020204030204" pitchFamily="34" charset="0"/>
                </a:rPr>
                <a:t>Biogene Brennstoffe</a:t>
              </a:r>
            </a:p>
          </p:txBody>
        </p:sp>
        <p:sp>
          <p:nvSpPr>
            <p:cNvPr id="25" name="TextBox 24">
              <a:extLst>
                <a:ext uri="{FF2B5EF4-FFF2-40B4-BE49-F238E27FC236}">
                  <a16:creationId xmlns:a16="http://schemas.microsoft.com/office/drawing/2014/main" id="{4E9081FC-1D39-D5FC-C364-E58C595FF6FE}"/>
                </a:ext>
              </a:extLst>
            </p:cNvPr>
            <p:cNvSpPr txBox="1"/>
            <p:nvPr/>
          </p:nvSpPr>
          <p:spPr>
            <a:xfrm>
              <a:off x="6155248" y="7376238"/>
              <a:ext cx="950469" cy="161583"/>
            </a:xfrm>
            <a:prstGeom prst="rect">
              <a:avLst/>
            </a:prstGeom>
            <a:noFill/>
            <a:ln>
              <a:noFill/>
            </a:ln>
          </p:spPr>
          <p:txBody>
            <a:bodyPr wrap="square" lIns="0" tIns="0" rIns="0" bIns="0" rtlCol="0" anchor="t">
              <a:spAutoFit/>
            </a:bodyPr>
            <a:lstStyle/>
            <a:p>
              <a:r>
                <a:rPr lang="de-DE" sz="1050">
                  <a:solidFill>
                    <a:schemeClr val="accent5">
                      <a:lumMod val="10000"/>
                    </a:schemeClr>
                  </a:solidFill>
                  <a:latin typeface="Roboto" panose="02000000000000000000" pitchFamily="2" charset="0"/>
                  <a:ea typeface="Roboto Slab" pitchFamily="2" charset="0"/>
                  <a:cs typeface="Calibri" panose="020F0502020204030204" pitchFamily="34" charset="0"/>
                </a:rPr>
                <a:t>Strom</a:t>
              </a:r>
            </a:p>
          </p:txBody>
        </p:sp>
        <p:sp>
          <p:nvSpPr>
            <p:cNvPr id="26" name="Rectangle: Rounded Corners 25">
              <a:extLst>
                <a:ext uri="{FF2B5EF4-FFF2-40B4-BE49-F238E27FC236}">
                  <a16:creationId xmlns:a16="http://schemas.microsoft.com/office/drawing/2014/main" id="{25B39802-63EC-14C2-EB8A-3EDB574202C4}"/>
                </a:ext>
              </a:extLst>
            </p:cNvPr>
            <p:cNvSpPr/>
            <p:nvPr/>
          </p:nvSpPr>
          <p:spPr bwMode="gray">
            <a:xfrm>
              <a:off x="5908046" y="7370877"/>
              <a:ext cx="180000" cy="180000"/>
            </a:xfrm>
            <a:prstGeom prst="roundRect">
              <a:avLst/>
            </a:prstGeom>
            <a:solidFill>
              <a:srgbClr val="5CB6E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8" tIns="36008" rIns="36008" bIns="36008" rtlCol="0" anchor="ctr">
              <a:noAutofit/>
            </a:bodyPr>
            <a:lstStyle/>
            <a:p>
              <a:pPr algn="ctr"/>
              <a:endParaRPr lang="de-DE" sz="1400" err="1">
                <a:solidFill>
                  <a:schemeClr val="tx1"/>
                </a:solidFill>
                <a:latin typeface="Calibri" panose="020F0502020204030204" pitchFamily="34" charset="0"/>
                <a:cs typeface="Calibri" panose="020F0502020204030204" pitchFamily="34" charset="0"/>
              </a:endParaRPr>
            </a:p>
          </p:txBody>
        </p:sp>
      </p:grpSp>
      <p:sp>
        <p:nvSpPr>
          <p:cNvPr id="30" name="Rectangle 29">
            <a:extLst>
              <a:ext uri="{FF2B5EF4-FFF2-40B4-BE49-F238E27FC236}">
                <a16:creationId xmlns:a16="http://schemas.microsoft.com/office/drawing/2014/main" id="{F1E2344E-FF36-43DE-DADC-D192D7AA2330}"/>
              </a:ext>
            </a:extLst>
          </p:cNvPr>
          <p:cNvSpPr/>
          <p:nvPr/>
        </p:nvSpPr>
        <p:spPr bwMode="gray">
          <a:xfrm>
            <a:off x="5008879" y="4488744"/>
            <a:ext cx="4620000" cy="953922"/>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171455" indent="-171455" defTabSz="914368">
              <a:spcBef>
                <a:spcPts val="550"/>
              </a:spcBef>
              <a:buFont typeface="Wingdings" panose="05000000000000000000" pitchFamily="2" charset="2"/>
              <a:buChar char="§"/>
            </a:pPr>
            <a:r>
              <a:rPr lang="de-DE" sz="1300" b="1" dirty="0">
                <a:solidFill>
                  <a:schemeClr val="accent1"/>
                </a:solidFill>
                <a:latin typeface="Roboto" panose="02000000000000000000" pitchFamily="2" charset="0"/>
              </a:rPr>
              <a:t>Erneuerbaren-/Einsparpotenziale </a:t>
            </a:r>
            <a:r>
              <a:rPr lang="de-DE" sz="1300" dirty="0">
                <a:solidFill>
                  <a:srgbClr val="003C50"/>
                </a:solidFill>
                <a:latin typeface="Roboto" panose="02000000000000000000" pitchFamily="2" charset="0"/>
              </a:rPr>
              <a:t>von insgesamt </a:t>
            </a:r>
            <a:br>
              <a:rPr lang="de-DE" sz="1300" dirty="0">
                <a:solidFill>
                  <a:srgbClr val="003C50"/>
                </a:solidFill>
                <a:latin typeface="Roboto" panose="02000000000000000000" pitchFamily="2" charset="0"/>
              </a:rPr>
            </a:br>
            <a:r>
              <a:rPr lang="de-DE" sz="1300" dirty="0">
                <a:solidFill>
                  <a:srgbClr val="003C50"/>
                </a:solidFill>
                <a:latin typeface="Roboto" panose="02000000000000000000" pitchFamily="2" charset="0"/>
              </a:rPr>
              <a:t>823 GWh/a aus unterschiedlichen Quellen realisierbar</a:t>
            </a:r>
          </a:p>
          <a:p>
            <a:pPr marL="171455" indent="-171455" defTabSz="914368">
              <a:spcBef>
                <a:spcPts val="550"/>
              </a:spcBef>
              <a:buFont typeface="Wingdings" panose="05000000000000000000" pitchFamily="2" charset="2"/>
              <a:buChar char="§"/>
            </a:pPr>
            <a:r>
              <a:rPr lang="de-DE" sz="1300" b="1" dirty="0">
                <a:solidFill>
                  <a:schemeClr val="accent1"/>
                </a:solidFill>
                <a:latin typeface="Roboto" panose="02000000000000000000" pitchFamily="2" charset="0"/>
              </a:rPr>
              <a:t>Weitere Wärmenachfrageeinsparungen </a:t>
            </a:r>
            <a:r>
              <a:rPr lang="de-DE" sz="1300" dirty="0">
                <a:solidFill>
                  <a:srgbClr val="003C50"/>
                </a:solidFill>
                <a:latin typeface="Roboto" panose="02000000000000000000" pitchFamily="2" charset="0"/>
              </a:rPr>
              <a:t>durch Sanierung auf Nachfrageniveau unterhalb 876,2 GWh/a </a:t>
            </a:r>
            <a:r>
              <a:rPr lang="de-DE" sz="1300" dirty="0">
                <a:solidFill>
                  <a:schemeClr val="tx1"/>
                </a:solidFill>
                <a:latin typeface="Roboto" panose="02000000000000000000" pitchFamily="2" charset="0"/>
              </a:rPr>
              <a:t>möglich</a:t>
            </a:r>
          </a:p>
        </p:txBody>
      </p:sp>
      <p:grpSp>
        <p:nvGrpSpPr>
          <p:cNvPr id="31" name="THM_bar">
            <a:extLst>
              <a:ext uri="{FF2B5EF4-FFF2-40B4-BE49-F238E27FC236}">
                <a16:creationId xmlns:a16="http://schemas.microsoft.com/office/drawing/2014/main" id="{051FA3AD-89DE-C5BB-E27D-18E50EA7ED98}"/>
              </a:ext>
            </a:extLst>
          </p:cNvPr>
          <p:cNvGrpSpPr/>
          <p:nvPr>
            <p:custDataLst>
              <p:tags r:id="rId1"/>
            </p:custDataLst>
          </p:nvPr>
        </p:nvGrpSpPr>
        <p:grpSpPr>
          <a:xfrm>
            <a:off x="208026" y="5549074"/>
            <a:ext cx="9372600" cy="468059"/>
            <a:chOff x="208026" y="5549074"/>
            <a:chExt cx="9372600" cy="468059"/>
          </a:xfrm>
        </p:grpSpPr>
        <p:sp>
          <p:nvSpPr>
            <p:cNvPr id="32" name="THM_bar_background">
              <a:extLst>
                <a:ext uri="{FF2B5EF4-FFF2-40B4-BE49-F238E27FC236}">
                  <a16:creationId xmlns:a16="http://schemas.microsoft.com/office/drawing/2014/main" id="{ACF6C870-B821-4D62-529D-C211CF6713CE}"/>
                </a:ext>
              </a:extLst>
            </p:cNvPr>
            <p:cNvSpPr/>
            <p:nvPr/>
          </p:nvSpPr>
          <p:spPr bwMode="gray">
            <a:xfrm>
              <a:off x="208026" y="5549074"/>
              <a:ext cx="9372600" cy="468059"/>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45" tIns="0" rIns="144018" bIns="0" rtlCol="0" anchor="ctr">
              <a:noAutofit/>
            </a:bodyPr>
            <a:lstStyle/>
            <a:p>
              <a:r>
                <a:rPr lang="de-DE" sz="1400" dirty="0">
                  <a:solidFill>
                    <a:schemeClr val="tx1"/>
                  </a:solidFill>
                  <a:latin typeface="Roboto" panose="02000000000000000000" pitchFamily="2" charset="0"/>
                </a:rPr>
                <a:t>Wärmenachfrage kann durch Nutzung </a:t>
              </a:r>
              <a:r>
                <a:rPr lang="de-DE" sz="1400" b="1" dirty="0">
                  <a:solidFill>
                    <a:schemeClr val="tx1"/>
                  </a:solidFill>
                  <a:latin typeface="Roboto" panose="02000000000000000000" pitchFamily="2" charset="0"/>
                </a:rPr>
                <a:t>lokaler Erneuerbaren-Potenziale </a:t>
              </a:r>
              <a:r>
                <a:rPr lang="de-DE" sz="1400" dirty="0">
                  <a:solidFill>
                    <a:schemeClr val="tx1"/>
                  </a:solidFill>
                  <a:latin typeface="Roboto" panose="02000000000000000000" pitchFamily="2" charset="0"/>
                </a:rPr>
                <a:t>gedeckt werden</a:t>
              </a:r>
            </a:p>
          </p:txBody>
        </p:sp>
        <p:grpSp>
          <p:nvGrpSpPr>
            <p:cNvPr id="33" name="thm_triangle_i52819">
              <a:extLst>
                <a:ext uri="{FF2B5EF4-FFF2-40B4-BE49-F238E27FC236}">
                  <a16:creationId xmlns:a16="http://schemas.microsoft.com/office/drawing/2014/main" id="{5F1237E8-C356-A99A-EF8A-749275500FCC}"/>
                </a:ext>
              </a:extLst>
            </p:cNvPr>
            <p:cNvGrpSpPr/>
            <p:nvPr/>
          </p:nvGrpSpPr>
          <p:grpSpPr>
            <a:xfrm>
              <a:off x="208026" y="5549074"/>
              <a:ext cx="234029" cy="468058"/>
              <a:chOff x="117014" y="-117014"/>
              <a:chExt cx="234029" cy="468058"/>
            </a:xfrm>
          </p:grpSpPr>
          <p:sp>
            <p:nvSpPr>
              <p:cNvPr id="34" name="box">
                <a:extLst>
                  <a:ext uri="{FF2B5EF4-FFF2-40B4-BE49-F238E27FC236}">
                    <a16:creationId xmlns:a16="http://schemas.microsoft.com/office/drawing/2014/main" id="{24E14425-1AF7-7FA9-984C-2379402EB4E3}"/>
                  </a:ext>
                </a:extLst>
              </p:cNvPr>
              <p:cNvSpPr/>
              <p:nvPr/>
            </p:nvSpPr>
            <p:spPr bwMode="white">
              <a:xfrm rot="16200000">
                <a:off x="-117015" y="117015"/>
                <a:ext cx="468058" cy="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35" name="triangle_1">
                <a:extLst>
                  <a:ext uri="{FF2B5EF4-FFF2-40B4-BE49-F238E27FC236}">
                    <a16:creationId xmlns:a16="http://schemas.microsoft.com/office/drawing/2014/main" id="{20E2DB58-4BD5-EEA8-908A-134AE9D32948}"/>
                  </a:ext>
                </a:extLst>
              </p:cNvPr>
              <p:cNvSpPr/>
              <p:nvPr/>
            </p:nvSpPr>
            <p:spPr bwMode="white">
              <a:xfrm rot="5400000">
                <a:off x="0" y="0"/>
                <a:ext cx="468058" cy="234029"/>
              </a:xfrm>
              <a:prstGeom prst="triangle">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36" name="triangle_2">
                <a:extLst>
                  <a:ext uri="{FF2B5EF4-FFF2-40B4-BE49-F238E27FC236}">
                    <a16:creationId xmlns:a16="http://schemas.microsoft.com/office/drawing/2014/main" id="{54D13A6F-43EC-BE99-F629-3F38B46CFDCC}"/>
                  </a:ext>
                </a:extLst>
              </p:cNvPr>
              <p:cNvSpPr/>
              <p:nvPr/>
            </p:nvSpPr>
            <p:spPr bwMode="gray">
              <a:xfrm rot="5400000">
                <a:off x="0" y="0"/>
                <a:ext cx="468058" cy="234029"/>
              </a:xfrm>
              <a:prstGeom prst="triangl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grpSp>
      </p:grpSp>
      <p:sp>
        <p:nvSpPr>
          <p:cNvPr id="37" name="Rectangle 36">
            <a:extLst>
              <a:ext uri="{FF2B5EF4-FFF2-40B4-BE49-F238E27FC236}">
                <a16:creationId xmlns:a16="http://schemas.microsoft.com/office/drawing/2014/main" id="{BF7AAC20-D749-9E49-DF9C-B9A08895B1D4}"/>
              </a:ext>
            </a:extLst>
          </p:cNvPr>
          <p:cNvSpPr/>
          <p:nvPr/>
        </p:nvSpPr>
        <p:spPr bwMode="gray">
          <a:xfrm>
            <a:off x="208026" y="4488744"/>
            <a:ext cx="4620000" cy="953922"/>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171455" indent="-171455" defTabSz="914368">
              <a:spcBef>
                <a:spcPts val="550"/>
              </a:spcBef>
              <a:buFont typeface="Wingdings" panose="05000000000000000000" pitchFamily="2" charset="2"/>
              <a:buChar char="§"/>
            </a:pPr>
            <a:r>
              <a:rPr lang="de-DE" sz="1300" b="1" dirty="0">
                <a:solidFill>
                  <a:schemeClr val="accent1"/>
                </a:solidFill>
                <a:latin typeface="Roboto" panose="02000000000000000000" pitchFamily="2" charset="0"/>
              </a:rPr>
              <a:t>Wärmeversorgung </a:t>
            </a:r>
            <a:r>
              <a:rPr lang="de-DE" sz="1300" dirty="0">
                <a:solidFill>
                  <a:srgbClr val="003C50"/>
                </a:solidFill>
                <a:latin typeface="Roboto" panose="02000000000000000000" pitchFamily="2" charset="0"/>
              </a:rPr>
              <a:t>von fossilen Energieträgern geprägt</a:t>
            </a:r>
          </a:p>
          <a:p>
            <a:pPr marL="171455" indent="-171455" defTabSz="914368">
              <a:spcBef>
                <a:spcPts val="550"/>
              </a:spcBef>
              <a:buFont typeface="Wingdings" panose="05000000000000000000" pitchFamily="2" charset="2"/>
              <a:buChar char="§"/>
            </a:pPr>
            <a:r>
              <a:rPr lang="de-DE" sz="1300" b="1" dirty="0">
                <a:solidFill>
                  <a:schemeClr val="accent1"/>
                </a:solidFill>
                <a:latin typeface="Roboto" panose="02000000000000000000" pitchFamily="2" charset="0"/>
              </a:rPr>
              <a:t>Wärmenachfrage im Status Quo</a:t>
            </a:r>
            <a:r>
              <a:rPr lang="de-DE" sz="1300" dirty="0">
                <a:solidFill>
                  <a:srgbClr val="003C50"/>
                </a:solidFill>
                <a:latin typeface="Roboto" panose="02000000000000000000" pitchFamily="2" charset="0"/>
              </a:rPr>
              <a:t> beträgt 1024 GWh/a </a:t>
            </a:r>
            <a:br>
              <a:rPr lang="de-DE" sz="1300" dirty="0">
                <a:solidFill>
                  <a:srgbClr val="003C50"/>
                </a:solidFill>
                <a:latin typeface="Roboto" panose="02000000000000000000" pitchFamily="2" charset="0"/>
              </a:rPr>
            </a:br>
            <a:r>
              <a:rPr lang="de-DE" sz="1300" dirty="0">
                <a:solidFill>
                  <a:srgbClr val="003C50"/>
                </a:solidFill>
                <a:latin typeface="Roboto" panose="02000000000000000000" pitchFamily="2" charset="0"/>
              </a:rPr>
              <a:t>mit 254,9 kt </a:t>
            </a:r>
            <a:r>
              <a:rPr lang="de-DE" sz="1300" b="1" dirty="0">
                <a:solidFill>
                  <a:schemeClr val="accent1"/>
                </a:solidFill>
                <a:latin typeface="Roboto" panose="02000000000000000000" pitchFamily="2" charset="0"/>
              </a:rPr>
              <a:t>CO</a:t>
            </a:r>
            <a:r>
              <a:rPr lang="de-DE" sz="1300" b="1" baseline="-25000" dirty="0">
                <a:solidFill>
                  <a:schemeClr val="accent1"/>
                </a:solidFill>
                <a:latin typeface="Roboto" panose="02000000000000000000" pitchFamily="2" charset="0"/>
              </a:rPr>
              <a:t>2</a:t>
            </a:r>
            <a:r>
              <a:rPr lang="de-DE" sz="1300" b="1" dirty="0">
                <a:solidFill>
                  <a:schemeClr val="accent1"/>
                </a:solidFill>
                <a:latin typeface="Roboto" panose="02000000000000000000" pitchFamily="2" charset="0"/>
              </a:rPr>
              <a:t>-Emissionen</a:t>
            </a:r>
            <a:r>
              <a:rPr lang="de-DE" sz="1300" dirty="0">
                <a:solidFill>
                  <a:schemeClr val="tx1"/>
                </a:solidFill>
                <a:latin typeface="Roboto" panose="02000000000000000000" pitchFamily="2" charset="0"/>
              </a:rPr>
              <a:t> pro Jahr</a:t>
            </a:r>
          </a:p>
        </p:txBody>
      </p:sp>
      <p:pic>
        <p:nvPicPr>
          <p:cNvPr id="38" name="Picture Placeholder 5">
            <a:extLst>
              <a:ext uri="{FF2B5EF4-FFF2-40B4-BE49-F238E27FC236}">
                <a16:creationId xmlns:a16="http://schemas.microsoft.com/office/drawing/2014/main" id="{6021DB7E-C7A2-79C8-7FC6-5F6B47C51756}"/>
              </a:ext>
            </a:extLst>
          </p:cNvPr>
          <p:cNvPicPr>
            <a:picLocks noChangeAspect="1"/>
          </p:cNvPicPr>
          <p:nvPr/>
        </p:nvPicPr>
        <p:blipFill>
          <a:blip r:embed="rId7" cstate="screen">
            <a:extLst>
              <a:ext uri="{28A0092B-C50C-407E-A947-70E740481C1C}">
                <a14:useLocalDpi xmlns:a14="http://schemas.microsoft.com/office/drawing/2010/main"/>
              </a:ext>
            </a:extLst>
          </a:blip>
          <a:srcRect b="-1925"/>
          <a:stretch>
            <a:fillRect/>
          </a:stretch>
        </p:blipFill>
        <p:spPr>
          <a:xfrm>
            <a:off x="5004094" y="1603080"/>
            <a:ext cx="4323338" cy="2837485"/>
          </a:xfrm>
          <a:prstGeom prst="rect">
            <a:avLst/>
          </a:prstGeom>
        </p:spPr>
      </p:pic>
      <p:grpSp>
        <p:nvGrpSpPr>
          <p:cNvPr id="42" name="Group 41">
            <a:extLst>
              <a:ext uri="{FF2B5EF4-FFF2-40B4-BE49-F238E27FC236}">
                <a16:creationId xmlns:a16="http://schemas.microsoft.com/office/drawing/2014/main" id="{912732A1-F206-6963-0758-965A3C1438D4}"/>
              </a:ext>
            </a:extLst>
          </p:cNvPr>
          <p:cNvGrpSpPr/>
          <p:nvPr/>
        </p:nvGrpSpPr>
        <p:grpSpPr>
          <a:xfrm>
            <a:off x="208026" y="985076"/>
            <a:ext cx="4620000" cy="544500"/>
            <a:chOff x="4963547" y="985076"/>
            <a:chExt cx="4620000" cy="544500"/>
          </a:xfrm>
        </p:grpSpPr>
        <p:sp>
          <p:nvSpPr>
            <p:cNvPr id="43" name="Rechteck 26">
              <a:extLst>
                <a:ext uri="{FF2B5EF4-FFF2-40B4-BE49-F238E27FC236}">
                  <a16:creationId xmlns:a16="http://schemas.microsoft.com/office/drawing/2014/main" id="{0E3754FF-F4F8-3FDC-CAD1-58A059AC5017}"/>
                </a:ext>
              </a:extLst>
            </p:cNvPr>
            <p:cNvSpPr/>
            <p:nvPr>
              <p:custDataLst>
                <p:tags r:id="rId3"/>
              </p:custDataLst>
            </p:nvPr>
          </p:nvSpPr>
          <p:spPr>
            <a:xfrm>
              <a:off x="4963547" y="985076"/>
              <a:ext cx="4620000" cy="544500"/>
            </a:xfrm>
            <a:prstGeom prst="rect">
              <a:avLst/>
            </a:prstGeom>
            <a:solidFill>
              <a:schemeClr val="accent6">
                <a:lumMod val="40000"/>
                <a:lumOff val="60000"/>
              </a:schemeClr>
            </a:solidFill>
            <a:ln w="9525" cmpd="sng">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368">
                <a:spcBef>
                  <a:spcPct val="30000"/>
                </a:spcBef>
                <a:defRPr/>
              </a:pPr>
              <a:endParaRPr lang="de-DE" altLang="de-DE" sz="1600" b="1">
                <a:solidFill>
                  <a:srgbClr val="003C50"/>
                </a:solidFill>
                <a:latin typeface="Roboto" panose="02000000000000000000" pitchFamily="2" charset="0"/>
                <a:cs typeface="Times New Roman" panose="02020603050405020304" pitchFamily="18" charset="0"/>
              </a:endParaRPr>
            </a:p>
          </p:txBody>
        </p:sp>
        <p:sp>
          <p:nvSpPr>
            <p:cNvPr id="46" name="Rectangle 45" hidden="1">
              <a:extLst>
                <a:ext uri="{FF2B5EF4-FFF2-40B4-BE49-F238E27FC236}">
                  <a16:creationId xmlns:a16="http://schemas.microsoft.com/office/drawing/2014/main" id="{EB4394A8-A6AD-A2B7-3A3B-B45B923A0F84}"/>
                </a:ext>
              </a:extLst>
            </p:cNvPr>
            <p:cNvSpPr/>
            <p:nvPr/>
          </p:nvSpPr>
          <p:spPr bwMode="gray">
            <a:xfrm>
              <a:off x="5007600" y="1058580"/>
              <a:ext cx="440026" cy="440025"/>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a:solidFill>
                  <a:srgbClr val="003C50"/>
                </a:solidFill>
                <a:latin typeface="Roboto"/>
              </a:endParaRPr>
            </a:p>
          </p:txBody>
        </p:sp>
        <p:sp>
          <p:nvSpPr>
            <p:cNvPr id="45" name="TextBox 44">
              <a:extLst>
                <a:ext uri="{FF2B5EF4-FFF2-40B4-BE49-F238E27FC236}">
                  <a16:creationId xmlns:a16="http://schemas.microsoft.com/office/drawing/2014/main" id="{7564359F-9AB0-5981-D19E-ECBB8F70B91B}"/>
                </a:ext>
              </a:extLst>
            </p:cNvPr>
            <p:cNvSpPr txBox="1"/>
            <p:nvPr/>
          </p:nvSpPr>
          <p:spPr>
            <a:xfrm>
              <a:off x="5588360" y="985076"/>
              <a:ext cx="3995187" cy="544500"/>
            </a:xfrm>
            <a:prstGeom prst="rect">
              <a:avLst/>
            </a:prstGeom>
            <a:noFill/>
          </p:spPr>
          <p:txBody>
            <a:bodyPr wrap="square" lIns="0" tIns="0" rIns="0" bIns="0" rtlCol="0" anchor="ctr">
              <a:noAutofit/>
            </a:bodyPr>
            <a:lstStyle/>
            <a:p>
              <a:r>
                <a:rPr lang="de-DE" altLang="de-DE" sz="1600" b="1">
                  <a:solidFill>
                    <a:srgbClr val="003C50"/>
                  </a:solidFill>
                  <a:latin typeface="Roboto" panose="02000000000000000000" pitchFamily="2" charset="0"/>
                  <a:cs typeface="Times New Roman" panose="02020603050405020304" pitchFamily="18" charset="0"/>
                </a:rPr>
                <a:t>Bestandsanalyse: Wärmenachfrage</a:t>
              </a:r>
            </a:p>
          </p:txBody>
        </p:sp>
      </p:grpSp>
      <p:grpSp>
        <p:nvGrpSpPr>
          <p:cNvPr id="48" name="Group 47">
            <a:extLst>
              <a:ext uri="{FF2B5EF4-FFF2-40B4-BE49-F238E27FC236}">
                <a16:creationId xmlns:a16="http://schemas.microsoft.com/office/drawing/2014/main" id="{B71ABAAF-BD28-6F0F-C057-52805138CA27}"/>
              </a:ext>
            </a:extLst>
          </p:cNvPr>
          <p:cNvGrpSpPr/>
          <p:nvPr/>
        </p:nvGrpSpPr>
        <p:grpSpPr>
          <a:xfrm>
            <a:off x="4960626" y="985076"/>
            <a:ext cx="4620001" cy="544500"/>
            <a:chOff x="4963547" y="985076"/>
            <a:chExt cx="4620001" cy="544500"/>
          </a:xfrm>
        </p:grpSpPr>
        <p:sp>
          <p:nvSpPr>
            <p:cNvPr id="49" name="Rechteck 26">
              <a:extLst>
                <a:ext uri="{FF2B5EF4-FFF2-40B4-BE49-F238E27FC236}">
                  <a16:creationId xmlns:a16="http://schemas.microsoft.com/office/drawing/2014/main" id="{20D37177-BC3A-1BB6-9B1C-CFB0CC0A21CE}"/>
                </a:ext>
              </a:extLst>
            </p:cNvPr>
            <p:cNvSpPr/>
            <p:nvPr>
              <p:custDataLst>
                <p:tags r:id="rId2"/>
              </p:custDataLst>
            </p:nvPr>
          </p:nvSpPr>
          <p:spPr>
            <a:xfrm>
              <a:off x="4963547" y="985076"/>
              <a:ext cx="4620000" cy="544500"/>
            </a:xfrm>
            <a:prstGeom prst="rect">
              <a:avLst/>
            </a:prstGeom>
            <a:solidFill>
              <a:schemeClr val="accent6">
                <a:lumMod val="40000"/>
                <a:lumOff val="60000"/>
              </a:schemeClr>
            </a:solidFill>
            <a:ln w="9525" cmpd="sng">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368">
                <a:spcBef>
                  <a:spcPct val="30000"/>
                </a:spcBef>
                <a:defRPr/>
              </a:pPr>
              <a:endParaRPr lang="de-DE" altLang="de-DE" sz="1600" b="1">
                <a:solidFill>
                  <a:srgbClr val="003C50"/>
                </a:solidFill>
                <a:latin typeface="Roboto" panose="02000000000000000000" pitchFamily="2" charset="0"/>
                <a:cs typeface="Times New Roman" panose="02020603050405020304" pitchFamily="18" charset="0"/>
              </a:endParaRPr>
            </a:p>
          </p:txBody>
        </p:sp>
        <p:sp>
          <p:nvSpPr>
            <p:cNvPr id="52" name="Rectangle 51" hidden="1">
              <a:extLst>
                <a:ext uri="{FF2B5EF4-FFF2-40B4-BE49-F238E27FC236}">
                  <a16:creationId xmlns:a16="http://schemas.microsoft.com/office/drawing/2014/main" id="{7354508A-2401-4195-A6A0-6D1AEF025886}"/>
                </a:ext>
              </a:extLst>
            </p:cNvPr>
            <p:cNvSpPr/>
            <p:nvPr/>
          </p:nvSpPr>
          <p:spPr bwMode="gray">
            <a:xfrm>
              <a:off x="5007600" y="1058580"/>
              <a:ext cx="440026" cy="440025"/>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a:solidFill>
                  <a:srgbClr val="003C50"/>
                </a:solidFill>
                <a:latin typeface="Roboto"/>
              </a:endParaRPr>
            </a:p>
          </p:txBody>
        </p:sp>
        <p:sp>
          <p:nvSpPr>
            <p:cNvPr id="51" name="TextBox 50">
              <a:extLst>
                <a:ext uri="{FF2B5EF4-FFF2-40B4-BE49-F238E27FC236}">
                  <a16:creationId xmlns:a16="http://schemas.microsoft.com/office/drawing/2014/main" id="{5951550D-3799-7647-85DA-7F84E387656B}"/>
                </a:ext>
              </a:extLst>
            </p:cNvPr>
            <p:cNvSpPr txBox="1"/>
            <p:nvPr/>
          </p:nvSpPr>
          <p:spPr>
            <a:xfrm>
              <a:off x="5590922" y="985076"/>
              <a:ext cx="3992626" cy="544500"/>
            </a:xfrm>
            <a:prstGeom prst="rect">
              <a:avLst/>
            </a:prstGeom>
            <a:noFill/>
          </p:spPr>
          <p:txBody>
            <a:bodyPr wrap="square" lIns="0" tIns="0" rIns="0" bIns="0" rtlCol="0" anchor="ctr">
              <a:noAutofit/>
            </a:bodyPr>
            <a:lstStyle/>
            <a:p>
              <a:pPr algn="ctr" defTabSz="914368">
                <a:spcBef>
                  <a:spcPct val="30000"/>
                </a:spcBef>
                <a:defRPr/>
              </a:pPr>
              <a:r>
                <a:rPr lang="de-DE" altLang="de-DE" sz="1600" b="1">
                  <a:solidFill>
                    <a:srgbClr val="003C50"/>
                  </a:solidFill>
                  <a:latin typeface="Roboto" panose="02000000000000000000" pitchFamily="2" charset="0"/>
                  <a:cs typeface="Times New Roman" panose="02020603050405020304" pitchFamily="18" charset="0"/>
                </a:rPr>
                <a:t>Potenziale in der Wärmeversorgung</a:t>
              </a:r>
            </a:p>
          </p:txBody>
        </p:sp>
      </p:grpSp>
      <p:pic>
        <p:nvPicPr>
          <p:cNvPr id="5" name="Graphic 4">
            <a:extLst>
              <a:ext uri="{FF2B5EF4-FFF2-40B4-BE49-F238E27FC236}">
                <a16:creationId xmlns:a16="http://schemas.microsoft.com/office/drawing/2014/main" id="{27A85C4B-3B00-8DAA-6246-DCD606BAC6C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85837" y="1020541"/>
            <a:ext cx="502435" cy="502435"/>
          </a:xfrm>
          <a:prstGeom prst="rect">
            <a:avLst/>
          </a:prstGeom>
        </p:spPr>
      </p:pic>
      <p:pic>
        <p:nvPicPr>
          <p:cNvPr id="9" name="Graphic 8">
            <a:extLst>
              <a:ext uri="{FF2B5EF4-FFF2-40B4-BE49-F238E27FC236}">
                <a16:creationId xmlns:a16="http://schemas.microsoft.com/office/drawing/2014/main" id="{86AEE763-1961-31CB-2904-508B2C7FE74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49767" y="1033533"/>
            <a:ext cx="450472" cy="450472"/>
          </a:xfrm>
          <a:prstGeom prst="rect">
            <a:avLst/>
          </a:prstGeom>
        </p:spPr>
      </p:pic>
    </p:spTree>
    <p:extLst>
      <p:ext uri="{BB962C8B-B14F-4D97-AF65-F5344CB8AC3E}">
        <p14:creationId xmlns:p14="http://schemas.microsoft.com/office/powerpoint/2010/main" val="3963641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B23E05-2BBD-3588-E0FA-103639A78D6D}"/>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6D5A9BAE-AC76-DEA0-C572-7C029347119D}"/>
              </a:ext>
            </a:extLst>
          </p:cNvPr>
          <p:cNvSpPr/>
          <p:nvPr/>
        </p:nvSpPr>
        <p:spPr bwMode="gray">
          <a:xfrm>
            <a:off x="684000" y="2826000"/>
            <a:ext cx="98028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3" name="Slide Number Placeholder 2">
            <a:extLst>
              <a:ext uri="{FF2B5EF4-FFF2-40B4-BE49-F238E27FC236}">
                <a16:creationId xmlns:a16="http://schemas.microsoft.com/office/drawing/2014/main" id="{BDD1EA7B-270D-4748-1AF8-13435D6D14D9}"/>
              </a:ext>
            </a:extLst>
          </p:cNvPr>
          <p:cNvSpPr>
            <a:spLocks noGrp="1"/>
          </p:cNvSpPr>
          <p:nvPr>
            <p:ph type="sldNum" sz="quarter" idx="12"/>
          </p:nvPr>
        </p:nvSpPr>
        <p:spPr/>
        <p:txBody>
          <a:bodyPr/>
          <a:lstStyle/>
          <a:p>
            <a:fld id="{AD1E7D88-B9F0-490E-9127-FC8A160405D5}" type="slidenum">
              <a:rPr lang="de-DE" smtClean="0"/>
              <a:t>41</a:t>
            </a:fld>
            <a:endParaRPr lang="de-DE"/>
          </a:p>
        </p:txBody>
      </p:sp>
      <p:cxnSp>
        <p:nvCxnSpPr>
          <p:cNvPr id="4" name="TopLine">
            <a:extLst>
              <a:ext uri="{FF2B5EF4-FFF2-40B4-BE49-F238E27FC236}">
                <a16:creationId xmlns:a16="http://schemas.microsoft.com/office/drawing/2014/main" id="{87B1D0C2-99FA-BFE6-CBC7-24AEBEADB137}"/>
              </a:ext>
            </a:extLst>
          </p:cNvPr>
          <p:cNvCxnSpPr/>
          <p:nvPr/>
        </p:nvCxnSpPr>
        <p:spPr>
          <a:xfrm>
            <a:off x="684000" y="1512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5" name="index_0">
            <a:hlinkClick r:id="rId2" action="ppaction://hlinksldjump"/>
            <a:extLst>
              <a:ext uri="{FF2B5EF4-FFF2-40B4-BE49-F238E27FC236}">
                <a16:creationId xmlns:a16="http://schemas.microsoft.com/office/drawing/2014/main" id="{6603C758-643C-130D-DCA5-55513577AE45}"/>
              </a:ext>
            </a:extLst>
          </p:cNvPr>
          <p:cNvSpPr txBox="1"/>
          <p:nvPr/>
        </p:nvSpPr>
        <p:spPr>
          <a:xfrm>
            <a:off x="684000" y="1520010"/>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Impulsvortrag: Hintergründe und Ziele der Kommunalen Wärmeplanung​</a:t>
            </a:r>
          </a:p>
        </p:txBody>
      </p:sp>
      <p:cxnSp>
        <p:nvCxnSpPr>
          <p:cNvPr id="6" name="Line_0">
            <a:extLst>
              <a:ext uri="{FF2B5EF4-FFF2-40B4-BE49-F238E27FC236}">
                <a16:creationId xmlns:a16="http://schemas.microsoft.com/office/drawing/2014/main" id="{9EB01418-85F5-6E29-82E5-827687D1CA52}"/>
              </a:ext>
            </a:extLst>
          </p:cNvPr>
          <p:cNvCxnSpPr/>
          <p:nvPr/>
        </p:nvCxnSpPr>
        <p:spPr>
          <a:xfrm>
            <a:off x="684000" y="1944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7" name="index_1">
            <a:hlinkClick r:id="rId3" action="ppaction://hlinksldjump"/>
            <a:extLst>
              <a:ext uri="{FF2B5EF4-FFF2-40B4-BE49-F238E27FC236}">
                <a16:creationId xmlns:a16="http://schemas.microsoft.com/office/drawing/2014/main" id="{D749EE4E-3623-059F-301D-2412F77D8B18}"/>
              </a:ext>
            </a:extLst>
          </p:cNvPr>
          <p:cNvSpPr txBox="1"/>
          <p:nvPr/>
        </p:nvSpPr>
        <p:spPr>
          <a:xfrm>
            <a:off x="682400" y="1939800"/>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Was ist die Kommunale Wärmeplanung (KWP)?​</a:t>
            </a:r>
          </a:p>
        </p:txBody>
      </p:sp>
      <p:cxnSp>
        <p:nvCxnSpPr>
          <p:cNvPr id="12" name="Line_3">
            <a:extLst>
              <a:ext uri="{FF2B5EF4-FFF2-40B4-BE49-F238E27FC236}">
                <a16:creationId xmlns:a16="http://schemas.microsoft.com/office/drawing/2014/main" id="{0CE83740-D31C-32CA-E360-9E6B28F6DB31}"/>
              </a:ext>
            </a:extLst>
          </p:cNvPr>
          <p:cNvCxnSpPr/>
          <p:nvPr/>
        </p:nvCxnSpPr>
        <p:spPr>
          <a:xfrm>
            <a:off x="684000" y="3672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3" name="index_4">
            <a:hlinkClick r:id="rId4" action="ppaction://hlinksldjump"/>
            <a:extLst>
              <a:ext uri="{FF2B5EF4-FFF2-40B4-BE49-F238E27FC236}">
                <a16:creationId xmlns:a16="http://schemas.microsoft.com/office/drawing/2014/main" id="{E624C908-8AF7-698A-FB31-F260D28FA80E}"/>
              </a:ext>
            </a:extLst>
          </p:cNvPr>
          <p:cNvSpPr txBox="1"/>
          <p:nvPr/>
        </p:nvSpPr>
        <p:spPr>
          <a:xfrm>
            <a:off x="684000" y="2372207"/>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Rückblick: Ergebnisse der Bestands- und Potenzialanalyse der KWP in Rheda-Wiedenbrück​</a:t>
            </a:r>
          </a:p>
        </p:txBody>
      </p:sp>
      <p:sp>
        <p:nvSpPr>
          <p:cNvPr id="19" name="index_7">
            <a:hlinkClick r:id="rId5" action="ppaction://hlinksldjump"/>
            <a:extLst>
              <a:ext uri="{FF2B5EF4-FFF2-40B4-BE49-F238E27FC236}">
                <a16:creationId xmlns:a16="http://schemas.microsoft.com/office/drawing/2014/main" id="{88D48E54-2F0D-1172-DF29-A20731CF8389}"/>
              </a:ext>
            </a:extLst>
          </p:cNvPr>
          <p:cNvSpPr txBox="1"/>
          <p:nvPr/>
        </p:nvSpPr>
        <p:spPr>
          <a:xfrm>
            <a:off x="684000" y="2816063"/>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Zielszenario und Maßnahmen</a:t>
            </a:r>
          </a:p>
        </p:txBody>
      </p:sp>
      <p:sp>
        <p:nvSpPr>
          <p:cNvPr id="25" name="Title 1">
            <a:extLst>
              <a:ext uri="{FF2B5EF4-FFF2-40B4-BE49-F238E27FC236}">
                <a16:creationId xmlns:a16="http://schemas.microsoft.com/office/drawing/2014/main" id="{9420EBBA-4039-B14E-E71E-7E78C20FC441}"/>
              </a:ext>
            </a:extLst>
          </p:cNvPr>
          <p:cNvSpPr txBox="1">
            <a:spLocks/>
          </p:cNvSpPr>
          <p:nvPr/>
        </p:nvSpPr>
        <p:spPr>
          <a:xfrm>
            <a:off x="687600" y="644400"/>
            <a:ext cx="9799200" cy="360000"/>
          </a:xfrm>
          <a:prstGeom prst="rect">
            <a:avLst/>
          </a:prstGeom>
        </p:spPr>
        <p:txBody>
          <a:bodyPr/>
          <a:lstStyle>
            <a:lvl1pPr algn="l" defTabSz="116754" rtl="0" eaLnBrk="1" latinLnBrk="0" hangingPunct="1">
              <a:spcBef>
                <a:spcPct val="0"/>
              </a:spcBef>
              <a:buNone/>
              <a:defRPr sz="270" kern="1200">
                <a:solidFill>
                  <a:schemeClr val="tx1"/>
                </a:solidFill>
                <a:latin typeface="+mj-lt"/>
                <a:ea typeface="+mj-ea"/>
                <a:cs typeface="+mj-cs"/>
              </a:defRPr>
            </a:lvl1pPr>
          </a:lstStyle>
          <a:p>
            <a:r>
              <a:rPr lang="de-DE" sz="2800"/>
              <a:t>Programm</a:t>
            </a:r>
          </a:p>
        </p:txBody>
      </p:sp>
      <p:sp>
        <p:nvSpPr>
          <p:cNvPr id="26" name="index_10">
            <a:hlinkClick r:id="rId6" action="ppaction://hlinksldjump"/>
            <a:extLst>
              <a:ext uri="{FF2B5EF4-FFF2-40B4-BE49-F238E27FC236}">
                <a16:creationId xmlns:a16="http://schemas.microsoft.com/office/drawing/2014/main" id="{911E55B2-72B0-1751-F59F-B1041BB9A4F4}"/>
              </a:ext>
            </a:extLst>
          </p:cNvPr>
          <p:cNvSpPr txBox="1"/>
          <p:nvPr/>
        </p:nvSpPr>
        <p:spPr>
          <a:xfrm>
            <a:off x="684000" y="3231150"/>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Zusammenfassung und Fazit​</a:t>
            </a:r>
          </a:p>
        </p:txBody>
      </p:sp>
      <p:cxnSp>
        <p:nvCxnSpPr>
          <p:cNvPr id="27" name="Line_3">
            <a:extLst>
              <a:ext uri="{FF2B5EF4-FFF2-40B4-BE49-F238E27FC236}">
                <a16:creationId xmlns:a16="http://schemas.microsoft.com/office/drawing/2014/main" id="{8254AF0F-B3AF-237C-178F-A5039AD4C12D}"/>
              </a:ext>
            </a:extLst>
          </p:cNvPr>
          <p:cNvCxnSpPr/>
          <p:nvPr/>
        </p:nvCxnSpPr>
        <p:spPr>
          <a:xfrm>
            <a:off x="682400" y="2376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Line_3">
            <a:extLst>
              <a:ext uri="{FF2B5EF4-FFF2-40B4-BE49-F238E27FC236}">
                <a16:creationId xmlns:a16="http://schemas.microsoft.com/office/drawing/2014/main" id="{D3B0C84E-1461-A14F-53BD-89919C6F1BB5}"/>
              </a:ext>
            </a:extLst>
          </p:cNvPr>
          <p:cNvCxnSpPr/>
          <p:nvPr/>
        </p:nvCxnSpPr>
        <p:spPr>
          <a:xfrm>
            <a:off x="684000" y="2808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Line_3">
            <a:extLst>
              <a:ext uri="{FF2B5EF4-FFF2-40B4-BE49-F238E27FC236}">
                <a16:creationId xmlns:a16="http://schemas.microsoft.com/office/drawing/2014/main" id="{103B4A32-4A89-0001-70CE-9BBDDE07D48E}"/>
              </a:ext>
            </a:extLst>
          </p:cNvPr>
          <p:cNvCxnSpPr/>
          <p:nvPr/>
        </p:nvCxnSpPr>
        <p:spPr>
          <a:xfrm>
            <a:off x="684000" y="3240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171428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B1396-4F48-3CBA-536B-C4D164714A00}"/>
              </a:ext>
            </a:extLst>
          </p:cNvPr>
          <p:cNvSpPr>
            <a:spLocks noGrp="1"/>
          </p:cNvSpPr>
          <p:nvPr>
            <p:ph type="ctrTitle"/>
          </p:nvPr>
        </p:nvSpPr>
        <p:spPr/>
        <p:txBody>
          <a:bodyPr/>
          <a:lstStyle/>
          <a:p>
            <a:r>
              <a:rPr lang="de-DE"/>
              <a:t>Zielszenario und Maßnahmen</a:t>
            </a:r>
          </a:p>
        </p:txBody>
      </p:sp>
      <p:sp>
        <p:nvSpPr>
          <p:cNvPr id="4" name="Text Placeholder 3">
            <a:extLst>
              <a:ext uri="{FF2B5EF4-FFF2-40B4-BE49-F238E27FC236}">
                <a16:creationId xmlns:a16="http://schemas.microsoft.com/office/drawing/2014/main" id="{C548D924-71AF-64EF-0896-359798A37E4D}"/>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45758015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127907-45A1-B390-7468-4A44E5D13497}"/>
              </a:ext>
            </a:extLst>
          </p:cNvPr>
          <p:cNvSpPr>
            <a:spLocks noGrp="1"/>
          </p:cNvSpPr>
          <p:nvPr>
            <p:ph type="ctrTitle"/>
          </p:nvPr>
        </p:nvSpPr>
        <p:spPr/>
        <p:txBody>
          <a:bodyPr/>
          <a:lstStyle/>
          <a:p>
            <a:r>
              <a:rPr lang="de-DE"/>
              <a:t>Wie sieht eine mögliche Zukunft von </a:t>
            </a:r>
            <a:br>
              <a:rPr lang="de-DE"/>
            </a:br>
            <a:r>
              <a:rPr lang="de-DE"/>
              <a:t>Rheda-Wiedenbrück aus?</a:t>
            </a:r>
          </a:p>
        </p:txBody>
      </p:sp>
      <p:sp>
        <p:nvSpPr>
          <p:cNvPr id="4" name="Text Placeholder 3">
            <a:extLst>
              <a:ext uri="{FF2B5EF4-FFF2-40B4-BE49-F238E27FC236}">
                <a16:creationId xmlns:a16="http://schemas.microsoft.com/office/drawing/2014/main" id="{0265CC75-E6A6-DE97-0785-F9A414B3416A}"/>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427572453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Graphic 30" descr="Power Plant outline">
            <a:extLst>
              <a:ext uri="{FF2B5EF4-FFF2-40B4-BE49-F238E27FC236}">
                <a16:creationId xmlns:a16="http://schemas.microsoft.com/office/drawing/2014/main" id="{360A4186-BA5F-0262-4DFF-64BDC913CAF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428318" y="3756792"/>
            <a:ext cx="561600" cy="561600"/>
          </a:xfrm>
          <a:prstGeom prst="rect">
            <a:avLst/>
          </a:prstGeom>
        </p:spPr>
      </p:pic>
      <p:sp>
        <p:nvSpPr>
          <p:cNvPr id="8" name="Slide Number Placeholder 7">
            <a:extLst>
              <a:ext uri="{FF2B5EF4-FFF2-40B4-BE49-F238E27FC236}">
                <a16:creationId xmlns:a16="http://schemas.microsoft.com/office/drawing/2014/main" id="{46F09591-C2FA-4F6E-3A3A-D87516179314}"/>
              </a:ext>
            </a:extLst>
          </p:cNvPr>
          <p:cNvSpPr>
            <a:spLocks noGrp="1"/>
          </p:cNvSpPr>
          <p:nvPr>
            <p:ph type="sldNum" sz="quarter" idx="11"/>
          </p:nvPr>
        </p:nvSpPr>
        <p:spPr/>
        <p:txBody>
          <a:bodyPr/>
          <a:lstStyle/>
          <a:p>
            <a:endParaRPr lang="de-DE"/>
          </a:p>
          <a:p>
            <a:fld id="{24C420F5-194C-40F2-A080-C5F3EDD89037}" type="slidenum">
              <a:rPr lang="de-DE" smtClean="0"/>
              <a:pPr/>
              <a:t>44</a:t>
            </a:fld>
            <a:endParaRPr lang="de-DE"/>
          </a:p>
        </p:txBody>
      </p:sp>
      <p:sp>
        <p:nvSpPr>
          <p:cNvPr id="3" name="Title 2">
            <a:extLst>
              <a:ext uri="{FF2B5EF4-FFF2-40B4-BE49-F238E27FC236}">
                <a16:creationId xmlns:a16="http://schemas.microsoft.com/office/drawing/2014/main" id="{F403CEF3-5A92-5B2D-F1C9-D2534F5760A5}"/>
              </a:ext>
            </a:extLst>
          </p:cNvPr>
          <p:cNvSpPr>
            <a:spLocks noGrp="1"/>
          </p:cNvSpPr>
          <p:nvPr>
            <p:ph type="title"/>
          </p:nvPr>
        </p:nvSpPr>
        <p:spPr/>
        <p:txBody>
          <a:bodyPr/>
          <a:lstStyle/>
          <a:p>
            <a:r>
              <a:rPr lang="de-DE" b="1">
                <a:latin typeface="Roboto" panose="02000000000000000000" pitchFamily="2" charset="0"/>
              </a:rPr>
              <a:t>Erkenntnisse der Kommunalen Wärmeplanung - Zielszenario</a:t>
            </a:r>
            <a:br>
              <a:rPr lang="de-DE" b="1">
                <a:latin typeface="Roboto" panose="02000000000000000000" pitchFamily="2" charset="0"/>
              </a:rPr>
            </a:br>
            <a:endParaRPr lang="de-DE"/>
          </a:p>
        </p:txBody>
      </p:sp>
      <p:sp>
        <p:nvSpPr>
          <p:cNvPr id="6" name="Footer Placeholder 5">
            <a:extLst>
              <a:ext uri="{FF2B5EF4-FFF2-40B4-BE49-F238E27FC236}">
                <a16:creationId xmlns:a16="http://schemas.microsoft.com/office/drawing/2014/main" id="{159E3A35-FDEB-14C7-64D0-8ADF816CBAB6}"/>
              </a:ext>
            </a:extLst>
          </p:cNvPr>
          <p:cNvSpPr>
            <a:spLocks noGrp="1"/>
          </p:cNvSpPr>
          <p:nvPr>
            <p:ph type="ftr" sz="quarter" idx="12"/>
          </p:nvPr>
        </p:nvSpPr>
        <p:spPr/>
        <p:txBody>
          <a:bodyPr/>
          <a:lstStyle/>
          <a:p>
            <a:r>
              <a:rPr lang="de-DE"/>
              <a:t>© 2026</a:t>
            </a:r>
          </a:p>
          <a:p>
            <a:r>
              <a:rPr lang="de-DE"/>
              <a:t>d-fine</a:t>
            </a:r>
          </a:p>
        </p:txBody>
      </p:sp>
      <p:grpSp>
        <p:nvGrpSpPr>
          <p:cNvPr id="11" name="THM_bar">
            <a:extLst>
              <a:ext uri="{FF2B5EF4-FFF2-40B4-BE49-F238E27FC236}">
                <a16:creationId xmlns:a16="http://schemas.microsoft.com/office/drawing/2014/main" id="{50DC0148-AE12-CCC5-DA6E-FBE92A91620A}"/>
              </a:ext>
            </a:extLst>
          </p:cNvPr>
          <p:cNvGrpSpPr/>
          <p:nvPr>
            <p:custDataLst>
              <p:tags r:id="rId1"/>
            </p:custDataLst>
          </p:nvPr>
        </p:nvGrpSpPr>
        <p:grpSpPr>
          <a:xfrm>
            <a:off x="208026" y="5549074"/>
            <a:ext cx="9372600" cy="468059"/>
            <a:chOff x="208026" y="5549074"/>
            <a:chExt cx="9372600" cy="468059"/>
          </a:xfrm>
        </p:grpSpPr>
        <p:sp>
          <p:nvSpPr>
            <p:cNvPr id="12" name="THM_bar_background">
              <a:extLst>
                <a:ext uri="{FF2B5EF4-FFF2-40B4-BE49-F238E27FC236}">
                  <a16:creationId xmlns:a16="http://schemas.microsoft.com/office/drawing/2014/main" id="{C8E22F66-400A-5C3F-B296-B4B0D7D7EA6B}"/>
                </a:ext>
              </a:extLst>
            </p:cNvPr>
            <p:cNvSpPr/>
            <p:nvPr/>
          </p:nvSpPr>
          <p:spPr bwMode="gray">
            <a:xfrm>
              <a:off x="208026" y="5549074"/>
              <a:ext cx="9372600" cy="468059"/>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45" tIns="0" rIns="144018" bIns="0" rtlCol="0" anchor="ctr">
              <a:noAutofit/>
            </a:bodyPr>
            <a:lstStyle/>
            <a:p>
              <a:r>
                <a:rPr lang="de-DE" sz="1400">
                  <a:solidFill>
                    <a:schemeClr val="tx1"/>
                  </a:solidFill>
                  <a:latin typeface="Roboto" panose="02000000000000000000" pitchFamily="2" charset="0"/>
                </a:rPr>
                <a:t>Ziel ist die </a:t>
              </a:r>
              <a:r>
                <a:rPr lang="de-DE" sz="1400" b="1">
                  <a:solidFill>
                    <a:schemeClr val="tx1"/>
                  </a:solidFill>
                  <a:latin typeface="Roboto" panose="02000000000000000000" pitchFamily="2" charset="0"/>
                </a:rPr>
                <a:t>Darstellung der erforderlichen Entwicklungen </a:t>
              </a:r>
              <a:r>
                <a:rPr lang="de-DE" sz="1400">
                  <a:solidFill>
                    <a:schemeClr val="tx1"/>
                  </a:solidFill>
                  <a:latin typeface="Roboto" panose="02000000000000000000" pitchFamily="2" charset="0"/>
                </a:rPr>
                <a:t>um eine treibhausneutrale Wärmeversorgung bis 2045 zu erreichen</a:t>
              </a:r>
            </a:p>
          </p:txBody>
        </p:sp>
        <p:grpSp>
          <p:nvGrpSpPr>
            <p:cNvPr id="13" name="thm_triangle_i52819">
              <a:extLst>
                <a:ext uri="{FF2B5EF4-FFF2-40B4-BE49-F238E27FC236}">
                  <a16:creationId xmlns:a16="http://schemas.microsoft.com/office/drawing/2014/main" id="{72FD79A3-623A-BFF9-5D75-B6E9704DDB23}"/>
                </a:ext>
              </a:extLst>
            </p:cNvPr>
            <p:cNvGrpSpPr/>
            <p:nvPr/>
          </p:nvGrpSpPr>
          <p:grpSpPr>
            <a:xfrm>
              <a:off x="208026" y="5549074"/>
              <a:ext cx="234029" cy="468058"/>
              <a:chOff x="117014" y="-117014"/>
              <a:chExt cx="234029" cy="468058"/>
            </a:xfrm>
          </p:grpSpPr>
          <p:sp>
            <p:nvSpPr>
              <p:cNvPr id="14" name="box">
                <a:extLst>
                  <a:ext uri="{FF2B5EF4-FFF2-40B4-BE49-F238E27FC236}">
                    <a16:creationId xmlns:a16="http://schemas.microsoft.com/office/drawing/2014/main" id="{C873D84B-3A51-E934-CC37-44A6C1D98BCA}"/>
                  </a:ext>
                </a:extLst>
              </p:cNvPr>
              <p:cNvSpPr/>
              <p:nvPr/>
            </p:nvSpPr>
            <p:spPr bwMode="white">
              <a:xfrm rot="16200000">
                <a:off x="-117015" y="117015"/>
                <a:ext cx="468058" cy="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15" name="triangle_1">
                <a:extLst>
                  <a:ext uri="{FF2B5EF4-FFF2-40B4-BE49-F238E27FC236}">
                    <a16:creationId xmlns:a16="http://schemas.microsoft.com/office/drawing/2014/main" id="{55D05E22-8F65-3CE9-B8DB-E80E40A1AC63}"/>
                  </a:ext>
                </a:extLst>
              </p:cNvPr>
              <p:cNvSpPr/>
              <p:nvPr/>
            </p:nvSpPr>
            <p:spPr bwMode="white">
              <a:xfrm rot="5400000">
                <a:off x="0" y="0"/>
                <a:ext cx="468058" cy="234029"/>
              </a:xfrm>
              <a:prstGeom prst="triangle">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16" name="triangle_2">
                <a:extLst>
                  <a:ext uri="{FF2B5EF4-FFF2-40B4-BE49-F238E27FC236}">
                    <a16:creationId xmlns:a16="http://schemas.microsoft.com/office/drawing/2014/main" id="{9D462E6C-AAB4-4EA0-9FAB-C06F4FEA1A45}"/>
                  </a:ext>
                </a:extLst>
              </p:cNvPr>
              <p:cNvSpPr/>
              <p:nvPr/>
            </p:nvSpPr>
            <p:spPr bwMode="gray">
              <a:xfrm rot="5400000">
                <a:off x="0" y="0"/>
                <a:ext cx="468058" cy="234029"/>
              </a:xfrm>
              <a:prstGeom prst="triangl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grpSp>
      </p:grpSp>
      <p:sp>
        <p:nvSpPr>
          <p:cNvPr id="17" name="box_text_1">
            <a:extLst>
              <a:ext uri="{FF2B5EF4-FFF2-40B4-BE49-F238E27FC236}">
                <a16:creationId xmlns:a16="http://schemas.microsoft.com/office/drawing/2014/main" id="{1F5B728F-48A3-2B7D-4667-DB599686239D}"/>
              </a:ext>
            </a:extLst>
          </p:cNvPr>
          <p:cNvSpPr/>
          <p:nvPr>
            <p:custDataLst>
              <p:tags r:id="rId2"/>
            </p:custDataLst>
          </p:nvPr>
        </p:nvSpPr>
        <p:spPr bwMode="gray">
          <a:xfrm>
            <a:off x="208025" y="3221700"/>
            <a:ext cx="9298709" cy="1383667"/>
          </a:xfrm>
          <a:prstGeom prst="rect">
            <a:avLst/>
          </a:prstGeom>
          <a:noFill/>
          <a:ln w="9525">
            <a:solidFill>
              <a:schemeClr val="accent1"/>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oAutofit/>
          </a:bodyPr>
          <a:lstStyle/>
          <a:p>
            <a:pPr algn="ctr">
              <a:spcAft>
                <a:spcPts val="200"/>
              </a:spcAft>
              <a:buClr>
                <a:srgbClr val="003C50"/>
              </a:buClr>
              <a:tabLst>
                <a:tab pos="144000" algn="l"/>
              </a:tabLst>
            </a:pPr>
            <a:endParaRPr lang="de-DE" sz="1000">
              <a:solidFill>
                <a:schemeClr val="tx1"/>
              </a:solidFill>
              <a:latin typeface="Roboto" panose="02000000000000000000" pitchFamily="2" charset="0"/>
            </a:endParaRPr>
          </a:p>
        </p:txBody>
      </p:sp>
      <p:sp>
        <p:nvSpPr>
          <p:cNvPr id="18" name="Rectangle 17">
            <a:extLst>
              <a:ext uri="{FF2B5EF4-FFF2-40B4-BE49-F238E27FC236}">
                <a16:creationId xmlns:a16="http://schemas.microsoft.com/office/drawing/2014/main" id="{B0555AB1-2047-E468-183E-04F83E93239F}"/>
              </a:ext>
            </a:extLst>
          </p:cNvPr>
          <p:cNvSpPr/>
          <p:nvPr/>
        </p:nvSpPr>
        <p:spPr bwMode="gray">
          <a:xfrm>
            <a:off x="8853156" y="4010976"/>
            <a:ext cx="72000" cy="360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37" name="Rectangle 36">
            <a:extLst>
              <a:ext uri="{FF2B5EF4-FFF2-40B4-BE49-F238E27FC236}">
                <a16:creationId xmlns:a16="http://schemas.microsoft.com/office/drawing/2014/main" id="{784FAD90-F7DF-8066-2715-C1B03A24ACA4}"/>
              </a:ext>
            </a:extLst>
          </p:cNvPr>
          <p:cNvSpPr/>
          <p:nvPr/>
        </p:nvSpPr>
        <p:spPr bwMode="gray">
          <a:xfrm>
            <a:off x="339725" y="3247133"/>
            <a:ext cx="4389440" cy="432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latin typeface="Roboto" panose="02000000000000000000" pitchFamily="2" charset="0"/>
              </a:rPr>
              <a:t>Was sind die Ergebnisse? </a:t>
            </a:r>
          </a:p>
        </p:txBody>
      </p:sp>
      <p:pic>
        <p:nvPicPr>
          <p:cNvPr id="38" name="Graphic 37" descr="Users with solid fill">
            <a:extLst>
              <a:ext uri="{FF2B5EF4-FFF2-40B4-BE49-F238E27FC236}">
                <a16:creationId xmlns:a16="http://schemas.microsoft.com/office/drawing/2014/main" id="{ABA36209-B7D7-9F0A-3B19-A0D28CC5ACB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26056" y="3247133"/>
            <a:ext cx="432000" cy="432000"/>
          </a:xfrm>
          <a:prstGeom prst="rect">
            <a:avLst/>
          </a:prstGeom>
        </p:spPr>
      </p:pic>
      <p:sp>
        <p:nvSpPr>
          <p:cNvPr id="5" name="Rectangle 4">
            <a:extLst>
              <a:ext uri="{FF2B5EF4-FFF2-40B4-BE49-F238E27FC236}">
                <a16:creationId xmlns:a16="http://schemas.microsoft.com/office/drawing/2014/main" id="{1495B089-30D8-B0C7-0A66-2ED3E5339CAC}"/>
              </a:ext>
            </a:extLst>
          </p:cNvPr>
          <p:cNvSpPr/>
          <p:nvPr/>
        </p:nvSpPr>
        <p:spPr bwMode="gray">
          <a:xfrm>
            <a:off x="278844" y="1066800"/>
            <a:ext cx="2363554" cy="432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rPr>
              <a:t>Bestandsanalyse</a:t>
            </a:r>
          </a:p>
        </p:txBody>
      </p:sp>
      <p:sp>
        <p:nvSpPr>
          <p:cNvPr id="47" name="Rectangle 46">
            <a:extLst>
              <a:ext uri="{FF2B5EF4-FFF2-40B4-BE49-F238E27FC236}">
                <a16:creationId xmlns:a16="http://schemas.microsoft.com/office/drawing/2014/main" id="{7F2FF2D5-EAA3-5017-E45B-55D761F847F4}"/>
              </a:ext>
            </a:extLst>
          </p:cNvPr>
          <p:cNvSpPr/>
          <p:nvPr/>
        </p:nvSpPr>
        <p:spPr bwMode="gray">
          <a:xfrm>
            <a:off x="3532498" y="1083863"/>
            <a:ext cx="2232000" cy="432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rPr>
              <a:t>Potenzialanalyse</a:t>
            </a:r>
          </a:p>
        </p:txBody>
      </p:sp>
      <p:grpSp>
        <p:nvGrpSpPr>
          <p:cNvPr id="48" name="Group 47">
            <a:extLst>
              <a:ext uri="{FF2B5EF4-FFF2-40B4-BE49-F238E27FC236}">
                <a16:creationId xmlns:a16="http://schemas.microsoft.com/office/drawing/2014/main" id="{BB947AD8-F644-7657-9988-8DB37797E52D}"/>
              </a:ext>
            </a:extLst>
          </p:cNvPr>
          <p:cNvGrpSpPr>
            <a:grpSpLocks noChangeAspect="1"/>
          </p:cNvGrpSpPr>
          <p:nvPr>
            <p:custDataLst>
              <p:tags r:id="rId3"/>
            </p:custDataLst>
          </p:nvPr>
        </p:nvGrpSpPr>
        <p:grpSpPr>
          <a:xfrm>
            <a:off x="3532498" y="1111988"/>
            <a:ext cx="324000" cy="324000"/>
            <a:chOff x="1270000" y="1270000"/>
            <a:chExt cx="889000" cy="889000"/>
          </a:xfrm>
          <a:solidFill>
            <a:schemeClr val="tx2"/>
          </a:solidFill>
        </p:grpSpPr>
        <p:sp>
          <p:nvSpPr>
            <p:cNvPr id="49" name="Rectangle 48" hidden="1">
              <a:extLst>
                <a:ext uri="{FF2B5EF4-FFF2-40B4-BE49-F238E27FC236}">
                  <a16:creationId xmlns:a16="http://schemas.microsoft.com/office/drawing/2014/main" id="{36BCC48F-F744-37A9-A6F4-947F107DDAAC}"/>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50" name="Graphic 49">
              <a:extLst>
                <a:ext uri="{FF2B5EF4-FFF2-40B4-BE49-F238E27FC236}">
                  <a16:creationId xmlns:a16="http://schemas.microsoft.com/office/drawing/2014/main" id="{4AF2F831-6C8C-2F56-F6E4-6E5EB53DB93D}"/>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270000" y="1270000"/>
              <a:ext cx="889000" cy="889000"/>
            </a:xfrm>
            <a:prstGeom prst="rect">
              <a:avLst/>
            </a:prstGeom>
          </p:spPr>
        </p:pic>
      </p:grpSp>
      <p:grpSp>
        <p:nvGrpSpPr>
          <p:cNvPr id="51" name="Group 50">
            <a:extLst>
              <a:ext uri="{FF2B5EF4-FFF2-40B4-BE49-F238E27FC236}">
                <a16:creationId xmlns:a16="http://schemas.microsoft.com/office/drawing/2014/main" id="{A95718CB-1EE1-5836-BA9F-B981D3E7DB8F}"/>
              </a:ext>
            </a:extLst>
          </p:cNvPr>
          <p:cNvGrpSpPr>
            <a:grpSpLocks noChangeAspect="1"/>
          </p:cNvGrpSpPr>
          <p:nvPr>
            <p:custDataLst>
              <p:tags r:id="rId4"/>
            </p:custDataLst>
          </p:nvPr>
        </p:nvGrpSpPr>
        <p:grpSpPr>
          <a:xfrm>
            <a:off x="280056" y="1124888"/>
            <a:ext cx="324000" cy="324000"/>
            <a:chOff x="1270000" y="1270000"/>
            <a:chExt cx="889000" cy="889000"/>
          </a:xfrm>
          <a:solidFill>
            <a:schemeClr val="tx2"/>
          </a:solidFill>
        </p:grpSpPr>
        <p:sp>
          <p:nvSpPr>
            <p:cNvPr id="52" name="Rectangle 51" hidden="1">
              <a:extLst>
                <a:ext uri="{FF2B5EF4-FFF2-40B4-BE49-F238E27FC236}">
                  <a16:creationId xmlns:a16="http://schemas.microsoft.com/office/drawing/2014/main" id="{7B5894E4-733B-B725-1BE1-E820F4959525}"/>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53" name="Graphic 52">
              <a:extLst>
                <a:ext uri="{FF2B5EF4-FFF2-40B4-BE49-F238E27FC236}">
                  <a16:creationId xmlns:a16="http://schemas.microsoft.com/office/drawing/2014/main" id="{E620659D-ABEA-08D3-925C-2EFDD42A6EDB}"/>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270000" y="1270000"/>
              <a:ext cx="889000" cy="889000"/>
            </a:xfrm>
            <a:prstGeom prst="rect">
              <a:avLst/>
            </a:prstGeom>
          </p:spPr>
        </p:pic>
      </p:grpSp>
      <p:sp>
        <p:nvSpPr>
          <p:cNvPr id="54" name="Rectangle 53">
            <a:extLst>
              <a:ext uri="{FF2B5EF4-FFF2-40B4-BE49-F238E27FC236}">
                <a16:creationId xmlns:a16="http://schemas.microsoft.com/office/drawing/2014/main" id="{A4132B34-3073-0E59-A1F1-D0121F2CD1F5}"/>
              </a:ext>
            </a:extLst>
          </p:cNvPr>
          <p:cNvSpPr/>
          <p:nvPr/>
        </p:nvSpPr>
        <p:spPr bwMode="gray">
          <a:xfrm>
            <a:off x="208025" y="1076248"/>
            <a:ext cx="3024000" cy="165917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Analyse von Gebäude- und Siedlungsstruktur</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Erfassung der Energieinfrastruktur</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BISKO-konforme Basisbilanz</a:t>
            </a:r>
          </a:p>
          <a:p>
            <a:pPr marL="144000" indent="-144000">
              <a:lnSpc>
                <a:spcPct val="95000"/>
              </a:lnSpc>
              <a:spcAft>
                <a:spcPts val="200"/>
              </a:spcAft>
              <a:buClr>
                <a:srgbClr val="003C50"/>
              </a:buClr>
              <a:buFont typeface="Wingdings" panose="05000000000000000000" pitchFamily="2" charset="2"/>
              <a:buChar char="§"/>
            </a:pPr>
            <a:endParaRPr lang="de-DE" sz="1100">
              <a:solidFill>
                <a:schemeClr val="tx1"/>
              </a:solidFill>
            </a:endParaRPr>
          </a:p>
          <a:p>
            <a:pPr marL="144000" indent="-144000">
              <a:lnSpc>
                <a:spcPct val="95000"/>
              </a:lnSpc>
              <a:spcAft>
                <a:spcPts val="200"/>
              </a:spcAft>
              <a:buClr>
                <a:srgbClr val="003C50"/>
              </a:buClr>
              <a:buFont typeface="Wingdings" panose="05000000000000000000" pitchFamily="2" charset="2"/>
              <a:buChar char="§"/>
            </a:pPr>
            <a:endParaRPr lang="de-DE" sz="1100">
              <a:solidFill>
                <a:schemeClr val="tx1"/>
              </a:solidFill>
            </a:endParaRPr>
          </a:p>
          <a:p>
            <a:pPr>
              <a:lnSpc>
                <a:spcPct val="95000"/>
              </a:lnSpc>
              <a:spcAft>
                <a:spcPts val="200"/>
              </a:spcAft>
              <a:buClr>
                <a:srgbClr val="003C50"/>
              </a:buClr>
            </a:pPr>
            <a:endParaRPr lang="de-DE" sz="1100">
              <a:solidFill>
                <a:schemeClr val="tx1"/>
              </a:solidFill>
            </a:endParaRPr>
          </a:p>
        </p:txBody>
      </p:sp>
      <p:sp>
        <p:nvSpPr>
          <p:cNvPr id="55" name="Rectangle 54">
            <a:extLst>
              <a:ext uri="{FF2B5EF4-FFF2-40B4-BE49-F238E27FC236}">
                <a16:creationId xmlns:a16="http://schemas.microsoft.com/office/drawing/2014/main" id="{9EC22323-7A65-05F3-450A-3D8D7425AAD8}"/>
              </a:ext>
            </a:extLst>
          </p:cNvPr>
          <p:cNvSpPr/>
          <p:nvPr/>
        </p:nvSpPr>
        <p:spPr bwMode="gray">
          <a:xfrm>
            <a:off x="3382261" y="1076248"/>
            <a:ext cx="3024000" cy="165917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Steigerung der Energieeffizienz von Gebäuden und Industrie</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Nutzung unvermeidbarer Abwärme</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Ausbaupotenziale regenerativer Wärmeversorgung</a:t>
            </a:r>
          </a:p>
        </p:txBody>
      </p:sp>
      <p:grpSp>
        <p:nvGrpSpPr>
          <p:cNvPr id="56" name="Group 55">
            <a:extLst>
              <a:ext uri="{FF2B5EF4-FFF2-40B4-BE49-F238E27FC236}">
                <a16:creationId xmlns:a16="http://schemas.microsoft.com/office/drawing/2014/main" id="{D3B3C654-7D30-E5DB-A9A3-AB870800A9B5}"/>
              </a:ext>
            </a:extLst>
          </p:cNvPr>
          <p:cNvGrpSpPr/>
          <p:nvPr/>
        </p:nvGrpSpPr>
        <p:grpSpPr>
          <a:xfrm>
            <a:off x="6556498" y="1076248"/>
            <a:ext cx="3024000" cy="1659178"/>
            <a:chOff x="6556498" y="1076248"/>
            <a:chExt cx="3024000" cy="1659178"/>
          </a:xfrm>
        </p:grpSpPr>
        <p:sp>
          <p:nvSpPr>
            <p:cNvPr id="57" name="Rectangle 56">
              <a:extLst>
                <a:ext uri="{FF2B5EF4-FFF2-40B4-BE49-F238E27FC236}">
                  <a16:creationId xmlns:a16="http://schemas.microsoft.com/office/drawing/2014/main" id="{1E558B25-A14E-3F33-A728-19DEA19C0E32}"/>
                </a:ext>
              </a:extLst>
            </p:cNvPr>
            <p:cNvSpPr/>
            <p:nvPr/>
          </p:nvSpPr>
          <p:spPr bwMode="gray">
            <a:xfrm>
              <a:off x="6556498" y="1076248"/>
              <a:ext cx="3024000" cy="165917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Zielszenarien und Zielpfade für 2030, 2035, 2040 und 2045 </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Zentrale und Dezentrale Wärmeversorgungsgebiete</a:t>
              </a:r>
            </a:p>
            <a:p>
              <a:pPr marL="144000" indent="-144000">
                <a:lnSpc>
                  <a:spcPct val="95000"/>
                </a:lnSpc>
                <a:spcAft>
                  <a:spcPts val="200"/>
                </a:spcAft>
                <a:buClr>
                  <a:srgbClr val="003C50"/>
                </a:buClr>
                <a:buFont typeface="Wingdings" panose="05000000000000000000" pitchFamily="2" charset="2"/>
                <a:buChar char="§"/>
              </a:pPr>
              <a:r>
                <a:rPr lang="de-DE" sz="1100">
                  <a:solidFill>
                    <a:schemeClr val="tx1"/>
                  </a:solidFill>
                </a:rPr>
                <a:t>Energie- und THG-Bilanz </a:t>
              </a:r>
            </a:p>
          </p:txBody>
        </p:sp>
        <p:sp>
          <p:nvSpPr>
            <p:cNvPr id="58" name="Rectangle 57">
              <a:extLst>
                <a:ext uri="{FF2B5EF4-FFF2-40B4-BE49-F238E27FC236}">
                  <a16:creationId xmlns:a16="http://schemas.microsoft.com/office/drawing/2014/main" id="{4369DFDD-945C-3531-96AB-D4F712AE50F1}"/>
                </a:ext>
              </a:extLst>
            </p:cNvPr>
            <p:cNvSpPr/>
            <p:nvPr/>
          </p:nvSpPr>
          <p:spPr bwMode="gray">
            <a:xfrm>
              <a:off x="6594597" y="1083863"/>
              <a:ext cx="2232000" cy="432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400" b="1">
                  <a:solidFill>
                    <a:schemeClr val="tx1"/>
                  </a:solidFill>
                </a:rPr>
                <a:t>Zielszenario</a:t>
              </a:r>
            </a:p>
          </p:txBody>
        </p:sp>
        <p:grpSp>
          <p:nvGrpSpPr>
            <p:cNvPr id="59" name="Group 58">
              <a:extLst>
                <a:ext uri="{FF2B5EF4-FFF2-40B4-BE49-F238E27FC236}">
                  <a16:creationId xmlns:a16="http://schemas.microsoft.com/office/drawing/2014/main" id="{1693CF50-D1D9-CCEA-8198-F7C0D0A5468E}"/>
                </a:ext>
              </a:extLst>
            </p:cNvPr>
            <p:cNvGrpSpPr>
              <a:grpSpLocks noChangeAspect="1"/>
            </p:cNvGrpSpPr>
            <p:nvPr>
              <p:custDataLst>
                <p:tags r:id="rId12"/>
              </p:custDataLst>
            </p:nvPr>
          </p:nvGrpSpPr>
          <p:grpSpPr>
            <a:xfrm rot="600000">
              <a:off x="6630868" y="1129307"/>
              <a:ext cx="324000" cy="324000"/>
              <a:chOff x="1270000" y="1270000"/>
              <a:chExt cx="889000" cy="889000"/>
            </a:xfrm>
            <a:solidFill>
              <a:schemeClr val="tx2"/>
            </a:solidFill>
          </p:grpSpPr>
          <p:sp>
            <p:nvSpPr>
              <p:cNvPr id="60" name="Rectangle 59" hidden="1">
                <a:extLst>
                  <a:ext uri="{FF2B5EF4-FFF2-40B4-BE49-F238E27FC236}">
                    <a16:creationId xmlns:a16="http://schemas.microsoft.com/office/drawing/2014/main" id="{F2DF6554-0DB4-80FA-F062-34796FD46C86}"/>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61" name="Graphic 60">
                <a:extLst>
                  <a:ext uri="{FF2B5EF4-FFF2-40B4-BE49-F238E27FC236}">
                    <a16:creationId xmlns:a16="http://schemas.microsoft.com/office/drawing/2014/main" id="{3D84B4A8-F26A-EC07-B87F-35026EED1BF7}"/>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270000" y="1270000"/>
                <a:ext cx="889000" cy="889000"/>
              </a:xfrm>
              <a:prstGeom prst="rect">
                <a:avLst/>
              </a:prstGeom>
            </p:spPr>
          </p:pic>
        </p:grpSp>
      </p:grpSp>
      <p:sp>
        <p:nvSpPr>
          <p:cNvPr id="62" name="Arrow: Down 61">
            <a:extLst>
              <a:ext uri="{FF2B5EF4-FFF2-40B4-BE49-F238E27FC236}">
                <a16:creationId xmlns:a16="http://schemas.microsoft.com/office/drawing/2014/main" id="{38D5A658-8596-75AF-662E-27038E51FCB6}"/>
              </a:ext>
            </a:extLst>
          </p:cNvPr>
          <p:cNvSpPr/>
          <p:nvPr/>
        </p:nvSpPr>
        <p:spPr bwMode="gray">
          <a:xfrm>
            <a:off x="7887343" y="2803585"/>
            <a:ext cx="362309" cy="284178"/>
          </a:xfrm>
          <a:prstGeom prst="downArrow">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sp>
        <p:nvSpPr>
          <p:cNvPr id="63" name="Rectangle 62">
            <a:extLst>
              <a:ext uri="{FF2B5EF4-FFF2-40B4-BE49-F238E27FC236}">
                <a16:creationId xmlns:a16="http://schemas.microsoft.com/office/drawing/2014/main" id="{E9EF7E0A-B25A-E89F-8F6D-24E3678ED884}"/>
              </a:ext>
            </a:extLst>
          </p:cNvPr>
          <p:cNvSpPr/>
          <p:nvPr/>
        </p:nvSpPr>
        <p:spPr bwMode="gray">
          <a:xfrm>
            <a:off x="173782" y="975523"/>
            <a:ext cx="3121509" cy="1860627"/>
          </a:xfrm>
          <a:prstGeom prst="rect">
            <a:avLst/>
          </a:prstGeom>
          <a:solidFill>
            <a:srgbClr val="FFFFFF">
              <a:alpha val="7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sp>
        <p:nvSpPr>
          <p:cNvPr id="64" name="Rectangle 63">
            <a:extLst>
              <a:ext uri="{FF2B5EF4-FFF2-40B4-BE49-F238E27FC236}">
                <a16:creationId xmlns:a16="http://schemas.microsoft.com/office/drawing/2014/main" id="{7982928A-BB89-BB03-6DAD-3ABDD8D8F81F}"/>
              </a:ext>
            </a:extLst>
          </p:cNvPr>
          <p:cNvSpPr/>
          <p:nvPr/>
        </p:nvSpPr>
        <p:spPr bwMode="gray">
          <a:xfrm>
            <a:off x="3358387" y="975523"/>
            <a:ext cx="3121510" cy="1860627"/>
          </a:xfrm>
          <a:prstGeom prst="rect">
            <a:avLst/>
          </a:prstGeom>
          <a:solidFill>
            <a:srgbClr val="FFFFFF">
              <a:alpha val="7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grpSp>
        <p:nvGrpSpPr>
          <p:cNvPr id="30" name="Group 29">
            <a:extLst>
              <a:ext uri="{FF2B5EF4-FFF2-40B4-BE49-F238E27FC236}">
                <a16:creationId xmlns:a16="http://schemas.microsoft.com/office/drawing/2014/main" id="{CA048F70-FB15-448E-3EB4-707D444DCA2A}"/>
              </a:ext>
            </a:extLst>
          </p:cNvPr>
          <p:cNvGrpSpPr/>
          <p:nvPr/>
        </p:nvGrpSpPr>
        <p:grpSpPr>
          <a:xfrm>
            <a:off x="352839" y="3756792"/>
            <a:ext cx="2871992" cy="561600"/>
            <a:chOff x="352839" y="3756792"/>
            <a:chExt cx="2871992" cy="561600"/>
          </a:xfrm>
        </p:grpSpPr>
        <p:sp>
          <p:nvSpPr>
            <p:cNvPr id="44" name="Rectangle 43">
              <a:extLst>
                <a:ext uri="{FF2B5EF4-FFF2-40B4-BE49-F238E27FC236}">
                  <a16:creationId xmlns:a16="http://schemas.microsoft.com/office/drawing/2014/main" id="{E5E9A184-506F-0C1D-7078-73BBDC258553}"/>
                </a:ext>
              </a:extLst>
            </p:cNvPr>
            <p:cNvSpPr/>
            <p:nvPr>
              <p:custDataLst>
                <p:tags r:id="rId9"/>
              </p:custDataLst>
            </p:nvPr>
          </p:nvSpPr>
          <p:spPr bwMode="gray">
            <a:xfrm>
              <a:off x="914446" y="3876779"/>
              <a:ext cx="2310385" cy="32162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0" bIns="0" rtlCol="0" anchor="t">
              <a:spAutoFit/>
            </a:bodyPr>
            <a:lstStyle/>
            <a:p>
              <a:pPr>
                <a:lnSpc>
                  <a:spcPct val="95000"/>
                </a:lnSpc>
              </a:pPr>
              <a:r>
                <a:rPr lang="de-DE" sz="1100" i="1">
                  <a:solidFill>
                    <a:schemeClr val="tx1"/>
                  </a:solidFill>
                  <a:latin typeface="Roboto" panose="02000000000000000000" pitchFamily="2" charset="0"/>
                </a:rPr>
                <a:t>Angaben zu Wärmenetzen für die Jahre 2030, 2035, 2040, 2045?</a:t>
              </a:r>
            </a:p>
          </p:txBody>
        </p:sp>
        <p:grpSp>
          <p:nvGrpSpPr>
            <p:cNvPr id="10" name="Group 9">
              <a:extLst>
                <a:ext uri="{FF2B5EF4-FFF2-40B4-BE49-F238E27FC236}">
                  <a16:creationId xmlns:a16="http://schemas.microsoft.com/office/drawing/2014/main" id="{21EA339C-8D44-6FE3-1EC1-6D2E75FDF366}"/>
                </a:ext>
              </a:extLst>
            </p:cNvPr>
            <p:cNvGrpSpPr>
              <a:grpSpLocks noChangeAspect="1"/>
            </p:cNvGrpSpPr>
            <p:nvPr>
              <p:custDataLst>
                <p:tags r:id="rId10"/>
              </p:custDataLst>
            </p:nvPr>
          </p:nvGrpSpPr>
          <p:grpSpPr>
            <a:xfrm>
              <a:off x="352839" y="3756792"/>
              <a:ext cx="561600" cy="561600"/>
              <a:chOff x="1270000" y="1270000"/>
              <a:chExt cx="889000" cy="889000"/>
            </a:xfrm>
            <a:solidFill>
              <a:srgbClr val="136B93"/>
            </a:solidFill>
          </p:grpSpPr>
          <p:sp>
            <p:nvSpPr>
              <p:cNvPr id="7" name="Rectangle 6" hidden="1">
                <a:extLst>
                  <a:ext uri="{FF2B5EF4-FFF2-40B4-BE49-F238E27FC236}">
                    <a16:creationId xmlns:a16="http://schemas.microsoft.com/office/drawing/2014/main" id="{3F1DFF92-33F6-A1D4-9087-4B2C04B28EF3}"/>
                  </a:ext>
                </a:extLst>
              </p:cNvPr>
              <p:cNvSpPr/>
              <p:nvPr>
                <p:custDataLst>
                  <p:tags r:id="rId11"/>
                </p:custDataLst>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pic>
            <p:nvPicPr>
              <p:cNvPr id="9" name="Graphic 8">
                <a:extLst>
                  <a:ext uri="{FF2B5EF4-FFF2-40B4-BE49-F238E27FC236}">
                    <a16:creationId xmlns:a16="http://schemas.microsoft.com/office/drawing/2014/main" id="{BBDC51CD-ABCC-2E8B-FF9E-C1133DA1ED81}"/>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270000" y="1270000"/>
                <a:ext cx="889000" cy="889000"/>
              </a:xfrm>
              <a:prstGeom prst="rect">
                <a:avLst/>
              </a:prstGeom>
            </p:spPr>
          </p:pic>
        </p:grpSp>
      </p:grpSp>
      <p:sp>
        <p:nvSpPr>
          <p:cNvPr id="46" name="Rectangle 45">
            <a:extLst>
              <a:ext uri="{FF2B5EF4-FFF2-40B4-BE49-F238E27FC236}">
                <a16:creationId xmlns:a16="http://schemas.microsoft.com/office/drawing/2014/main" id="{B7C2205C-033B-50FD-7798-4702E34F9B32}"/>
              </a:ext>
            </a:extLst>
          </p:cNvPr>
          <p:cNvSpPr/>
          <p:nvPr>
            <p:custDataLst>
              <p:tags r:id="rId5"/>
            </p:custDataLst>
          </p:nvPr>
        </p:nvSpPr>
        <p:spPr bwMode="gray">
          <a:xfrm>
            <a:off x="7018595" y="3876779"/>
            <a:ext cx="2149659" cy="32162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0" bIns="0" rtlCol="0" anchor="t">
            <a:spAutoFit/>
          </a:bodyPr>
          <a:lstStyle/>
          <a:p>
            <a:pPr>
              <a:lnSpc>
                <a:spcPct val="95000"/>
              </a:lnSpc>
            </a:pPr>
            <a:r>
              <a:rPr lang="de-DE" sz="1100" i="1">
                <a:solidFill>
                  <a:schemeClr val="tx1"/>
                </a:solidFill>
                <a:latin typeface="Roboto" panose="02000000000000000000" pitchFamily="2" charset="0"/>
              </a:rPr>
              <a:t>Treibhausgas-Emissionen für 2030, 2035, 2040, 2045?</a:t>
            </a:r>
          </a:p>
        </p:txBody>
      </p:sp>
      <p:grpSp>
        <p:nvGrpSpPr>
          <p:cNvPr id="28" name="Group 27">
            <a:extLst>
              <a:ext uri="{FF2B5EF4-FFF2-40B4-BE49-F238E27FC236}">
                <a16:creationId xmlns:a16="http://schemas.microsoft.com/office/drawing/2014/main" id="{463D1EFA-8BF9-2B27-9F82-5D9F367117E5}"/>
              </a:ext>
            </a:extLst>
          </p:cNvPr>
          <p:cNvGrpSpPr/>
          <p:nvPr/>
        </p:nvGrpSpPr>
        <p:grpSpPr>
          <a:xfrm>
            <a:off x="3671379" y="3756792"/>
            <a:ext cx="2175362" cy="561600"/>
            <a:chOff x="3358387" y="3756792"/>
            <a:chExt cx="2175362" cy="561600"/>
          </a:xfrm>
        </p:grpSpPr>
        <p:grpSp>
          <p:nvGrpSpPr>
            <p:cNvPr id="22" name="Group 21">
              <a:extLst>
                <a:ext uri="{FF2B5EF4-FFF2-40B4-BE49-F238E27FC236}">
                  <a16:creationId xmlns:a16="http://schemas.microsoft.com/office/drawing/2014/main" id="{8D665382-A556-2E44-6DAE-521F5E59F616}"/>
                </a:ext>
              </a:extLst>
            </p:cNvPr>
            <p:cNvGrpSpPr>
              <a:grpSpLocks noChangeAspect="1"/>
            </p:cNvGrpSpPr>
            <p:nvPr>
              <p:custDataLst>
                <p:tags r:id="rId6"/>
              </p:custDataLst>
            </p:nvPr>
          </p:nvGrpSpPr>
          <p:grpSpPr>
            <a:xfrm>
              <a:off x="3358387" y="3756792"/>
              <a:ext cx="561600" cy="561600"/>
              <a:chOff x="1270000" y="1270000"/>
              <a:chExt cx="889000" cy="889000"/>
            </a:xfrm>
            <a:solidFill>
              <a:srgbClr val="136B93"/>
            </a:solidFill>
          </p:grpSpPr>
          <p:sp>
            <p:nvSpPr>
              <p:cNvPr id="19" name="Rectangle 18" hidden="1">
                <a:extLst>
                  <a:ext uri="{FF2B5EF4-FFF2-40B4-BE49-F238E27FC236}">
                    <a16:creationId xmlns:a16="http://schemas.microsoft.com/office/drawing/2014/main" id="{CE0AF34A-D395-3EB7-9F5D-B8E8596D8E90}"/>
                  </a:ext>
                </a:extLst>
              </p:cNvPr>
              <p:cNvSpPr/>
              <p:nvPr>
                <p:custDataLst>
                  <p:tags r:id="rId8"/>
                </p:custDataLst>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pic>
            <p:nvPicPr>
              <p:cNvPr id="21" name="Graphic 20">
                <a:extLst>
                  <a:ext uri="{FF2B5EF4-FFF2-40B4-BE49-F238E27FC236}">
                    <a16:creationId xmlns:a16="http://schemas.microsoft.com/office/drawing/2014/main" id="{0D723D68-B792-41B1-15AD-ED45AA9C1FF0}"/>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270000" y="1270000"/>
                <a:ext cx="889000" cy="889000"/>
              </a:xfrm>
              <a:prstGeom prst="rect">
                <a:avLst/>
              </a:prstGeom>
            </p:spPr>
          </p:pic>
        </p:grpSp>
        <p:sp>
          <p:nvSpPr>
            <p:cNvPr id="27" name="Rectangle 26">
              <a:extLst>
                <a:ext uri="{FF2B5EF4-FFF2-40B4-BE49-F238E27FC236}">
                  <a16:creationId xmlns:a16="http://schemas.microsoft.com/office/drawing/2014/main" id="{72ED934A-54E7-8EDF-89C1-C5BA4D608411}"/>
                </a:ext>
              </a:extLst>
            </p:cNvPr>
            <p:cNvSpPr/>
            <p:nvPr>
              <p:custDataLst>
                <p:tags r:id="rId7"/>
              </p:custDataLst>
            </p:nvPr>
          </p:nvSpPr>
          <p:spPr bwMode="gray">
            <a:xfrm>
              <a:off x="3959211" y="3876779"/>
              <a:ext cx="1574538" cy="32162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0" bIns="0" rtlCol="0" anchor="t">
              <a:spAutoFit/>
            </a:bodyPr>
            <a:lstStyle/>
            <a:p>
              <a:pPr>
                <a:lnSpc>
                  <a:spcPct val="95000"/>
                </a:lnSpc>
              </a:pPr>
              <a:r>
                <a:rPr lang="de-DE" sz="1100" i="1">
                  <a:solidFill>
                    <a:schemeClr val="tx1"/>
                  </a:solidFill>
                  <a:latin typeface="Roboto" panose="02000000000000000000" pitchFamily="2" charset="0"/>
                </a:rPr>
                <a:t>Wärmeversorgung in 2030, 2035, 2040, 2045?</a:t>
              </a:r>
            </a:p>
          </p:txBody>
        </p:sp>
      </p:grpSp>
    </p:spTree>
    <p:extLst>
      <p:ext uri="{BB962C8B-B14F-4D97-AF65-F5344CB8AC3E}">
        <p14:creationId xmlns:p14="http://schemas.microsoft.com/office/powerpoint/2010/main" val="15120710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31963D5-EEEC-C9CB-2419-8BFDD9B2B744}"/>
              </a:ext>
            </a:extLst>
          </p:cNvPr>
          <p:cNvSpPr>
            <a:spLocks noGrp="1"/>
          </p:cNvSpPr>
          <p:nvPr>
            <p:ph type="sldNum" sz="quarter" idx="11"/>
          </p:nvPr>
        </p:nvSpPr>
        <p:spPr/>
        <p:txBody>
          <a:bodyPr/>
          <a:lstStyle/>
          <a:p>
            <a:endParaRPr lang="de-DE"/>
          </a:p>
          <a:p>
            <a:fld id="{24C420F5-194C-40F2-A080-C5F3EDD89037}" type="slidenum">
              <a:rPr lang="de-DE" smtClean="0"/>
              <a:pPr/>
              <a:t>45</a:t>
            </a:fld>
            <a:endParaRPr lang="de-DE"/>
          </a:p>
        </p:txBody>
      </p:sp>
      <p:sp>
        <p:nvSpPr>
          <p:cNvPr id="3" name="Title 2">
            <a:extLst>
              <a:ext uri="{FF2B5EF4-FFF2-40B4-BE49-F238E27FC236}">
                <a16:creationId xmlns:a16="http://schemas.microsoft.com/office/drawing/2014/main" id="{A2F15791-BC29-95CA-A8D2-7CF032DB048F}"/>
              </a:ext>
            </a:extLst>
          </p:cNvPr>
          <p:cNvSpPr>
            <a:spLocks noGrp="1"/>
          </p:cNvSpPr>
          <p:nvPr>
            <p:ph type="title"/>
          </p:nvPr>
        </p:nvSpPr>
        <p:spPr/>
        <p:txBody>
          <a:bodyPr/>
          <a:lstStyle/>
          <a:p>
            <a:r>
              <a:rPr lang="de-DE" b="1">
                <a:latin typeface="Roboto" panose="02000000000000000000" pitchFamily="2" charset="0"/>
              </a:rPr>
              <a:t>Methodik der Kommunalen Wärmeplanung - Zielszenario</a:t>
            </a:r>
            <a:br>
              <a:rPr lang="de-DE" b="1">
                <a:latin typeface="Roboto" panose="02000000000000000000" pitchFamily="2" charset="0"/>
              </a:rPr>
            </a:br>
            <a:r>
              <a:rPr lang="de-DE"/>
              <a:t>Technische, ökonomische &amp; soziale Faktoren entscheiden über Wärmenetzeignung</a:t>
            </a:r>
          </a:p>
        </p:txBody>
      </p:sp>
      <p:sp>
        <p:nvSpPr>
          <p:cNvPr id="7" name="Footer Placeholder 6">
            <a:extLst>
              <a:ext uri="{FF2B5EF4-FFF2-40B4-BE49-F238E27FC236}">
                <a16:creationId xmlns:a16="http://schemas.microsoft.com/office/drawing/2014/main" id="{B5070F23-4864-343B-535A-D43E25DCB254}"/>
              </a:ext>
            </a:extLst>
          </p:cNvPr>
          <p:cNvSpPr>
            <a:spLocks noGrp="1"/>
          </p:cNvSpPr>
          <p:nvPr>
            <p:ph type="ftr" sz="quarter" idx="12"/>
          </p:nvPr>
        </p:nvSpPr>
        <p:spPr/>
        <p:txBody>
          <a:bodyPr/>
          <a:lstStyle/>
          <a:p>
            <a:r>
              <a:rPr lang="de-DE"/>
              <a:t>© 2026</a:t>
            </a:r>
          </a:p>
          <a:p>
            <a:r>
              <a:rPr lang="de-DE"/>
              <a:t>d-fine</a:t>
            </a:r>
          </a:p>
        </p:txBody>
      </p:sp>
      <p:sp>
        <p:nvSpPr>
          <p:cNvPr id="111" name="Rectangle: Rounded Corners 110">
            <a:extLst>
              <a:ext uri="{FF2B5EF4-FFF2-40B4-BE49-F238E27FC236}">
                <a16:creationId xmlns:a16="http://schemas.microsoft.com/office/drawing/2014/main" id="{996EDF24-41C8-E045-55E4-56F5355328F2}"/>
              </a:ext>
            </a:extLst>
          </p:cNvPr>
          <p:cNvSpPr/>
          <p:nvPr/>
        </p:nvSpPr>
        <p:spPr bwMode="gray">
          <a:xfrm rot="16200000">
            <a:off x="-635205" y="1863893"/>
            <a:ext cx="2109088" cy="384800"/>
          </a:xfrm>
          <a:prstGeom prst="roundRect">
            <a:avLst/>
          </a:prstGeom>
          <a:solidFill>
            <a:schemeClr val="accent6">
              <a:lumMod val="40000"/>
              <a:lumOff val="60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ctr">
            <a:noAutofit/>
          </a:bodyPr>
          <a:lstStyle/>
          <a:p>
            <a:pPr marL="0" marR="0" lvl="0" indent="0" algn="ctr" defTabSz="997456"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003C50"/>
                </a:solidFill>
                <a:effectLst/>
                <a:uLnTx/>
                <a:uFillTx/>
                <a:latin typeface="Roboto"/>
                <a:ea typeface="+mn-ea"/>
                <a:cs typeface="+mn-cs"/>
              </a:rPr>
              <a:t>Vereinfachte Betrachtung</a:t>
            </a:r>
          </a:p>
        </p:txBody>
      </p:sp>
      <p:sp>
        <p:nvSpPr>
          <p:cNvPr id="112" name="Arrow: Right 111">
            <a:extLst>
              <a:ext uri="{FF2B5EF4-FFF2-40B4-BE49-F238E27FC236}">
                <a16:creationId xmlns:a16="http://schemas.microsoft.com/office/drawing/2014/main" id="{44EC42F5-FE47-51F4-9860-2F9818504304}"/>
              </a:ext>
            </a:extLst>
          </p:cNvPr>
          <p:cNvSpPr/>
          <p:nvPr/>
        </p:nvSpPr>
        <p:spPr bwMode="gray">
          <a:xfrm>
            <a:off x="714654" y="2335539"/>
            <a:ext cx="8880228" cy="372267"/>
          </a:xfrm>
          <a:prstGeom prst="rightArrow">
            <a:avLst/>
          </a:prstGeom>
          <a:gradFill flip="none" rotWithShape="1">
            <a:gsLst>
              <a:gs pos="0">
                <a:srgbClr val="7BA4E9"/>
              </a:gs>
              <a:gs pos="50000">
                <a:srgbClr val="EDBE59"/>
              </a:gs>
              <a:gs pos="100000">
                <a:srgbClr val="60D689"/>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ctr">
            <a:noAutofit/>
          </a:bodyPr>
          <a:lstStyle/>
          <a:p>
            <a:pPr marL="311725" marR="0" lvl="0" indent="-311725" algn="ctr" defTabSz="99745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400" b="0" i="0" u="none" strike="noStrike" kern="1200" cap="none" spc="0" normalizeH="0" baseline="0" noProof="0">
              <a:ln>
                <a:noFill/>
              </a:ln>
              <a:solidFill>
                <a:srgbClr val="003C50"/>
              </a:solidFill>
              <a:effectLst/>
              <a:uLnTx/>
              <a:uFillTx/>
              <a:latin typeface="Roboto"/>
              <a:ea typeface="+mn-ea"/>
              <a:cs typeface="+mn-cs"/>
            </a:endParaRPr>
          </a:p>
        </p:txBody>
      </p:sp>
      <p:sp>
        <p:nvSpPr>
          <p:cNvPr id="113" name="TextBox 112">
            <a:extLst>
              <a:ext uri="{FF2B5EF4-FFF2-40B4-BE49-F238E27FC236}">
                <a16:creationId xmlns:a16="http://schemas.microsoft.com/office/drawing/2014/main" id="{A5065F85-EF95-DC09-E84F-028A2D17DBE2}"/>
              </a:ext>
            </a:extLst>
          </p:cNvPr>
          <p:cNvSpPr txBox="1"/>
          <p:nvPr/>
        </p:nvSpPr>
        <p:spPr>
          <a:xfrm>
            <a:off x="752549" y="2689550"/>
            <a:ext cx="4231418" cy="423130"/>
          </a:xfrm>
          <a:prstGeom prst="rect">
            <a:avLst/>
          </a:prstGeom>
          <a:noFill/>
        </p:spPr>
        <p:txBody>
          <a:bodyPr wrap="square" lIns="0" tIns="0" rIns="0" bIns="0" rtlCol="0" anchor="t">
            <a:noAutofit/>
          </a:bodyPr>
          <a:lstStyle/>
          <a:p>
            <a:pPr marL="0" marR="0" lvl="0" indent="0" algn="l" defTabSz="997456"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003C50"/>
                </a:solidFill>
                <a:effectLst/>
                <a:uLnTx/>
                <a:uFillTx/>
                <a:latin typeface="Roboto"/>
                <a:ea typeface="+mn-ea"/>
                <a:cs typeface="+mn-cs"/>
              </a:rPr>
              <a:t>Geringe Wärmenetzeignung</a:t>
            </a:r>
          </a:p>
          <a:p>
            <a:pPr marL="0" marR="0" lvl="0" indent="0" algn="l" defTabSz="997456"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003C50"/>
                </a:solidFill>
                <a:effectLst/>
                <a:uLnTx/>
                <a:uFillTx/>
                <a:latin typeface="Roboto"/>
                <a:ea typeface="+mn-ea"/>
                <a:cs typeface="+mn-cs"/>
                <a:sym typeface="Wingdings" panose="05000000000000000000" pitchFamily="2" charset="2"/>
              </a:rPr>
              <a:t>Hohe Kosten von Wärmenetzinfrastruktur</a:t>
            </a:r>
            <a:endParaRPr kumimoji="0" lang="de-DE" sz="1400" b="0" i="0" u="none" strike="noStrike" kern="1200" cap="none" spc="0" normalizeH="0" baseline="0" noProof="0">
              <a:ln>
                <a:noFill/>
              </a:ln>
              <a:solidFill>
                <a:srgbClr val="003C50"/>
              </a:solidFill>
              <a:effectLst/>
              <a:uLnTx/>
              <a:uFillTx/>
              <a:latin typeface="Roboto"/>
              <a:ea typeface="+mn-ea"/>
              <a:cs typeface="+mn-cs"/>
            </a:endParaRPr>
          </a:p>
        </p:txBody>
      </p:sp>
      <p:sp>
        <p:nvSpPr>
          <p:cNvPr id="114" name="TextBox 113">
            <a:extLst>
              <a:ext uri="{FF2B5EF4-FFF2-40B4-BE49-F238E27FC236}">
                <a16:creationId xmlns:a16="http://schemas.microsoft.com/office/drawing/2014/main" id="{79E7AF28-15B2-2DAE-DA82-EE44FCB0F49B}"/>
              </a:ext>
            </a:extLst>
          </p:cNvPr>
          <p:cNvSpPr txBox="1"/>
          <p:nvPr/>
        </p:nvSpPr>
        <p:spPr>
          <a:xfrm>
            <a:off x="5256116" y="2687705"/>
            <a:ext cx="4231417" cy="423130"/>
          </a:xfrm>
          <a:prstGeom prst="rect">
            <a:avLst/>
          </a:prstGeom>
          <a:noFill/>
        </p:spPr>
        <p:txBody>
          <a:bodyPr wrap="square" lIns="0" tIns="0" rIns="0" bIns="0" rtlCol="0" anchor="t">
            <a:noAutofit/>
          </a:bodyPr>
          <a:lstStyle/>
          <a:p>
            <a:pPr marL="0" marR="0" lvl="0" indent="0" algn="r" defTabSz="997456"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003C50"/>
                </a:solidFill>
                <a:effectLst/>
                <a:uLnTx/>
                <a:uFillTx/>
                <a:latin typeface="Roboto"/>
                <a:ea typeface="+mn-ea"/>
                <a:cs typeface="+mn-cs"/>
              </a:rPr>
              <a:t>Hohe Wärmenetzeignung</a:t>
            </a:r>
          </a:p>
          <a:p>
            <a:pPr marL="0" marR="0" lvl="0" indent="0" algn="r" defTabSz="997456"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003C50"/>
                </a:solidFill>
                <a:effectLst/>
                <a:uLnTx/>
                <a:uFillTx/>
                <a:latin typeface="Roboto"/>
                <a:ea typeface="+mn-ea"/>
                <a:cs typeface="+mn-cs"/>
                <a:sym typeface="Wingdings" panose="05000000000000000000" pitchFamily="2" charset="2"/>
              </a:rPr>
              <a:t>Geringere Kosten von Wärmenetzinfrastruktur</a:t>
            </a:r>
            <a:endParaRPr kumimoji="0" lang="de-DE" sz="1400" b="0" i="0" u="none" strike="noStrike" kern="1200" cap="none" spc="0" normalizeH="0" baseline="0" noProof="0">
              <a:ln>
                <a:noFill/>
              </a:ln>
              <a:solidFill>
                <a:srgbClr val="003C50"/>
              </a:solidFill>
              <a:effectLst/>
              <a:uLnTx/>
              <a:uFillTx/>
              <a:latin typeface="Roboto"/>
              <a:ea typeface="+mn-ea"/>
              <a:cs typeface="+mn-cs"/>
            </a:endParaRPr>
          </a:p>
        </p:txBody>
      </p:sp>
      <p:grpSp>
        <p:nvGrpSpPr>
          <p:cNvPr id="115" name="Group 114">
            <a:extLst>
              <a:ext uri="{FF2B5EF4-FFF2-40B4-BE49-F238E27FC236}">
                <a16:creationId xmlns:a16="http://schemas.microsoft.com/office/drawing/2014/main" id="{5318D25E-D0ED-7B03-7883-B29520D33DDB}"/>
              </a:ext>
            </a:extLst>
          </p:cNvPr>
          <p:cNvGrpSpPr/>
          <p:nvPr/>
        </p:nvGrpSpPr>
        <p:grpSpPr>
          <a:xfrm>
            <a:off x="943220" y="1219252"/>
            <a:ext cx="2194441" cy="1254809"/>
            <a:chOff x="1052898" y="1766535"/>
            <a:chExt cx="2011571" cy="1150242"/>
          </a:xfrm>
        </p:grpSpPr>
        <p:grpSp>
          <p:nvGrpSpPr>
            <p:cNvPr id="133" name="Group 132">
              <a:extLst>
                <a:ext uri="{FF2B5EF4-FFF2-40B4-BE49-F238E27FC236}">
                  <a16:creationId xmlns:a16="http://schemas.microsoft.com/office/drawing/2014/main" id="{6DFF0A94-E6C8-C33A-5849-699D48886390}"/>
                </a:ext>
              </a:extLst>
            </p:cNvPr>
            <p:cNvGrpSpPr>
              <a:grpSpLocks noChangeAspect="1"/>
            </p:cNvGrpSpPr>
            <p:nvPr>
              <p:custDataLst>
                <p:tags r:id="rId6"/>
              </p:custDataLst>
            </p:nvPr>
          </p:nvGrpSpPr>
          <p:grpSpPr>
            <a:xfrm>
              <a:off x="1052898" y="1766535"/>
              <a:ext cx="608546" cy="608546"/>
              <a:chOff x="1270000" y="1270000"/>
              <a:chExt cx="889000" cy="889000"/>
            </a:xfrm>
          </p:grpSpPr>
          <p:sp>
            <p:nvSpPr>
              <p:cNvPr id="139" name="Rectangle 138" hidden="1">
                <a:extLst>
                  <a:ext uri="{FF2B5EF4-FFF2-40B4-BE49-F238E27FC236}">
                    <a16:creationId xmlns:a16="http://schemas.microsoft.com/office/drawing/2014/main" id="{E5352066-46AF-4E04-EB10-D39C8A134959}"/>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ctr">
                <a:noAutofit/>
              </a:bodyPr>
              <a:lstStyle/>
              <a:p>
                <a:pPr marL="0" marR="0" lvl="0" indent="0" algn="ctr" defTabSz="997456"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err="1">
                  <a:ln>
                    <a:noFill/>
                  </a:ln>
                  <a:solidFill>
                    <a:srgbClr val="003C50"/>
                  </a:solidFill>
                  <a:effectLst/>
                  <a:uLnTx/>
                  <a:uFillTx/>
                  <a:latin typeface="Roboto"/>
                  <a:ea typeface="+mn-ea"/>
                  <a:cs typeface="+mn-cs"/>
                </a:endParaRPr>
              </a:p>
            </p:txBody>
          </p:sp>
          <p:pic>
            <p:nvPicPr>
              <p:cNvPr id="140" name="Graphic 139">
                <a:extLst>
                  <a:ext uri="{FF2B5EF4-FFF2-40B4-BE49-F238E27FC236}">
                    <a16:creationId xmlns:a16="http://schemas.microsoft.com/office/drawing/2014/main" id="{20A56C7D-CB93-FF0D-18ED-3EA9EFB2185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70000" y="1270000"/>
                <a:ext cx="889000" cy="889000"/>
              </a:xfrm>
              <a:prstGeom prst="rect">
                <a:avLst/>
              </a:prstGeom>
            </p:spPr>
          </p:pic>
        </p:grpSp>
        <p:cxnSp>
          <p:nvCxnSpPr>
            <p:cNvPr id="134" name="Straight Arrow Connector 133">
              <a:extLst>
                <a:ext uri="{FF2B5EF4-FFF2-40B4-BE49-F238E27FC236}">
                  <a16:creationId xmlns:a16="http://schemas.microsoft.com/office/drawing/2014/main" id="{56FE0174-7242-9890-49C8-F77CAFFA2A2A}"/>
                </a:ext>
              </a:extLst>
            </p:cNvPr>
            <p:cNvCxnSpPr/>
            <p:nvPr/>
          </p:nvCxnSpPr>
          <p:spPr>
            <a:xfrm>
              <a:off x="1394493" y="2490163"/>
              <a:ext cx="1416570" cy="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F6629BAF-1DCE-2D4B-CD9C-30271DFA2642}"/>
                </a:ext>
              </a:extLst>
            </p:cNvPr>
            <p:cNvGrpSpPr>
              <a:grpSpLocks noChangeAspect="1"/>
            </p:cNvGrpSpPr>
            <p:nvPr>
              <p:custDataLst>
                <p:tags r:id="rId7"/>
              </p:custDataLst>
            </p:nvPr>
          </p:nvGrpSpPr>
          <p:grpSpPr>
            <a:xfrm>
              <a:off x="2455923" y="1808689"/>
              <a:ext cx="608546" cy="608546"/>
              <a:chOff x="1270000" y="1270000"/>
              <a:chExt cx="889000" cy="889000"/>
            </a:xfrm>
          </p:grpSpPr>
          <p:sp>
            <p:nvSpPr>
              <p:cNvPr id="137" name="Rectangle 136" hidden="1">
                <a:extLst>
                  <a:ext uri="{FF2B5EF4-FFF2-40B4-BE49-F238E27FC236}">
                    <a16:creationId xmlns:a16="http://schemas.microsoft.com/office/drawing/2014/main" id="{E285F01B-8409-A697-F75C-FBF36BBC834F}"/>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ctr">
                <a:noAutofit/>
              </a:bodyPr>
              <a:lstStyle/>
              <a:p>
                <a:pPr marL="0" marR="0" lvl="0" indent="0" algn="ctr" defTabSz="997456"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err="1">
                  <a:ln>
                    <a:noFill/>
                  </a:ln>
                  <a:solidFill>
                    <a:srgbClr val="003C50"/>
                  </a:solidFill>
                  <a:effectLst/>
                  <a:uLnTx/>
                  <a:uFillTx/>
                  <a:latin typeface="Roboto"/>
                  <a:ea typeface="+mn-ea"/>
                  <a:cs typeface="+mn-cs"/>
                </a:endParaRPr>
              </a:p>
            </p:txBody>
          </p:sp>
          <p:pic>
            <p:nvPicPr>
              <p:cNvPr id="138" name="Graphic 137">
                <a:extLst>
                  <a:ext uri="{FF2B5EF4-FFF2-40B4-BE49-F238E27FC236}">
                    <a16:creationId xmlns:a16="http://schemas.microsoft.com/office/drawing/2014/main" id="{ABCE8152-CECA-8E72-F754-940ADFB089D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70000" y="1270000"/>
                <a:ext cx="889000" cy="889000"/>
              </a:xfrm>
              <a:prstGeom prst="rect">
                <a:avLst/>
              </a:prstGeom>
            </p:spPr>
          </p:pic>
        </p:grpSp>
        <p:sp>
          <p:nvSpPr>
            <p:cNvPr id="136" name="TextBox 135">
              <a:extLst>
                <a:ext uri="{FF2B5EF4-FFF2-40B4-BE49-F238E27FC236}">
                  <a16:creationId xmlns:a16="http://schemas.microsoft.com/office/drawing/2014/main" id="{96F5369B-A2D3-98ED-BCE5-B3CF451BF100}"/>
                </a:ext>
              </a:extLst>
            </p:cNvPr>
            <p:cNvSpPr txBox="1"/>
            <p:nvPr/>
          </p:nvSpPr>
          <p:spPr>
            <a:xfrm>
              <a:off x="1860725" y="2528908"/>
              <a:ext cx="906905" cy="387869"/>
            </a:xfrm>
            <a:prstGeom prst="rect">
              <a:avLst/>
            </a:prstGeom>
            <a:noFill/>
          </p:spPr>
          <p:txBody>
            <a:bodyPr wrap="square" lIns="0" tIns="0" rIns="0" bIns="0" rtlCol="0" anchor="t">
              <a:noAutofit/>
            </a:bodyPr>
            <a:lstStyle/>
            <a:p>
              <a:pPr marL="0" marR="0" lvl="0" indent="0" algn="l" defTabSz="997456"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003C50"/>
                  </a:solidFill>
                  <a:effectLst/>
                  <a:uLnTx/>
                  <a:uFillTx/>
                  <a:latin typeface="Roboto"/>
                  <a:ea typeface="+mn-ea"/>
                  <a:cs typeface="+mn-cs"/>
                </a:rPr>
                <a:t>100m</a:t>
              </a:r>
            </a:p>
          </p:txBody>
        </p:sp>
      </p:grpSp>
      <p:cxnSp>
        <p:nvCxnSpPr>
          <p:cNvPr id="116" name="Straight Arrow Connector 115">
            <a:extLst>
              <a:ext uri="{FF2B5EF4-FFF2-40B4-BE49-F238E27FC236}">
                <a16:creationId xmlns:a16="http://schemas.microsoft.com/office/drawing/2014/main" id="{8826420D-7E1D-7050-3FFB-2B8FED13F814}"/>
              </a:ext>
            </a:extLst>
          </p:cNvPr>
          <p:cNvCxnSpPr/>
          <p:nvPr/>
        </p:nvCxnSpPr>
        <p:spPr>
          <a:xfrm>
            <a:off x="4436268" y="2026570"/>
            <a:ext cx="1545349" cy="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17" name="Graphic 116">
            <a:extLst>
              <a:ext uri="{FF2B5EF4-FFF2-40B4-BE49-F238E27FC236}">
                <a16:creationId xmlns:a16="http://schemas.microsoft.com/office/drawing/2014/main" id="{F1B89BB6-0431-A15E-1148-E0320E0370A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328265" y="994753"/>
            <a:ext cx="969818" cy="969818"/>
          </a:xfrm>
          <a:prstGeom prst="rect">
            <a:avLst/>
          </a:prstGeom>
        </p:spPr>
      </p:pic>
      <p:grpSp>
        <p:nvGrpSpPr>
          <p:cNvPr id="118" name="Group 117">
            <a:extLst>
              <a:ext uri="{FF2B5EF4-FFF2-40B4-BE49-F238E27FC236}">
                <a16:creationId xmlns:a16="http://schemas.microsoft.com/office/drawing/2014/main" id="{AFFCBC22-C2D0-B311-40D6-5321AAA74206}"/>
              </a:ext>
            </a:extLst>
          </p:cNvPr>
          <p:cNvGrpSpPr>
            <a:grpSpLocks noChangeAspect="1"/>
          </p:cNvGrpSpPr>
          <p:nvPr>
            <p:custDataLst>
              <p:tags r:id="rId1"/>
            </p:custDataLst>
          </p:nvPr>
        </p:nvGrpSpPr>
        <p:grpSpPr>
          <a:xfrm>
            <a:off x="4377817" y="978387"/>
            <a:ext cx="1256288" cy="969818"/>
            <a:chOff x="1007403" y="1270000"/>
            <a:chExt cx="1151597" cy="889000"/>
          </a:xfrm>
        </p:grpSpPr>
        <p:sp>
          <p:nvSpPr>
            <p:cNvPr id="131" name="Rectangle 130" hidden="1">
              <a:extLst>
                <a:ext uri="{FF2B5EF4-FFF2-40B4-BE49-F238E27FC236}">
                  <a16:creationId xmlns:a16="http://schemas.microsoft.com/office/drawing/2014/main" id="{2EF94A6C-2FDC-AEC2-AC27-334DE0134859}"/>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ctr">
              <a:noAutofit/>
            </a:bodyPr>
            <a:lstStyle/>
            <a:p>
              <a:pPr marL="0" marR="0" lvl="0" indent="0" algn="ctr" defTabSz="997456"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err="1">
                <a:ln>
                  <a:noFill/>
                </a:ln>
                <a:solidFill>
                  <a:srgbClr val="003C50"/>
                </a:solidFill>
                <a:effectLst/>
                <a:uLnTx/>
                <a:uFillTx/>
                <a:latin typeface="Roboto"/>
                <a:ea typeface="+mn-ea"/>
                <a:cs typeface="+mn-cs"/>
              </a:endParaRPr>
            </a:p>
          </p:txBody>
        </p:sp>
        <p:pic>
          <p:nvPicPr>
            <p:cNvPr id="132" name="Graphic 131">
              <a:extLst>
                <a:ext uri="{FF2B5EF4-FFF2-40B4-BE49-F238E27FC236}">
                  <a16:creationId xmlns:a16="http://schemas.microsoft.com/office/drawing/2014/main" id="{FF3A2451-ACC2-4846-9447-2CE4045F3B9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07403" y="1270000"/>
              <a:ext cx="889000" cy="889000"/>
            </a:xfrm>
            <a:prstGeom prst="rect">
              <a:avLst/>
            </a:prstGeom>
          </p:spPr>
        </p:pic>
      </p:grpSp>
      <p:sp>
        <p:nvSpPr>
          <p:cNvPr id="119" name="TextBox 118">
            <a:extLst>
              <a:ext uri="{FF2B5EF4-FFF2-40B4-BE49-F238E27FC236}">
                <a16:creationId xmlns:a16="http://schemas.microsoft.com/office/drawing/2014/main" id="{8C77429C-86F1-4CA7-0A26-4BAF88FDB1BC}"/>
              </a:ext>
            </a:extLst>
          </p:cNvPr>
          <p:cNvSpPr txBox="1"/>
          <p:nvPr/>
        </p:nvSpPr>
        <p:spPr>
          <a:xfrm>
            <a:off x="5011637" y="2089400"/>
            <a:ext cx="989351" cy="423130"/>
          </a:xfrm>
          <a:prstGeom prst="rect">
            <a:avLst/>
          </a:prstGeom>
          <a:noFill/>
        </p:spPr>
        <p:txBody>
          <a:bodyPr wrap="square" lIns="0" tIns="0" rIns="0" bIns="0" rtlCol="0" anchor="t">
            <a:noAutofit/>
          </a:bodyPr>
          <a:lstStyle/>
          <a:p>
            <a:pPr marL="0" marR="0" lvl="0" indent="0" algn="l" defTabSz="997456"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003C50"/>
                </a:solidFill>
                <a:effectLst/>
                <a:uLnTx/>
                <a:uFillTx/>
                <a:latin typeface="Roboto"/>
                <a:ea typeface="+mn-ea"/>
                <a:cs typeface="+mn-cs"/>
              </a:rPr>
              <a:t>100m</a:t>
            </a:r>
          </a:p>
        </p:txBody>
      </p:sp>
      <p:grpSp>
        <p:nvGrpSpPr>
          <p:cNvPr id="120" name="Group 119">
            <a:extLst>
              <a:ext uri="{FF2B5EF4-FFF2-40B4-BE49-F238E27FC236}">
                <a16:creationId xmlns:a16="http://schemas.microsoft.com/office/drawing/2014/main" id="{DC87F0F8-97E4-3B7A-46B1-3E01A7460E16}"/>
              </a:ext>
            </a:extLst>
          </p:cNvPr>
          <p:cNvGrpSpPr/>
          <p:nvPr/>
        </p:nvGrpSpPr>
        <p:grpSpPr>
          <a:xfrm>
            <a:off x="7568705" y="1001746"/>
            <a:ext cx="2334834" cy="1504690"/>
            <a:chOff x="7097151" y="1441701"/>
            <a:chExt cx="2140264" cy="1379300"/>
          </a:xfrm>
        </p:grpSpPr>
        <p:sp>
          <p:nvSpPr>
            <p:cNvPr id="121" name="Rectangle 120">
              <a:extLst>
                <a:ext uri="{FF2B5EF4-FFF2-40B4-BE49-F238E27FC236}">
                  <a16:creationId xmlns:a16="http://schemas.microsoft.com/office/drawing/2014/main" id="{C79A4892-1C1A-7810-FFE5-6D75D6208A86}"/>
                </a:ext>
              </a:extLst>
            </p:cNvPr>
            <p:cNvSpPr/>
            <p:nvPr/>
          </p:nvSpPr>
          <p:spPr bwMode="gray">
            <a:xfrm>
              <a:off x="8856076" y="1576194"/>
              <a:ext cx="72000" cy="360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ctr">
              <a:noAutofit/>
            </a:bodyPr>
            <a:lstStyle/>
            <a:p>
              <a:pPr marL="0" marR="0" lvl="0" indent="0" algn="ctr" defTabSz="997456"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err="1">
                <a:ln>
                  <a:noFill/>
                </a:ln>
                <a:solidFill>
                  <a:srgbClr val="003C50"/>
                </a:solidFill>
                <a:effectLst/>
                <a:uLnTx/>
                <a:uFillTx/>
                <a:latin typeface="Roboto"/>
                <a:ea typeface="+mn-ea"/>
                <a:cs typeface="+mn-cs"/>
              </a:endParaRPr>
            </a:p>
          </p:txBody>
        </p:sp>
        <p:grpSp>
          <p:nvGrpSpPr>
            <p:cNvPr id="123" name="Group 122">
              <a:extLst>
                <a:ext uri="{FF2B5EF4-FFF2-40B4-BE49-F238E27FC236}">
                  <a16:creationId xmlns:a16="http://schemas.microsoft.com/office/drawing/2014/main" id="{F2CC3F68-07CE-8B25-1CF0-4915470CC5B5}"/>
                </a:ext>
              </a:extLst>
            </p:cNvPr>
            <p:cNvGrpSpPr>
              <a:grpSpLocks noChangeAspect="1"/>
            </p:cNvGrpSpPr>
            <p:nvPr>
              <p:custDataLst>
                <p:tags r:id="rId4"/>
              </p:custDataLst>
            </p:nvPr>
          </p:nvGrpSpPr>
          <p:grpSpPr>
            <a:xfrm>
              <a:off x="8011235" y="1441701"/>
              <a:ext cx="1226180" cy="921700"/>
              <a:chOff x="932820" y="1237300"/>
              <a:chExt cx="1226180" cy="921700"/>
            </a:xfrm>
          </p:grpSpPr>
          <p:sp>
            <p:nvSpPr>
              <p:cNvPr id="129" name="Rectangle 128" hidden="1">
                <a:extLst>
                  <a:ext uri="{FF2B5EF4-FFF2-40B4-BE49-F238E27FC236}">
                    <a16:creationId xmlns:a16="http://schemas.microsoft.com/office/drawing/2014/main" id="{B0CFE51F-49C5-056F-7E63-2B895F97686A}"/>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ctr">
                <a:noAutofit/>
              </a:bodyPr>
              <a:lstStyle/>
              <a:p>
                <a:pPr marL="0" marR="0" lvl="0" indent="0" algn="ctr" defTabSz="997456"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err="1">
                  <a:ln>
                    <a:noFill/>
                  </a:ln>
                  <a:solidFill>
                    <a:srgbClr val="003C50"/>
                  </a:solidFill>
                  <a:effectLst/>
                  <a:uLnTx/>
                  <a:uFillTx/>
                  <a:latin typeface="Roboto"/>
                  <a:ea typeface="+mn-ea"/>
                  <a:cs typeface="+mn-cs"/>
                </a:endParaRPr>
              </a:p>
            </p:txBody>
          </p:sp>
          <p:pic>
            <p:nvPicPr>
              <p:cNvPr id="130" name="Graphic 129">
                <a:extLst>
                  <a:ext uri="{FF2B5EF4-FFF2-40B4-BE49-F238E27FC236}">
                    <a16:creationId xmlns:a16="http://schemas.microsoft.com/office/drawing/2014/main" id="{75CFF838-628C-9604-07B3-83A69498C57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2820" y="1237300"/>
                <a:ext cx="797574" cy="797574"/>
              </a:xfrm>
              <a:prstGeom prst="rect">
                <a:avLst/>
              </a:prstGeom>
            </p:spPr>
          </p:pic>
        </p:grpSp>
        <p:grpSp>
          <p:nvGrpSpPr>
            <p:cNvPr id="124" name="Group 123">
              <a:extLst>
                <a:ext uri="{FF2B5EF4-FFF2-40B4-BE49-F238E27FC236}">
                  <a16:creationId xmlns:a16="http://schemas.microsoft.com/office/drawing/2014/main" id="{C2161786-7C58-F899-2746-BD9CD1E68DF0}"/>
                </a:ext>
              </a:extLst>
            </p:cNvPr>
            <p:cNvGrpSpPr>
              <a:grpSpLocks noChangeAspect="1"/>
            </p:cNvGrpSpPr>
            <p:nvPr>
              <p:custDataLst>
                <p:tags r:id="rId5"/>
              </p:custDataLst>
            </p:nvPr>
          </p:nvGrpSpPr>
          <p:grpSpPr>
            <a:xfrm>
              <a:off x="7097151" y="1453128"/>
              <a:ext cx="1226180" cy="921699"/>
              <a:chOff x="932820" y="1237301"/>
              <a:chExt cx="1226180" cy="921699"/>
            </a:xfrm>
          </p:grpSpPr>
          <p:sp>
            <p:nvSpPr>
              <p:cNvPr id="127" name="Rectangle 126" hidden="1">
                <a:extLst>
                  <a:ext uri="{FF2B5EF4-FFF2-40B4-BE49-F238E27FC236}">
                    <a16:creationId xmlns:a16="http://schemas.microsoft.com/office/drawing/2014/main" id="{516EECD5-D103-B96D-4003-88BD895E4213}"/>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ctr">
                <a:noAutofit/>
              </a:bodyPr>
              <a:lstStyle/>
              <a:p>
                <a:pPr marL="0" marR="0" lvl="0" indent="0" algn="ctr" defTabSz="997456"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err="1">
                  <a:ln>
                    <a:noFill/>
                  </a:ln>
                  <a:solidFill>
                    <a:srgbClr val="003C50"/>
                  </a:solidFill>
                  <a:effectLst/>
                  <a:uLnTx/>
                  <a:uFillTx/>
                  <a:latin typeface="Roboto"/>
                  <a:ea typeface="+mn-ea"/>
                  <a:cs typeface="+mn-cs"/>
                </a:endParaRPr>
              </a:p>
            </p:txBody>
          </p:sp>
          <p:pic>
            <p:nvPicPr>
              <p:cNvPr id="128" name="Graphic 127">
                <a:extLst>
                  <a:ext uri="{FF2B5EF4-FFF2-40B4-BE49-F238E27FC236}">
                    <a16:creationId xmlns:a16="http://schemas.microsoft.com/office/drawing/2014/main" id="{9DFBA583-4CBB-138C-442D-FD810C6EC55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2820" y="1237301"/>
                <a:ext cx="797574" cy="797574"/>
              </a:xfrm>
              <a:prstGeom prst="rect">
                <a:avLst/>
              </a:prstGeom>
            </p:spPr>
          </p:pic>
        </p:grpSp>
        <p:cxnSp>
          <p:nvCxnSpPr>
            <p:cNvPr id="125" name="Straight Arrow Connector 124">
              <a:extLst>
                <a:ext uri="{FF2B5EF4-FFF2-40B4-BE49-F238E27FC236}">
                  <a16:creationId xmlns:a16="http://schemas.microsoft.com/office/drawing/2014/main" id="{0823DD08-06E7-8DBA-D8DC-914E128E915D}"/>
                </a:ext>
              </a:extLst>
            </p:cNvPr>
            <p:cNvCxnSpPr/>
            <p:nvPr/>
          </p:nvCxnSpPr>
          <p:spPr>
            <a:xfrm>
              <a:off x="7340650" y="2364708"/>
              <a:ext cx="1416570" cy="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D3A6065F-B7FE-FDC2-B376-4E5C68ADE441}"/>
                </a:ext>
              </a:extLst>
            </p:cNvPr>
            <p:cNvSpPr txBox="1"/>
            <p:nvPr/>
          </p:nvSpPr>
          <p:spPr>
            <a:xfrm>
              <a:off x="7850315" y="2433132"/>
              <a:ext cx="906905" cy="387869"/>
            </a:xfrm>
            <a:prstGeom prst="rect">
              <a:avLst/>
            </a:prstGeom>
            <a:noFill/>
          </p:spPr>
          <p:txBody>
            <a:bodyPr wrap="square" lIns="0" tIns="0" rIns="0" bIns="0" rtlCol="0" anchor="t">
              <a:noAutofit/>
            </a:bodyPr>
            <a:lstStyle/>
            <a:p>
              <a:pPr marL="0" marR="0" lvl="0" indent="0" algn="l" defTabSz="997456"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003C50"/>
                  </a:solidFill>
                  <a:effectLst/>
                  <a:uLnTx/>
                  <a:uFillTx/>
                  <a:latin typeface="Roboto"/>
                  <a:ea typeface="+mn-ea"/>
                  <a:cs typeface="+mn-cs"/>
                </a:rPr>
                <a:t>100m</a:t>
              </a:r>
            </a:p>
          </p:txBody>
        </p:sp>
      </p:grpSp>
      <p:sp>
        <p:nvSpPr>
          <p:cNvPr id="141" name="Rectangle: Rounded Corners 140">
            <a:extLst>
              <a:ext uri="{FF2B5EF4-FFF2-40B4-BE49-F238E27FC236}">
                <a16:creationId xmlns:a16="http://schemas.microsoft.com/office/drawing/2014/main" id="{08CA6F9B-5B61-45B3-AEBF-ED7E88836B5A}"/>
              </a:ext>
            </a:extLst>
          </p:cNvPr>
          <p:cNvSpPr/>
          <p:nvPr/>
        </p:nvSpPr>
        <p:spPr bwMode="gray">
          <a:xfrm>
            <a:off x="714652" y="3750013"/>
            <a:ext cx="4892427" cy="320316"/>
          </a:xfrm>
          <a:prstGeom prst="round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ctr">
            <a:noAutofit/>
          </a:bodyPr>
          <a:lstStyle/>
          <a:p>
            <a:pPr lvl="0" algn="ctr" defTabSz="997456">
              <a:defRPr/>
            </a:pPr>
            <a:r>
              <a:rPr lang="de-DE" sz="1400">
                <a:solidFill>
                  <a:srgbClr val="003C50"/>
                </a:solidFill>
              </a:rPr>
              <a:t>Gibt es </a:t>
            </a:r>
            <a:r>
              <a:rPr lang="de-DE" sz="1400" b="1">
                <a:solidFill>
                  <a:srgbClr val="003C50"/>
                </a:solidFill>
              </a:rPr>
              <a:t>Wärmequellen</a:t>
            </a:r>
            <a:r>
              <a:rPr lang="de-DE" sz="1400">
                <a:solidFill>
                  <a:srgbClr val="003C50"/>
                </a:solidFill>
              </a:rPr>
              <a:t> in der direkten Umgebung?</a:t>
            </a:r>
          </a:p>
        </p:txBody>
      </p:sp>
      <p:sp>
        <p:nvSpPr>
          <p:cNvPr id="142" name="Rectangle: Rounded Corners 141">
            <a:extLst>
              <a:ext uri="{FF2B5EF4-FFF2-40B4-BE49-F238E27FC236}">
                <a16:creationId xmlns:a16="http://schemas.microsoft.com/office/drawing/2014/main" id="{007CDB0F-C8DD-716D-D048-C1E6D9093E8E}"/>
              </a:ext>
            </a:extLst>
          </p:cNvPr>
          <p:cNvSpPr/>
          <p:nvPr/>
        </p:nvSpPr>
        <p:spPr bwMode="gray">
          <a:xfrm>
            <a:off x="706568" y="4125234"/>
            <a:ext cx="4892427" cy="320316"/>
          </a:xfrm>
          <a:prstGeom prst="round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ctr">
            <a:noAutofit/>
          </a:bodyPr>
          <a:lstStyle/>
          <a:p>
            <a:pPr lvl="0" algn="ctr" defTabSz="997456">
              <a:defRPr/>
            </a:pPr>
            <a:r>
              <a:rPr lang="de-DE" sz="1400">
                <a:solidFill>
                  <a:srgbClr val="003C50"/>
                </a:solidFill>
              </a:rPr>
              <a:t>Wie groß ist die </a:t>
            </a:r>
            <a:r>
              <a:rPr lang="de-DE" sz="1400" b="1">
                <a:solidFill>
                  <a:srgbClr val="003C50"/>
                </a:solidFill>
              </a:rPr>
              <a:t>Wärmenachfrage</a:t>
            </a:r>
            <a:r>
              <a:rPr lang="de-DE" sz="1400">
                <a:solidFill>
                  <a:srgbClr val="003C50"/>
                </a:solidFill>
              </a:rPr>
              <a:t> im Gebiet?</a:t>
            </a:r>
          </a:p>
        </p:txBody>
      </p:sp>
      <p:sp>
        <p:nvSpPr>
          <p:cNvPr id="143" name="Rectangle: Rounded Corners 142">
            <a:extLst>
              <a:ext uri="{FF2B5EF4-FFF2-40B4-BE49-F238E27FC236}">
                <a16:creationId xmlns:a16="http://schemas.microsoft.com/office/drawing/2014/main" id="{80B2AF07-9643-3595-CE51-2AF1CC2759F0}"/>
              </a:ext>
            </a:extLst>
          </p:cNvPr>
          <p:cNvSpPr/>
          <p:nvPr/>
        </p:nvSpPr>
        <p:spPr bwMode="gray">
          <a:xfrm>
            <a:off x="706569" y="4500454"/>
            <a:ext cx="4892428" cy="320316"/>
          </a:xfrm>
          <a:prstGeom prst="round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ctr">
            <a:noAutofit/>
          </a:bodyPr>
          <a:lstStyle/>
          <a:p>
            <a:pPr lvl="0" algn="ctr" defTabSz="997456">
              <a:defRPr/>
            </a:pPr>
            <a:r>
              <a:rPr lang="de-DE" sz="1400">
                <a:solidFill>
                  <a:srgbClr val="003C50"/>
                </a:solidFill>
              </a:rPr>
              <a:t>Gibt es </a:t>
            </a:r>
            <a:r>
              <a:rPr lang="de-DE" sz="1400" b="1">
                <a:solidFill>
                  <a:srgbClr val="003C50"/>
                </a:solidFill>
              </a:rPr>
              <a:t>Großkunden</a:t>
            </a:r>
            <a:r>
              <a:rPr lang="de-DE" sz="1400">
                <a:solidFill>
                  <a:srgbClr val="003C50"/>
                </a:solidFill>
              </a:rPr>
              <a:t> mit hoher Wärmeabnahme?</a:t>
            </a:r>
          </a:p>
        </p:txBody>
      </p:sp>
      <p:sp>
        <p:nvSpPr>
          <p:cNvPr id="144" name="Rectangle: Rounded Corners 143">
            <a:extLst>
              <a:ext uri="{FF2B5EF4-FFF2-40B4-BE49-F238E27FC236}">
                <a16:creationId xmlns:a16="http://schemas.microsoft.com/office/drawing/2014/main" id="{CEFB9913-A4FC-BD89-3DD6-1275009229A2}"/>
              </a:ext>
            </a:extLst>
          </p:cNvPr>
          <p:cNvSpPr/>
          <p:nvPr/>
        </p:nvSpPr>
        <p:spPr bwMode="gray">
          <a:xfrm>
            <a:off x="706568" y="4888312"/>
            <a:ext cx="4892427" cy="320316"/>
          </a:xfrm>
          <a:prstGeom prst="round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ctr">
            <a:noAutofit/>
          </a:bodyPr>
          <a:lstStyle/>
          <a:p>
            <a:pPr lvl="0" algn="ctr" defTabSz="997456">
              <a:defRPr/>
            </a:pPr>
            <a:r>
              <a:rPr lang="de-DE" sz="1400">
                <a:solidFill>
                  <a:srgbClr val="003C50"/>
                </a:solidFill>
              </a:rPr>
              <a:t>Wie setzt sich die </a:t>
            </a:r>
            <a:r>
              <a:rPr lang="de-DE" sz="1400" b="1">
                <a:solidFill>
                  <a:srgbClr val="003C50"/>
                </a:solidFill>
              </a:rPr>
              <a:t>sektorale Struktur </a:t>
            </a:r>
            <a:r>
              <a:rPr lang="de-DE" sz="1400">
                <a:solidFill>
                  <a:srgbClr val="003C50"/>
                </a:solidFill>
              </a:rPr>
              <a:t>zusammen?</a:t>
            </a:r>
          </a:p>
        </p:txBody>
      </p:sp>
      <p:sp>
        <p:nvSpPr>
          <p:cNvPr id="145" name="Rectangle: Rounded Corners 144">
            <a:extLst>
              <a:ext uri="{FF2B5EF4-FFF2-40B4-BE49-F238E27FC236}">
                <a16:creationId xmlns:a16="http://schemas.microsoft.com/office/drawing/2014/main" id="{9831E509-3B97-ED40-009C-4082313B24D1}"/>
              </a:ext>
            </a:extLst>
          </p:cNvPr>
          <p:cNvSpPr/>
          <p:nvPr/>
        </p:nvSpPr>
        <p:spPr bwMode="gray">
          <a:xfrm>
            <a:off x="706569" y="5277342"/>
            <a:ext cx="4892427" cy="320316"/>
          </a:xfrm>
          <a:prstGeom prst="round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ctr">
            <a:noAutofit/>
          </a:bodyPr>
          <a:lstStyle/>
          <a:p>
            <a:pPr algn="ctr" defTabSz="997456">
              <a:defRPr/>
            </a:pPr>
            <a:r>
              <a:rPr lang="de-DE" sz="1400">
                <a:solidFill>
                  <a:srgbClr val="003C50"/>
                </a:solidFill>
              </a:rPr>
              <a:t>Welche </a:t>
            </a:r>
            <a:r>
              <a:rPr lang="de-DE" sz="1400" b="1">
                <a:solidFill>
                  <a:srgbClr val="003C50"/>
                </a:solidFill>
              </a:rPr>
              <a:t>Kosten</a:t>
            </a:r>
            <a:r>
              <a:rPr lang="de-DE" sz="1400">
                <a:solidFill>
                  <a:srgbClr val="003C50"/>
                </a:solidFill>
              </a:rPr>
              <a:t> verursachen klimaneutrale Heizungen?</a:t>
            </a:r>
          </a:p>
        </p:txBody>
      </p:sp>
      <p:sp>
        <p:nvSpPr>
          <p:cNvPr id="146" name="Rectangle: Rounded Corners 145">
            <a:extLst>
              <a:ext uri="{FF2B5EF4-FFF2-40B4-BE49-F238E27FC236}">
                <a16:creationId xmlns:a16="http://schemas.microsoft.com/office/drawing/2014/main" id="{5CC9C45E-B0D5-0F5C-4C08-9D2ED37EC301}"/>
              </a:ext>
            </a:extLst>
          </p:cNvPr>
          <p:cNvSpPr/>
          <p:nvPr/>
        </p:nvSpPr>
        <p:spPr bwMode="gray">
          <a:xfrm rot="16200000">
            <a:off x="-878916" y="4496035"/>
            <a:ext cx="2596509" cy="384800"/>
          </a:xfrm>
          <a:prstGeom prst="roundRect">
            <a:avLst/>
          </a:prstGeom>
          <a:solidFill>
            <a:schemeClr val="accent6">
              <a:lumMod val="40000"/>
              <a:lumOff val="60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ctr">
            <a:noAutofit/>
          </a:bodyPr>
          <a:lstStyle/>
          <a:p>
            <a:pPr marL="0" marR="0" lvl="0" indent="0" algn="ctr" defTabSz="997456"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003C50"/>
                </a:solidFill>
                <a:effectLst/>
                <a:uLnTx/>
                <a:uFillTx/>
                <a:latin typeface="Roboto"/>
                <a:ea typeface="+mn-ea"/>
                <a:cs typeface="+mn-cs"/>
              </a:rPr>
              <a:t>Detaillierte Betrachtung</a:t>
            </a:r>
          </a:p>
        </p:txBody>
      </p:sp>
      <p:sp>
        <p:nvSpPr>
          <p:cNvPr id="147" name="Rectangle: Rounded Corners 146">
            <a:extLst>
              <a:ext uri="{FF2B5EF4-FFF2-40B4-BE49-F238E27FC236}">
                <a16:creationId xmlns:a16="http://schemas.microsoft.com/office/drawing/2014/main" id="{CEED3375-7BC5-078D-D488-DF7D10661D50}"/>
              </a:ext>
            </a:extLst>
          </p:cNvPr>
          <p:cNvSpPr/>
          <p:nvPr/>
        </p:nvSpPr>
        <p:spPr bwMode="gray">
          <a:xfrm>
            <a:off x="714653" y="5666372"/>
            <a:ext cx="4892428" cy="320316"/>
          </a:xfrm>
          <a:prstGeom prst="round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ctr">
            <a:noAutofit/>
          </a:bodyPr>
          <a:lstStyle/>
          <a:p>
            <a:pPr lvl="0" algn="ctr" defTabSz="997456">
              <a:defRPr/>
            </a:pPr>
            <a:r>
              <a:rPr lang="de-DE" sz="1400">
                <a:solidFill>
                  <a:srgbClr val="003C50"/>
                </a:solidFill>
              </a:rPr>
              <a:t>Gibt es </a:t>
            </a:r>
            <a:r>
              <a:rPr lang="de-DE" sz="1400" b="1">
                <a:solidFill>
                  <a:srgbClr val="003C50"/>
                </a:solidFill>
              </a:rPr>
              <a:t>angrenzende</a:t>
            </a:r>
            <a:r>
              <a:rPr lang="de-DE" sz="1400">
                <a:solidFill>
                  <a:srgbClr val="003C50"/>
                </a:solidFill>
              </a:rPr>
              <a:t> Gebiete mit hoher Wärmenetzeignung?</a:t>
            </a:r>
          </a:p>
        </p:txBody>
      </p:sp>
      <p:pic>
        <p:nvPicPr>
          <p:cNvPr id="148" name="Graphic 147">
            <a:extLst>
              <a:ext uri="{FF2B5EF4-FFF2-40B4-BE49-F238E27FC236}">
                <a16:creationId xmlns:a16="http://schemas.microsoft.com/office/drawing/2014/main" id="{706B772C-ECC4-D2C4-7EE5-728FD966F84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13639" y="5624012"/>
            <a:ext cx="369416" cy="369416"/>
          </a:xfrm>
          <a:prstGeom prst="rect">
            <a:avLst/>
          </a:prstGeom>
        </p:spPr>
      </p:pic>
      <p:sp>
        <p:nvSpPr>
          <p:cNvPr id="149" name="Arrow: Right 148">
            <a:extLst>
              <a:ext uri="{FF2B5EF4-FFF2-40B4-BE49-F238E27FC236}">
                <a16:creationId xmlns:a16="http://schemas.microsoft.com/office/drawing/2014/main" id="{8EF3775C-4A8B-4B2E-8841-D8EFA111D6A2}"/>
              </a:ext>
            </a:extLst>
          </p:cNvPr>
          <p:cNvSpPr/>
          <p:nvPr/>
        </p:nvSpPr>
        <p:spPr bwMode="gray">
          <a:xfrm>
            <a:off x="6031147" y="3924399"/>
            <a:ext cx="979253" cy="1472425"/>
          </a:xfrm>
          <a:prstGeom prst="rightArrow">
            <a:avLst>
              <a:gd name="adj1" fmla="val 50000"/>
              <a:gd name="adj2" fmla="val 26963"/>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ctr">
            <a:noAutofit/>
          </a:bodyPr>
          <a:lstStyle/>
          <a:p>
            <a:pPr marL="0" marR="0" lvl="0" indent="0" algn="ctr" defTabSz="997456"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srgbClr val="003C50"/>
                </a:solidFill>
                <a:effectLst/>
                <a:uLnTx/>
                <a:uFillTx/>
                <a:latin typeface="Roboto"/>
                <a:ea typeface="+mn-ea"/>
                <a:cs typeface="+mn-cs"/>
              </a:rPr>
              <a:t>Bewertung und  Gewichtung</a:t>
            </a:r>
          </a:p>
        </p:txBody>
      </p:sp>
      <p:grpSp>
        <p:nvGrpSpPr>
          <p:cNvPr id="150" name="Group 149">
            <a:extLst>
              <a:ext uri="{FF2B5EF4-FFF2-40B4-BE49-F238E27FC236}">
                <a16:creationId xmlns:a16="http://schemas.microsoft.com/office/drawing/2014/main" id="{381FF2D9-66BD-5554-1CB7-A0738B43AA5B}"/>
              </a:ext>
            </a:extLst>
          </p:cNvPr>
          <p:cNvGrpSpPr/>
          <p:nvPr/>
        </p:nvGrpSpPr>
        <p:grpSpPr>
          <a:xfrm>
            <a:off x="7071261" y="3731051"/>
            <a:ext cx="2523620" cy="1477059"/>
            <a:chOff x="7042291" y="3764863"/>
            <a:chExt cx="2600788" cy="1353971"/>
          </a:xfrm>
        </p:grpSpPr>
        <p:sp>
          <p:nvSpPr>
            <p:cNvPr id="151" name="Rectangle: Rounded Corners 150">
              <a:extLst>
                <a:ext uri="{FF2B5EF4-FFF2-40B4-BE49-F238E27FC236}">
                  <a16:creationId xmlns:a16="http://schemas.microsoft.com/office/drawing/2014/main" id="{12147D8A-C9A7-8D3A-A8EE-14F28CA5900B}"/>
                </a:ext>
              </a:extLst>
            </p:cNvPr>
            <p:cNvSpPr/>
            <p:nvPr/>
          </p:nvSpPr>
          <p:spPr bwMode="gray">
            <a:xfrm>
              <a:off x="7042292" y="3764863"/>
              <a:ext cx="2600787" cy="293623"/>
            </a:xfrm>
            <a:prstGeom prst="roundRect">
              <a:avLst>
                <a:gd name="adj" fmla="val 4979"/>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t">
              <a:noAutofit/>
            </a:bodyPr>
            <a:lstStyle/>
            <a:p>
              <a:pPr marL="0" marR="0" lvl="0" indent="0" algn="ctr" defTabSz="997456"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003C50"/>
                  </a:solidFill>
                  <a:effectLst/>
                  <a:uLnTx/>
                  <a:uFillTx/>
                  <a:latin typeface="Roboto"/>
                  <a:ea typeface="+mn-ea"/>
                  <a:cs typeface="+mn-cs"/>
                </a:rPr>
                <a:t>Einstufung eines Gebiets:</a:t>
              </a:r>
            </a:p>
          </p:txBody>
        </p:sp>
        <p:sp>
          <p:nvSpPr>
            <p:cNvPr id="152" name="Rectangle: Rounded Corners 151">
              <a:extLst>
                <a:ext uri="{FF2B5EF4-FFF2-40B4-BE49-F238E27FC236}">
                  <a16:creationId xmlns:a16="http://schemas.microsoft.com/office/drawing/2014/main" id="{E1A8D12B-1BD7-1561-FC8D-AC88CF732C6E}"/>
                </a:ext>
              </a:extLst>
            </p:cNvPr>
            <p:cNvSpPr/>
            <p:nvPr/>
          </p:nvSpPr>
          <p:spPr bwMode="gray">
            <a:xfrm>
              <a:off x="7042292" y="4113064"/>
              <a:ext cx="2600787" cy="293623"/>
            </a:xfrm>
            <a:prstGeom prst="roundRect">
              <a:avLst>
                <a:gd name="adj" fmla="val 4979"/>
              </a:avLst>
            </a:prstGeom>
            <a:solidFill>
              <a:srgbClr val="60D68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t">
              <a:noAutofit/>
            </a:bodyPr>
            <a:lstStyle/>
            <a:p>
              <a:pPr marL="0" marR="0" lvl="0" indent="0" algn="ctr" defTabSz="997456"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003C50"/>
                  </a:solidFill>
                  <a:effectLst/>
                  <a:uLnTx/>
                  <a:uFillTx/>
                  <a:latin typeface="Roboto"/>
                  <a:ea typeface="+mn-ea"/>
                  <a:cs typeface="+mn-cs"/>
                </a:rPr>
                <a:t>Fokusgebiet Wärmenetz</a:t>
              </a:r>
            </a:p>
          </p:txBody>
        </p:sp>
        <p:sp>
          <p:nvSpPr>
            <p:cNvPr id="153" name="Rectangle: Rounded Corners 152">
              <a:extLst>
                <a:ext uri="{FF2B5EF4-FFF2-40B4-BE49-F238E27FC236}">
                  <a16:creationId xmlns:a16="http://schemas.microsoft.com/office/drawing/2014/main" id="{2560EBFC-2545-CCFA-9EC4-B90B177D053E}"/>
                </a:ext>
              </a:extLst>
            </p:cNvPr>
            <p:cNvSpPr/>
            <p:nvPr/>
          </p:nvSpPr>
          <p:spPr bwMode="gray">
            <a:xfrm>
              <a:off x="7042291" y="4468600"/>
              <a:ext cx="2600787" cy="293623"/>
            </a:xfrm>
            <a:prstGeom prst="roundRect">
              <a:avLst>
                <a:gd name="adj" fmla="val 4979"/>
              </a:avLst>
            </a:prstGeom>
            <a:solidFill>
              <a:srgbClr val="EDBE5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t">
              <a:noAutofit/>
            </a:bodyPr>
            <a:lstStyle/>
            <a:p>
              <a:pPr marL="0" marR="0" lvl="0" indent="0" algn="ctr" defTabSz="997456"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003C50"/>
                  </a:solidFill>
                  <a:effectLst/>
                  <a:uLnTx/>
                  <a:uFillTx/>
                  <a:latin typeface="Roboto"/>
                  <a:ea typeface="+mn-ea"/>
                  <a:cs typeface="+mn-cs"/>
                </a:rPr>
                <a:t>Prüfgebiet Wärmenetz</a:t>
              </a:r>
            </a:p>
          </p:txBody>
        </p:sp>
        <p:sp>
          <p:nvSpPr>
            <p:cNvPr id="154" name="Rectangle: Rounded Corners 153">
              <a:extLst>
                <a:ext uri="{FF2B5EF4-FFF2-40B4-BE49-F238E27FC236}">
                  <a16:creationId xmlns:a16="http://schemas.microsoft.com/office/drawing/2014/main" id="{186CBCE7-F422-40BF-0467-ABD9AB3791E7}"/>
                </a:ext>
              </a:extLst>
            </p:cNvPr>
            <p:cNvSpPr/>
            <p:nvPr/>
          </p:nvSpPr>
          <p:spPr bwMode="gray">
            <a:xfrm>
              <a:off x="7042291" y="4825211"/>
              <a:ext cx="2600787" cy="293623"/>
            </a:xfrm>
            <a:prstGeom prst="roundRect">
              <a:avLst>
                <a:gd name="adj" fmla="val 4979"/>
              </a:avLst>
            </a:prstGeom>
            <a:solidFill>
              <a:srgbClr val="7BA4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t">
              <a:noAutofit/>
            </a:bodyPr>
            <a:lstStyle/>
            <a:p>
              <a:pPr marL="0" marR="0" lvl="0" indent="0" algn="ctr" defTabSz="997456"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003C50"/>
                  </a:solidFill>
                  <a:effectLst/>
                  <a:uLnTx/>
                  <a:uFillTx/>
                  <a:latin typeface="Roboto"/>
                  <a:ea typeface="+mn-ea"/>
                  <a:cs typeface="+mn-cs"/>
                </a:rPr>
                <a:t>Dezentrale Wärmeversorgung</a:t>
              </a:r>
            </a:p>
          </p:txBody>
        </p:sp>
      </p:grpSp>
      <p:pic>
        <p:nvPicPr>
          <p:cNvPr id="155" name="Graphic 154" descr="Euro with solid fill">
            <a:extLst>
              <a:ext uri="{FF2B5EF4-FFF2-40B4-BE49-F238E27FC236}">
                <a16:creationId xmlns:a16="http://schemas.microsoft.com/office/drawing/2014/main" id="{177A9FDA-F72F-E58B-33B2-3995218F99D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37709" y="5312223"/>
            <a:ext cx="321276" cy="267821"/>
          </a:xfrm>
          <a:prstGeom prst="rect">
            <a:avLst/>
          </a:prstGeom>
        </p:spPr>
      </p:pic>
      <p:pic>
        <p:nvPicPr>
          <p:cNvPr id="157" name="Graphic 156" descr="User with solid fill">
            <a:extLst>
              <a:ext uri="{FF2B5EF4-FFF2-40B4-BE49-F238E27FC236}">
                <a16:creationId xmlns:a16="http://schemas.microsoft.com/office/drawing/2014/main" id="{F1B90CDB-585D-F0BB-97DF-E7396BD6F3D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637709" y="4500454"/>
            <a:ext cx="321276" cy="321276"/>
          </a:xfrm>
          <a:prstGeom prst="rect">
            <a:avLst/>
          </a:prstGeom>
        </p:spPr>
      </p:pic>
      <p:grpSp>
        <p:nvGrpSpPr>
          <p:cNvPr id="159" name="Group 158">
            <a:extLst>
              <a:ext uri="{FF2B5EF4-FFF2-40B4-BE49-F238E27FC236}">
                <a16:creationId xmlns:a16="http://schemas.microsoft.com/office/drawing/2014/main" id="{8E4A1544-87C0-1DFC-ADBD-ED69457A4740}"/>
              </a:ext>
            </a:extLst>
          </p:cNvPr>
          <p:cNvGrpSpPr>
            <a:grpSpLocks noChangeAspect="1"/>
          </p:cNvGrpSpPr>
          <p:nvPr>
            <p:custDataLst>
              <p:tags r:id="rId2"/>
            </p:custDataLst>
          </p:nvPr>
        </p:nvGrpSpPr>
        <p:grpSpPr>
          <a:xfrm>
            <a:off x="5637709" y="4128754"/>
            <a:ext cx="321276" cy="321276"/>
            <a:chOff x="1270000" y="1270000"/>
            <a:chExt cx="889000" cy="889000"/>
          </a:xfrm>
        </p:grpSpPr>
        <p:sp>
          <p:nvSpPr>
            <p:cNvPr id="160" name="Rectangle 159" hidden="1">
              <a:extLst>
                <a:ext uri="{FF2B5EF4-FFF2-40B4-BE49-F238E27FC236}">
                  <a16:creationId xmlns:a16="http://schemas.microsoft.com/office/drawing/2014/main" id="{04A06D66-D38B-C366-7834-6615C417B4C0}"/>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ctr">
              <a:noAutofit/>
            </a:bodyPr>
            <a:lstStyle/>
            <a:p>
              <a:pPr marL="0" marR="0" lvl="0" indent="0" algn="ctr" defTabSz="997456"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err="1">
                <a:ln>
                  <a:noFill/>
                </a:ln>
                <a:solidFill>
                  <a:srgbClr val="003C50"/>
                </a:solidFill>
                <a:effectLst/>
                <a:uLnTx/>
                <a:uFillTx/>
                <a:latin typeface="Roboto"/>
                <a:ea typeface="+mn-ea"/>
                <a:cs typeface="+mn-cs"/>
              </a:endParaRPr>
            </a:p>
          </p:txBody>
        </p:sp>
        <p:pic>
          <p:nvPicPr>
            <p:cNvPr id="161" name="Graphic 160">
              <a:extLst>
                <a:ext uri="{FF2B5EF4-FFF2-40B4-BE49-F238E27FC236}">
                  <a16:creationId xmlns:a16="http://schemas.microsoft.com/office/drawing/2014/main" id="{104D660C-9D2F-1839-9A49-CF62CE86338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270000" y="1270000"/>
              <a:ext cx="889000" cy="889000"/>
            </a:xfrm>
            <a:prstGeom prst="rect">
              <a:avLst/>
            </a:prstGeom>
          </p:spPr>
        </p:pic>
      </p:grpSp>
      <p:grpSp>
        <p:nvGrpSpPr>
          <p:cNvPr id="166" name="Group 165">
            <a:extLst>
              <a:ext uri="{FF2B5EF4-FFF2-40B4-BE49-F238E27FC236}">
                <a16:creationId xmlns:a16="http://schemas.microsoft.com/office/drawing/2014/main" id="{1483382A-8F13-D0B7-BD5D-1F9AF62DAAE7}"/>
              </a:ext>
            </a:extLst>
          </p:cNvPr>
          <p:cNvGrpSpPr>
            <a:grpSpLocks noChangeAspect="1"/>
          </p:cNvGrpSpPr>
          <p:nvPr>
            <p:custDataLst>
              <p:tags r:id="rId3"/>
            </p:custDataLst>
          </p:nvPr>
        </p:nvGrpSpPr>
        <p:grpSpPr>
          <a:xfrm>
            <a:off x="5637709" y="3751882"/>
            <a:ext cx="321276" cy="321276"/>
            <a:chOff x="1270000" y="1270000"/>
            <a:chExt cx="889000" cy="889000"/>
          </a:xfrm>
        </p:grpSpPr>
        <p:sp>
          <p:nvSpPr>
            <p:cNvPr id="163" name="Rectangle 162" hidden="1">
              <a:extLst>
                <a:ext uri="{FF2B5EF4-FFF2-40B4-BE49-F238E27FC236}">
                  <a16:creationId xmlns:a16="http://schemas.microsoft.com/office/drawing/2014/main" id="{E00625DE-2E97-2E50-68CE-BA598263B9C7}"/>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65" name="Graphic 164">
              <a:extLst>
                <a:ext uri="{FF2B5EF4-FFF2-40B4-BE49-F238E27FC236}">
                  <a16:creationId xmlns:a16="http://schemas.microsoft.com/office/drawing/2014/main" id="{48459174-383B-387A-FE94-33602EB9415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270000" y="1270000"/>
              <a:ext cx="889000" cy="889000"/>
            </a:xfrm>
            <a:prstGeom prst="rect">
              <a:avLst/>
            </a:prstGeom>
          </p:spPr>
        </p:pic>
      </p:grpSp>
      <p:pic>
        <p:nvPicPr>
          <p:cNvPr id="167" name="Graphic 166">
            <a:extLst>
              <a:ext uri="{FF2B5EF4-FFF2-40B4-BE49-F238E27FC236}">
                <a16:creationId xmlns:a16="http://schemas.microsoft.com/office/drawing/2014/main" id="{44F65A8A-AC56-D4CF-D01E-8275BF9D8E8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37709" y="4886834"/>
            <a:ext cx="321276" cy="321276"/>
          </a:xfrm>
          <a:prstGeom prst="rect">
            <a:avLst/>
          </a:prstGeom>
        </p:spPr>
      </p:pic>
      <p:sp>
        <p:nvSpPr>
          <p:cNvPr id="9" name="Rectangle: Rounded Corners 8">
            <a:extLst>
              <a:ext uri="{FF2B5EF4-FFF2-40B4-BE49-F238E27FC236}">
                <a16:creationId xmlns:a16="http://schemas.microsoft.com/office/drawing/2014/main" id="{ED616CC4-B114-8A01-4A09-06FDECA38EFB}"/>
              </a:ext>
            </a:extLst>
          </p:cNvPr>
          <p:cNvSpPr/>
          <p:nvPr/>
        </p:nvSpPr>
        <p:spPr bwMode="gray">
          <a:xfrm>
            <a:off x="691718" y="3400456"/>
            <a:ext cx="4915452" cy="320316"/>
          </a:xfrm>
          <a:prstGeom prst="round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ctr">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97456"/>
            <a:r>
              <a:rPr lang="de-DE" sz="1527" b="1">
                <a:solidFill>
                  <a:schemeClr val="tx1"/>
                </a:solidFill>
                <a:latin typeface="Roboto"/>
              </a:rPr>
              <a:t>Existieren</a:t>
            </a:r>
            <a:r>
              <a:rPr lang="de-DE" sz="1527">
                <a:solidFill>
                  <a:schemeClr val="tx1"/>
                </a:solidFill>
                <a:latin typeface="Roboto"/>
              </a:rPr>
              <a:t> bereits Wärmenetze im Gebiet oder Umkreis?</a:t>
            </a:r>
          </a:p>
        </p:txBody>
      </p:sp>
      <p:pic>
        <p:nvPicPr>
          <p:cNvPr id="10" name="Graphic 81" descr="Key with solid fill">
            <a:extLst>
              <a:ext uri="{FF2B5EF4-FFF2-40B4-BE49-F238E27FC236}">
                <a16:creationId xmlns:a16="http://schemas.microsoft.com/office/drawing/2014/main" id="{E064A511-6323-7DBE-16D1-CAD4F3C6C392}"/>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637709" y="3405394"/>
            <a:ext cx="321276" cy="321276"/>
          </a:xfrm>
          <a:prstGeom prst="rect">
            <a:avLst/>
          </a:prstGeom>
        </p:spPr>
      </p:pic>
    </p:spTree>
    <p:extLst>
      <p:ext uri="{BB962C8B-B14F-4D97-AF65-F5344CB8AC3E}">
        <p14:creationId xmlns:p14="http://schemas.microsoft.com/office/powerpoint/2010/main" val="3061624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5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5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5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6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6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4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1" grpId="0" animBg="1"/>
      <p:bldP spid="142" grpId="0" animBg="1"/>
      <p:bldP spid="143" grpId="0" animBg="1"/>
      <p:bldP spid="144" grpId="0" animBg="1"/>
      <p:bldP spid="145" grpId="0" animBg="1"/>
      <p:bldP spid="146" grpId="0" animBg="1"/>
      <p:bldP spid="147" grpId="0" animBg="1"/>
      <p:bldP spid="149" grpId="0" animBg="1"/>
      <p:bldP spid="9"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3F2D4D-3F9E-6B8C-2BE8-28BC9F134360}"/>
            </a:ext>
          </a:extLst>
        </p:cNvPr>
        <p:cNvGrpSpPr/>
        <p:nvPr/>
      </p:nvGrpSpPr>
      <p:grpSpPr>
        <a:xfrm>
          <a:off x="0" y="0"/>
          <a:ext cx="0" cy="0"/>
          <a:chOff x="0" y="0"/>
          <a:chExt cx="0" cy="0"/>
        </a:xfrm>
      </p:grpSpPr>
      <p:pic>
        <p:nvPicPr>
          <p:cNvPr id="27" name="Picture 26" descr="A map of a city&#10;&#10;AI-generated content may be incorrect.">
            <a:extLst>
              <a:ext uri="{FF2B5EF4-FFF2-40B4-BE49-F238E27FC236}">
                <a16:creationId xmlns:a16="http://schemas.microsoft.com/office/drawing/2014/main" id="{2A930E10-4484-1886-A595-1B390A295960}"/>
              </a:ext>
            </a:extLst>
          </p:cNvPr>
          <p:cNvPicPr>
            <a:picLocks noChangeAspect="1"/>
          </p:cNvPicPr>
          <p:nvPr/>
        </p:nvPicPr>
        <p:blipFill>
          <a:blip r:embed="rId4" cstate="screen">
            <a:alphaModFix/>
            <a:extLst>
              <a:ext uri="{28A0092B-C50C-407E-A947-70E740481C1C}">
                <a14:useLocalDpi xmlns:a14="http://schemas.microsoft.com/office/drawing/2010/main"/>
              </a:ext>
            </a:extLst>
          </a:blip>
          <a:srcRect/>
          <a:stretch>
            <a:fillRect/>
          </a:stretch>
        </p:blipFill>
        <p:spPr>
          <a:xfrm>
            <a:off x="208026" y="1000790"/>
            <a:ext cx="9369522" cy="4360680"/>
          </a:xfrm>
          <a:prstGeom prst="rect">
            <a:avLst/>
          </a:prstGeom>
        </p:spPr>
      </p:pic>
      <p:sp>
        <p:nvSpPr>
          <p:cNvPr id="9" name="Slide Number Placeholder 8">
            <a:extLst>
              <a:ext uri="{FF2B5EF4-FFF2-40B4-BE49-F238E27FC236}">
                <a16:creationId xmlns:a16="http://schemas.microsoft.com/office/drawing/2014/main" id="{B425705F-0956-B647-56C4-772C08FBBB89}"/>
              </a:ext>
            </a:extLst>
          </p:cNvPr>
          <p:cNvSpPr>
            <a:spLocks noGrp="1"/>
          </p:cNvSpPr>
          <p:nvPr>
            <p:ph type="sldNum" sz="quarter" idx="11"/>
          </p:nvPr>
        </p:nvSpPr>
        <p:spPr/>
        <p:txBody>
          <a:bodyPr/>
          <a:lstStyle/>
          <a:p>
            <a:endParaRPr lang="de-DE"/>
          </a:p>
          <a:p>
            <a:fld id="{24C420F5-194C-40F2-A080-C5F3EDD89037}" type="slidenum">
              <a:rPr lang="de-DE" smtClean="0"/>
              <a:pPr/>
              <a:t>46</a:t>
            </a:fld>
            <a:endParaRPr lang="de-DE"/>
          </a:p>
        </p:txBody>
      </p:sp>
      <p:sp>
        <p:nvSpPr>
          <p:cNvPr id="83" name="Title 2">
            <a:extLst>
              <a:ext uri="{FF2B5EF4-FFF2-40B4-BE49-F238E27FC236}">
                <a16:creationId xmlns:a16="http://schemas.microsoft.com/office/drawing/2014/main" id="{CC96EEFE-7E5E-B9C4-BC2F-2A9677972CBF}"/>
              </a:ext>
            </a:extLst>
          </p:cNvPr>
          <p:cNvSpPr>
            <a:spLocks noGrp="1"/>
          </p:cNvSpPr>
          <p:nvPr>
            <p:ph type="title"/>
          </p:nvPr>
        </p:nvSpPr>
        <p:spPr/>
        <p:txBody>
          <a:bodyPr/>
          <a:lstStyle/>
          <a:p>
            <a:r>
              <a:rPr lang="de-DE" b="1">
                <a:latin typeface="Roboto" panose="02000000000000000000" pitchFamily="2" charset="0"/>
              </a:rPr>
              <a:t>Erkenntnisse der Kommunalen Wärmeplanung - Zielszenario</a:t>
            </a:r>
            <a:br>
              <a:rPr lang="de-DE" b="1">
                <a:latin typeface="Roboto" panose="02000000000000000000" pitchFamily="2" charset="0"/>
              </a:rPr>
            </a:br>
            <a:r>
              <a:rPr lang="de-DE"/>
              <a:t>Definition von Wärmenetzeignungsgebieten</a:t>
            </a:r>
            <a:endParaRPr lang="de-DE">
              <a:latin typeface="Roboto" panose="02000000000000000000" pitchFamily="2" charset="0"/>
            </a:endParaRPr>
          </a:p>
        </p:txBody>
      </p:sp>
      <p:sp>
        <p:nvSpPr>
          <p:cNvPr id="6" name="Footer Placeholder 5">
            <a:extLst>
              <a:ext uri="{FF2B5EF4-FFF2-40B4-BE49-F238E27FC236}">
                <a16:creationId xmlns:a16="http://schemas.microsoft.com/office/drawing/2014/main" id="{4A80C613-E3A2-558C-4428-215B0A2E864E}"/>
              </a:ext>
            </a:extLst>
          </p:cNvPr>
          <p:cNvSpPr>
            <a:spLocks noGrp="1"/>
          </p:cNvSpPr>
          <p:nvPr>
            <p:ph type="ftr" sz="quarter" idx="12"/>
          </p:nvPr>
        </p:nvSpPr>
        <p:spPr/>
        <p:txBody>
          <a:bodyPr/>
          <a:lstStyle/>
          <a:p>
            <a:r>
              <a:rPr lang="de-DE"/>
              <a:t>© 2026</a:t>
            </a:r>
          </a:p>
          <a:p>
            <a:r>
              <a:rPr lang="de-DE"/>
              <a:t>d-fine</a:t>
            </a:r>
          </a:p>
        </p:txBody>
      </p:sp>
      <p:sp>
        <p:nvSpPr>
          <p:cNvPr id="57" name="Rectangle 56" hidden="1">
            <a:extLst>
              <a:ext uri="{FF2B5EF4-FFF2-40B4-BE49-F238E27FC236}">
                <a16:creationId xmlns:a16="http://schemas.microsoft.com/office/drawing/2014/main" id="{77D4D02C-EDC5-0322-D239-75FAD780140C}"/>
              </a:ext>
            </a:extLst>
          </p:cNvPr>
          <p:cNvSpPr/>
          <p:nvPr/>
        </p:nvSpPr>
        <p:spPr bwMode="gray">
          <a:xfrm>
            <a:off x="249767" y="1033533"/>
            <a:ext cx="450472" cy="450472"/>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a:solidFill>
                <a:srgbClr val="003C50"/>
              </a:solidFill>
              <a:latin typeface="Roboto"/>
            </a:endParaRPr>
          </a:p>
        </p:txBody>
      </p:sp>
      <p:grpSp>
        <p:nvGrpSpPr>
          <p:cNvPr id="22" name="THM_bar">
            <a:extLst>
              <a:ext uri="{FF2B5EF4-FFF2-40B4-BE49-F238E27FC236}">
                <a16:creationId xmlns:a16="http://schemas.microsoft.com/office/drawing/2014/main" id="{DE94B478-AF80-F2AE-EA60-ECEBC3D03C3E}"/>
              </a:ext>
            </a:extLst>
          </p:cNvPr>
          <p:cNvGrpSpPr/>
          <p:nvPr>
            <p:custDataLst>
              <p:tags r:id="rId1"/>
            </p:custDataLst>
          </p:nvPr>
        </p:nvGrpSpPr>
        <p:grpSpPr>
          <a:xfrm>
            <a:off x="208026" y="5549075"/>
            <a:ext cx="9372600" cy="468059"/>
            <a:chOff x="208026" y="5549074"/>
            <a:chExt cx="9372600" cy="468059"/>
          </a:xfrm>
        </p:grpSpPr>
        <p:sp>
          <p:nvSpPr>
            <p:cNvPr id="24" name="THM_bar_background">
              <a:extLst>
                <a:ext uri="{FF2B5EF4-FFF2-40B4-BE49-F238E27FC236}">
                  <a16:creationId xmlns:a16="http://schemas.microsoft.com/office/drawing/2014/main" id="{83DE7C96-DB17-C142-BD80-BA1F4E58F62D}"/>
                </a:ext>
              </a:extLst>
            </p:cNvPr>
            <p:cNvSpPr/>
            <p:nvPr/>
          </p:nvSpPr>
          <p:spPr bwMode="gray">
            <a:xfrm>
              <a:off x="208026" y="5549074"/>
              <a:ext cx="9372600" cy="468059"/>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45" tIns="0" rIns="144018" bIns="0" rtlCol="0" anchor="ctr">
              <a:noAutofit/>
            </a:bodyPr>
            <a:lstStyle/>
            <a:p>
              <a:pPr defTabSz="914368"/>
              <a:r>
                <a:rPr lang="de-DE" sz="1400">
                  <a:solidFill>
                    <a:srgbClr val="003C50"/>
                  </a:solidFill>
                  <a:latin typeface="Roboto"/>
                  <a:ea typeface="Roboto"/>
                  <a:cs typeface="Roboto"/>
                </a:rPr>
                <a:t>Mittels </a:t>
              </a:r>
              <a:r>
                <a:rPr lang="de-DE" sz="1400" b="1">
                  <a:solidFill>
                    <a:srgbClr val="003C50"/>
                  </a:solidFill>
                  <a:latin typeface="Roboto"/>
                  <a:ea typeface="Roboto"/>
                  <a:cs typeface="Roboto"/>
                </a:rPr>
                <a:t>quantifizierbarer Einflussfaktoren </a:t>
              </a:r>
              <a:r>
                <a:rPr lang="de-DE" sz="1400">
                  <a:solidFill>
                    <a:srgbClr val="003C50"/>
                  </a:solidFill>
                  <a:latin typeface="Roboto"/>
                  <a:ea typeface="Roboto"/>
                  <a:cs typeface="Roboto"/>
                </a:rPr>
                <a:t>erfolgt eine transparente Bewertung, ob ein Teilgebiet prinzipiell für eine zentrale Wärmeversorgung in Betracht kommt oder nicht.</a:t>
              </a:r>
              <a:endParaRPr lang="de-DE" sz="1400">
                <a:solidFill>
                  <a:srgbClr val="003C50"/>
                </a:solidFill>
                <a:latin typeface="Roboto"/>
              </a:endParaRPr>
            </a:p>
          </p:txBody>
        </p:sp>
        <p:grpSp>
          <p:nvGrpSpPr>
            <p:cNvPr id="34" name="thm_triangle_i52819">
              <a:extLst>
                <a:ext uri="{FF2B5EF4-FFF2-40B4-BE49-F238E27FC236}">
                  <a16:creationId xmlns:a16="http://schemas.microsoft.com/office/drawing/2014/main" id="{F984166D-7351-996C-47EC-2ABAAFE3EACD}"/>
                </a:ext>
              </a:extLst>
            </p:cNvPr>
            <p:cNvGrpSpPr/>
            <p:nvPr/>
          </p:nvGrpSpPr>
          <p:grpSpPr>
            <a:xfrm>
              <a:off x="208026" y="5549074"/>
              <a:ext cx="234029" cy="468058"/>
              <a:chOff x="117014" y="-117014"/>
              <a:chExt cx="234029" cy="468058"/>
            </a:xfrm>
          </p:grpSpPr>
          <p:sp>
            <p:nvSpPr>
              <p:cNvPr id="39" name="box">
                <a:extLst>
                  <a:ext uri="{FF2B5EF4-FFF2-40B4-BE49-F238E27FC236}">
                    <a16:creationId xmlns:a16="http://schemas.microsoft.com/office/drawing/2014/main" id="{F9EF5F95-56D5-2A67-B5A4-AABE55F6B3B3}"/>
                  </a:ext>
                </a:extLst>
              </p:cNvPr>
              <p:cNvSpPr/>
              <p:nvPr/>
            </p:nvSpPr>
            <p:spPr bwMode="white">
              <a:xfrm rot="16200000">
                <a:off x="-117015" y="117015"/>
                <a:ext cx="468058" cy="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err="1">
                  <a:solidFill>
                    <a:srgbClr val="003C50"/>
                  </a:solidFill>
                  <a:latin typeface="Roboto"/>
                </a:endParaRPr>
              </a:p>
            </p:txBody>
          </p:sp>
          <p:sp>
            <p:nvSpPr>
              <p:cNvPr id="40" name="triangle_1">
                <a:extLst>
                  <a:ext uri="{FF2B5EF4-FFF2-40B4-BE49-F238E27FC236}">
                    <a16:creationId xmlns:a16="http://schemas.microsoft.com/office/drawing/2014/main" id="{5684F041-61FD-0C22-B0C8-1BB7FD014D15}"/>
                  </a:ext>
                </a:extLst>
              </p:cNvPr>
              <p:cNvSpPr/>
              <p:nvPr/>
            </p:nvSpPr>
            <p:spPr bwMode="white">
              <a:xfrm rot="5400000">
                <a:off x="0" y="0"/>
                <a:ext cx="468058" cy="234029"/>
              </a:xfrm>
              <a:prstGeom prst="triangle">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err="1">
                  <a:solidFill>
                    <a:srgbClr val="003C50"/>
                  </a:solidFill>
                  <a:latin typeface="Roboto"/>
                </a:endParaRPr>
              </a:p>
            </p:txBody>
          </p:sp>
          <p:sp>
            <p:nvSpPr>
              <p:cNvPr id="41" name="triangle_2">
                <a:extLst>
                  <a:ext uri="{FF2B5EF4-FFF2-40B4-BE49-F238E27FC236}">
                    <a16:creationId xmlns:a16="http://schemas.microsoft.com/office/drawing/2014/main" id="{E1A69929-61FB-5F53-7009-7371F024D3E1}"/>
                  </a:ext>
                </a:extLst>
              </p:cNvPr>
              <p:cNvSpPr/>
              <p:nvPr/>
            </p:nvSpPr>
            <p:spPr bwMode="gray">
              <a:xfrm rot="5400000">
                <a:off x="0" y="0"/>
                <a:ext cx="468058" cy="234029"/>
              </a:xfrm>
              <a:prstGeom prst="triangl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err="1">
                  <a:solidFill>
                    <a:srgbClr val="003C50"/>
                  </a:solidFill>
                  <a:latin typeface="Roboto"/>
                </a:endParaRPr>
              </a:p>
            </p:txBody>
          </p:sp>
        </p:grpSp>
      </p:grpSp>
      <p:sp>
        <p:nvSpPr>
          <p:cNvPr id="59" name="Content Placeholder 3">
            <a:extLst>
              <a:ext uri="{FF2B5EF4-FFF2-40B4-BE49-F238E27FC236}">
                <a16:creationId xmlns:a16="http://schemas.microsoft.com/office/drawing/2014/main" id="{C900BE82-D254-E6F0-0B74-3D4C3956B6C3}"/>
              </a:ext>
            </a:extLst>
          </p:cNvPr>
          <p:cNvSpPr txBox="1">
            <a:spLocks/>
          </p:cNvSpPr>
          <p:nvPr/>
        </p:nvSpPr>
        <p:spPr>
          <a:xfrm>
            <a:off x="7501913" y="53024"/>
            <a:ext cx="2291567" cy="380480"/>
          </a:xfrm>
          <a:prstGeom prst="rect">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lIns="72000" tIns="36000" rIns="72000" bIns="36000" anchor="t" anchorCtr="0">
            <a:spAutoFit/>
          </a:bodyPr>
          <a:lstStyle>
            <a:lvl1pPr algn="l" rtl="0" eaLnBrk="1" fontAlgn="base" hangingPunct="1">
              <a:spcBef>
                <a:spcPct val="20000"/>
              </a:spcBef>
              <a:spcAft>
                <a:spcPct val="0"/>
              </a:spcAft>
              <a:defRPr sz="1400">
                <a:solidFill>
                  <a:schemeClr val="tx1"/>
                </a:solidFill>
                <a:latin typeface="+mn-lt"/>
                <a:ea typeface="+mn-ea"/>
                <a:cs typeface="+mn-cs"/>
              </a:defRPr>
            </a:lvl1pPr>
            <a:lvl2pPr marL="381000" indent="-190500" algn="l" rtl="0" eaLnBrk="1" fontAlgn="base" hangingPunct="1">
              <a:spcBef>
                <a:spcPct val="20000"/>
              </a:spcBef>
              <a:spcAft>
                <a:spcPct val="0"/>
              </a:spcAft>
              <a:buFont typeface="Wingdings" pitchFamily="84" charset="2"/>
              <a:buChar char="§"/>
              <a:defRPr sz="1400">
                <a:solidFill>
                  <a:schemeClr val="tx1"/>
                </a:solidFill>
                <a:latin typeface="+mn-lt"/>
              </a:defRPr>
            </a:lvl2pPr>
            <a:lvl3pPr marL="747713" indent="-176213" algn="l" rtl="0" eaLnBrk="1" fontAlgn="base" hangingPunct="1">
              <a:spcBef>
                <a:spcPct val="20000"/>
              </a:spcBef>
              <a:spcAft>
                <a:spcPct val="0"/>
              </a:spcAft>
              <a:buChar char="-"/>
              <a:defRPr sz="1200">
                <a:solidFill>
                  <a:schemeClr val="tx1"/>
                </a:solidFill>
                <a:latin typeface="+mn-lt"/>
              </a:defRPr>
            </a:lvl3pPr>
            <a:lvl4pPr marL="1125538" indent="-187325" algn="l" rtl="0" eaLnBrk="1" fontAlgn="base" hangingPunct="1">
              <a:spcBef>
                <a:spcPct val="20000"/>
              </a:spcBef>
              <a:spcAft>
                <a:spcPct val="0"/>
              </a:spcAft>
              <a:buFont typeface="Times" pitchFamily="84" charset="0"/>
              <a:buChar char="•"/>
              <a:defRPr sz="1000">
                <a:solidFill>
                  <a:schemeClr val="tx1"/>
                </a:solidFill>
                <a:latin typeface="+mn-lt"/>
              </a:defRPr>
            </a:lvl4pPr>
            <a:lvl5pPr marL="1431925" indent="-115888" algn="l" rtl="0" eaLnBrk="1" fontAlgn="base" hangingPunct="1">
              <a:spcBef>
                <a:spcPct val="20000"/>
              </a:spcBef>
              <a:spcAft>
                <a:spcPct val="0"/>
              </a:spcAft>
              <a:buChar char="•"/>
              <a:defRPr sz="1000">
                <a:solidFill>
                  <a:schemeClr val="tx1"/>
                </a:solidFill>
                <a:latin typeface="+mn-lt"/>
              </a:defRPr>
            </a:lvl5pPr>
            <a:lvl6pPr marL="1889125" indent="-115888" algn="l" rtl="0" eaLnBrk="1" fontAlgn="base" hangingPunct="1">
              <a:spcBef>
                <a:spcPct val="20000"/>
              </a:spcBef>
              <a:spcAft>
                <a:spcPct val="0"/>
              </a:spcAft>
              <a:buChar char="•"/>
              <a:defRPr sz="1000">
                <a:solidFill>
                  <a:schemeClr val="tx1"/>
                </a:solidFill>
                <a:latin typeface="+mn-lt"/>
              </a:defRPr>
            </a:lvl6pPr>
            <a:lvl7pPr marL="2346325" indent="-115888" algn="l" rtl="0" eaLnBrk="1" fontAlgn="base" hangingPunct="1">
              <a:spcBef>
                <a:spcPct val="20000"/>
              </a:spcBef>
              <a:spcAft>
                <a:spcPct val="0"/>
              </a:spcAft>
              <a:buChar char="•"/>
              <a:defRPr sz="1000">
                <a:solidFill>
                  <a:schemeClr val="tx1"/>
                </a:solidFill>
                <a:latin typeface="+mn-lt"/>
              </a:defRPr>
            </a:lvl7pPr>
            <a:lvl8pPr marL="2803525" indent="-115888" algn="l" rtl="0" eaLnBrk="1" fontAlgn="base" hangingPunct="1">
              <a:spcBef>
                <a:spcPct val="20000"/>
              </a:spcBef>
              <a:spcAft>
                <a:spcPct val="0"/>
              </a:spcAft>
              <a:buChar char="•"/>
              <a:defRPr sz="1000">
                <a:solidFill>
                  <a:schemeClr val="tx1"/>
                </a:solidFill>
                <a:latin typeface="+mn-lt"/>
              </a:defRPr>
            </a:lvl8pPr>
            <a:lvl9pPr marL="3260725" indent="-115888" algn="l" rtl="0" eaLnBrk="1" fontAlgn="base" hangingPunct="1">
              <a:spcBef>
                <a:spcPct val="20000"/>
              </a:spcBef>
              <a:spcAft>
                <a:spcPct val="0"/>
              </a:spcAft>
              <a:buChar char="•"/>
              <a:defRPr sz="1000">
                <a:solidFill>
                  <a:schemeClr val="tx1"/>
                </a:solidFill>
                <a:latin typeface="+mn-lt"/>
              </a:defRPr>
            </a:lvl9pPr>
          </a:lstStyle>
          <a:p>
            <a:pPr defTabSz="997456"/>
            <a:r>
              <a:rPr lang="de-DE" sz="1000" i="1">
                <a:solidFill>
                  <a:srgbClr val="F07D00"/>
                </a:solidFill>
                <a:latin typeface="Roboto"/>
              </a:rPr>
              <a:t>Anmerkung: </a:t>
            </a:r>
            <a:r>
              <a:rPr lang="de-DE" sz="1000">
                <a:solidFill>
                  <a:srgbClr val="003C50"/>
                </a:solidFill>
                <a:latin typeface="Roboto"/>
              </a:rPr>
              <a:t>Ergebnisse sind vorläufig und können sich noch ändern</a:t>
            </a:r>
          </a:p>
        </p:txBody>
      </p:sp>
      <p:grpSp>
        <p:nvGrpSpPr>
          <p:cNvPr id="44" name="Group 43">
            <a:extLst>
              <a:ext uri="{FF2B5EF4-FFF2-40B4-BE49-F238E27FC236}">
                <a16:creationId xmlns:a16="http://schemas.microsoft.com/office/drawing/2014/main" id="{4AA13335-5697-E6D5-9D53-B6651EF90EED}"/>
              </a:ext>
            </a:extLst>
          </p:cNvPr>
          <p:cNvGrpSpPr/>
          <p:nvPr/>
        </p:nvGrpSpPr>
        <p:grpSpPr>
          <a:xfrm>
            <a:off x="301196" y="4690494"/>
            <a:ext cx="3392680" cy="628650"/>
            <a:chOff x="6400800" y="1419225"/>
            <a:chExt cx="3392680" cy="628650"/>
          </a:xfrm>
        </p:grpSpPr>
        <p:sp>
          <p:nvSpPr>
            <p:cNvPr id="43" name="TextBox 3">
              <a:extLst>
                <a:ext uri="{FF2B5EF4-FFF2-40B4-BE49-F238E27FC236}">
                  <a16:creationId xmlns:a16="http://schemas.microsoft.com/office/drawing/2014/main" id="{B96E0654-B34C-CB31-C35F-91FA97E2D374}"/>
                </a:ext>
              </a:extLst>
            </p:cNvPr>
            <p:cNvSpPr txBox="1"/>
            <p:nvPr/>
          </p:nvSpPr>
          <p:spPr>
            <a:xfrm>
              <a:off x="6400800" y="1419225"/>
              <a:ext cx="2990850" cy="628650"/>
            </a:xfrm>
            <a:prstGeom prst="rect">
              <a:avLst/>
            </a:prstGeom>
            <a:solidFill>
              <a:schemeClr val="bg1">
                <a:alpha val="70000"/>
              </a:schemeClr>
            </a:solidFill>
            <a:ln>
              <a:noFill/>
            </a:ln>
          </p:spPr>
          <p:txBody>
            <a:bodyPr wrap="square" lIns="0" tIns="0" rIns="0" bIns="0" rtlCol="0" anchor="t">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11725" indent="-311725" defTabSz="997456">
                <a:buFont typeface="Arial"/>
                <a:buChar char="•"/>
              </a:pPr>
              <a:endParaRPr lang="de-DE" sz="1527">
                <a:solidFill>
                  <a:srgbClr val="003C50"/>
                </a:solidFill>
                <a:latin typeface="Roboto"/>
                <a:ea typeface="Roboto"/>
                <a:cs typeface="Roboto"/>
              </a:endParaRPr>
            </a:p>
            <a:p>
              <a:pPr defTabSz="997456"/>
              <a:endParaRPr lang="de-DE" sz="1527">
                <a:solidFill>
                  <a:srgbClr val="003C50"/>
                </a:solidFill>
                <a:latin typeface="Roboto"/>
              </a:endParaRPr>
            </a:p>
            <a:p>
              <a:pPr defTabSz="997456"/>
              <a:endParaRPr lang="de-DE" sz="1527">
                <a:solidFill>
                  <a:srgbClr val="003C50"/>
                </a:solidFill>
                <a:latin typeface="Roboto"/>
              </a:endParaRPr>
            </a:p>
            <a:p>
              <a:pPr defTabSz="997456"/>
              <a:endParaRPr lang="de-DE" sz="1527">
                <a:solidFill>
                  <a:srgbClr val="003C50"/>
                </a:solidFill>
                <a:latin typeface="Roboto"/>
                <a:ea typeface="Roboto"/>
                <a:cs typeface="Roboto"/>
              </a:endParaRPr>
            </a:p>
          </p:txBody>
        </p:sp>
        <p:grpSp>
          <p:nvGrpSpPr>
            <p:cNvPr id="8" name="Group 7">
              <a:extLst>
                <a:ext uri="{FF2B5EF4-FFF2-40B4-BE49-F238E27FC236}">
                  <a16:creationId xmlns:a16="http://schemas.microsoft.com/office/drawing/2014/main" id="{B4A5F6E5-BDD4-8D35-1AFF-148347541773}"/>
                </a:ext>
              </a:extLst>
            </p:cNvPr>
            <p:cNvGrpSpPr/>
            <p:nvPr/>
          </p:nvGrpSpPr>
          <p:grpSpPr>
            <a:xfrm>
              <a:off x="6470861" y="1506111"/>
              <a:ext cx="3322619" cy="448782"/>
              <a:chOff x="271585" y="5610835"/>
              <a:chExt cx="3593570" cy="448782"/>
            </a:xfrm>
          </p:grpSpPr>
          <p:sp>
            <p:nvSpPr>
              <p:cNvPr id="10" name="TextBox 9">
                <a:extLst>
                  <a:ext uri="{FF2B5EF4-FFF2-40B4-BE49-F238E27FC236}">
                    <a16:creationId xmlns:a16="http://schemas.microsoft.com/office/drawing/2014/main" id="{BC61C275-1FEB-0584-6B87-41E042C87978}"/>
                  </a:ext>
                </a:extLst>
              </p:cNvPr>
              <p:cNvSpPr txBox="1"/>
              <p:nvPr/>
            </p:nvSpPr>
            <p:spPr>
              <a:xfrm>
                <a:off x="511664" y="5616197"/>
                <a:ext cx="1439056" cy="169277"/>
              </a:xfrm>
              <a:prstGeom prst="rect">
                <a:avLst/>
              </a:prstGeom>
              <a:noFill/>
              <a:ln>
                <a:noFill/>
              </a:ln>
            </p:spPr>
            <p:txBody>
              <a:bodyPr wrap="square" lIns="0" tIns="0" rIns="0" bIns="0" rtlCol="0" anchor="t">
                <a:spAutoFit/>
              </a:bodyPr>
              <a:lstStyle/>
              <a:p>
                <a:r>
                  <a:rPr lang="de-DE" sz="1100">
                    <a:solidFill>
                      <a:schemeClr val="accent5">
                        <a:lumMod val="10000"/>
                      </a:schemeClr>
                    </a:solidFill>
                    <a:latin typeface="Roboto" panose="02000000000000000000" pitchFamily="2" charset="0"/>
                    <a:ea typeface="Roboto Slab" pitchFamily="2" charset="0"/>
                    <a:cs typeface="Calibri" panose="020F0502020204030204" pitchFamily="34" charset="0"/>
                  </a:rPr>
                  <a:t>Fokusgebiet</a:t>
                </a:r>
              </a:p>
            </p:txBody>
          </p:sp>
          <p:sp>
            <p:nvSpPr>
              <p:cNvPr id="11" name="TextBox 10">
                <a:extLst>
                  <a:ext uri="{FF2B5EF4-FFF2-40B4-BE49-F238E27FC236}">
                    <a16:creationId xmlns:a16="http://schemas.microsoft.com/office/drawing/2014/main" id="{9B831445-99C6-0D44-6B43-090AF87881C8}"/>
                  </a:ext>
                </a:extLst>
              </p:cNvPr>
              <p:cNvSpPr txBox="1"/>
              <p:nvPr/>
            </p:nvSpPr>
            <p:spPr>
              <a:xfrm>
                <a:off x="511663" y="5884979"/>
                <a:ext cx="2810943" cy="169277"/>
              </a:xfrm>
              <a:prstGeom prst="rect">
                <a:avLst/>
              </a:prstGeom>
              <a:noFill/>
              <a:ln>
                <a:noFill/>
              </a:ln>
            </p:spPr>
            <p:txBody>
              <a:bodyPr wrap="square" lIns="0" tIns="0" rIns="0" bIns="0" rtlCol="0" anchor="t">
                <a:spAutoFit/>
              </a:bodyPr>
              <a:lstStyle/>
              <a:p>
                <a:r>
                  <a:rPr lang="de-DE" sz="1100">
                    <a:solidFill>
                      <a:schemeClr val="accent5">
                        <a:lumMod val="10000"/>
                      </a:schemeClr>
                    </a:solidFill>
                    <a:latin typeface="Roboto" panose="02000000000000000000" pitchFamily="2" charset="0"/>
                    <a:ea typeface="Roboto Slab" pitchFamily="2" charset="0"/>
                    <a:cs typeface="Calibri" panose="020F0502020204030204" pitchFamily="34" charset="0"/>
                  </a:rPr>
                  <a:t>Gebiet mit dezentraler Wärmeversorgung</a:t>
                </a:r>
              </a:p>
            </p:txBody>
          </p:sp>
          <p:sp>
            <p:nvSpPr>
              <p:cNvPr id="16" name="Rectangle: Rounded Corners 15">
                <a:extLst>
                  <a:ext uri="{FF2B5EF4-FFF2-40B4-BE49-F238E27FC236}">
                    <a16:creationId xmlns:a16="http://schemas.microsoft.com/office/drawing/2014/main" id="{13F60537-6455-A8F0-B43A-3511BFBF915E}"/>
                  </a:ext>
                </a:extLst>
              </p:cNvPr>
              <p:cNvSpPr/>
              <p:nvPr/>
            </p:nvSpPr>
            <p:spPr bwMode="gray">
              <a:xfrm>
                <a:off x="271585" y="5610835"/>
                <a:ext cx="180000" cy="180000"/>
              </a:xfrm>
              <a:prstGeom prst="roundRect">
                <a:avLst/>
              </a:prstGeom>
              <a:solidFill>
                <a:srgbClr val="60D68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8" tIns="36008" rIns="36008" bIns="36008" rtlCol="0" anchor="ctr">
                <a:noAutofit/>
              </a:bodyPr>
              <a:lstStyle/>
              <a:p>
                <a:pPr algn="ctr"/>
                <a:endParaRPr lang="de-DE" sz="1400">
                  <a:solidFill>
                    <a:schemeClr val="tx1"/>
                  </a:solidFill>
                  <a:latin typeface="Calibri" panose="020F0502020204030204" pitchFamily="34" charset="0"/>
                  <a:cs typeface="Calibri" panose="020F0502020204030204" pitchFamily="34" charset="0"/>
                </a:endParaRPr>
              </a:p>
            </p:txBody>
          </p:sp>
          <p:sp>
            <p:nvSpPr>
              <p:cNvPr id="19" name="Rectangle: Rounded Corners 18">
                <a:extLst>
                  <a:ext uri="{FF2B5EF4-FFF2-40B4-BE49-F238E27FC236}">
                    <a16:creationId xmlns:a16="http://schemas.microsoft.com/office/drawing/2014/main" id="{B6384FD6-008C-DAA4-0687-73CC4D36521D}"/>
                  </a:ext>
                </a:extLst>
              </p:cNvPr>
              <p:cNvSpPr/>
              <p:nvPr/>
            </p:nvSpPr>
            <p:spPr bwMode="gray">
              <a:xfrm>
                <a:off x="271585" y="5879617"/>
                <a:ext cx="180000" cy="180000"/>
              </a:xfrm>
              <a:prstGeom prst="roundRect">
                <a:avLst/>
              </a:prstGeom>
              <a:solidFill>
                <a:srgbClr val="7BA4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8" tIns="36008" rIns="36008" bIns="36008" rtlCol="0" anchor="ctr">
                <a:noAutofit/>
              </a:bodyPr>
              <a:lstStyle/>
              <a:p>
                <a:pPr algn="ctr"/>
                <a:endParaRPr lang="de-DE" sz="1400">
                  <a:solidFill>
                    <a:schemeClr val="tx1"/>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6AB81FEE-9F72-B0C6-E1F0-72C79ED577A6}"/>
                  </a:ext>
                </a:extLst>
              </p:cNvPr>
              <p:cNvSpPr txBox="1"/>
              <p:nvPr/>
            </p:nvSpPr>
            <p:spPr>
              <a:xfrm>
                <a:off x="2426099" y="5616197"/>
                <a:ext cx="1439056" cy="169277"/>
              </a:xfrm>
              <a:prstGeom prst="rect">
                <a:avLst/>
              </a:prstGeom>
              <a:noFill/>
              <a:ln>
                <a:noFill/>
              </a:ln>
            </p:spPr>
            <p:txBody>
              <a:bodyPr wrap="square" lIns="0" tIns="0" rIns="0" bIns="0" rtlCol="0" anchor="t">
                <a:spAutoFit/>
              </a:bodyPr>
              <a:lstStyle/>
              <a:p>
                <a:r>
                  <a:rPr lang="de-DE" sz="1100">
                    <a:solidFill>
                      <a:schemeClr val="accent5">
                        <a:lumMod val="10000"/>
                      </a:schemeClr>
                    </a:solidFill>
                    <a:latin typeface="Roboto" panose="02000000000000000000" pitchFamily="2" charset="0"/>
                    <a:ea typeface="Roboto Slab" pitchFamily="2" charset="0"/>
                    <a:cs typeface="Calibri" panose="020F0502020204030204" pitchFamily="34" charset="0"/>
                  </a:rPr>
                  <a:t>Prüfgebiet</a:t>
                </a:r>
              </a:p>
            </p:txBody>
          </p:sp>
          <p:sp>
            <p:nvSpPr>
              <p:cNvPr id="21" name="Rectangle: Rounded Corners 20">
                <a:extLst>
                  <a:ext uri="{FF2B5EF4-FFF2-40B4-BE49-F238E27FC236}">
                    <a16:creationId xmlns:a16="http://schemas.microsoft.com/office/drawing/2014/main" id="{6DED66BE-870E-F5E4-0C88-39055993A484}"/>
                  </a:ext>
                </a:extLst>
              </p:cNvPr>
              <p:cNvSpPr/>
              <p:nvPr/>
            </p:nvSpPr>
            <p:spPr bwMode="gray">
              <a:xfrm>
                <a:off x="2163771" y="5610835"/>
                <a:ext cx="180000" cy="180000"/>
              </a:xfrm>
              <a:prstGeom prst="roundRect">
                <a:avLst/>
              </a:prstGeom>
              <a:solidFill>
                <a:srgbClr val="EDBE5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8" tIns="36008" rIns="36008" bIns="36008" rtlCol="0" anchor="ctr">
                <a:noAutofit/>
              </a:bodyPr>
              <a:lstStyle/>
              <a:p>
                <a:pPr algn="ctr"/>
                <a:endParaRPr lang="de-DE" sz="1400">
                  <a:solidFill>
                    <a:schemeClr val="tx1"/>
                  </a:solidFill>
                  <a:latin typeface="Calibri" panose="020F0502020204030204" pitchFamily="34" charset="0"/>
                  <a:cs typeface="Calibri" panose="020F0502020204030204" pitchFamily="34" charset="0"/>
                </a:endParaRPr>
              </a:p>
            </p:txBody>
          </p:sp>
        </p:grpSp>
      </p:grpSp>
      <p:sp>
        <p:nvSpPr>
          <p:cNvPr id="55" name="Rectangle 54">
            <a:extLst>
              <a:ext uri="{FF2B5EF4-FFF2-40B4-BE49-F238E27FC236}">
                <a16:creationId xmlns:a16="http://schemas.microsoft.com/office/drawing/2014/main" id="{CF9DA1CC-2249-EAE7-2027-141C2BADD1BC}"/>
              </a:ext>
            </a:extLst>
          </p:cNvPr>
          <p:cNvSpPr>
            <a:spLocks noChangeAspect="1"/>
          </p:cNvSpPr>
          <p:nvPr/>
        </p:nvSpPr>
        <p:spPr bwMode="gray">
          <a:xfrm>
            <a:off x="4431567" y="2485940"/>
            <a:ext cx="331023" cy="52342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cxnSp>
        <p:nvCxnSpPr>
          <p:cNvPr id="58" name="Straight Connector 57">
            <a:extLst>
              <a:ext uri="{FF2B5EF4-FFF2-40B4-BE49-F238E27FC236}">
                <a16:creationId xmlns:a16="http://schemas.microsoft.com/office/drawing/2014/main" id="{CEF99C05-8B38-05B2-D4E3-71F2C12E3C45}"/>
              </a:ext>
            </a:extLst>
          </p:cNvPr>
          <p:cNvCxnSpPr>
            <a:cxnSpLocks/>
          </p:cNvCxnSpPr>
          <p:nvPr/>
        </p:nvCxnSpPr>
        <p:spPr>
          <a:xfrm flipV="1">
            <a:off x="4431567" y="1057559"/>
            <a:ext cx="1521040" cy="1428381"/>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1B9795D-DBC5-01FE-1225-D02BF81F600D}"/>
              </a:ext>
            </a:extLst>
          </p:cNvPr>
          <p:cNvCxnSpPr>
            <a:cxnSpLocks/>
          </p:cNvCxnSpPr>
          <p:nvPr/>
        </p:nvCxnSpPr>
        <p:spPr>
          <a:xfrm flipV="1">
            <a:off x="4762590" y="2635623"/>
            <a:ext cx="1181961" cy="37374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DC5B9E62-A13B-FAF6-6D97-C863D6CBC44E}"/>
              </a:ext>
            </a:extLst>
          </p:cNvPr>
          <p:cNvSpPr>
            <a:spLocks/>
          </p:cNvSpPr>
          <p:nvPr/>
        </p:nvSpPr>
        <p:spPr bwMode="gray">
          <a:xfrm>
            <a:off x="3466911" y="2643943"/>
            <a:ext cx="765997" cy="55631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cxnSp>
        <p:nvCxnSpPr>
          <p:cNvPr id="52" name="Straight Connector 51">
            <a:extLst>
              <a:ext uri="{FF2B5EF4-FFF2-40B4-BE49-F238E27FC236}">
                <a16:creationId xmlns:a16="http://schemas.microsoft.com/office/drawing/2014/main" id="{83BFB54C-E5FE-B6E9-A044-4179132A4479}"/>
              </a:ext>
            </a:extLst>
          </p:cNvPr>
          <p:cNvCxnSpPr>
            <a:cxnSpLocks/>
          </p:cNvCxnSpPr>
          <p:nvPr/>
        </p:nvCxnSpPr>
        <p:spPr>
          <a:xfrm>
            <a:off x="2456817" y="2141350"/>
            <a:ext cx="1510346" cy="461356"/>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D613E56-3E84-3DA9-F5A6-09BA8C960C95}"/>
              </a:ext>
            </a:extLst>
          </p:cNvPr>
          <p:cNvCxnSpPr>
            <a:cxnSpLocks/>
          </p:cNvCxnSpPr>
          <p:nvPr/>
        </p:nvCxnSpPr>
        <p:spPr>
          <a:xfrm flipV="1">
            <a:off x="2448209" y="3257550"/>
            <a:ext cx="1600464" cy="41751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CDC17E0C-3457-00CC-5293-6976472FD40B}"/>
              </a:ext>
            </a:extLst>
          </p:cNvPr>
          <p:cNvSpPr>
            <a:spLocks/>
          </p:cNvSpPr>
          <p:nvPr/>
        </p:nvSpPr>
        <p:spPr bwMode="gray">
          <a:xfrm>
            <a:off x="4048674" y="2982211"/>
            <a:ext cx="671521" cy="87763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cxnSp>
        <p:nvCxnSpPr>
          <p:cNvPr id="82" name="Straight Connector 81">
            <a:extLst>
              <a:ext uri="{FF2B5EF4-FFF2-40B4-BE49-F238E27FC236}">
                <a16:creationId xmlns:a16="http://schemas.microsoft.com/office/drawing/2014/main" id="{1A704FD8-CF01-35CE-6CE6-8EB040854F25}"/>
              </a:ext>
            </a:extLst>
          </p:cNvPr>
          <p:cNvCxnSpPr>
            <a:cxnSpLocks/>
          </p:cNvCxnSpPr>
          <p:nvPr/>
        </p:nvCxnSpPr>
        <p:spPr>
          <a:xfrm flipV="1">
            <a:off x="4762590" y="2789216"/>
            <a:ext cx="1356291" cy="118633"/>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B2C40176-0AA4-5DC9-989E-8E74BD72CE8B}"/>
              </a:ext>
            </a:extLst>
          </p:cNvPr>
          <p:cNvCxnSpPr>
            <a:cxnSpLocks/>
          </p:cNvCxnSpPr>
          <p:nvPr/>
        </p:nvCxnSpPr>
        <p:spPr>
          <a:xfrm>
            <a:off x="4048673" y="3856266"/>
            <a:ext cx="2070208" cy="1217148"/>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053" name="TextBox 3">
            <a:extLst>
              <a:ext uri="{FF2B5EF4-FFF2-40B4-BE49-F238E27FC236}">
                <a16:creationId xmlns:a16="http://schemas.microsoft.com/office/drawing/2014/main" id="{61CEDFA9-49FC-F95A-1FC2-D56790714B7F}"/>
              </a:ext>
            </a:extLst>
          </p:cNvPr>
          <p:cNvSpPr txBox="1"/>
          <p:nvPr/>
        </p:nvSpPr>
        <p:spPr>
          <a:xfrm>
            <a:off x="277091" y="1698688"/>
            <a:ext cx="2171118" cy="442661"/>
          </a:xfrm>
          <a:prstGeom prst="rect">
            <a:avLst/>
          </a:prstGeom>
          <a:solidFill>
            <a:schemeClr val="bg1">
              <a:alpha val="70000"/>
            </a:schemeClr>
          </a:solidFill>
          <a:ln>
            <a:noFill/>
          </a:ln>
        </p:spPr>
        <p:txBody>
          <a:bodyPr wrap="square" lIns="0" tIns="0" rIns="0" bIns="0" rtlCol="0" anchor="t">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7456"/>
            <a:r>
              <a:rPr lang="de-DE" sz="1400">
                <a:solidFill>
                  <a:srgbClr val="003C50"/>
                </a:solidFill>
                <a:latin typeface="Roboto"/>
                <a:ea typeface="Roboto"/>
                <a:cs typeface="Roboto"/>
              </a:rPr>
              <a:t>Fokusgebiet 1:</a:t>
            </a:r>
          </a:p>
          <a:p>
            <a:pPr algn="ctr" defTabSz="997456"/>
            <a:r>
              <a:rPr lang="de-DE" sz="1400">
                <a:solidFill>
                  <a:srgbClr val="003C50"/>
                </a:solidFill>
                <a:latin typeface="Roboto"/>
                <a:ea typeface="Roboto"/>
                <a:cs typeface="Roboto"/>
              </a:rPr>
              <a:t>Rheda</a:t>
            </a:r>
          </a:p>
        </p:txBody>
      </p:sp>
      <p:sp>
        <p:nvSpPr>
          <p:cNvPr id="1054" name="TextBox 3">
            <a:extLst>
              <a:ext uri="{FF2B5EF4-FFF2-40B4-BE49-F238E27FC236}">
                <a16:creationId xmlns:a16="http://schemas.microsoft.com/office/drawing/2014/main" id="{0178F208-EDA8-C325-275C-BC66A354E665}"/>
              </a:ext>
            </a:extLst>
          </p:cNvPr>
          <p:cNvSpPr txBox="1"/>
          <p:nvPr/>
        </p:nvSpPr>
        <p:spPr>
          <a:xfrm>
            <a:off x="6935944" y="1053831"/>
            <a:ext cx="1710476" cy="439373"/>
          </a:xfrm>
          <a:prstGeom prst="rect">
            <a:avLst/>
          </a:prstGeom>
          <a:solidFill>
            <a:schemeClr val="bg1">
              <a:alpha val="70000"/>
            </a:schemeClr>
          </a:solidFill>
          <a:ln>
            <a:noFill/>
          </a:ln>
        </p:spPr>
        <p:txBody>
          <a:bodyPr wrap="square" lIns="0" tIns="0" rIns="0" bIns="0" rtlCol="0" anchor="t">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7456"/>
            <a:r>
              <a:rPr lang="de-DE" sz="1400">
                <a:solidFill>
                  <a:srgbClr val="003C50"/>
                </a:solidFill>
                <a:latin typeface="Roboto"/>
                <a:ea typeface="Roboto"/>
                <a:cs typeface="Roboto"/>
              </a:rPr>
              <a:t>Fokusgebiet 3:</a:t>
            </a:r>
          </a:p>
          <a:p>
            <a:pPr algn="ctr" defTabSz="997456"/>
            <a:r>
              <a:rPr lang="de-DE" sz="1400" err="1">
                <a:solidFill>
                  <a:srgbClr val="003C50"/>
                </a:solidFill>
                <a:latin typeface="Roboto"/>
                <a:ea typeface="Roboto"/>
                <a:cs typeface="Roboto"/>
              </a:rPr>
              <a:t>Nordrheda</a:t>
            </a:r>
            <a:r>
              <a:rPr lang="de-DE" sz="1400">
                <a:solidFill>
                  <a:srgbClr val="003C50"/>
                </a:solidFill>
                <a:latin typeface="Roboto"/>
                <a:ea typeface="Roboto"/>
                <a:cs typeface="Roboto"/>
              </a:rPr>
              <a:t>-Ems Ost</a:t>
            </a:r>
          </a:p>
        </p:txBody>
      </p:sp>
      <p:pic>
        <p:nvPicPr>
          <p:cNvPr id="35" name="Picture 34">
            <a:extLst>
              <a:ext uri="{FF2B5EF4-FFF2-40B4-BE49-F238E27FC236}">
                <a16:creationId xmlns:a16="http://schemas.microsoft.com/office/drawing/2014/main" id="{CCCBB765-CF7A-C2D5-AA1C-620898B74E48}"/>
              </a:ext>
            </a:extLst>
          </p:cNvPr>
          <p:cNvPicPr>
            <a:picLocks noChangeAspect="1"/>
          </p:cNvPicPr>
          <p:nvPr/>
        </p:nvPicPr>
        <p:blipFill>
          <a:blip r:embed="rId5" cstate="screen">
            <a:alphaModFix/>
            <a:extLst>
              <a:ext uri="{28A0092B-C50C-407E-A947-70E740481C1C}">
                <a14:useLocalDpi xmlns:a14="http://schemas.microsoft.com/office/drawing/2010/main"/>
              </a:ext>
            </a:extLst>
          </a:blip>
          <a:srcRect/>
          <a:stretch>
            <a:fillRect/>
          </a:stretch>
        </p:blipFill>
        <p:spPr>
          <a:xfrm>
            <a:off x="6090104" y="2791454"/>
            <a:ext cx="1799216" cy="2298411"/>
          </a:xfrm>
          <a:prstGeom prst="rect">
            <a:avLst/>
          </a:prstGeom>
        </p:spPr>
      </p:pic>
      <p:sp>
        <p:nvSpPr>
          <p:cNvPr id="1056" name="TextBox 3">
            <a:extLst>
              <a:ext uri="{FF2B5EF4-FFF2-40B4-BE49-F238E27FC236}">
                <a16:creationId xmlns:a16="http://schemas.microsoft.com/office/drawing/2014/main" id="{E9D8F958-31D3-AC86-D8A4-4A7BAEFC8BA5}"/>
              </a:ext>
            </a:extLst>
          </p:cNvPr>
          <p:cNvSpPr txBox="1"/>
          <p:nvPr/>
        </p:nvSpPr>
        <p:spPr>
          <a:xfrm>
            <a:off x="7875081" y="4034249"/>
            <a:ext cx="1653533" cy="439373"/>
          </a:xfrm>
          <a:prstGeom prst="rect">
            <a:avLst/>
          </a:prstGeom>
          <a:solidFill>
            <a:schemeClr val="bg1">
              <a:alpha val="70000"/>
            </a:schemeClr>
          </a:solidFill>
          <a:ln>
            <a:noFill/>
          </a:ln>
        </p:spPr>
        <p:txBody>
          <a:bodyPr wrap="square" lIns="0" tIns="0" rIns="0" bIns="0" rtlCol="0" anchor="t">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7456"/>
            <a:r>
              <a:rPr lang="de-DE" sz="1400">
                <a:solidFill>
                  <a:srgbClr val="003C50"/>
                </a:solidFill>
                <a:latin typeface="Roboto"/>
                <a:ea typeface="Roboto"/>
                <a:cs typeface="Roboto"/>
              </a:rPr>
              <a:t>Fokusgebiet 5:​</a:t>
            </a:r>
          </a:p>
          <a:p>
            <a:pPr algn="ctr" defTabSz="997456"/>
            <a:r>
              <a:rPr lang="de-DE" sz="1400">
                <a:solidFill>
                  <a:srgbClr val="003C50"/>
                </a:solidFill>
                <a:latin typeface="Roboto"/>
                <a:ea typeface="Roboto"/>
                <a:cs typeface="Roboto"/>
              </a:rPr>
              <a:t>Wiedenbrück Süd​</a:t>
            </a:r>
          </a:p>
        </p:txBody>
      </p:sp>
      <p:sp>
        <p:nvSpPr>
          <p:cNvPr id="1057" name="TextBox 3">
            <a:extLst>
              <a:ext uri="{FF2B5EF4-FFF2-40B4-BE49-F238E27FC236}">
                <a16:creationId xmlns:a16="http://schemas.microsoft.com/office/drawing/2014/main" id="{80C94B9E-8B0D-90CB-8429-AB7034705F84}"/>
              </a:ext>
            </a:extLst>
          </p:cNvPr>
          <p:cNvSpPr txBox="1"/>
          <p:nvPr/>
        </p:nvSpPr>
        <p:spPr>
          <a:xfrm>
            <a:off x="7875081" y="2776902"/>
            <a:ext cx="1653533" cy="439373"/>
          </a:xfrm>
          <a:prstGeom prst="rect">
            <a:avLst/>
          </a:prstGeom>
          <a:solidFill>
            <a:schemeClr val="bg1">
              <a:alpha val="70000"/>
            </a:schemeClr>
          </a:solidFill>
          <a:ln>
            <a:noFill/>
          </a:ln>
        </p:spPr>
        <p:txBody>
          <a:bodyPr wrap="square" lIns="0" tIns="0" rIns="0" bIns="0" rtlCol="0" anchor="t">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7456"/>
            <a:r>
              <a:rPr lang="de-DE" sz="1400">
                <a:solidFill>
                  <a:srgbClr val="003C50"/>
                </a:solidFill>
                <a:latin typeface="Roboto"/>
                <a:ea typeface="Roboto"/>
                <a:cs typeface="Roboto"/>
              </a:rPr>
              <a:t>Fokusgebiet 4:​</a:t>
            </a:r>
          </a:p>
          <a:p>
            <a:pPr algn="ctr" defTabSz="997456"/>
            <a:r>
              <a:rPr lang="de-DE" sz="1400">
                <a:solidFill>
                  <a:srgbClr val="003C50"/>
                </a:solidFill>
                <a:latin typeface="Roboto"/>
                <a:ea typeface="Roboto"/>
                <a:cs typeface="Roboto"/>
              </a:rPr>
              <a:t>Wiedenbrück Nord​</a:t>
            </a:r>
          </a:p>
        </p:txBody>
      </p:sp>
      <p:pic>
        <p:nvPicPr>
          <p:cNvPr id="7" name="Picture 6">
            <a:extLst>
              <a:ext uri="{FF2B5EF4-FFF2-40B4-BE49-F238E27FC236}">
                <a16:creationId xmlns:a16="http://schemas.microsoft.com/office/drawing/2014/main" id="{C7A01760-D824-4546-1229-32791DE8FFE2}"/>
              </a:ext>
            </a:extLst>
          </p:cNvPr>
          <p:cNvPicPr>
            <a:picLocks noChangeAspect="1"/>
          </p:cNvPicPr>
          <p:nvPr/>
        </p:nvPicPr>
        <p:blipFill>
          <a:blip r:embed="rId6" cstate="screen">
            <a:alphaModFix/>
            <a:extLst>
              <a:ext uri="{28A0092B-C50C-407E-A947-70E740481C1C}">
                <a14:useLocalDpi xmlns:a14="http://schemas.microsoft.com/office/drawing/2010/main"/>
              </a:ext>
            </a:extLst>
          </a:blip>
          <a:srcRect/>
          <a:stretch/>
        </p:blipFill>
        <p:spPr>
          <a:xfrm>
            <a:off x="5958845" y="1057558"/>
            <a:ext cx="993268" cy="1569265"/>
          </a:xfrm>
          <a:prstGeom prst="rect">
            <a:avLst/>
          </a:prstGeom>
        </p:spPr>
      </p:pic>
      <p:sp>
        <p:nvSpPr>
          <p:cNvPr id="69" name="Rectangle 68">
            <a:extLst>
              <a:ext uri="{FF2B5EF4-FFF2-40B4-BE49-F238E27FC236}">
                <a16:creationId xmlns:a16="http://schemas.microsoft.com/office/drawing/2014/main" id="{CA6E2197-907E-733C-1A94-B477259A53CA}"/>
              </a:ext>
            </a:extLst>
          </p:cNvPr>
          <p:cNvSpPr>
            <a:spLocks noChangeAspect="1"/>
          </p:cNvSpPr>
          <p:nvPr/>
        </p:nvSpPr>
        <p:spPr bwMode="gray">
          <a:xfrm>
            <a:off x="5950237" y="1057559"/>
            <a:ext cx="995640" cy="1574335"/>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sp>
        <p:nvSpPr>
          <p:cNvPr id="87" name="Rectangle 86">
            <a:extLst>
              <a:ext uri="{FF2B5EF4-FFF2-40B4-BE49-F238E27FC236}">
                <a16:creationId xmlns:a16="http://schemas.microsoft.com/office/drawing/2014/main" id="{EDC029F8-C90C-5D67-262E-C72384267935}"/>
              </a:ext>
            </a:extLst>
          </p:cNvPr>
          <p:cNvSpPr>
            <a:spLocks noChangeAspect="1"/>
          </p:cNvSpPr>
          <p:nvPr/>
        </p:nvSpPr>
        <p:spPr bwMode="gray">
          <a:xfrm>
            <a:off x="6090106" y="2786386"/>
            <a:ext cx="1792766" cy="2303481"/>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sp>
        <p:nvSpPr>
          <p:cNvPr id="60" name="Rectangle 59">
            <a:extLst>
              <a:ext uri="{FF2B5EF4-FFF2-40B4-BE49-F238E27FC236}">
                <a16:creationId xmlns:a16="http://schemas.microsoft.com/office/drawing/2014/main" id="{E3253F0D-3240-25E6-8F30-F6E94732C22E}"/>
              </a:ext>
            </a:extLst>
          </p:cNvPr>
          <p:cNvSpPr>
            <a:spLocks noChangeAspect="1"/>
          </p:cNvSpPr>
          <p:nvPr/>
        </p:nvSpPr>
        <p:spPr bwMode="gray">
          <a:xfrm>
            <a:off x="3978887" y="2365069"/>
            <a:ext cx="274643" cy="33760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pic>
        <p:nvPicPr>
          <p:cNvPr id="31" name="Picture 30">
            <a:extLst>
              <a:ext uri="{FF2B5EF4-FFF2-40B4-BE49-F238E27FC236}">
                <a16:creationId xmlns:a16="http://schemas.microsoft.com/office/drawing/2014/main" id="{FEA79E87-9C4E-BDA7-ED81-7602293BAC75}"/>
              </a:ext>
            </a:extLst>
          </p:cNvPr>
          <p:cNvPicPr>
            <a:picLocks noChangeAspect="1"/>
          </p:cNvPicPr>
          <p:nvPr/>
        </p:nvPicPr>
        <p:blipFill>
          <a:blip r:embed="rId7" cstate="screen">
            <a:alphaModFix/>
            <a:extLst>
              <a:ext uri="{28A0092B-C50C-407E-A947-70E740481C1C}">
                <a14:useLocalDpi xmlns:a14="http://schemas.microsoft.com/office/drawing/2010/main"/>
              </a:ext>
            </a:extLst>
          </a:blip>
          <a:srcRect/>
          <a:stretch>
            <a:fillRect/>
          </a:stretch>
        </p:blipFill>
        <p:spPr>
          <a:xfrm>
            <a:off x="2707617" y="1052159"/>
            <a:ext cx="884930" cy="1082400"/>
          </a:xfrm>
          <a:prstGeom prst="rect">
            <a:avLst/>
          </a:prstGeom>
        </p:spPr>
      </p:pic>
      <p:sp>
        <p:nvSpPr>
          <p:cNvPr id="70" name="TextBox 3">
            <a:extLst>
              <a:ext uri="{FF2B5EF4-FFF2-40B4-BE49-F238E27FC236}">
                <a16:creationId xmlns:a16="http://schemas.microsoft.com/office/drawing/2014/main" id="{8B7F6316-1A4D-5DBD-C610-F66279A4C3B9}"/>
              </a:ext>
            </a:extLst>
          </p:cNvPr>
          <p:cNvSpPr txBox="1"/>
          <p:nvPr/>
        </p:nvSpPr>
        <p:spPr>
          <a:xfrm>
            <a:off x="992837" y="1054187"/>
            <a:ext cx="1710476" cy="442661"/>
          </a:xfrm>
          <a:prstGeom prst="rect">
            <a:avLst/>
          </a:prstGeom>
          <a:solidFill>
            <a:schemeClr val="bg1">
              <a:alpha val="70000"/>
            </a:schemeClr>
          </a:solidFill>
          <a:ln>
            <a:noFill/>
          </a:ln>
        </p:spPr>
        <p:txBody>
          <a:bodyPr wrap="square" lIns="0" tIns="0" rIns="0" bIns="0" rtlCol="0" anchor="t">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7456"/>
            <a:r>
              <a:rPr lang="de-DE" sz="1400">
                <a:solidFill>
                  <a:srgbClr val="003C50"/>
                </a:solidFill>
                <a:latin typeface="Roboto"/>
                <a:ea typeface="Roboto"/>
                <a:cs typeface="Roboto"/>
              </a:rPr>
              <a:t>Fokusgebiet 2:</a:t>
            </a:r>
          </a:p>
          <a:p>
            <a:pPr algn="ctr" defTabSz="997456"/>
            <a:r>
              <a:rPr lang="de-DE" sz="1400" err="1">
                <a:solidFill>
                  <a:srgbClr val="003C50"/>
                </a:solidFill>
                <a:ea typeface="Roboto"/>
                <a:cs typeface="Roboto"/>
              </a:rPr>
              <a:t>Nordrheda</a:t>
            </a:r>
            <a:r>
              <a:rPr lang="de-DE" sz="1400">
                <a:solidFill>
                  <a:srgbClr val="003C50"/>
                </a:solidFill>
                <a:ea typeface="Roboto"/>
                <a:cs typeface="Roboto"/>
              </a:rPr>
              <a:t>-Ems </a:t>
            </a:r>
            <a:r>
              <a:rPr lang="de-DE" sz="1400">
                <a:solidFill>
                  <a:srgbClr val="003C50"/>
                </a:solidFill>
                <a:latin typeface="Roboto"/>
                <a:ea typeface="Roboto"/>
                <a:cs typeface="Roboto"/>
              </a:rPr>
              <a:t>West</a:t>
            </a:r>
          </a:p>
        </p:txBody>
      </p:sp>
      <p:cxnSp>
        <p:nvCxnSpPr>
          <p:cNvPr id="64" name="Straight Connector 63">
            <a:extLst>
              <a:ext uri="{FF2B5EF4-FFF2-40B4-BE49-F238E27FC236}">
                <a16:creationId xmlns:a16="http://schemas.microsoft.com/office/drawing/2014/main" id="{407B30BD-A5F0-59E3-2D23-CF34CD5F2D08}"/>
              </a:ext>
            </a:extLst>
          </p:cNvPr>
          <p:cNvCxnSpPr>
            <a:cxnSpLocks/>
          </p:cNvCxnSpPr>
          <p:nvPr/>
        </p:nvCxnSpPr>
        <p:spPr>
          <a:xfrm>
            <a:off x="3591630" y="2136249"/>
            <a:ext cx="377120" cy="507694"/>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ABF01B2-C817-6207-B0A7-F80DFD658588}"/>
              </a:ext>
            </a:extLst>
          </p:cNvPr>
          <p:cNvCxnSpPr>
            <a:cxnSpLocks/>
          </p:cNvCxnSpPr>
          <p:nvPr/>
        </p:nvCxnSpPr>
        <p:spPr>
          <a:xfrm>
            <a:off x="3598134" y="1072241"/>
            <a:ext cx="655396" cy="130160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80458067-D6E0-84EB-D05A-A2529032BD76}"/>
              </a:ext>
            </a:extLst>
          </p:cNvPr>
          <p:cNvSpPr>
            <a:spLocks noChangeAspect="1"/>
          </p:cNvSpPr>
          <p:nvPr/>
        </p:nvSpPr>
        <p:spPr bwMode="gray">
          <a:xfrm>
            <a:off x="2707617" y="1052159"/>
            <a:ext cx="881909" cy="1084090"/>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pic>
        <p:nvPicPr>
          <p:cNvPr id="25" name="Picture 24">
            <a:extLst>
              <a:ext uri="{FF2B5EF4-FFF2-40B4-BE49-F238E27FC236}">
                <a16:creationId xmlns:a16="http://schemas.microsoft.com/office/drawing/2014/main" id="{B8FAD0C8-9D0B-7E84-576E-1A8F59BFE9F3}"/>
              </a:ext>
            </a:extLst>
          </p:cNvPr>
          <p:cNvPicPr>
            <a:picLocks noChangeAspect="1"/>
          </p:cNvPicPr>
          <p:nvPr/>
        </p:nvPicPr>
        <p:blipFill>
          <a:blip r:embed="rId8" cstate="screen">
            <a:alphaModFix/>
            <a:extLst>
              <a:ext uri="{28A0092B-C50C-407E-A947-70E740481C1C}">
                <a14:useLocalDpi xmlns:a14="http://schemas.microsoft.com/office/drawing/2010/main"/>
              </a:ext>
            </a:extLst>
          </a:blip>
          <a:srcRect/>
          <a:stretch>
            <a:fillRect/>
          </a:stretch>
        </p:blipFill>
        <p:spPr>
          <a:xfrm>
            <a:off x="283596" y="2136249"/>
            <a:ext cx="2164614" cy="1540510"/>
          </a:xfrm>
          <a:prstGeom prst="rect">
            <a:avLst/>
          </a:prstGeom>
        </p:spPr>
      </p:pic>
      <p:sp>
        <p:nvSpPr>
          <p:cNvPr id="51" name="Rectangle 50">
            <a:extLst>
              <a:ext uri="{FF2B5EF4-FFF2-40B4-BE49-F238E27FC236}">
                <a16:creationId xmlns:a16="http://schemas.microsoft.com/office/drawing/2014/main" id="{F5C79821-E1A7-7D12-B7AC-2C412C2FA61C}"/>
              </a:ext>
            </a:extLst>
          </p:cNvPr>
          <p:cNvSpPr>
            <a:spLocks noChangeAspect="1"/>
          </p:cNvSpPr>
          <p:nvPr/>
        </p:nvSpPr>
        <p:spPr bwMode="gray">
          <a:xfrm>
            <a:off x="285699" y="2141350"/>
            <a:ext cx="2162510" cy="1535409"/>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spTree>
    <p:extLst>
      <p:ext uri="{BB962C8B-B14F-4D97-AF65-F5344CB8AC3E}">
        <p14:creationId xmlns:p14="http://schemas.microsoft.com/office/powerpoint/2010/main" val="18912407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descr="A map of a city&#10;&#10;AI-generated content may be incorrect.">
            <a:extLst>
              <a:ext uri="{FF2B5EF4-FFF2-40B4-BE49-F238E27FC236}">
                <a16:creationId xmlns:a16="http://schemas.microsoft.com/office/drawing/2014/main" id="{C5D73BC1-9367-7786-019F-F78817B84491}"/>
              </a:ext>
            </a:extLst>
          </p:cNvPr>
          <p:cNvPicPr>
            <a:picLocks noChangeAspect="1"/>
          </p:cNvPicPr>
          <p:nvPr/>
        </p:nvPicPr>
        <p:blipFill>
          <a:blip r:embed="rId3" cstate="screen">
            <a:alphaModFix amt="75000"/>
            <a:extLst>
              <a:ext uri="{28A0092B-C50C-407E-A947-70E740481C1C}">
                <a14:useLocalDpi xmlns:a14="http://schemas.microsoft.com/office/drawing/2010/main"/>
              </a:ext>
            </a:extLst>
          </a:blip>
          <a:srcRect/>
          <a:stretch>
            <a:fillRect/>
          </a:stretch>
        </p:blipFill>
        <p:spPr>
          <a:xfrm>
            <a:off x="6529617" y="1090704"/>
            <a:ext cx="3053930" cy="2669044"/>
          </a:xfrm>
          <a:prstGeom prst="rect">
            <a:avLst/>
          </a:prstGeom>
        </p:spPr>
      </p:pic>
      <p:sp>
        <p:nvSpPr>
          <p:cNvPr id="30" name="Slide Number Placeholder 29">
            <a:extLst>
              <a:ext uri="{FF2B5EF4-FFF2-40B4-BE49-F238E27FC236}">
                <a16:creationId xmlns:a16="http://schemas.microsoft.com/office/drawing/2014/main" id="{C0B9BD8F-682C-64BE-0CE4-15E88AFCBA98}"/>
              </a:ext>
            </a:extLst>
          </p:cNvPr>
          <p:cNvSpPr>
            <a:spLocks noGrp="1"/>
          </p:cNvSpPr>
          <p:nvPr>
            <p:ph type="sldNum" sz="quarter" idx="11"/>
          </p:nvPr>
        </p:nvSpPr>
        <p:spPr/>
        <p:txBody>
          <a:bodyPr/>
          <a:lstStyle/>
          <a:p>
            <a:endParaRPr lang="de-DE"/>
          </a:p>
          <a:p>
            <a:fld id="{24C420F5-194C-40F2-A080-C5F3EDD89037}" type="slidenum">
              <a:rPr lang="de-DE" smtClean="0"/>
              <a:pPr/>
              <a:t>47</a:t>
            </a:fld>
            <a:endParaRPr lang="de-DE"/>
          </a:p>
        </p:txBody>
      </p:sp>
      <p:sp>
        <p:nvSpPr>
          <p:cNvPr id="3" name="Title 2">
            <a:extLst>
              <a:ext uri="{FF2B5EF4-FFF2-40B4-BE49-F238E27FC236}">
                <a16:creationId xmlns:a16="http://schemas.microsoft.com/office/drawing/2014/main" id="{77CD6BBE-DCF0-39A6-491D-AC4566DFA29C}"/>
              </a:ext>
            </a:extLst>
          </p:cNvPr>
          <p:cNvSpPr>
            <a:spLocks noGrp="1"/>
          </p:cNvSpPr>
          <p:nvPr>
            <p:ph type="title"/>
          </p:nvPr>
        </p:nvSpPr>
        <p:spPr/>
        <p:txBody>
          <a:bodyPr/>
          <a:lstStyle/>
          <a:p>
            <a:r>
              <a:rPr lang="de-DE" b="1">
                <a:latin typeface="Roboto" panose="02000000000000000000" pitchFamily="2" charset="0"/>
              </a:rPr>
              <a:t>Erkenntnisse der Kommunalen Wärmeplanung - Zielszenario</a:t>
            </a:r>
            <a:br>
              <a:rPr lang="de-DE" b="1">
                <a:latin typeface="Roboto" panose="02000000000000000000" pitchFamily="2" charset="0"/>
              </a:rPr>
            </a:br>
            <a:r>
              <a:rPr lang="de-DE">
                <a:solidFill>
                  <a:srgbClr val="003C50"/>
                </a:solidFill>
                <a:ea typeface="Roboto"/>
                <a:cs typeface="Roboto"/>
              </a:rPr>
              <a:t>Fokusgebiet Rheda zeichnet sich durch Biogasanlage und Schulzentrum aus</a:t>
            </a:r>
            <a:endParaRPr lang="de-DE"/>
          </a:p>
        </p:txBody>
      </p:sp>
      <p:sp>
        <p:nvSpPr>
          <p:cNvPr id="29" name="Footer Placeholder 28">
            <a:extLst>
              <a:ext uri="{FF2B5EF4-FFF2-40B4-BE49-F238E27FC236}">
                <a16:creationId xmlns:a16="http://schemas.microsoft.com/office/drawing/2014/main" id="{B5C6FF92-4532-3AE1-D15D-3BBE7EC8B27D}"/>
              </a:ext>
            </a:extLst>
          </p:cNvPr>
          <p:cNvSpPr>
            <a:spLocks noGrp="1"/>
          </p:cNvSpPr>
          <p:nvPr>
            <p:ph type="ftr" sz="quarter" idx="12"/>
          </p:nvPr>
        </p:nvSpPr>
        <p:spPr/>
        <p:txBody>
          <a:bodyPr/>
          <a:lstStyle/>
          <a:p>
            <a:r>
              <a:rPr lang="de-DE"/>
              <a:t>© 2026</a:t>
            </a:r>
          </a:p>
          <a:p>
            <a:r>
              <a:rPr lang="de-DE"/>
              <a:t>d-fine</a:t>
            </a:r>
          </a:p>
        </p:txBody>
      </p:sp>
      <p:grpSp>
        <p:nvGrpSpPr>
          <p:cNvPr id="27" name="Group 26">
            <a:extLst>
              <a:ext uri="{FF2B5EF4-FFF2-40B4-BE49-F238E27FC236}">
                <a16:creationId xmlns:a16="http://schemas.microsoft.com/office/drawing/2014/main" id="{7AE7D70E-4A9A-2240-C8C0-0C9EBA40D32D}"/>
              </a:ext>
            </a:extLst>
          </p:cNvPr>
          <p:cNvGrpSpPr/>
          <p:nvPr/>
        </p:nvGrpSpPr>
        <p:grpSpPr>
          <a:xfrm>
            <a:off x="611252" y="1136351"/>
            <a:ext cx="5765498" cy="1918369"/>
            <a:chOff x="-1858601" y="1209754"/>
            <a:chExt cx="5765498" cy="1918369"/>
          </a:xfrm>
        </p:grpSpPr>
        <p:sp>
          <p:nvSpPr>
            <p:cNvPr id="22" name="Rectangle 21">
              <a:extLst>
                <a:ext uri="{FF2B5EF4-FFF2-40B4-BE49-F238E27FC236}">
                  <a16:creationId xmlns:a16="http://schemas.microsoft.com/office/drawing/2014/main" id="{077E552F-3A5E-3B68-BCB6-32D645BFF2BC}"/>
                </a:ext>
              </a:extLst>
            </p:cNvPr>
            <p:cNvSpPr/>
            <p:nvPr/>
          </p:nvSpPr>
          <p:spPr bwMode="gray">
            <a:xfrm>
              <a:off x="-1787782" y="1209754"/>
              <a:ext cx="2735059" cy="432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600" b="1">
                  <a:solidFill>
                    <a:schemeClr val="tx1"/>
                  </a:solidFill>
                </a:rPr>
                <a:t>Fokusgebiet 1: Rheda</a:t>
              </a:r>
            </a:p>
          </p:txBody>
        </p:sp>
        <p:grpSp>
          <p:nvGrpSpPr>
            <p:cNvPr id="23" name="Group 22">
              <a:extLst>
                <a:ext uri="{FF2B5EF4-FFF2-40B4-BE49-F238E27FC236}">
                  <a16:creationId xmlns:a16="http://schemas.microsoft.com/office/drawing/2014/main" id="{ABABA5D5-C8EC-258A-6FC7-A2CC32BD9AFF}"/>
                </a:ext>
              </a:extLst>
            </p:cNvPr>
            <p:cNvGrpSpPr>
              <a:grpSpLocks noChangeAspect="1"/>
            </p:cNvGrpSpPr>
            <p:nvPr>
              <p:custDataLst>
                <p:tags r:id="rId1"/>
              </p:custDataLst>
            </p:nvPr>
          </p:nvGrpSpPr>
          <p:grpSpPr>
            <a:xfrm>
              <a:off x="-1786571" y="1267842"/>
              <a:ext cx="2543028" cy="333446"/>
              <a:chOff x="-4818609" y="1244082"/>
              <a:chExt cx="6977609" cy="914918"/>
            </a:xfrm>
            <a:solidFill>
              <a:schemeClr val="tx2"/>
            </a:solidFill>
          </p:grpSpPr>
          <p:sp>
            <p:nvSpPr>
              <p:cNvPr id="24" name="Rectangle 23" hidden="1">
                <a:extLst>
                  <a:ext uri="{FF2B5EF4-FFF2-40B4-BE49-F238E27FC236}">
                    <a16:creationId xmlns:a16="http://schemas.microsoft.com/office/drawing/2014/main" id="{138CBFC4-9AEE-E8F6-2B5C-2495C27CA712}"/>
                  </a:ext>
                </a:extLst>
              </p:cNvPr>
              <p:cNvSpPr/>
              <p:nvPr/>
            </p:nvSpPr>
            <p:spPr bwMode="gray">
              <a:xfrm>
                <a:off x="1270000" y="1270000"/>
                <a:ext cx="889000" cy="889000"/>
              </a:xfrm>
              <a:prstGeom prst="rect">
                <a:avLst/>
              </a:prstGeom>
              <a:grpFill/>
              <a:ln w="9525">
                <a:solidFill>
                  <a:schemeClr val="tx1"/>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25" name="Graphic 24">
                <a:extLst>
                  <a:ext uri="{FF2B5EF4-FFF2-40B4-BE49-F238E27FC236}">
                    <a16:creationId xmlns:a16="http://schemas.microsoft.com/office/drawing/2014/main" id="{170EA75F-A3FB-AA63-ADAE-696212E72F6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818609" y="1244082"/>
                <a:ext cx="888999" cy="889000"/>
              </a:xfrm>
              <a:prstGeom prst="rect">
                <a:avLst/>
              </a:prstGeom>
            </p:spPr>
          </p:pic>
        </p:grpSp>
        <p:sp>
          <p:nvSpPr>
            <p:cNvPr id="26" name="Rectangle 25">
              <a:extLst>
                <a:ext uri="{FF2B5EF4-FFF2-40B4-BE49-F238E27FC236}">
                  <a16:creationId xmlns:a16="http://schemas.microsoft.com/office/drawing/2014/main" id="{01516F02-3D92-3122-51D0-E48507765E8B}"/>
                </a:ext>
              </a:extLst>
            </p:cNvPr>
            <p:cNvSpPr/>
            <p:nvPr/>
          </p:nvSpPr>
          <p:spPr bwMode="gray">
            <a:xfrm>
              <a:off x="-1858601" y="1219201"/>
              <a:ext cx="5765498" cy="190892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spcAft>
                  <a:spcPts val="600"/>
                </a:spcAft>
                <a:buClr>
                  <a:srgbClr val="003C50"/>
                </a:buClr>
                <a:buFont typeface="Wingdings" panose="05000000000000000000" pitchFamily="2" charset="2"/>
                <a:buChar char="§"/>
              </a:pPr>
              <a:r>
                <a:rPr lang="de-DE" sz="1300" dirty="0">
                  <a:solidFill>
                    <a:schemeClr val="tx1"/>
                  </a:solidFill>
                </a:rPr>
                <a:t>Biogasbasierte Wärmeerzeugung in Höhe von 8,5-9,0 GWh möglich</a:t>
              </a:r>
            </a:p>
            <a:p>
              <a:pPr marL="144000" indent="-144000">
                <a:spcAft>
                  <a:spcPts val="600"/>
                </a:spcAft>
                <a:buClr>
                  <a:srgbClr val="003C50"/>
                </a:buClr>
                <a:buFont typeface="Wingdings" panose="05000000000000000000" pitchFamily="2" charset="2"/>
                <a:buChar char="§"/>
              </a:pPr>
              <a:r>
                <a:rPr lang="de-DE" sz="1300" dirty="0">
                  <a:solidFill>
                    <a:schemeClr val="tx1"/>
                  </a:solidFill>
                </a:rPr>
                <a:t>Mehrere Ankerkunden in Industrie und Gewerbe nördlich der Bahnstrecke</a:t>
              </a:r>
            </a:p>
            <a:p>
              <a:pPr marL="144000" indent="-144000">
                <a:spcAft>
                  <a:spcPts val="600"/>
                </a:spcAft>
                <a:buClr>
                  <a:srgbClr val="003C50"/>
                </a:buClr>
                <a:buFont typeface="Wingdings" panose="05000000000000000000" pitchFamily="2" charset="2"/>
                <a:buChar char="§"/>
              </a:pPr>
              <a:r>
                <a:rPr lang="de-DE" sz="1300" dirty="0">
                  <a:solidFill>
                    <a:schemeClr val="tx1"/>
                  </a:solidFill>
                </a:rPr>
                <a:t>Kommunale Gebäude mit hohem Wärmebedarf u.a. Schulzentrum, Kindertagesstätte, Kirche und Pfarrheim südlich der Bahnstrecke</a:t>
              </a:r>
            </a:p>
            <a:p>
              <a:pPr marL="144000" indent="-144000">
                <a:spcAft>
                  <a:spcPts val="600"/>
                </a:spcAft>
                <a:buClr>
                  <a:srgbClr val="003C50"/>
                </a:buClr>
                <a:buFont typeface="Wingdings" panose="05000000000000000000" pitchFamily="2" charset="2"/>
                <a:buChar char="§"/>
              </a:pPr>
              <a:r>
                <a:rPr lang="de-DE" sz="1300" dirty="0">
                  <a:solidFill>
                    <a:schemeClr val="tx1"/>
                  </a:solidFill>
                </a:rPr>
                <a:t>Mehrere als Prüfgebiete ausgewiesene Abschnitte sind aufgrund der direkten Nähe zu weiteren Prüf- und Fokusgebieten interessant</a:t>
              </a:r>
            </a:p>
            <a:p>
              <a:pPr marL="144000" indent="-144000">
                <a:lnSpc>
                  <a:spcPct val="95000"/>
                </a:lnSpc>
                <a:spcAft>
                  <a:spcPts val="200"/>
                </a:spcAft>
                <a:buClr>
                  <a:srgbClr val="003C50"/>
                </a:buClr>
                <a:buFont typeface="Wingdings" panose="05000000000000000000" pitchFamily="2" charset="2"/>
                <a:buChar char="§"/>
              </a:pPr>
              <a:endParaRPr lang="de-DE" sz="1100" dirty="0">
                <a:solidFill>
                  <a:schemeClr val="tx1"/>
                </a:solidFill>
              </a:endParaRPr>
            </a:p>
            <a:p>
              <a:pPr>
                <a:lnSpc>
                  <a:spcPct val="95000"/>
                </a:lnSpc>
                <a:spcAft>
                  <a:spcPts val="200"/>
                </a:spcAft>
                <a:buClr>
                  <a:srgbClr val="003C50"/>
                </a:buClr>
              </a:pPr>
              <a:endParaRPr lang="de-DE" sz="1100" dirty="0">
                <a:solidFill>
                  <a:schemeClr val="tx1"/>
                </a:solidFill>
              </a:endParaRPr>
            </a:p>
          </p:txBody>
        </p:sp>
      </p:grpSp>
      <p:sp>
        <p:nvSpPr>
          <p:cNvPr id="7" name="Rectangle 6">
            <a:extLst>
              <a:ext uri="{FF2B5EF4-FFF2-40B4-BE49-F238E27FC236}">
                <a16:creationId xmlns:a16="http://schemas.microsoft.com/office/drawing/2014/main" id="{696E901C-E438-E6DB-063D-601B86E18967}"/>
              </a:ext>
            </a:extLst>
          </p:cNvPr>
          <p:cNvSpPr>
            <a:spLocks noChangeAspect="1"/>
          </p:cNvSpPr>
          <p:nvPr/>
        </p:nvSpPr>
        <p:spPr bwMode="gray">
          <a:xfrm>
            <a:off x="8190476" y="1872396"/>
            <a:ext cx="257445" cy="407080"/>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sp>
        <p:nvSpPr>
          <p:cNvPr id="8" name="Rectangle 7">
            <a:extLst>
              <a:ext uri="{FF2B5EF4-FFF2-40B4-BE49-F238E27FC236}">
                <a16:creationId xmlns:a16="http://schemas.microsoft.com/office/drawing/2014/main" id="{D40CF239-8E76-A74A-D490-B18F5E3948AD}"/>
              </a:ext>
            </a:extLst>
          </p:cNvPr>
          <p:cNvSpPr>
            <a:spLocks/>
          </p:cNvSpPr>
          <p:nvPr/>
        </p:nvSpPr>
        <p:spPr bwMode="gray">
          <a:xfrm>
            <a:off x="7440237" y="1995279"/>
            <a:ext cx="595736" cy="38999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sp>
        <p:nvSpPr>
          <p:cNvPr id="9" name="Rectangle 8">
            <a:extLst>
              <a:ext uri="{FF2B5EF4-FFF2-40B4-BE49-F238E27FC236}">
                <a16:creationId xmlns:a16="http://schemas.microsoft.com/office/drawing/2014/main" id="{C4875C86-627A-C21C-6DAF-B5739169B7D6}"/>
              </a:ext>
            </a:extLst>
          </p:cNvPr>
          <p:cNvSpPr>
            <a:spLocks/>
          </p:cNvSpPr>
          <p:nvPr/>
        </p:nvSpPr>
        <p:spPr bwMode="gray">
          <a:xfrm>
            <a:off x="7892690" y="2258359"/>
            <a:ext cx="522260" cy="682561"/>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sp>
        <p:nvSpPr>
          <p:cNvPr id="10" name="Rectangle 9">
            <a:extLst>
              <a:ext uri="{FF2B5EF4-FFF2-40B4-BE49-F238E27FC236}">
                <a16:creationId xmlns:a16="http://schemas.microsoft.com/office/drawing/2014/main" id="{924F954F-13E1-E35E-5D75-AA119FFA4C2C}"/>
              </a:ext>
            </a:extLst>
          </p:cNvPr>
          <p:cNvSpPr>
            <a:spLocks noChangeAspect="1"/>
          </p:cNvSpPr>
          <p:nvPr/>
        </p:nvSpPr>
        <p:spPr bwMode="gray">
          <a:xfrm>
            <a:off x="7864883" y="1778392"/>
            <a:ext cx="187129" cy="262565"/>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grpSp>
        <p:nvGrpSpPr>
          <p:cNvPr id="13" name="Group 12">
            <a:extLst>
              <a:ext uri="{FF2B5EF4-FFF2-40B4-BE49-F238E27FC236}">
                <a16:creationId xmlns:a16="http://schemas.microsoft.com/office/drawing/2014/main" id="{18B680C3-F7F5-D908-F6E2-B1E9BFD04E0B}"/>
              </a:ext>
            </a:extLst>
          </p:cNvPr>
          <p:cNvGrpSpPr/>
          <p:nvPr/>
        </p:nvGrpSpPr>
        <p:grpSpPr>
          <a:xfrm>
            <a:off x="6531252" y="3765844"/>
            <a:ext cx="3392680" cy="628650"/>
            <a:chOff x="6400800" y="1419225"/>
            <a:chExt cx="3392680" cy="628650"/>
          </a:xfrm>
        </p:grpSpPr>
        <p:sp>
          <p:nvSpPr>
            <p:cNvPr id="14" name="TextBox 3">
              <a:extLst>
                <a:ext uri="{FF2B5EF4-FFF2-40B4-BE49-F238E27FC236}">
                  <a16:creationId xmlns:a16="http://schemas.microsoft.com/office/drawing/2014/main" id="{74046399-DE35-995A-74FB-24C56F1A591E}"/>
                </a:ext>
              </a:extLst>
            </p:cNvPr>
            <p:cNvSpPr txBox="1"/>
            <p:nvPr/>
          </p:nvSpPr>
          <p:spPr>
            <a:xfrm>
              <a:off x="6400800" y="1419225"/>
              <a:ext cx="2990850" cy="628650"/>
            </a:xfrm>
            <a:prstGeom prst="rect">
              <a:avLst/>
            </a:prstGeom>
            <a:solidFill>
              <a:schemeClr val="bg1">
                <a:alpha val="70000"/>
              </a:schemeClr>
            </a:solidFill>
            <a:ln>
              <a:noFill/>
            </a:ln>
          </p:spPr>
          <p:txBody>
            <a:bodyPr wrap="square" lIns="0" tIns="0" rIns="0" bIns="0" rtlCol="0" anchor="t">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11725" indent="-311725" defTabSz="997456">
                <a:buFont typeface="Arial"/>
                <a:buChar char="•"/>
              </a:pPr>
              <a:endParaRPr lang="de-DE" sz="1527">
                <a:solidFill>
                  <a:srgbClr val="003C50"/>
                </a:solidFill>
                <a:latin typeface="Roboto"/>
                <a:ea typeface="Roboto"/>
                <a:cs typeface="Roboto"/>
              </a:endParaRPr>
            </a:p>
            <a:p>
              <a:pPr defTabSz="997456"/>
              <a:endParaRPr lang="de-DE" sz="1527">
                <a:solidFill>
                  <a:srgbClr val="003C50"/>
                </a:solidFill>
                <a:latin typeface="Roboto"/>
              </a:endParaRPr>
            </a:p>
            <a:p>
              <a:pPr defTabSz="997456"/>
              <a:endParaRPr lang="de-DE" sz="1527">
                <a:solidFill>
                  <a:srgbClr val="003C50"/>
                </a:solidFill>
                <a:latin typeface="Roboto"/>
              </a:endParaRPr>
            </a:p>
            <a:p>
              <a:pPr defTabSz="997456"/>
              <a:endParaRPr lang="de-DE" sz="1527">
                <a:solidFill>
                  <a:srgbClr val="003C50"/>
                </a:solidFill>
                <a:latin typeface="Roboto"/>
                <a:ea typeface="Roboto"/>
                <a:cs typeface="Roboto"/>
              </a:endParaRPr>
            </a:p>
          </p:txBody>
        </p:sp>
        <p:grpSp>
          <p:nvGrpSpPr>
            <p:cNvPr id="15" name="Group 14">
              <a:extLst>
                <a:ext uri="{FF2B5EF4-FFF2-40B4-BE49-F238E27FC236}">
                  <a16:creationId xmlns:a16="http://schemas.microsoft.com/office/drawing/2014/main" id="{12D4FEE6-BA76-93AE-D36D-2A8E01FBE8E4}"/>
                </a:ext>
              </a:extLst>
            </p:cNvPr>
            <p:cNvGrpSpPr/>
            <p:nvPr/>
          </p:nvGrpSpPr>
          <p:grpSpPr>
            <a:xfrm>
              <a:off x="6470861" y="1506111"/>
              <a:ext cx="3322619" cy="448782"/>
              <a:chOff x="271585" y="5610835"/>
              <a:chExt cx="3593570" cy="448782"/>
            </a:xfrm>
          </p:grpSpPr>
          <p:sp>
            <p:nvSpPr>
              <p:cNvPr id="16" name="TextBox 15">
                <a:extLst>
                  <a:ext uri="{FF2B5EF4-FFF2-40B4-BE49-F238E27FC236}">
                    <a16:creationId xmlns:a16="http://schemas.microsoft.com/office/drawing/2014/main" id="{249B2308-BDEE-CFFA-477A-9B30B2B83195}"/>
                  </a:ext>
                </a:extLst>
              </p:cNvPr>
              <p:cNvSpPr txBox="1"/>
              <p:nvPr/>
            </p:nvSpPr>
            <p:spPr>
              <a:xfrm>
                <a:off x="511664" y="5616197"/>
                <a:ext cx="1439056" cy="169277"/>
              </a:xfrm>
              <a:prstGeom prst="rect">
                <a:avLst/>
              </a:prstGeom>
              <a:noFill/>
              <a:ln>
                <a:noFill/>
              </a:ln>
            </p:spPr>
            <p:txBody>
              <a:bodyPr wrap="square" lIns="0" tIns="0" rIns="0" bIns="0" rtlCol="0" anchor="t">
                <a:spAutoFit/>
              </a:bodyPr>
              <a:lstStyle/>
              <a:p>
                <a:r>
                  <a:rPr lang="de-DE" sz="1100">
                    <a:solidFill>
                      <a:schemeClr val="accent5">
                        <a:lumMod val="10000"/>
                      </a:schemeClr>
                    </a:solidFill>
                    <a:latin typeface="Roboto" panose="02000000000000000000" pitchFamily="2" charset="0"/>
                    <a:ea typeface="Roboto Slab" pitchFamily="2" charset="0"/>
                    <a:cs typeface="Calibri" panose="020F0502020204030204" pitchFamily="34" charset="0"/>
                  </a:rPr>
                  <a:t>Fokusgebiet</a:t>
                </a:r>
              </a:p>
            </p:txBody>
          </p:sp>
          <p:sp>
            <p:nvSpPr>
              <p:cNvPr id="17" name="TextBox 16">
                <a:extLst>
                  <a:ext uri="{FF2B5EF4-FFF2-40B4-BE49-F238E27FC236}">
                    <a16:creationId xmlns:a16="http://schemas.microsoft.com/office/drawing/2014/main" id="{4424663D-42A0-9F43-C8FB-F9E9D754639D}"/>
                  </a:ext>
                </a:extLst>
              </p:cNvPr>
              <p:cNvSpPr txBox="1"/>
              <p:nvPr/>
            </p:nvSpPr>
            <p:spPr>
              <a:xfrm>
                <a:off x="511663" y="5884979"/>
                <a:ext cx="2810943" cy="169277"/>
              </a:xfrm>
              <a:prstGeom prst="rect">
                <a:avLst/>
              </a:prstGeom>
              <a:noFill/>
              <a:ln>
                <a:noFill/>
              </a:ln>
            </p:spPr>
            <p:txBody>
              <a:bodyPr wrap="square" lIns="0" tIns="0" rIns="0" bIns="0" rtlCol="0" anchor="t">
                <a:spAutoFit/>
              </a:bodyPr>
              <a:lstStyle/>
              <a:p>
                <a:r>
                  <a:rPr lang="de-DE" sz="1100">
                    <a:solidFill>
                      <a:schemeClr val="accent5">
                        <a:lumMod val="10000"/>
                      </a:schemeClr>
                    </a:solidFill>
                    <a:latin typeface="Roboto" panose="02000000000000000000" pitchFamily="2" charset="0"/>
                    <a:ea typeface="Roboto Slab" pitchFamily="2" charset="0"/>
                    <a:cs typeface="Calibri" panose="020F0502020204030204" pitchFamily="34" charset="0"/>
                  </a:rPr>
                  <a:t>Gebiet mit dezentraler Wärmeversorgung</a:t>
                </a:r>
              </a:p>
            </p:txBody>
          </p:sp>
          <p:sp>
            <p:nvSpPr>
              <p:cNvPr id="18" name="Rectangle: Rounded Corners 17">
                <a:extLst>
                  <a:ext uri="{FF2B5EF4-FFF2-40B4-BE49-F238E27FC236}">
                    <a16:creationId xmlns:a16="http://schemas.microsoft.com/office/drawing/2014/main" id="{655075BC-9108-B2E8-BAA8-13B2ACBAF3D7}"/>
                  </a:ext>
                </a:extLst>
              </p:cNvPr>
              <p:cNvSpPr/>
              <p:nvPr/>
            </p:nvSpPr>
            <p:spPr bwMode="gray">
              <a:xfrm>
                <a:off x="271585" y="5610835"/>
                <a:ext cx="180000" cy="180000"/>
              </a:xfrm>
              <a:prstGeom prst="roundRect">
                <a:avLst/>
              </a:prstGeom>
              <a:solidFill>
                <a:srgbClr val="60D68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8" tIns="36008" rIns="36008" bIns="36008" rtlCol="0" anchor="ctr">
                <a:noAutofit/>
              </a:bodyPr>
              <a:lstStyle/>
              <a:p>
                <a:pPr algn="ctr"/>
                <a:endParaRPr lang="de-DE" sz="1400">
                  <a:solidFill>
                    <a:schemeClr val="tx1"/>
                  </a:solidFill>
                  <a:latin typeface="Calibri" panose="020F0502020204030204" pitchFamily="34" charset="0"/>
                  <a:cs typeface="Calibri" panose="020F0502020204030204" pitchFamily="34" charset="0"/>
                </a:endParaRPr>
              </a:p>
            </p:txBody>
          </p:sp>
          <p:sp>
            <p:nvSpPr>
              <p:cNvPr id="19" name="Rectangle: Rounded Corners 18">
                <a:extLst>
                  <a:ext uri="{FF2B5EF4-FFF2-40B4-BE49-F238E27FC236}">
                    <a16:creationId xmlns:a16="http://schemas.microsoft.com/office/drawing/2014/main" id="{A15CBDA6-9365-E5B0-EC4D-ECBF49C198ED}"/>
                  </a:ext>
                </a:extLst>
              </p:cNvPr>
              <p:cNvSpPr/>
              <p:nvPr/>
            </p:nvSpPr>
            <p:spPr bwMode="gray">
              <a:xfrm>
                <a:off x="271585" y="5879617"/>
                <a:ext cx="180000" cy="180000"/>
              </a:xfrm>
              <a:prstGeom prst="roundRect">
                <a:avLst/>
              </a:prstGeom>
              <a:solidFill>
                <a:srgbClr val="7BA4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8" tIns="36008" rIns="36008" bIns="36008" rtlCol="0" anchor="ctr">
                <a:noAutofit/>
              </a:bodyPr>
              <a:lstStyle/>
              <a:p>
                <a:pPr algn="ctr"/>
                <a:endParaRPr lang="de-DE" sz="1400">
                  <a:solidFill>
                    <a:schemeClr val="tx1"/>
                  </a:solidFill>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D5A23F86-F785-62C4-ECFE-E9EBF000D159}"/>
                  </a:ext>
                </a:extLst>
              </p:cNvPr>
              <p:cNvSpPr txBox="1"/>
              <p:nvPr/>
            </p:nvSpPr>
            <p:spPr>
              <a:xfrm>
                <a:off x="2426099" y="5616197"/>
                <a:ext cx="1439056" cy="169277"/>
              </a:xfrm>
              <a:prstGeom prst="rect">
                <a:avLst/>
              </a:prstGeom>
              <a:noFill/>
              <a:ln>
                <a:noFill/>
              </a:ln>
            </p:spPr>
            <p:txBody>
              <a:bodyPr wrap="square" lIns="0" tIns="0" rIns="0" bIns="0" rtlCol="0" anchor="t">
                <a:spAutoFit/>
              </a:bodyPr>
              <a:lstStyle/>
              <a:p>
                <a:r>
                  <a:rPr lang="de-DE" sz="1100">
                    <a:solidFill>
                      <a:schemeClr val="accent5">
                        <a:lumMod val="10000"/>
                      </a:schemeClr>
                    </a:solidFill>
                    <a:latin typeface="Roboto" panose="02000000000000000000" pitchFamily="2" charset="0"/>
                    <a:ea typeface="Roboto Slab" pitchFamily="2" charset="0"/>
                    <a:cs typeface="Calibri" panose="020F0502020204030204" pitchFamily="34" charset="0"/>
                  </a:rPr>
                  <a:t>Prüfgebiet</a:t>
                </a:r>
              </a:p>
            </p:txBody>
          </p:sp>
          <p:sp>
            <p:nvSpPr>
              <p:cNvPr id="28" name="Rectangle: Rounded Corners 27">
                <a:extLst>
                  <a:ext uri="{FF2B5EF4-FFF2-40B4-BE49-F238E27FC236}">
                    <a16:creationId xmlns:a16="http://schemas.microsoft.com/office/drawing/2014/main" id="{84E78284-EE2E-6624-659E-84B00F797C66}"/>
                  </a:ext>
                </a:extLst>
              </p:cNvPr>
              <p:cNvSpPr/>
              <p:nvPr/>
            </p:nvSpPr>
            <p:spPr bwMode="gray">
              <a:xfrm>
                <a:off x="2163771" y="5610835"/>
                <a:ext cx="180000" cy="180000"/>
              </a:xfrm>
              <a:prstGeom prst="roundRect">
                <a:avLst/>
              </a:prstGeom>
              <a:solidFill>
                <a:srgbClr val="EDBE5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8" tIns="36008" rIns="36008" bIns="36008" rtlCol="0" anchor="ctr">
                <a:noAutofit/>
              </a:bodyPr>
              <a:lstStyle/>
              <a:p>
                <a:pPr algn="ctr"/>
                <a:endParaRPr lang="de-DE" sz="1400">
                  <a:solidFill>
                    <a:schemeClr val="tx1"/>
                  </a:solidFill>
                  <a:latin typeface="Calibri" panose="020F0502020204030204" pitchFamily="34" charset="0"/>
                  <a:cs typeface="Calibri" panose="020F0502020204030204" pitchFamily="34" charset="0"/>
                </a:endParaRPr>
              </a:p>
            </p:txBody>
          </p:sp>
        </p:grpSp>
      </p:grpSp>
      <p:sp>
        <p:nvSpPr>
          <p:cNvPr id="2" name="Content Placeholder 3">
            <a:extLst>
              <a:ext uri="{FF2B5EF4-FFF2-40B4-BE49-F238E27FC236}">
                <a16:creationId xmlns:a16="http://schemas.microsoft.com/office/drawing/2014/main" id="{AE1EE32E-0269-6409-D485-9F00AB80503A}"/>
              </a:ext>
            </a:extLst>
          </p:cNvPr>
          <p:cNvSpPr txBox="1">
            <a:spLocks/>
          </p:cNvSpPr>
          <p:nvPr/>
        </p:nvSpPr>
        <p:spPr>
          <a:xfrm>
            <a:off x="7501913" y="53024"/>
            <a:ext cx="2291567" cy="380480"/>
          </a:xfrm>
          <a:prstGeom prst="rect">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lIns="72000" tIns="36000" rIns="72000" bIns="36000" anchor="t" anchorCtr="0">
            <a:spAutoFit/>
          </a:bodyPr>
          <a:lstStyle>
            <a:lvl1pPr algn="l" rtl="0" eaLnBrk="1" fontAlgn="base" hangingPunct="1">
              <a:spcBef>
                <a:spcPct val="20000"/>
              </a:spcBef>
              <a:spcAft>
                <a:spcPct val="0"/>
              </a:spcAft>
              <a:defRPr sz="1400">
                <a:solidFill>
                  <a:schemeClr val="tx1"/>
                </a:solidFill>
                <a:latin typeface="+mn-lt"/>
                <a:ea typeface="+mn-ea"/>
                <a:cs typeface="+mn-cs"/>
              </a:defRPr>
            </a:lvl1pPr>
            <a:lvl2pPr marL="381000" indent="-190500" algn="l" rtl="0" eaLnBrk="1" fontAlgn="base" hangingPunct="1">
              <a:spcBef>
                <a:spcPct val="20000"/>
              </a:spcBef>
              <a:spcAft>
                <a:spcPct val="0"/>
              </a:spcAft>
              <a:buFont typeface="Wingdings" pitchFamily="84" charset="2"/>
              <a:buChar char="§"/>
              <a:defRPr sz="1400">
                <a:solidFill>
                  <a:schemeClr val="tx1"/>
                </a:solidFill>
                <a:latin typeface="+mn-lt"/>
              </a:defRPr>
            </a:lvl2pPr>
            <a:lvl3pPr marL="747713" indent="-176213" algn="l" rtl="0" eaLnBrk="1" fontAlgn="base" hangingPunct="1">
              <a:spcBef>
                <a:spcPct val="20000"/>
              </a:spcBef>
              <a:spcAft>
                <a:spcPct val="0"/>
              </a:spcAft>
              <a:buChar char="-"/>
              <a:defRPr sz="1200">
                <a:solidFill>
                  <a:schemeClr val="tx1"/>
                </a:solidFill>
                <a:latin typeface="+mn-lt"/>
              </a:defRPr>
            </a:lvl3pPr>
            <a:lvl4pPr marL="1125538" indent="-187325" algn="l" rtl="0" eaLnBrk="1" fontAlgn="base" hangingPunct="1">
              <a:spcBef>
                <a:spcPct val="20000"/>
              </a:spcBef>
              <a:spcAft>
                <a:spcPct val="0"/>
              </a:spcAft>
              <a:buFont typeface="Times" pitchFamily="84" charset="0"/>
              <a:buChar char="•"/>
              <a:defRPr sz="1000">
                <a:solidFill>
                  <a:schemeClr val="tx1"/>
                </a:solidFill>
                <a:latin typeface="+mn-lt"/>
              </a:defRPr>
            </a:lvl4pPr>
            <a:lvl5pPr marL="1431925" indent="-115888" algn="l" rtl="0" eaLnBrk="1" fontAlgn="base" hangingPunct="1">
              <a:spcBef>
                <a:spcPct val="20000"/>
              </a:spcBef>
              <a:spcAft>
                <a:spcPct val="0"/>
              </a:spcAft>
              <a:buChar char="•"/>
              <a:defRPr sz="1000">
                <a:solidFill>
                  <a:schemeClr val="tx1"/>
                </a:solidFill>
                <a:latin typeface="+mn-lt"/>
              </a:defRPr>
            </a:lvl5pPr>
            <a:lvl6pPr marL="1889125" indent="-115888" algn="l" rtl="0" eaLnBrk="1" fontAlgn="base" hangingPunct="1">
              <a:spcBef>
                <a:spcPct val="20000"/>
              </a:spcBef>
              <a:spcAft>
                <a:spcPct val="0"/>
              </a:spcAft>
              <a:buChar char="•"/>
              <a:defRPr sz="1000">
                <a:solidFill>
                  <a:schemeClr val="tx1"/>
                </a:solidFill>
                <a:latin typeface="+mn-lt"/>
              </a:defRPr>
            </a:lvl6pPr>
            <a:lvl7pPr marL="2346325" indent="-115888" algn="l" rtl="0" eaLnBrk="1" fontAlgn="base" hangingPunct="1">
              <a:spcBef>
                <a:spcPct val="20000"/>
              </a:spcBef>
              <a:spcAft>
                <a:spcPct val="0"/>
              </a:spcAft>
              <a:buChar char="•"/>
              <a:defRPr sz="1000">
                <a:solidFill>
                  <a:schemeClr val="tx1"/>
                </a:solidFill>
                <a:latin typeface="+mn-lt"/>
              </a:defRPr>
            </a:lvl7pPr>
            <a:lvl8pPr marL="2803525" indent="-115888" algn="l" rtl="0" eaLnBrk="1" fontAlgn="base" hangingPunct="1">
              <a:spcBef>
                <a:spcPct val="20000"/>
              </a:spcBef>
              <a:spcAft>
                <a:spcPct val="0"/>
              </a:spcAft>
              <a:buChar char="•"/>
              <a:defRPr sz="1000">
                <a:solidFill>
                  <a:schemeClr val="tx1"/>
                </a:solidFill>
                <a:latin typeface="+mn-lt"/>
              </a:defRPr>
            </a:lvl8pPr>
            <a:lvl9pPr marL="3260725" indent="-115888" algn="l" rtl="0" eaLnBrk="1" fontAlgn="base" hangingPunct="1">
              <a:spcBef>
                <a:spcPct val="20000"/>
              </a:spcBef>
              <a:spcAft>
                <a:spcPct val="0"/>
              </a:spcAft>
              <a:buChar char="•"/>
              <a:defRPr sz="1000">
                <a:solidFill>
                  <a:schemeClr val="tx1"/>
                </a:solidFill>
                <a:latin typeface="+mn-lt"/>
              </a:defRPr>
            </a:lvl9pPr>
          </a:lstStyle>
          <a:p>
            <a:pPr defTabSz="997456"/>
            <a:r>
              <a:rPr lang="de-DE" sz="1000" i="1">
                <a:solidFill>
                  <a:srgbClr val="F07D00"/>
                </a:solidFill>
                <a:latin typeface="Roboto"/>
              </a:rPr>
              <a:t>Anmerkung: </a:t>
            </a:r>
            <a:r>
              <a:rPr lang="de-DE" sz="1000">
                <a:solidFill>
                  <a:srgbClr val="003C50"/>
                </a:solidFill>
                <a:latin typeface="Roboto"/>
              </a:rPr>
              <a:t>Ergebnisse sind vorläufig und können sich noch ändern</a:t>
            </a:r>
          </a:p>
        </p:txBody>
      </p:sp>
      <p:grpSp>
        <p:nvGrpSpPr>
          <p:cNvPr id="33" name="Group 32">
            <a:extLst>
              <a:ext uri="{FF2B5EF4-FFF2-40B4-BE49-F238E27FC236}">
                <a16:creationId xmlns:a16="http://schemas.microsoft.com/office/drawing/2014/main" id="{EE7084E5-7F5D-278F-23A7-DAC4E5DCDF31}"/>
              </a:ext>
            </a:extLst>
          </p:cNvPr>
          <p:cNvGrpSpPr/>
          <p:nvPr/>
        </p:nvGrpSpPr>
        <p:grpSpPr>
          <a:xfrm>
            <a:off x="1493936" y="3231781"/>
            <a:ext cx="3846387" cy="2737392"/>
            <a:chOff x="1374638" y="3215171"/>
            <a:chExt cx="3846387" cy="2737392"/>
          </a:xfrm>
        </p:grpSpPr>
        <p:pic>
          <p:nvPicPr>
            <p:cNvPr id="31" name="Picture 30">
              <a:extLst>
                <a:ext uri="{FF2B5EF4-FFF2-40B4-BE49-F238E27FC236}">
                  <a16:creationId xmlns:a16="http://schemas.microsoft.com/office/drawing/2014/main" id="{EBED3FDC-3AC4-3C94-0CA3-A4AA7CA00D83}"/>
                </a:ext>
              </a:extLst>
            </p:cNvPr>
            <p:cNvPicPr>
              <a:picLocks noChangeAspect="1"/>
            </p:cNvPicPr>
            <p:nvPr/>
          </p:nvPicPr>
          <p:blipFill>
            <a:blip r:embed="rId6" cstate="screen">
              <a:alphaModFix/>
              <a:extLst>
                <a:ext uri="{28A0092B-C50C-407E-A947-70E740481C1C}">
                  <a14:useLocalDpi xmlns:a14="http://schemas.microsoft.com/office/drawing/2010/main"/>
                </a:ext>
              </a:extLst>
            </a:blip>
            <a:srcRect/>
            <a:stretch>
              <a:fillRect/>
            </a:stretch>
          </p:blipFill>
          <p:spPr>
            <a:xfrm>
              <a:off x="1374638" y="3215171"/>
              <a:ext cx="3846387" cy="2737392"/>
            </a:xfrm>
            <a:prstGeom prst="rect">
              <a:avLst/>
            </a:prstGeom>
          </p:spPr>
        </p:pic>
        <p:sp>
          <p:nvSpPr>
            <p:cNvPr id="32" name="Rectangle 31">
              <a:extLst>
                <a:ext uri="{FF2B5EF4-FFF2-40B4-BE49-F238E27FC236}">
                  <a16:creationId xmlns:a16="http://schemas.microsoft.com/office/drawing/2014/main" id="{8FBB738E-E431-DE4F-CE45-67CB102A73FC}"/>
                </a:ext>
              </a:extLst>
            </p:cNvPr>
            <p:cNvSpPr>
              <a:spLocks noChangeAspect="1"/>
            </p:cNvSpPr>
            <p:nvPr/>
          </p:nvSpPr>
          <p:spPr bwMode="gray">
            <a:xfrm>
              <a:off x="1376742" y="3220272"/>
              <a:ext cx="3842648" cy="2728328"/>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grpSp>
    </p:spTree>
    <p:extLst>
      <p:ext uri="{BB962C8B-B14F-4D97-AF65-F5344CB8AC3E}">
        <p14:creationId xmlns:p14="http://schemas.microsoft.com/office/powerpoint/2010/main" val="9596856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descr="A map of a city&#10;&#10;AI-generated content may be incorrect.">
            <a:extLst>
              <a:ext uri="{FF2B5EF4-FFF2-40B4-BE49-F238E27FC236}">
                <a16:creationId xmlns:a16="http://schemas.microsoft.com/office/drawing/2014/main" id="{5D1E6652-A50B-BB75-A3B1-C953AFF81694}"/>
              </a:ext>
            </a:extLst>
          </p:cNvPr>
          <p:cNvPicPr>
            <a:picLocks noChangeAspect="1"/>
          </p:cNvPicPr>
          <p:nvPr/>
        </p:nvPicPr>
        <p:blipFill>
          <a:blip r:embed="rId4" cstate="screen">
            <a:alphaModFix amt="75000"/>
            <a:extLst>
              <a:ext uri="{28A0092B-C50C-407E-A947-70E740481C1C}">
                <a14:useLocalDpi xmlns:a14="http://schemas.microsoft.com/office/drawing/2010/main"/>
              </a:ext>
            </a:extLst>
          </a:blip>
          <a:srcRect/>
          <a:stretch>
            <a:fillRect/>
          </a:stretch>
        </p:blipFill>
        <p:spPr>
          <a:xfrm>
            <a:off x="6529617" y="1090704"/>
            <a:ext cx="3053930" cy="2669044"/>
          </a:xfrm>
          <a:prstGeom prst="rect">
            <a:avLst/>
          </a:prstGeom>
        </p:spPr>
      </p:pic>
      <p:sp>
        <p:nvSpPr>
          <p:cNvPr id="40" name="Slide Number Placeholder 39">
            <a:extLst>
              <a:ext uri="{FF2B5EF4-FFF2-40B4-BE49-F238E27FC236}">
                <a16:creationId xmlns:a16="http://schemas.microsoft.com/office/drawing/2014/main" id="{F2B676EE-725A-2427-5997-BE26F552B870}"/>
              </a:ext>
            </a:extLst>
          </p:cNvPr>
          <p:cNvSpPr>
            <a:spLocks noGrp="1"/>
          </p:cNvSpPr>
          <p:nvPr>
            <p:ph type="sldNum" sz="quarter" idx="11"/>
          </p:nvPr>
        </p:nvSpPr>
        <p:spPr/>
        <p:txBody>
          <a:bodyPr/>
          <a:lstStyle/>
          <a:p>
            <a:endParaRPr lang="de-DE"/>
          </a:p>
          <a:p>
            <a:fld id="{24C420F5-194C-40F2-A080-C5F3EDD89037}" type="slidenum">
              <a:rPr lang="de-DE" smtClean="0"/>
              <a:pPr/>
              <a:t>48</a:t>
            </a:fld>
            <a:endParaRPr lang="de-DE"/>
          </a:p>
        </p:txBody>
      </p:sp>
      <p:sp>
        <p:nvSpPr>
          <p:cNvPr id="3" name="Title 2">
            <a:extLst>
              <a:ext uri="{FF2B5EF4-FFF2-40B4-BE49-F238E27FC236}">
                <a16:creationId xmlns:a16="http://schemas.microsoft.com/office/drawing/2014/main" id="{FF716550-14A3-7C55-790B-870F12AB079D}"/>
              </a:ext>
            </a:extLst>
          </p:cNvPr>
          <p:cNvSpPr>
            <a:spLocks noGrp="1"/>
          </p:cNvSpPr>
          <p:nvPr>
            <p:ph type="title"/>
          </p:nvPr>
        </p:nvSpPr>
        <p:spPr/>
        <p:txBody>
          <a:bodyPr/>
          <a:lstStyle/>
          <a:p>
            <a:r>
              <a:rPr lang="de-DE" b="1">
                <a:latin typeface="Roboto" panose="02000000000000000000" pitchFamily="2" charset="0"/>
              </a:rPr>
              <a:t>Erkenntnisse der Kommunalen Wärmeplanung - Zielszenario</a:t>
            </a:r>
            <a:br>
              <a:rPr lang="de-DE" b="1">
                <a:latin typeface="Roboto" panose="02000000000000000000" pitchFamily="2" charset="0"/>
              </a:rPr>
            </a:br>
            <a:r>
              <a:rPr lang="de-DE">
                <a:solidFill>
                  <a:srgbClr val="003C50"/>
                </a:solidFill>
                <a:ea typeface="Roboto"/>
                <a:cs typeface="Roboto"/>
              </a:rPr>
              <a:t>Fokusgebiete </a:t>
            </a:r>
            <a:r>
              <a:rPr lang="de-DE" err="1">
                <a:solidFill>
                  <a:srgbClr val="003C50"/>
                </a:solidFill>
                <a:ea typeface="Roboto"/>
                <a:cs typeface="Roboto"/>
              </a:rPr>
              <a:t>Nordrheda</a:t>
            </a:r>
            <a:r>
              <a:rPr lang="de-DE">
                <a:solidFill>
                  <a:srgbClr val="003C50"/>
                </a:solidFill>
                <a:ea typeface="Roboto"/>
                <a:cs typeface="Roboto"/>
              </a:rPr>
              <a:t>-Ems sind maßgeblich von Tönnies und Klärwerk geprägt</a:t>
            </a:r>
            <a:endParaRPr lang="de-DE"/>
          </a:p>
        </p:txBody>
      </p:sp>
      <p:sp>
        <p:nvSpPr>
          <p:cNvPr id="33" name="Footer Placeholder 32">
            <a:extLst>
              <a:ext uri="{FF2B5EF4-FFF2-40B4-BE49-F238E27FC236}">
                <a16:creationId xmlns:a16="http://schemas.microsoft.com/office/drawing/2014/main" id="{29F39EDE-482C-53ED-7267-630F2BBA5BA6}"/>
              </a:ext>
            </a:extLst>
          </p:cNvPr>
          <p:cNvSpPr>
            <a:spLocks noGrp="1"/>
          </p:cNvSpPr>
          <p:nvPr>
            <p:ph type="ftr" sz="quarter" idx="12"/>
          </p:nvPr>
        </p:nvSpPr>
        <p:spPr/>
        <p:txBody>
          <a:bodyPr/>
          <a:lstStyle/>
          <a:p>
            <a:r>
              <a:rPr lang="de-DE"/>
              <a:t>© 2026</a:t>
            </a:r>
          </a:p>
          <a:p>
            <a:r>
              <a:rPr lang="de-DE"/>
              <a:t>d-fine</a:t>
            </a:r>
          </a:p>
        </p:txBody>
      </p:sp>
      <p:grpSp>
        <p:nvGrpSpPr>
          <p:cNvPr id="8" name="Group 7">
            <a:extLst>
              <a:ext uri="{FF2B5EF4-FFF2-40B4-BE49-F238E27FC236}">
                <a16:creationId xmlns:a16="http://schemas.microsoft.com/office/drawing/2014/main" id="{8978E02F-62BA-B875-40D1-43C3A0D2CDD6}"/>
              </a:ext>
            </a:extLst>
          </p:cNvPr>
          <p:cNvGrpSpPr>
            <a:grpSpLocks noChangeAspect="1"/>
          </p:cNvGrpSpPr>
          <p:nvPr/>
        </p:nvGrpSpPr>
        <p:grpSpPr>
          <a:xfrm>
            <a:off x="4782105" y="3430823"/>
            <a:ext cx="1277212" cy="2010501"/>
            <a:chOff x="5426326" y="3788380"/>
            <a:chExt cx="1489800" cy="2361341"/>
          </a:xfrm>
        </p:grpSpPr>
        <p:pic>
          <p:nvPicPr>
            <p:cNvPr id="9" name="Picture 8">
              <a:extLst>
                <a:ext uri="{FF2B5EF4-FFF2-40B4-BE49-F238E27FC236}">
                  <a16:creationId xmlns:a16="http://schemas.microsoft.com/office/drawing/2014/main" id="{C456D21B-E9D7-70B5-A37B-152E6AA04CBB}"/>
                </a:ext>
              </a:extLst>
            </p:cNvPr>
            <p:cNvPicPr>
              <a:picLocks noChangeAspect="1"/>
            </p:cNvPicPr>
            <p:nvPr/>
          </p:nvPicPr>
          <p:blipFill>
            <a:blip r:embed="rId5" cstate="screen">
              <a:alphaModFix/>
              <a:extLst>
                <a:ext uri="{28A0092B-C50C-407E-A947-70E740481C1C}">
                  <a14:useLocalDpi xmlns:a14="http://schemas.microsoft.com/office/drawing/2010/main"/>
                </a:ext>
              </a:extLst>
            </a:blip>
            <a:srcRect/>
            <a:stretch/>
          </p:blipFill>
          <p:spPr>
            <a:xfrm>
              <a:off x="5426327" y="3788380"/>
              <a:ext cx="1489799" cy="2353735"/>
            </a:xfrm>
            <a:prstGeom prst="rect">
              <a:avLst/>
            </a:prstGeom>
          </p:spPr>
        </p:pic>
        <p:sp>
          <p:nvSpPr>
            <p:cNvPr id="10" name="Rectangle 9">
              <a:extLst>
                <a:ext uri="{FF2B5EF4-FFF2-40B4-BE49-F238E27FC236}">
                  <a16:creationId xmlns:a16="http://schemas.microsoft.com/office/drawing/2014/main" id="{11331A60-7154-F27D-8915-CCAE15C42DD6}"/>
                </a:ext>
              </a:extLst>
            </p:cNvPr>
            <p:cNvSpPr>
              <a:spLocks noChangeAspect="1"/>
            </p:cNvSpPr>
            <p:nvPr/>
          </p:nvSpPr>
          <p:spPr bwMode="gray">
            <a:xfrm>
              <a:off x="5426326" y="3788381"/>
              <a:ext cx="1484749" cy="2361340"/>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grpSp>
      <p:grpSp>
        <p:nvGrpSpPr>
          <p:cNvPr id="12" name="Group 11">
            <a:extLst>
              <a:ext uri="{FF2B5EF4-FFF2-40B4-BE49-F238E27FC236}">
                <a16:creationId xmlns:a16="http://schemas.microsoft.com/office/drawing/2014/main" id="{6BFC1A21-D6AB-DF01-7E64-F19C24CD66CD}"/>
              </a:ext>
            </a:extLst>
          </p:cNvPr>
          <p:cNvGrpSpPr/>
          <p:nvPr/>
        </p:nvGrpSpPr>
        <p:grpSpPr>
          <a:xfrm>
            <a:off x="236228" y="3707719"/>
            <a:ext cx="4380847" cy="1727129"/>
            <a:chOff x="5248724" y="1076247"/>
            <a:chExt cx="4380847" cy="1727129"/>
          </a:xfrm>
        </p:grpSpPr>
        <p:sp>
          <p:nvSpPr>
            <p:cNvPr id="13" name="Rectangle 12">
              <a:extLst>
                <a:ext uri="{FF2B5EF4-FFF2-40B4-BE49-F238E27FC236}">
                  <a16:creationId xmlns:a16="http://schemas.microsoft.com/office/drawing/2014/main" id="{318CBFA2-DCA9-C276-FB02-515C72AB46E0}"/>
                </a:ext>
              </a:extLst>
            </p:cNvPr>
            <p:cNvSpPr/>
            <p:nvPr/>
          </p:nvSpPr>
          <p:spPr bwMode="gray">
            <a:xfrm>
              <a:off x="5319544" y="1076247"/>
              <a:ext cx="3747062" cy="48838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600" b="1">
                  <a:solidFill>
                    <a:schemeClr val="tx1"/>
                  </a:solidFill>
                </a:rPr>
                <a:t>Fokusgebiet 3: </a:t>
              </a:r>
              <a:r>
                <a:rPr lang="de-DE" sz="1600" b="1" err="1">
                  <a:solidFill>
                    <a:schemeClr val="tx1"/>
                  </a:solidFill>
                </a:rPr>
                <a:t>Nordrheda</a:t>
              </a:r>
              <a:r>
                <a:rPr lang="de-DE" sz="1600" b="1">
                  <a:solidFill>
                    <a:schemeClr val="tx1"/>
                  </a:solidFill>
                </a:rPr>
                <a:t>-Ems Ost</a:t>
              </a:r>
            </a:p>
          </p:txBody>
        </p:sp>
        <p:grpSp>
          <p:nvGrpSpPr>
            <p:cNvPr id="14" name="Group 13">
              <a:extLst>
                <a:ext uri="{FF2B5EF4-FFF2-40B4-BE49-F238E27FC236}">
                  <a16:creationId xmlns:a16="http://schemas.microsoft.com/office/drawing/2014/main" id="{896CF43F-88E7-F5A9-BD4A-AEB3EFE506C5}"/>
                </a:ext>
              </a:extLst>
            </p:cNvPr>
            <p:cNvGrpSpPr>
              <a:grpSpLocks noChangeAspect="1"/>
            </p:cNvGrpSpPr>
            <p:nvPr>
              <p:custDataLst>
                <p:tags r:id="rId2"/>
              </p:custDataLst>
            </p:nvPr>
          </p:nvGrpSpPr>
          <p:grpSpPr>
            <a:xfrm>
              <a:off x="5320755" y="1134334"/>
              <a:ext cx="351460" cy="366285"/>
              <a:chOff x="1269997" y="1270000"/>
              <a:chExt cx="964345" cy="889000"/>
            </a:xfrm>
            <a:solidFill>
              <a:schemeClr val="tx2"/>
            </a:solidFill>
          </p:grpSpPr>
          <p:sp>
            <p:nvSpPr>
              <p:cNvPr id="16" name="Rectangle 15" hidden="1">
                <a:extLst>
                  <a:ext uri="{FF2B5EF4-FFF2-40B4-BE49-F238E27FC236}">
                    <a16:creationId xmlns:a16="http://schemas.microsoft.com/office/drawing/2014/main" id="{7F45C7AA-902C-457F-D706-BE1A17AA66E1}"/>
                  </a:ext>
                </a:extLst>
              </p:cNvPr>
              <p:cNvSpPr/>
              <p:nvPr/>
            </p:nvSpPr>
            <p:spPr bwMode="gray">
              <a:xfrm>
                <a:off x="1270000" y="1270000"/>
                <a:ext cx="889000" cy="889000"/>
              </a:xfrm>
              <a:prstGeom prst="rect">
                <a:avLst/>
              </a:prstGeom>
              <a:grpFill/>
              <a:ln w="9525">
                <a:solidFill>
                  <a:schemeClr val="tx1"/>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7" name="Graphic 16">
                <a:extLst>
                  <a:ext uri="{FF2B5EF4-FFF2-40B4-BE49-F238E27FC236}">
                    <a16:creationId xmlns:a16="http://schemas.microsoft.com/office/drawing/2014/main" id="{10E021D6-C786-652C-3D37-3F3C5733883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69997" y="1270000"/>
                <a:ext cx="964345" cy="800147"/>
              </a:xfrm>
              <a:prstGeom prst="rect">
                <a:avLst/>
              </a:prstGeom>
            </p:spPr>
          </p:pic>
        </p:grpSp>
        <p:sp>
          <p:nvSpPr>
            <p:cNvPr id="15" name="Rectangle 14">
              <a:extLst>
                <a:ext uri="{FF2B5EF4-FFF2-40B4-BE49-F238E27FC236}">
                  <a16:creationId xmlns:a16="http://schemas.microsoft.com/office/drawing/2014/main" id="{7DD25DA4-C930-690B-CA83-75C954217948}"/>
                </a:ext>
              </a:extLst>
            </p:cNvPr>
            <p:cNvSpPr/>
            <p:nvPr/>
          </p:nvSpPr>
          <p:spPr bwMode="gray">
            <a:xfrm>
              <a:off x="5248724" y="1085694"/>
              <a:ext cx="4380847" cy="171768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spcAft>
                  <a:spcPts val="600"/>
                </a:spcAft>
                <a:buClr>
                  <a:srgbClr val="003C50"/>
                </a:buClr>
                <a:buFont typeface="Wingdings" panose="05000000000000000000" pitchFamily="2" charset="2"/>
                <a:buChar char="§"/>
              </a:pPr>
              <a:r>
                <a:rPr lang="de-DE" sz="1300">
                  <a:solidFill>
                    <a:schemeClr val="tx1"/>
                  </a:solidFill>
                </a:rPr>
                <a:t>Gebiet nördlich des Autobahnkreuzes</a:t>
              </a:r>
            </a:p>
            <a:p>
              <a:pPr marL="144000" indent="-144000">
                <a:spcAft>
                  <a:spcPts val="600"/>
                </a:spcAft>
                <a:buClr>
                  <a:srgbClr val="003C50"/>
                </a:buClr>
                <a:buFont typeface="Wingdings" panose="05000000000000000000" pitchFamily="2" charset="2"/>
                <a:buChar char="§"/>
              </a:pPr>
              <a:r>
                <a:rPr lang="de-DE" sz="1300">
                  <a:solidFill>
                    <a:schemeClr val="tx1"/>
                  </a:solidFill>
                </a:rPr>
                <a:t>Durch </a:t>
              </a:r>
              <a:r>
                <a:rPr lang="de-DE" sz="1300" err="1">
                  <a:solidFill>
                    <a:schemeClr val="tx1"/>
                  </a:solidFill>
                </a:rPr>
                <a:t>Fleischverabeitende</a:t>
              </a:r>
              <a:r>
                <a:rPr lang="de-DE" sz="1300">
                  <a:solidFill>
                    <a:schemeClr val="tx1"/>
                  </a:solidFill>
                </a:rPr>
                <a:t> Industrie als sowohl großen Ankerkunden als auch </a:t>
              </a:r>
              <a:r>
                <a:rPr lang="de-DE" sz="1300" err="1">
                  <a:solidFill>
                    <a:schemeClr val="tx1"/>
                  </a:solidFill>
                </a:rPr>
                <a:t>Abwärmequelle</a:t>
              </a:r>
              <a:r>
                <a:rPr lang="de-DE" sz="1300">
                  <a:solidFill>
                    <a:schemeClr val="tx1"/>
                  </a:solidFill>
                </a:rPr>
                <a:t> attraktiv</a:t>
              </a:r>
            </a:p>
            <a:p>
              <a:pPr marL="144000" indent="-144000">
                <a:spcAft>
                  <a:spcPts val="600"/>
                </a:spcAft>
                <a:buClr>
                  <a:srgbClr val="003C50"/>
                </a:buClr>
                <a:buFont typeface="Wingdings" panose="05000000000000000000" pitchFamily="2" charset="2"/>
                <a:buChar char="§"/>
              </a:pPr>
              <a:r>
                <a:rPr lang="de-DE" sz="1300">
                  <a:solidFill>
                    <a:schemeClr val="tx1"/>
                  </a:solidFill>
                </a:rPr>
                <a:t>Anschluss angrenzender Wohngebiete aufgrund direkter Wärmequellennähe möglich</a:t>
              </a:r>
            </a:p>
            <a:p>
              <a:pPr marL="144000" indent="-144000">
                <a:lnSpc>
                  <a:spcPct val="95000"/>
                </a:lnSpc>
                <a:spcAft>
                  <a:spcPts val="200"/>
                </a:spcAft>
                <a:buClr>
                  <a:srgbClr val="003C50"/>
                </a:buClr>
                <a:buFont typeface="Wingdings" panose="05000000000000000000" pitchFamily="2" charset="2"/>
                <a:buChar char="§"/>
              </a:pPr>
              <a:endParaRPr lang="de-DE" sz="1100">
                <a:solidFill>
                  <a:schemeClr val="tx1"/>
                </a:solidFill>
              </a:endParaRPr>
            </a:p>
            <a:p>
              <a:pPr>
                <a:lnSpc>
                  <a:spcPct val="95000"/>
                </a:lnSpc>
                <a:spcAft>
                  <a:spcPts val="200"/>
                </a:spcAft>
                <a:buClr>
                  <a:srgbClr val="003C50"/>
                </a:buClr>
              </a:pPr>
              <a:endParaRPr lang="de-DE" sz="1100">
                <a:solidFill>
                  <a:schemeClr val="tx1"/>
                </a:solidFill>
              </a:endParaRPr>
            </a:p>
          </p:txBody>
        </p:sp>
      </p:grpSp>
      <p:grpSp>
        <p:nvGrpSpPr>
          <p:cNvPr id="18" name="Group 17">
            <a:extLst>
              <a:ext uri="{FF2B5EF4-FFF2-40B4-BE49-F238E27FC236}">
                <a16:creationId xmlns:a16="http://schemas.microsoft.com/office/drawing/2014/main" id="{9351A06B-AF31-3807-5313-66CF16E0DB86}"/>
              </a:ext>
            </a:extLst>
          </p:cNvPr>
          <p:cNvGrpSpPr/>
          <p:nvPr/>
        </p:nvGrpSpPr>
        <p:grpSpPr>
          <a:xfrm>
            <a:off x="236229" y="1275868"/>
            <a:ext cx="4334822" cy="1727128"/>
            <a:chOff x="236229" y="1076247"/>
            <a:chExt cx="4334822" cy="1727128"/>
          </a:xfrm>
        </p:grpSpPr>
        <p:sp>
          <p:nvSpPr>
            <p:cNvPr id="19" name="Rectangle 18">
              <a:extLst>
                <a:ext uri="{FF2B5EF4-FFF2-40B4-BE49-F238E27FC236}">
                  <a16:creationId xmlns:a16="http://schemas.microsoft.com/office/drawing/2014/main" id="{0A141E42-5176-3460-A4FB-B00E5AFE4B96}"/>
                </a:ext>
              </a:extLst>
            </p:cNvPr>
            <p:cNvSpPr/>
            <p:nvPr/>
          </p:nvSpPr>
          <p:spPr bwMode="gray">
            <a:xfrm>
              <a:off x="307047" y="1076247"/>
              <a:ext cx="3922053" cy="432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600" b="1">
                  <a:solidFill>
                    <a:schemeClr val="tx1"/>
                  </a:solidFill>
                </a:rPr>
                <a:t>Fokusgebiet 2: </a:t>
              </a:r>
              <a:r>
                <a:rPr lang="de-DE" sz="1600" b="1" err="1">
                  <a:solidFill>
                    <a:schemeClr val="tx1"/>
                  </a:solidFill>
                </a:rPr>
                <a:t>Nordrheda</a:t>
              </a:r>
              <a:r>
                <a:rPr lang="de-DE" sz="1600" b="1">
                  <a:solidFill>
                    <a:schemeClr val="tx1"/>
                  </a:solidFill>
                </a:rPr>
                <a:t>-Ems West</a:t>
              </a:r>
            </a:p>
          </p:txBody>
        </p:sp>
        <p:grpSp>
          <p:nvGrpSpPr>
            <p:cNvPr id="20" name="Group 19">
              <a:extLst>
                <a:ext uri="{FF2B5EF4-FFF2-40B4-BE49-F238E27FC236}">
                  <a16:creationId xmlns:a16="http://schemas.microsoft.com/office/drawing/2014/main" id="{C9A96B75-3857-EC98-AB4E-49553818CCA1}"/>
                </a:ext>
              </a:extLst>
            </p:cNvPr>
            <p:cNvGrpSpPr>
              <a:grpSpLocks noChangeAspect="1"/>
            </p:cNvGrpSpPr>
            <p:nvPr>
              <p:custDataLst>
                <p:tags r:id="rId1"/>
              </p:custDataLst>
            </p:nvPr>
          </p:nvGrpSpPr>
          <p:grpSpPr>
            <a:xfrm>
              <a:off x="308260" y="1134335"/>
              <a:ext cx="324000" cy="324000"/>
              <a:chOff x="1270000" y="1270000"/>
              <a:chExt cx="889000" cy="889000"/>
            </a:xfrm>
            <a:solidFill>
              <a:schemeClr val="tx2"/>
            </a:solidFill>
          </p:grpSpPr>
          <p:sp>
            <p:nvSpPr>
              <p:cNvPr id="22" name="Rectangle 21" hidden="1">
                <a:extLst>
                  <a:ext uri="{FF2B5EF4-FFF2-40B4-BE49-F238E27FC236}">
                    <a16:creationId xmlns:a16="http://schemas.microsoft.com/office/drawing/2014/main" id="{B7E0A1EF-07B1-CE33-4EB0-564CA18316CE}"/>
                  </a:ext>
                </a:extLst>
              </p:cNvPr>
              <p:cNvSpPr/>
              <p:nvPr/>
            </p:nvSpPr>
            <p:spPr bwMode="gray">
              <a:xfrm>
                <a:off x="1270000" y="1270000"/>
                <a:ext cx="889000" cy="889000"/>
              </a:xfrm>
              <a:prstGeom prst="rect">
                <a:avLst/>
              </a:prstGeom>
              <a:grpFill/>
              <a:ln w="9525">
                <a:solidFill>
                  <a:schemeClr val="tx1"/>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23" name="Graphic 22">
                <a:extLst>
                  <a:ext uri="{FF2B5EF4-FFF2-40B4-BE49-F238E27FC236}">
                    <a16:creationId xmlns:a16="http://schemas.microsoft.com/office/drawing/2014/main" id="{046FAE17-4271-9188-651A-C1B47B59A50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70000" y="1270000"/>
                <a:ext cx="889000" cy="889000"/>
              </a:xfrm>
              <a:prstGeom prst="rect">
                <a:avLst/>
              </a:prstGeom>
            </p:spPr>
          </p:pic>
        </p:grpSp>
        <p:sp>
          <p:nvSpPr>
            <p:cNvPr id="21" name="Rectangle 20">
              <a:extLst>
                <a:ext uri="{FF2B5EF4-FFF2-40B4-BE49-F238E27FC236}">
                  <a16:creationId xmlns:a16="http://schemas.microsoft.com/office/drawing/2014/main" id="{7A56516D-E012-E1D1-F01C-98966E5A0BBB}"/>
                </a:ext>
              </a:extLst>
            </p:cNvPr>
            <p:cNvSpPr/>
            <p:nvPr/>
          </p:nvSpPr>
          <p:spPr bwMode="gray">
            <a:xfrm>
              <a:off x="236229" y="1085693"/>
              <a:ext cx="4334822" cy="171768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spcAft>
                  <a:spcPts val="600"/>
                </a:spcAft>
                <a:buClr>
                  <a:srgbClr val="003C50"/>
                </a:buClr>
                <a:buFont typeface="Wingdings" panose="05000000000000000000" pitchFamily="2" charset="2"/>
                <a:buChar char="§"/>
              </a:pPr>
              <a:r>
                <a:rPr lang="de-DE" sz="1300">
                  <a:solidFill>
                    <a:schemeClr val="tx1"/>
                  </a:solidFill>
                </a:rPr>
                <a:t>Nutzung der Abwärme Frischwassers aus Klärwerk</a:t>
              </a:r>
            </a:p>
            <a:p>
              <a:pPr marL="144000" indent="-144000">
                <a:spcAft>
                  <a:spcPts val="600"/>
                </a:spcAft>
                <a:buClr>
                  <a:srgbClr val="003C50"/>
                </a:buClr>
                <a:buFont typeface="Wingdings" panose="05000000000000000000" pitchFamily="2" charset="2"/>
                <a:buChar char="§"/>
              </a:pPr>
              <a:r>
                <a:rPr lang="de-DE" sz="1300">
                  <a:solidFill>
                    <a:schemeClr val="tx1"/>
                  </a:solidFill>
                </a:rPr>
                <a:t>Angrenzendes Industrie- und Gewerbegebiet südlich des Klärwerks dient als Ankerkunde</a:t>
              </a:r>
            </a:p>
            <a:p>
              <a:pPr marL="144000" indent="-144000">
                <a:spcAft>
                  <a:spcPts val="600"/>
                </a:spcAft>
                <a:buClr>
                  <a:srgbClr val="003C50"/>
                </a:buClr>
                <a:buFont typeface="Wingdings" panose="05000000000000000000" pitchFamily="2" charset="2"/>
                <a:buChar char="§"/>
              </a:pPr>
              <a:r>
                <a:rPr lang="de-DE" sz="1300">
                  <a:solidFill>
                    <a:schemeClr val="tx1"/>
                  </a:solidFill>
                </a:rPr>
                <a:t>Hoher Wärmebedarf in Verbindung mit nahelegender Wärmequelle</a:t>
              </a:r>
            </a:p>
            <a:p>
              <a:pPr marL="144000" indent="-144000">
                <a:lnSpc>
                  <a:spcPct val="95000"/>
                </a:lnSpc>
                <a:spcAft>
                  <a:spcPts val="200"/>
                </a:spcAft>
                <a:buClr>
                  <a:srgbClr val="003C50"/>
                </a:buClr>
                <a:buFont typeface="Wingdings" panose="05000000000000000000" pitchFamily="2" charset="2"/>
                <a:buChar char="§"/>
              </a:pPr>
              <a:endParaRPr lang="de-DE" sz="1100">
                <a:solidFill>
                  <a:schemeClr val="tx1"/>
                </a:solidFill>
              </a:endParaRPr>
            </a:p>
            <a:p>
              <a:pPr>
                <a:lnSpc>
                  <a:spcPct val="95000"/>
                </a:lnSpc>
                <a:spcAft>
                  <a:spcPts val="200"/>
                </a:spcAft>
                <a:buClr>
                  <a:srgbClr val="003C50"/>
                </a:buClr>
              </a:pPr>
              <a:endParaRPr lang="de-DE" sz="1100">
                <a:solidFill>
                  <a:schemeClr val="tx1"/>
                </a:solidFill>
              </a:endParaRPr>
            </a:p>
          </p:txBody>
        </p:sp>
      </p:grpSp>
      <p:grpSp>
        <p:nvGrpSpPr>
          <p:cNvPr id="34" name="Group 33">
            <a:extLst>
              <a:ext uri="{FF2B5EF4-FFF2-40B4-BE49-F238E27FC236}">
                <a16:creationId xmlns:a16="http://schemas.microsoft.com/office/drawing/2014/main" id="{0524E256-0562-2BED-14C6-4267AD2A5762}"/>
              </a:ext>
            </a:extLst>
          </p:cNvPr>
          <p:cNvGrpSpPr>
            <a:grpSpLocks noChangeAspect="1"/>
          </p:cNvGrpSpPr>
          <p:nvPr/>
        </p:nvGrpSpPr>
        <p:grpSpPr>
          <a:xfrm>
            <a:off x="7440231" y="1778391"/>
            <a:ext cx="1007682" cy="1162529"/>
            <a:chOff x="3466911" y="2365069"/>
            <a:chExt cx="1295679" cy="1494778"/>
          </a:xfrm>
        </p:grpSpPr>
        <p:sp>
          <p:nvSpPr>
            <p:cNvPr id="36" name="Rectangle 35">
              <a:extLst>
                <a:ext uri="{FF2B5EF4-FFF2-40B4-BE49-F238E27FC236}">
                  <a16:creationId xmlns:a16="http://schemas.microsoft.com/office/drawing/2014/main" id="{CAF0E7F3-46EC-AF4F-089C-C6486BE00A34}"/>
                </a:ext>
              </a:extLst>
            </p:cNvPr>
            <p:cNvSpPr>
              <a:spLocks noChangeAspect="1"/>
            </p:cNvSpPr>
            <p:nvPr/>
          </p:nvSpPr>
          <p:spPr bwMode="gray">
            <a:xfrm>
              <a:off x="4431567" y="2485940"/>
              <a:ext cx="331023" cy="52342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sp>
          <p:nvSpPr>
            <p:cNvPr id="37" name="Rectangle 36">
              <a:extLst>
                <a:ext uri="{FF2B5EF4-FFF2-40B4-BE49-F238E27FC236}">
                  <a16:creationId xmlns:a16="http://schemas.microsoft.com/office/drawing/2014/main" id="{0A64842D-3B47-F36F-6D9C-FEFA5BBACD4E}"/>
                </a:ext>
              </a:extLst>
            </p:cNvPr>
            <p:cNvSpPr>
              <a:spLocks/>
            </p:cNvSpPr>
            <p:nvPr/>
          </p:nvSpPr>
          <p:spPr bwMode="gray">
            <a:xfrm>
              <a:off x="3466911" y="2643943"/>
              <a:ext cx="765997" cy="501459"/>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a:solidFill>
                  <a:schemeClr val="tx1"/>
                </a:solidFill>
              </a:endParaRPr>
            </a:p>
          </p:txBody>
        </p:sp>
        <p:sp>
          <p:nvSpPr>
            <p:cNvPr id="38" name="Rectangle 37">
              <a:extLst>
                <a:ext uri="{FF2B5EF4-FFF2-40B4-BE49-F238E27FC236}">
                  <a16:creationId xmlns:a16="http://schemas.microsoft.com/office/drawing/2014/main" id="{8528F439-9659-C526-1A53-DEF3B5DF2092}"/>
                </a:ext>
              </a:extLst>
            </p:cNvPr>
            <p:cNvSpPr>
              <a:spLocks/>
            </p:cNvSpPr>
            <p:nvPr/>
          </p:nvSpPr>
          <p:spPr bwMode="gray">
            <a:xfrm>
              <a:off x="4048674" y="2982211"/>
              <a:ext cx="671521" cy="87763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sp>
          <p:nvSpPr>
            <p:cNvPr id="39" name="Rectangle 38">
              <a:extLst>
                <a:ext uri="{FF2B5EF4-FFF2-40B4-BE49-F238E27FC236}">
                  <a16:creationId xmlns:a16="http://schemas.microsoft.com/office/drawing/2014/main" id="{D6EF3797-4935-647B-93C9-2ECFDADAF914}"/>
                </a:ext>
              </a:extLst>
            </p:cNvPr>
            <p:cNvSpPr>
              <a:spLocks noChangeAspect="1"/>
            </p:cNvSpPr>
            <p:nvPr/>
          </p:nvSpPr>
          <p:spPr bwMode="gray">
            <a:xfrm>
              <a:off x="4012920" y="2365069"/>
              <a:ext cx="240610" cy="33760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grpSp>
      <p:grpSp>
        <p:nvGrpSpPr>
          <p:cNvPr id="24" name="Group 23">
            <a:extLst>
              <a:ext uri="{FF2B5EF4-FFF2-40B4-BE49-F238E27FC236}">
                <a16:creationId xmlns:a16="http://schemas.microsoft.com/office/drawing/2014/main" id="{B6163FD6-658F-8F09-979A-B7C8574025BF}"/>
              </a:ext>
            </a:extLst>
          </p:cNvPr>
          <p:cNvGrpSpPr/>
          <p:nvPr/>
        </p:nvGrpSpPr>
        <p:grpSpPr>
          <a:xfrm>
            <a:off x="6531252" y="3765844"/>
            <a:ext cx="3392680" cy="628650"/>
            <a:chOff x="6400800" y="1419225"/>
            <a:chExt cx="3392680" cy="628650"/>
          </a:xfrm>
        </p:grpSpPr>
        <p:sp>
          <p:nvSpPr>
            <p:cNvPr id="25" name="TextBox 3">
              <a:extLst>
                <a:ext uri="{FF2B5EF4-FFF2-40B4-BE49-F238E27FC236}">
                  <a16:creationId xmlns:a16="http://schemas.microsoft.com/office/drawing/2014/main" id="{39CB3BC9-1B8E-82E4-5FBC-DCC1F98F72AB}"/>
                </a:ext>
              </a:extLst>
            </p:cNvPr>
            <p:cNvSpPr txBox="1"/>
            <p:nvPr/>
          </p:nvSpPr>
          <p:spPr>
            <a:xfrm>
              <a:off x="6400800" y="1419225"/>
              <a:ext cx="2990850" cy="628650"/>
            </a:xfrm>
            <a:prstGeom prst="rect">
              <a:avLst/>
            </a:prstGeom>
            <a:solidFill>
              <a:schemeClr val="bg1">
                <a:alpha val="70000"/>
              </a:schemeClr>
            </a:solidFill>
            <a:ln>
              <a:noFill/>
            </a:ln>
          </p:spPr>
          <p:txBody>
            <a:bodyPr wrap="square" lIns="0" tIns="0" rIns="0" bIns="0" rtlCol="0" anchor="t">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11725" indent="-311725" defTabSz="997456">
                <a:buFont typeface="Arial"/>
                <a:buChar char="•"/>
              </a:pPr>
              <a:endParaRPr lang="de-DE" sz="1527">
                <a:solidFill>
                  <a:srgbClr val="003C50"/>
                </a:solidFill>
                <a:latin typeface="Roboto"/>
                <a:ea typeface="Roboto"/>
                <a:cs typeface="Roboto"/>
              </a:endParaRPr>
            </a:p>
            <a:p>
              <a:pPr defTabSz="997456"/>
              <a:endParaRPr lang="de-DE" sz="1527">
                <a:solidFill>
                  <a:srgbClr val="003C50"/>
                </a:solidFill>
                <a:latin typeface="Roboto"/>
              </a:endParaRPr>
            </a:p>
            <a:p>
              <a:pPr defTabSz="997456"/>
              <a:endParaRPr lang="de-DE" sz="1527">
                <a:solidFill>
                  <a:srgbClr val="003C50"/>
                </a:solidFill>
                <a:latin typeface="Roboto"/>
              </a:endParaRPr>
            </a:p>
            <a:p>
              <a:pPr defTabSz="997456"/>
              <a:endParaRPr lang="de-DE" sz="1527">
                <a:solidFill>
                  <a:srgbClr val="003C50"/>
                </a:solidFill>
                <a:latin typeface="Roboto"/>
                <a:ea typeface="Roboto"/>
                <a:cs typeface="Roboto"/>
              </a:endParaRPr>
            </a:p>
          </p:txBody>
        </p:sp>
        <p:grpSp>
          <p:nvGrpSpPr>
            <p:cNvPr id="26" name="Group 25">
              <a:extLst>
                <a:ext uri="{FF2B5EF4-FFF2-40B4-BE49-F238E27FC236}">
                  <a16:creationId xmlns:a16="http://schemas.microsoft.com/office/drawing/2014/main" id="{D24E0186-C7C7-50D4-9263-AE51C3DFA5BC}"/>
                </a:ext>
              </a:extLst>
            </p:cNvPr>
            <p:cNvGrpSpPr/>
            <p:nvPr/>
          </p:nvGrpSpPr>
          <p:grpSpPr>
            <a:xfrm>
              <a:off x="6470861" y="1506111"/>
              <a:ext cx="3322619" cy="448782"/>
              <a:chOff x="271585" y="5610835"/>
              <a:chExt cx="3593570" cy="448782"/>
            </a:xfrm>
          </p:grpSpPr>
          <p:sp>
            <p:nvSpPr>
              <p:cNvPr id="27" name="TextBox 26">
                <a:extLst>
                  <a:ext uri="{FF2B5EF4-FFF2-40B4-BE49-F238E27FC236}">
                    <a16:creationId xmlns:a16="http://schemas.microsoft.com/office/drawing/2014/main" id="{38F56665-0371-4787-2873-D70E16739761}"/>
                  </a:ext>
                </a:extLst>
              </p:cNvPr>
              <p:cNvSpPr txBox="1"/>
              <p:nvPr/>
            </p:nvSpPr>
            <p:spPr>
              <a:xfrm>
                <a:off x="511664" y="5616197"/>
                <a:ext cx="1439056" cy="169277"/>
              </a:xfrm>
              <a:prstGeom prst="rect">
                <a:avLst/>
              </a:prstGeom>
              <a:noFill/>
              <a:ln>
                <a:noFill/>
              </a:ln>
            </p:spPr>
            <p:txBody>
              <a:bodyPr wrap="square" lIns="0" tIns="0" rIns="0" bIns="0" rtlCol="0" anchor="t">
                <a:spAutoFit/>
              </a:bodyPr>
              <a:lstStyle/>
              <a:p>
                <a:r>
                  <a:rPr lang="de-DE" sz="1100">
                    <a:solidFill>
                      <a:schemeClr val="accent5">
                        <a:lumMod val="10000"/>
                      </a:schemeClr>
                    </a:solidFill>
                    <a:latin typeface="Roboto" panose="02000000000000000000" pitchFamily="2" charset="0"/>
                    <a:ea typeface="Roboto Slab" pitchFamily="2" charset="0"/>
                    <a:cs typeface="Calibri" panose="020F0502020204030204" pitchFamily="34" charset="0"/>
                  </a:rPr>
                  <a:t>Fokusgebiet</a:t>
                </a:r>
              </a:p>
            </p:txBody>
          </p:sp>
          <p:sp>
            <p:nvSpPr>
              <p:cNvPr id="28" name="TextBox 27">
                <a:extLst>
                  <a:ext uri="{FF2B5EF4-FFF2-40B4-BE49-F238E27FC236}">
                    <a16:creationId xmlns:a16="http://schemas.microsoft.com/office/drawing/2014/main" id="{E09EAF91-525A-515D-30B7-B8D301BB39E7}"/>
                  </a:ext>
                </a:extLst>
              </p:cNvPr>
              <p:cNvSpPr txBox="1"/>
              <p:nvPr/>
            </p:nvSpPr>
            <p:spPr>
              <a:xfrm>
                <a:off x="511663" y="5884979"/>
                <a:ext cx="2810943" cy="169277"/>
              </a:xfrm>
              <a:prstGeom prst="rect">
                <a:avLst/>
              </a:prstGeom>
              <a:noFill/>
              <a:ln>
                <a:noFill/>
              </a:ln>
            </p:spPr>
            <p:txBody>
              <a:bodyPr wrap="square" lIns="0" tIns="0" rIns="0" bIns="0" rtlCol="0" anchor="t">
                <a:spAutoFit/>
              </a:bodyPr>
              <a:lstStyle/>
              <a:p>
                <a:r>
                  <a:rPr lang="de-DE" sz="1100">
                    <a:solidFill>
                      <a:schemeClr val="accent5">
                        <a:lumMod val="10000"/>
                      </a:schemeClr>
                    </a:solidFill>
                    <a:latin typeface="Roboto" panose="02000000000000000000" pitchFamily="2" charset="0"/>
                    <a:ea typeface="Roboto Slab" pitchFamily="2" charset="0"/>
                    <a:cs typeface="Calibri" panose="020F0502020204030204" pitchFamily="34" charset="0"/>
                  </a:rPr>
                  <a:t>Gebiet mit dezentraler Wärmeversorgung</a:t>
                </a:r>
              </a:p>
            </p:txBody>
          </p:sp>
          <p:sp>
            <p:nvSpPr>
              <p:cNvPr id="29" name="Rectangle: Rounded Corners 28">
                <a:extLst>
                  <a:ext uri="{FF2B5EF4-FFF2-40B4-BE49-F238E27FC236}">
                    <a16:creationId xmlns:a16="http://schemas.microsoft.com/office/drawing/2014/main" id="{7BA87050-68CC-7EF3-93B2-2E943FE17C0D}"/>
                  </a:ext>
                </a:extLst>
              </p:cNvPr>
              <p:cNvSpPr/>
              <p:nvPr/>
            </p:nvSpPr>
            <p:spPr bwMode="gray">
              <a:xfrm>
                <a:off x="271585" y="5610835"/>
                <a:ext cx="180000" cy="180000"/>
              </a:xfrm>
              <a:prstGeom prst="roundRect">
                <a:avLst/>
              </a:prstGeom>
              <a:solidFill>
                <a:srgbClr val="60D68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8" tIns="36008" rIns="36008" bIns="36008" rtlCol="0" anchor="ctr">
                <a:noAutofit/>
              </a:bodyPr>
              <a:lstStyle/>
              <a:p>
                <a:pPr algn="ctr"/>
                <a:endParaRPr lang="de-DE" sz="1400">
                  <a:solidFill>
                    <a:schemeClr val="tx1"/>
                  </a:solidFill>
                  <a:latin typeface="Calibri" panose="020F0502020204030204" pitchFamily="34" charset="0"/>
                  <a:cs typeface="Calibri" panose="020F0502020204030204" pitchFamily="34" charset="0"/>
                </a:endParaRPr>
              </a:p>
            </p:txBody>
          </p:sp>
          <p:sp>
            <p:nvSpPr>
              <p:cNvPr id="30" name="Rectangle: Rounded Corners 29">
                <a:extLst>
                  <a:ext uri="{FF2B5EF4-FFF2-40B4-BE49-F238E27FC236}">
                    <a16:creationId xmlns:a16="http://schemas.microsoft.com/office/drawing/2014/main" id="{03DE5AA8-66CE-76C9-DFFF-272883683490}"/>
                  </a:ext>
                </a:extLst>
              </p:cNvPr>
              <p:cNvSpPr/>
              <p:nvPr/>
            </p:nvSpPr>
            <p:spPr bwMode="gray">
              <a:xfrm>
                <a:off x="271585" y="5879617"/>
                <a:ext cx="180000" cy="180000"/>
              </a:xfrm>
              <a:prstGeom prst="roundRect">
                <a:avLst/>
              </a:prstGeom>
              <a:solidFill>
                <a:srgbClr val="7BA4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8" tIns="36008" rIns="36008" bIns="36008" rtlCol="0" anchor="ctr">
                <a:noAutofit/>
              </a:bodyPr>
              <a:lstStyle/>
              <a:p>
                <a:pPr algn="ctr"/>
                <a:endParaRPr lang="de-DE" sz="1400">
                  <a:solidFill>
                    <a:schemeClr val="tx1"/>
                  </a:solidFill>
                  <a:latin typeface="Calibri" panose="020F0502020204030204" pitchFamily="34" charset="0"/>
                  <a:cs typeface="Calibri" panose="020F0502020204030204" pitchFamily="34" charset="0"/>
                </a:endParaRPr>
              </a:p>
            </p:txBody>
          </p:sp>
          <p:sp>
            <p:nvSpPr>
              <p:cNvPr id="31" name="TextBox 30">
                <a:extLst>
                  <a:ext uri="{FF2B5EF4-FFF2-40B4-BE49-F238E27FC236}">
                    <a16:creationId xmlns:a16="http://schemas.microsoft.com/office/drawing/2014/main" id="{B16A5B03-146F-3704-F9F7-293B166CC6E9}"/>
                  </a:ext>
                </a:extLst>
              </p:cNvPr>
              <p:cNvSpPr txBox="1"/>
              <p:nvPr/>
            </p:nvSpPr>
            <p:spPr>
              <a:xfrm>
                <a:off x="2426099" y="5616197"/>
                <a:ext cx="1439056" cy="169277"/>
              </a:xfrm>
              <a:prstGeom prst="rect">
                <a:avLst/>
              </a:prstGeom>
              <a:noFill/>
              <a:ln>
                <a:noFill/>
              </a:ln>
            </p:spPr>
            <p:txBody>
              <a:bodyPr wrap="square" lIns="0" tIns="0" rIns="0" bIns="0" rtlCol="0" anchor="t">
                <a:spAutoFit/>
              </a:bodyPr>
              <a:lstStyle/>
              <a:p>
                <a:r>
                  <a:rPr lang="de-DE" sz="1100">
                    <a:solidFill>
                      <a:schemeClr val="accent5">
                        <a:lumMod val="10000"/>
                      </a:schemeClr>
                    </a:solidFill>
                    <a:latin typeface="Roboto" panose="02000000000000000000" pitchFamily="2" charset="0"/>
                    <a:ea typeface="Roboto Slab" pitchFamily="2" charset="0"/>
                    <a:cs typeface="Calibri" panose="020F0502020204030204" pitchFamily="34" charset="0"/>
                  </a:rPr>
                  <a:t>Prüfgebiet</a:t>
                </a:r>
              </a:p>
            </p:txBody>
          </p:sp>
          <p:sp>
            <p:nvSpPr>
              <p:cNvPr id="32" name="Rectangle: Rounded Corners 31">
                <a:extLst>
                  <a:ext uri="{FF2B5EF4-FFF2-40B4-BE49-F238E27FC236}">
                    <a16:creationId xmlns:a16="http://schemas.microsoft.com/office/drawing/2014/main" id="{35D3607A-9DD1-C9B7-44E9-B376B349E112}"/>
                  </a:ext>
                </a:extLst>
              </p:cNvPr>
              <p:cNvSpPr/>
              <p:nvPr/>
            </p:nvSpPr>
            <p:spPr bwMode="gray">
              <a:xfrm>
                <a:off x="2163771" y="5610835"/>
                <a:ext cx="180000" cy="180000"/>
              </a:xfrm>
              <a:prstGeom prst="roundRect">
                <a:avLst/>
              </a:prstGeom>
              <a:solidFill>
                <a:srgbClr val="EDBE5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8" tIns="36008" rIns="36008" bIns="36008" rtlCol="0" anchor="ctr">
                <a:noAutofit/>
              </a:bodyPr>
              <a:lstStyle/>
              <a:p>
                <a:pPr algn="ctr"/>
                <a:endParaRPr lang="de-DE" sz="1400">
                  <a:solidFill>
                    <a:schemeClr val="tx1"/>
                  </a:solidFill>
                  <a:latin typeface="Calibri" panose="020F0502020204030204" pitchFamily="34" charset="0"/>
                  <a:cs typeface="Calibri" panose="020F0502020204030204" pitchFamily="34" charset="0"/>
                </a:endParaRPr>
              </a:p>
            </p:txBody>
          </p:sp>
        </p:grpSp>
      </p:grpSp>
      <p:sp>
        <p:nvSpPr>
          <p:cNvPr id="2" name="Content Placeholder 3">
            <a:extLst>
              <a:ext uri="{FF2B5EF4-FFF2-40B4-BE49-F238E27FC236}">
                <a16:creationId xmlns:a16="http://schemas.microsoft.com/office/drawing/2014/main" id="{386A2FC5-FB81-6712-6EF3-39694DF2BBA9}"/>
              </a:ext>
            </a:extLst>
          </p:cNvPr>
          <p:cNvSpPr txBox="1">
            <a:spLocks/>
          </p:cNvSpPr>
          <p:nvPr/>
        </p:nvSpPr>
        <p:spPr>
          <a:xfrm>
            <a:off x="7501913" y="53024"/>
            <a:ext cx="2291567" cy="380480"/>
          </a:xfrm>
          <a:prstGeom prst="rect">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lIns="72000" tIns="36000" rIns="72000" bIns="36000" anchor="t" anchorCtr="0">
            <a:spAutoFit/>
          </a:bodyPr>
          <a:lstStyle>
            <a:lvl1pPr algn="l" rtl="0" eaLnBrk="1" fontAlgn="base" hangingPunct="1">
              <a:spcBef>
                <a:spcPct val="20000"/>
              </a:spcBef>
              <a:spcAft>
                <a:spcPct val="0"/>
              </a:spcAft>
              <a:defRPr sz="1400">
                <a:solidFill>
                  <a:schemeClr val="tx1"/>
                </a:solidFill>
                <a:latin typeface="+mn-lt"/>
                <a:ea typeface="+mn-ea"/>
                <a:cs typeface="+mn-cs"/>
              </a:defRPr>
            </a:lvl1pPr>
            <a:lvl2pPr marL="381000" indent="-190500" algn="l" rtl="0" eaLnBrk="1" fontAlgn="base" hangingPunct="1">
              <a:spcBef>
                <a:spcPct val="20000"/>
              </a:spcBef>
              <a:spcAft>
                <a:spcPct val="0"/>
              </a:spcAft>
              <a:buFont typeface="Wingdings" pitchFamily="84" charset="2"/>
              <a:buChar char="§"/>
              <a:defRPr sz="1400">
                <a:solidFill>
                  <a:schemeClr val="tx1"/>
                </a:solidFill>
                <a:latin typeface="+mn-lt"/>
              </a:defRPr>
            </a:lvl2pPr>
            <a:lvl3pPr marL="747713" indent="-176213" algn="l" rtl="0" eaLnBrk="1" fontAlgn="base" hangingPunct="1">
              <a:spcBef>
                <a:spcPct val="20000"/>
              </a:spcBef>
              <a:spcAft>
                <a:spcPct val="0"/>
              </a:spcAft>
              <a:buChar char="-"/>
              <a:defRPr sz="1200">
                <a:solidFill>
                  <a:schemeClr val="tx1"/>
                </a:solidFill>
                <a:latin typeface="+mn-lt"/>
              </a:defRPr>
            </a:lvl3pPr>
            <a:lvl4pPr marL="1125538" indent="-187325" algn="l" rtl="0" eaLnBrk="1" fontAlgn="base" hangingPunct="1">
              <a:spcBef>
                <a:spcPct val="20000"/>
              </a:spcBef>
              <a:spcAft>
                <a:spcPct val="0"/>
              </a:spcAft>
              <a:buFont typeface="Times" pitchFamily="84" charset="0"/>
              <a:buChar char="•"/>
              <a:defRPr sz="1000">
                <a:solidFill>
                  <a:schemeClr val="tx1"/>
                </a:solidFill>
                <a:latin typeface="+mn-lt"/>
              </a:defRPr>
            </a:lvl4pPr>
            <a:lvl5pPr marL="1431925" indent="-115888" algn="l" rtl="0" eaLnBrk="1" fontAlgn="base" hangingPunct="1">
              <a:spcBef>
                <a:spcPct val="20000"/>
              </a:spcBef>
              <a:spcAft>
                <a:spcPct val="0"/>
              </a:spcAft>
              <a:buChar char="•"/>
              <a:defRPr sz="1000">
                <a:solidFill>
                  <a:schemeClr val="tx1"/>
                </a:solidFill>
                <a:latin typeface="+mn-lt"/>
              </a:defRPr>
            </a:lvl5pPr>
            <a:lvl6pPr marL="1889125" indent="-115888" algn="l" rtl="0" eaLnBrk="1" fontAlgn="base" hangingPunct="1">
              <a:spcBef>
                <a:spcPct val="20000"/>
              </a:spcBef>
              <a:spcAft>
                <a:spcPct val="0"/>
              </a:spcAft>
              <a:buChar char="•"/>
              <a:defRPr sz="1000">
                <a:solidFill>
                  <a:schemeClr val="tx1"/>
                </a:solidFill>
                <a:latin typeface="+mn-lt"/>
              </a:defRPr>
            </a:lvl6pPr>
            <a:lvl7pPr marL="2346325" indent="-115888" algn="l" rtl="0" eaLnBrk="1" fontAlgn="base" hangingPunct="1">
              <a:spcBef>
                <a:spcPct val="20000"/>
              </a:spcBef>
              <a:spcAft>
                <a:spcPct val="0"/>
              </a:spcAft>
              <a:buChar char="•"/>
              <a:defRPr sz="1000">
                <a:solidFill>
                  <a:schemeClr val="tx1"/>
                </a:solidFill>
                <a:latin typeface="+mn-lt"/>
              </a:defRPr>
            </a:lvl7pPr>
            <a:lvl8pPr marL="2803525" indent="-115888" algn="l" rtl="0" eaLnBrk="1" fontAlgn="base" hangingPunct="1">
              <a:spcBef>
                <a:spcPct val="20000"/>
              </a:spcBef>
              <a:spcAft>
                <a:spcPct val="0"/>
              </a:spcAft>
              <a:buChar char="•"/>
              <a:defRPr sz="1000">
                <a:solidFill>
                  <a:schemeClr val="tx1"/>
                </a:solidFill>
                <a:latin typeface="+mn-lt"/>
              </a:defRPr>
            </a:lvl8pPr>
            <a:lvl9pPr marL="3260725" indent="-115888" algn="l" rtl="0" eaLnBrk="1" fontAlgn="base" hangingPunct="1">
              <a:spcBef>
                <a:spcPct val="20000"/>
              </a:spcBef>
              <a:spcAft>
                <a:spcPct val="0"/>
              </a:spcAft>
              <a:buChar char="•"/>
              <a:defRPr sz="1000">
                <a:solidFill>
                  <a:schemeClr val="tx1"/>
                </a:solidFill>
                <a:latin typeface="+mn-lt"/>
              </a:defRPr>
            </a:lvl9pPr>
          </a:lstStyle>
          <a:p>
            <a:pPr defTabSz="997456"/>
            <a:r>
              <a:rPr lang="de-DE" sz="1000" i="1">
                <a:solidFill>
                  <a:srgbClr val="F07D00"/>
                </a:solidFill>
                <a:latin typeface="Roboto"/>
              </a:rPr>
              <a:t>Anmerkung: </a:t>
            </a:r>
            <a:r>
              <a:rPr lang="de-DE" sz="1000">
                <a:solidFill>
                  <a:srgbClr val="003C50"/>
                </a:solidFill>
                <a:latin typeface="Roboto"/>
              </a:rPr>
              <a:t>Ergebnisse sind vorläufig und können sich noch ändern</a:t>
            </a:r>
          </a:p>
        </p:txBody>
      </p:sp>
      <p:pic>
        <p:nvPicPr>
          <p:cNvPr id="41" name="Picture 40">
            <a:extLst>
              <a:ext uri="{FF2B5EF4-FFF2-40B4-BE49-F238E27FC236}">
                <a16:creationId xmlns:a16="http://schemas.microsoft.com/office/drawing/2014/main" id="{216DC3B4-6876-E82B-19CF-31ACBBEC7CDC}"/>
              </a:ext>
            </a:extLst>
          </p:cNvPr>
          <p:cNvPicPr>
            <a:picLocks noChangeAspect="1"/>
          </p:cNvPicPr>
          <p:nvPr/>
        </p:nvPicPr>
        <p:blipFill>
          <a:blip r:embed="rId8" cstate="screen">
            <a:alphaModFix/>
            <a:extLst>
              <a:ext uri="{28A0092B-C50C-407E-A947-70E740481C1C}">
                <a14:useLocalDpi xmlns:a14="http://schemas.microsoft.com/office/drawing/2010/main"/>
              </a:ext>
            </a:extLst>
          </a:blip>
          <a:srcRect/>
          <a:stretch>
            <a:fillRect/>
          </a:stretch>
        </p:blipFill>
        <p:spPr>
          <a:xfrm>
            <a:off x="4782105" y="1288641"/>
            <a:ext cx="1399407" cy="1711681"/>
          </a:xfrm>
          <a:prstGeom prst="rect">
            <a:avLst/>
          </a:prstGeom>
        </p:spPr>
      </p:pic>
      <p:sp>
        <p:nvSpPr>
          <p:cNvPr id="42" name="Rectangle 41">
            <a:extLst>
              <a:ext uri="{FF2B5EF4-FFF2-40B4-BE49-F238E27FC236}">
                <a16:creationId xmlns:a16="http://schemas.microsoft.com/office/drawing/2014/main" id="{3587241E-BAD5-432D-0E09-7A03F876A351}"/>
              </a:ext>
            </a:extLst>
          </p:cNvPr>
          <p:cNvSpPr>
            <a:spLocks noChangeAspect="1"/>
          </p:cNvSpPr>
          <p:nvPr/>
        </p:nvSpPr>
        <p:spPr bwMode="gray">
          <a:xfrm>
            <a:off x="4782106" y="1288642"/>
            <a:ext cx="1394630" cy="171435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spTree>
    <p:extLst>
      <p:ext uri="{BB962C8B-B14F-4D97-AF65-F5344CB8AC3E}">
        <p14:creationId xmlns:p14="http://schemas.microsoft.com/office/powerpoint/2010/main" val="234436974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descr="A map of a city&#10;&#10;AI-generated content may be incorrect.">
            <a:extLst>
              <a:ext uri="{FF2B5EF4-FFF2-40B4-BE49-F238E27FC236}">
                <a16:creationId xmlns:a16="http://schemas.microsoft.com/office/drawing/2014/main" id="{B6140865-0A4E-8ED3-AB6F-D3F8E2B7C042}"/>
              </a:ext>
            </a:extLst>
          </p:cNvPr>
          <p:cNvPicPr>
            <a:picLocks noChangeAspect="1"/>
          </p:cNvPicPr>
          <p:nvPr/>
        </p:nvPicPr>
        <p:blipFill>
          <a:blip r:embed="rId3" cstate="screen">
            <a:alphaModFix amt="75000"/>
            <a:extLst>
              <a:ext uri="{28A0092B-C50C-407E-A947-70E740481C1C}">
                <a14:useLocalDpi xmlns:a14="http://schemas.microsoft.com/office/drawing/2010/main"/>
              </a:ext>
            </a:extLst>
          </a:blip>
          <a:srcRect/>
          <a:stretch>
            <a:fillRect/>
          </a:stretch>
        </p:blipFill>
        <p:spPr>
          <a:xfrm>
            <a:off x="6529617" y="1090704"/>
            <a:ext cx="3053930" cy="2669044"/>
          </a:xfrm>
          <a:prstGeom prst="rect">
            <a:avLst/>
          </a:prstGeom>
        </p:spPr>
      </p:pic>
      <p:grpSp>
        <p:nvGrpSpPr>
          <p:cNvPr id="40" name="Group 39">
            <a:extLst>
              <a:ext uri="{FF2B5EF4-FFF2-40B4-BE49-F238E27FC236}">
                <a16:creationId xmlns:a16="http://schemas.microsoft.com/office/drawing/2014/main" id="{533BCB01-F572-85DF-76DD-A46F302023B4}"/>
              </a:ext>
            </a:extLst>
          </p:cNvPr>
          <p:cNvGrpSpPr>
            <a:grpSpLocks noChangeAspect="1"/>
          </p:cNvGrpSpPr>
          <p:nvPr/>
        </p:nvGrpSpPr>
        <p:grpSpPr>
          <a:xfrm>
            <a:off x="204864" y="2376582"/>
            <a:ext cx="2594583" cy="3321765"/>
            <a:chOff x="213821" y="2371514"/>
            <a:chExt cx="1799216" cy="2303481"/>
          </a:xfrm>
        </p:grpSpPr>
        <p:pic>
          <p:nvPicPr>
            <p:cNvPr id="14" name="Picture 13">
              <a:extLst>
                <a:ext uri="{FF2B5EF4-FFF2-40B4-BE49-F238E27FC236}">
                  <a16:creationId xmlns:a16="http://schemas.microsoft.com/office/drawing/2014/main" id="{4AD483F9-0E43-AFFD-8CBF-A6AB8A5EEDAB}"/>
                </a:ext>
              </a:extLst>
            </p:cNvPr>
            <p:cNvPicPr>
              <a:picLocks noChangeAspect="1"/>
            </p:cNvPicPr>
            <p:nvPr/>
          </p:nvPicPr>
          <p:blipFill>
            <a:blip r:embed="rId4" cstate="screen">
              <a:alphaModFix/>
              <a:extLst>
                <a:ext uri="{28A0092B-C50C-407E-A947-70E740481C1C}">
                  <a14:useLocalDpi xmlns:a14="http://schemas.microsoft.com/office/drawing/2010/main"/>
                </a:ext>
              </a:extLst>
            </a:blip>
            <a:srcRect/>
            <a:stretch>
              <a:fillRect/>
            </a:stretch>
          </p:blipFill>
          <p:spPr>
            <a:xfrm>
              <a:off x="213821" y="2376582"/>
              <a:ext cx="1799216" cy="2298411"/>
            </a:xfrm>
            <a:prstGeom prst="rect">
              <a:avLst/>
            </a:prstGeom>
          </p:spPr>
        </p:pic>
        <p:sp>
          <p:nvSpPr>
            <p:cNvPr id="17" name="Rectangle 16">
              <a:extLst>
                <a:ext uri="{FF2B5EF4-FFF2-40B4-BE49-F238E27FC236}">
                  <a16:creationId xmlns:a16="http://schemas.microsoft.com/office/drawing/2014/main" id="{AC28C33C-87F3-5C9F-C026-9EF6FCFD2F2B}"/>
                </a:ext>
              </a:extLst>
            </p:cNvPr>
            <p:cNvSpPr>
              <a:spLocks noChangeAspect="1"/>
            </p:cNvSpPr>
            <p:nvPr/>
          </p:nvSpPr>
          <p:spPr bwMode="gray">
            <a:xfrm>
              <a:off x="213823" y="2371514"/>
              <a:ext cx="1792766" cy="2303481"/>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grpSp>
      <p:sp>
        <p:nvSpPr>
          <p:cNvPr id="39" name="Slide Number Placeholder 38">
            <a:extLst>
              <a:ext uri="{FF2B5EF4-FFF2-40B4-BE49-F238E27FC236}">
                <a16:creationId xmlns:a16="http://schemas.microsoft.com/office/drawing/2014/main" id="{1A2AD7D7-345E-918C-A023-11BFB49755E7}"/>
              </a:ext>
            </a:extLst>
          </p:cNvPr>
          <p:cNvSpPr>
            <a:spLocks noGrp="1"/>
          </p:cNvSpPr>
          <p:nvPr>
            <p:ph type="sldNum" sz="quarter" idx="11"/>
          </p:nvPr>
        </p:nvSpPr>
        <p:spPr/>
        <p:txBody>
          <a:bodyPr/>
          <a:lstStyle/>
          <a:p>
            <a:endParaRPr lang="de-DE"/>
          </a:p>
          <a:p>
            <a:fld id="{24C420F5-194C-40F2-A080-C5F3EDD89037}" type="slidenum">
              <a:rPr lang="de-DE" smtClean="0"/>
              <a:pPr/>
              <a:t>49</a:t>
            </a:fld>
            <a:endParaRPr lang="de-DE"/>
          </a:p>
        </p:txBody>
      </p:sp>
      <p:sp>
        <p:nvSpPr>
          <p:cNvPr id="3" name="Title 2">
            <a:extLst>
              <a:ext uri="{FF2B5EF4-FFF2-40B4-BE49-F238E27FC236}">
                <a16:creationId xmlns:a16="http://schemas.microsoft.com/office/drawing/2014/main" id="{A89C5223-1A98-3DC2-380A-57F7BE21F80B}"/>
              </a:ext>
            </a:extLst>
          </p:cNvPr>
          <p:cNvSpPr>
            <a:spLocks noGrp="1"/>
          </p:cNvSpPr>
          <p:nvPr>
            <p:ph type="title"/>
          </p:nvPr>
        </p:nvSpPr>
        <p:spPr/>
        <p:txBody>
          <a:bodyPr/>
          <a:lstStyle/>
          <a:p>
            <a:r>
              <a:rPr lang="de-DE" b="1">
                <a:latin typeface="Roboto" panose="02000000000000000000" pitchFamily="2" charset="0"/>
              </a:rPr>
              <a:t>Erkenntnisse der Kommunalen Wärmeplanung - Zielszenario</a:t>
            </a:r>
            <a:br>
              <a:rPr lang="de-DE" b="1">
                <a:latin typeface="Roboto" panose="02000000000000000000" pitchFamily="2" charset="0"/>
              </a:rPr>
            </a:br>
            <a:r>
              <a:rPr lang="de-DE">
                <a:solidFill>
                  <a:srgbClr val="003C50"/>
                </a:solidFill>
                <a:ea typeface="Roboto"/>
                <a:cs typeface="Roboto"/>
              </a:rPr>
              <a:t>Fokusgebiete Wiedenbrück haben hohe Wärmenachfrage durch Industrie</a:t>
            </a:r>
            <a:endParaRPr lang="de-DE"/>
          </a:p>
        </p:txBody>
      </p:sp>
      <p:sp>
        <p:nvSpPr>
          <p:cNvPr id="38" name="Footer Placeholder 37">
            <a:extLst>
              <a:ext uri="{FF2B5EF4-FFF2-40B4-BE49-F238E27FC236}">
                <a16:creationId xmlns:a16="http://schemas.microsoft.com/office/drawing/2014/main" id="{CF9986DB-06E9-1F67-B28C-2540340C6176}"/>
              </a:ext>
            </a:extLst>
          </p:cNvPr>
          <p:cNvSpPr>
            <a:spLocks noGrp="1"/>
          </p:cNvSpPr>
          <p:nvPr>
            <p:ph type="ftr" sz="quarter" idx="12"/>
          </p:nvPr>
        </p:nvSpPr>
        <p:spPr/>
        <p:txBody>
          <a:bodyPr/>
          <a:lstStyle/>
          <a:p>
            <a:r>
              <a:rPr lang="de-DE"/>
              <a:t>© 2026</a:t>
            </a:r>
          </a:p>
          <a:p>
            <a:r>
              <a:rPr lang="de-DE"/>
              <a:t>d-fine</a:t>
            </a:r>
          </a:p>
        </p:txBody>
      </p:sp>
      <p:grpSp>
        <p:nvGrpSpPr>
          <p:cNvPr id="6" name="Group 5">
            <a:extLst>
              <a:ext uri="{FF2B5EF4-FFF2-40B4-BE49-F238E27FC236}">
                <a16:creationId xmlns:a16="http://schemas.microsoft.com/office/drawing/2014/main" id="{EAE73286-F700-6AED-DFBF-C666C9CC5BA2}"/>
              </a:ext>
            </a:extLst>
          </p:cNvPr>
          <p:cNvGrpSpPr/>
          <p:nvPr/>
        </p:nvGrpSpPr>
        <p:grpSpPr>
          <a:xfrm>
            <a:off x="208025" y="1111491"/>
            <a:ext cx="4137398" cy="1216449"/>
            <a:chOff x="208025" y="1066800"/>
            <a:chExt cx="4137398" cy="1216449"/>
          </a:xfrm>
        </p:grpSpPr>
        <p:sp>
          <p:nvSpPr>
            <p:cNvPr id="7" name="Rectangle 6">
              <a:extLst>
                <a:ext uri="{FF2B5EF4-FFF2-40B4-BE49-F238E27FC236}">
                  <a16:creationId xmlns:a16="http://schemas.microsoft.com/office/drawing/2014/main" id="{90369F24-EA4A-350C-BB25-25E83E0351F9}"/>
                </a:ext>
              </a:extLst>
            </p:cNvPr>
            <p:cNvSpPr/>
            <p:nvPr/>
          </p:nvSpPr>
          <p:spPr bwMode="gray">
            <a:xfrm>
              <a:off x="278843" y="1066800"/>
              <a:ext cx="3686253" cy="432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600" b="1">
                  <a:solidFill>
                    <a:schemeClr val="tx1"/>
                  </a:solidFill>
                </a:rPr>
                <a:t>Fokusgebiet 4:​ Wiedenbrück Nord</a:t>
              </a:r>
            </a:p>
          </p:txBody>
        </p:sp>
        <p:grpSp>
          <p:nvGrpSpPr>
            <p:cNvPr id="8" name="Group 7">
              <a:extLst>
                <a:ext uri="{FF2B5EF4-FFF2-40B4-BE49-F238E27FC236}">
                  <a16:creationId xmlns:a16="http://schemas.microsoft.com/office/drawing/2014/main" id="{C4398791-3168-BE2C-ADFD-48FB9D0BD1CF}"/>
                </a:ext>
              </a:extLst>
            </p:cNvPr>
            <p:cNvGrpSpPr>
              <a:grpSpLocks noChangeAspect="1"/>
            </p:cNvGrpSpPr>
            <p:nvPr>
              <p:custDataLst>
                <p:tags r:id="rId1"/>
              </p:custDataLst>
            </p:nvPr>
          </p:nvGrpSpPr>
          <p:grpSpPr>
            <a:xfrm>
              <a:off x="280056" y="1124888"/>
              <a:ext cx="324000" cy="324000"/>
              <a:chOff x="1270000" y="1270000"/>
              <a:chExt cx="889000" cy="889000"/>
            </a:xfrm>
            <a:solidFill>
              <a:schemeClr val="tx2"/>
            </a:solidFill>
          </p:grpSpPr>
          <p:sp>
            <p:nvSpPr>
              <p:cNvPr id="10" name="Rectangle 9" hidden="1">
                <a:extLst>
                  <a:ext uri="{FF2B5EF4-FFF2-40B4-BE49-F238E27FC236}">
                    <a16:creationId xmlns:a16="http://schemas.microsoft.com/office/drawing/2014/main" id="{1D51635F-DFBD-EB48-6A96-13B3103349A2}"/>
                  </a:ext>
                </a:extLst>
              </p:cNvPr>
              <p:cNvSpPr/>
              <p:nvPr/>
            </p:nvSpPr>
            <p:spPr bwMode="gray">
              <a:xfrm>
                <a:off x="1270000" y="1270000"/>
                <a:ext cx="889000" cy="889000"/>
              </a:xfrm>
              <a:prstGeom prst="rect">
                <a:avLst/>
              </a:prstGeom>
              <a:grpFill/>
              <a:ln w="9525">
                <a:solidFill>
                  <a:schemeClr val="tx1"/>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1" name="Graphic 10">
                <a:extLst>
                  <a:ext uri="{FF2B5EF4-FFF2-40B4-BE49-F238E27FC236}">
                    <a16:creationId xmlns:a16="http://schemas.microsoft.com/office/drawing/2014/main" id="{C9DE9D49-9422-835B-6B5E-A43403BF5F6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70000" y="1270000"/>
                <a:ext cx="889000" cy="889000"/>
              </a:xfrm>
              <a:prstGeom prst="rect">
                <a:avLst/>
              </a:prstGeom>
            </p:spPr>
          </p:pic>
        </p:grpSp>
        <p:sp>
          <p:nvSpPr>
            <p:cNvPr id="9" name="Rectangle 8">
              <a:extLst>
                <a:ext uri="{FF2B5EF4-FFF2-40B4-BE49-F238E27FC236}">
                  <a16:creationId xmlns:a16="http://schemas.microsoft.com/office/drawing/2014/main" id="{BBFD11AB-2C30-3E79-A011-A0C622FF7F27}"/>
                </a:ext>
              </a:extLst>
            </p:cNvPr>
            <p:cNvSpPr/>
            <p:nvPr/>
          </p:nvSpPr>
          <p:spPr bwMode="gray">
            <a:xfrm>
              <a:off x="208025" y="1076246"/>
              <a:ext cx="4137398" cy="120700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spcAft>
                  <a:spcPts val="600"/>
                </a:spcAft>
                <a:buClr>
                  <a:srgbClr val="003C50"/>
                </a:buClr>
                <a:buFont typeface="Wingdings" panose="05000000000000000000" pitchFamily="2" charset="2"/>
                <a:buChar char="§"/>
              </a:pPr>
              <a:r>
                <a:rPr lang="de-DE" sz="1300">
                  <a:solidFill>
                    <a:schemeClr val="tx1"/>
                  </a:solidFill>
                </a:rPr>
                <a:t>Industrie- und Gewerbegebiet mit hohem Wärmebedarf südwestlich des Autobahnkreuzes</a:t>
              </a:r>
            </a:p>
            <a:p>
              <a:pPr marL="144000" indent="-144000">
                <a:spcAft>
                  <a:spcPts val="600"/>
                </a:spcAft>
                <a:buClr>
                  <a:srgbClr val="003C50"/>
                </a:buClr>
                <a:buFont typeface="Wingdings" panose="05000000000000000000" pitchFamily="2" charset="2"/>
                <a:buChar char="§"/>
              </a:pPr>
              <a:r>
                <a:rPr lang="de-DE" sz="1300">
                  <a:solidFill>
                    <a:schemeClr val="tx1"/>
                  </a:solidFill>
                </a:rPr>
                <a:t>Keine Wärmequelle in unmittelbarer Umgebung</a:t>
              </a:r>
            </a:p>
            <a:p>
              <a:pPr marL="144000" indent="-144000">
                <a:spcAft>
                  <a:spcPts val="600"/>
                </a:spcAft>
                <a:buClr>
                  <a:srgbClr val="003C50"/>
                </a:buClr>
                <a:buFont typeface="Wingdings" panose="05000000000000000000" pitchFamily="2" charset="2"/>
                <a:buChar char="§"/>
              </a:pPr>
              <a:endParaRPr lang="de-DE" sz="1100">
                <a:solidFill>
                  <a:schemeClr val="tx1"/>
                </a:solidFill>
              </a:endParaRPr>
            </a:p>
            <a:p>
              <a:pPr>
                <a:lnSpc>
                  <a:spcPct val="95000"/>
                </a:lnSpc>
                <a:spcAft>
                  <a:spcPts val="200"/>
                </a:spcAft>
                <a:buClr>
                  <a:srgbClr val="003C50"/>
                </a:buClr>
              </a:pPr>
              <a:endParaRPr lang="de-DE" sz="1100">
                <a:solidFill>
                  <a:schemeClr val="tx1"/>
                </a:solidFill>
              </a:endParaRPr>
            </a:p>
          </p:txBody>
        </p:sp>
      </p:grpSp>
      <p:grpSp>
        <p:nvGrpSpPr>
          <p:cNvPr id="19" name="Group 18">
            <a:extLst>
              <a:ext uri="{FF2B5EF4-FFF2-40B4-BE49-F238E27FC236}">
                <a16:creationId xmlns:a16="http://schemas.microsoft.com/office/drawing/2014/main" id="{CCE421A1-7FFA-1399-611E-9D2BF2487C0D}"/>
              </a:ext>
            </a:extLst>
          </p:cNvPr>
          <p:cNvGrpSpPr>
            <a:grpSpLocks noChangeAspect="1"/>
          </p:cNvGrpSpPr>
          <p:nvPr/>
        </p:nvGrpSpPr>
        <p:grpSpPr>
          <a:xfrm>
            <a:off x="7440231" y="1778391"/>
            <a:ext cx="1007682" cy="1162529"/>
            <a:chOff x="3466911" y="2365069"/>
            <a:chExt cx="1295679" cy="1494778"/>
          </a:xfrm>
        </p:grpSpPr>
        <p:sp>
          <p:nvSpPr>
            <p:cNvPr id="21" name="Rectangle 20">
              <a:extLst>
                <a:ext uri="{FF2B5EF4-FFF2-40B4-BE49-F238E27FC236}">
                  <a16:creationId xmlns:a16="http://schemas.microsoft.com/office/drawing/2014/main" id="{E69502E9-B41F-9867-DEF2-40D29694373A}"/>
                </a:ext>
              </a:extLst>
            </p:cNvPr>
            <p:cNvSpPr>
              <a:spLocks noChangeAspect="1"/>
            </p:cNvSpPr>
            <p:nvPr/>
          </p:nvSpPr>
          <p:spPr bwMode="gray">
            <a:xfrm>
              <a:off x="4431567" y="2485940"/>
              <a:ext cx="331023" cy="52342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sp>
          <p:nvSpPr>
            <p:cNvPr id="22" name="Rectangle 21">
              <a:extLst>
                <a:ext uri="{FF2B5EF4-FFF2-40B4-BE49-F238E27FC236}">
                  <a16:creationId xmlns:a16="http://schemas.microsoft.com/office/drawing/2014/main" id="{E6E1A6C1-8B6D-26E0-900D-73AF17730BC5}"/>
                </a:ext>
              </a:extLst>
            </p:cNvPr>
            <p:cNvSpPr>
              <a:spLocks/>
            </p:cNvSpPr>
            <p:nvPr/>
          </p:nvSpPr>
          <p:spPr bwMode="gray">
            <a:xfrm>
              <a:off x="3466911" y="2643943"/>
              <a:ext cx="765997" cy="501459"/>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sp>
          <p:nvSpPr>
            <p:cNvPr id="23" name="Rectangle 22">
              <a:extLst>
                <a:ext uri="{FF2B5EF4-FFF2-40B4-BE49-F238E27FC236}">
                  <a16:creationId xmlns:a16="http://schemas.microsoft.com/office/drawing/2014/main" id="{CB868864-0CA9-69E2-686B-CCD0964B239C}"/>
                </a:ext>
              </a:extLst>
            </p:cNvPr>
            <p:cNvSpPr>
              <a:spLocks/>
            </p:cNvSpPr>
            <p:nvPr/>
          </p:nvSpPr>
          <p:spPr bwMode="gray">
            <a:xfrm>
              <a:off x="4048674" y="2982211"/>
              <a:ext cx="671521" cy="87763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sp>
          <p:nvSpPr>
            <p:cNvPr id="24" name="Rectangle 23">
              <a:extLst>
                <a:ext uri="{FF2B5EF4-FFF2-40B4-BE49-F238E27FC236}">
                  <a16:creationId xmlns:a16="http://schemas.microsoft.com/office/drawing/2014/main" id="{BD7FABBC-A1E6-0C5D-536D-07122DC7D948}"/>
                </a:ext>
              </a:extLst>
            </p:cNvPr>
            <p:cNvSpPr>
              <a:spLocks noChangeAspect="1"/>
            </p:cNvSpPr>
            <p:nvPr/>
          </p:nvSpPr>
          <p:spPr bwMode="gray">
            <a:xfrm>
              <a:off x="4012920" y="2365069"/>
              <a:ext cx="240610" cy="33760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grpSp>
      <p:sp>
        <p:nvSpPr>
          <p:cNvPr id="5" name="bubble">
            <a:extLst>
              <a:ext uri="{FF2B5EF4-FFF2-40B4-BE49-F238E27FC236}">
                <a16:creationId xmlns:a16="http://schemas.microsoft.com/office/drawing/2014/main" id="{C425B4DC-B26A-E9B4-687E-365F8460A6B1}"/>
              </a:ext>
            </a:extLst>
          </p:cNvPr>
          <p:cNvSpPr>
            <a:spLocks noChangeAspect="1"/>
          </p:cNvSpPr>
          <p:nvPr/>
        </p:nvSpPr>
        <p:spPr bwMode="gray">
          <a:xfrm>
            <a:off x="2570689" y="2879265"/>
            <a:ext cx="216028" cy="216028"/>
          </a:xfrm>
          <a:prstGeom prst="rect">
            <a:avLst/>
          </a:prstGeom>
          <a:solidFill>
            <a:srgbClr val="003C50"/>
          </a:solidFill>
          <a:ln w="12700">
            <a:solidFill>
              <a:srgbClr val="003C5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oAutofit/>
          </a:bodyPr>
          <a:lstStyle/>
          <a:p>
            <a:pPr algn="ctr"/>
            <a:r>
              <a:rPr lang="de-DE" sz="1000">
                <a:solidFill>
                  <a:srgbClr val="FFFFFF"/>
                </a:solidFill>
                <a:latin typeface="Roboto" panose="02000000000000000000" pitchFamily="2" charset="0"/>
              </a:rPr>
              <a:t>4</a:t>
            </a:r>
          </a:p>
        </p:txBody>
      </p:sp>
      <p:sp>
        <p:nvSpPr>
          <p:cNvPr id="25" name="bubble">
            <a:extLst>
              <a:ext uri="{FF2B5EF4-FFF2-40B4-BE49-F238E27FC236}">
                <a16:creationId xmlns:a16="http://schemas.microsoft.com/office/drawing/2014/main" id="{E07EC773-2C3E-8442-E042-F629C66B4DF5}"/>
              </a:ext>
            </a:extLst>
          </p:cNvPr>
          <p:cNvSpPr>
            <a:spLocks noChangeAspect="1"/>
          </p:cNvSpPr>
          <p:nvPr/>
        </p:nvSpPr>
        <p:spPr bwMode="gray">
          <a:xfrm>
            <a:off x="2570689" y="4887882"/>
            <a:ext cx="216028" cy="216028"/>
          </a:xfrm>
          <a:prstGeom prst="rect">
            <a:avLst/>
          </a:prstGeom>
          <a:solidFill>
            <a:srgbClr val="003C50"/>
          </a:solidFill>
          <a:ln w="12700">
            <a:solidFill>
              <a:srgbClr val="003C5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oAutofit/>
          </a:bodyPr>
          <a:lstStyle/>
          <a:p>
            <a:pPr algn="ctr"/>
            <a:r>
              <a:rPr lang="de-DE" sz="1000">
                <a:solidFill>
                  <a:srgbClr val="FFFFFF"/>
                </a:solidFill>
                <a:latin typeface="Roboto" panose="02000000000000000000" pitchFamily="2" charset="0"/>
              </a:rPr>
              <a:t>5</a:t>
            </a:r>
          </a:p>
        </p:txBody>
      </p:sp>
      <p:grpSp>
        <p:nvGrpSpPr>
          <p:cNvPr id="27" name="Group 26">
            <a:extLst>
              <a:ext uri="{FF2B5EF4-FFF2-40B4-BE49-F238E27FC236}">
                <a16:creationId xmlns:a16="http://schemas.microsoft.com/office/drawing/2014/main" id="{A781B812-E131-82E0-FBF2-98DDB4DD69D1}"/>
              </a:ext>
            </a:extLst>
          </p:cNvPr>
          <p:cNvGrpSpPr/>
          <p:nvPr/>
        </p:nvGrpSpPr>
        <p:grpSpPr>
          <a:xfrm>
            <a:off x="-253670" y="3352930"/>
            <a:ext cx="6723478" cy="2345436"/>
            <a:chOff x="281433" y="3657290"/>
            <a:chExt cx="6012299" cy="2063764"/>
          </a:xfrm>
        </p:grpSpPr>
        <p:grpSp>
          <p:nvGrpSpPr>
            <p:cNvPr id="12" name="Group 11">
              <a:extLst>
                <a:ext uri="{FF2B5EF4-FFF2-40B4-BE49-F238E27FC236}">
                  <a16:creationId xmlns:a16="http://schemas.microsoft.com/office/drawing/2014/main" id="{A698018D-D26C-D524-BED8-85146410B14F}"/>
                </a:ext>
              </a:extLst>
            </p:cNvPr>
            <p:cNvGrpSpPr/>
            <p:nvPr/>
          </p:nvGrpSpPr>
          <p:grpSpPr>
            <a:xfrm>
              <a:off x="281433" y="3657290"/>
              <a:ext cx="6012299" cy="2063764"/>
              <a:chOff x="3766894" y="966624"/>
              <a:chExt cx="5899540" cy="3313070"/>
            </a:xfrm>
          </p:grpSpPr>
          <p:sp>
            <p:nvSpPr>
              <p:cNvPr id="13" name="Rectangle 12">
                <a:extLst>
                  <a:ext uri="{FF2B5EF4-FFF2-40B4-BE49-F238E27FC236}">
                    <a16:creationId xmlns:a16="http://schemas.microsoft.com/office/drawing/2014/main" id="{97A6E941-8B69-DF9F-0967-B8272C4E1D9D}"/>
                  </a:ext>
                </a:extLst>
              </p:cNvPr>
              <p:cNvSpPr/>
              <p:nvPr/>
            </p:nvSpPr>
            <p:spPr bwMode="gray">
              <a:xfrm>
                <a:off x="6572285" y="1013719"/>
                <a:ext cx="3094149" cy="432001"/>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32000" tIns="36000" rIns="36000" bIns="36000" rtlCol="0" anchor="ctr">
                <a:noAutofit/>
              </a:bodyPr>
              <a:lstStyle/>
              <a:p>
                <a:r>
                  <a:rPr lang="de-DE" sz="1600" b="1">
                    <a:solidFill>
                      <a:schemeClr val="tx1"/>
                    </a:solidFill>
                  </a:rPr>
                  <a:t>Fokusgebiet 5:​ Wiedenbrück Süd</a:t>
                </a:r>
              </a:p>
            </p:txBody>
          </p:sp>
          <p:sp>
            <p:nvSpPr>
              <p:cNvPr id="16" name="Rectangle 15" hidden="1">
                <a:extLst>
                  <a:ext uri="{FF2B5EF4-FFF2-40B4-BE49-F238E27FC236}">
                    <a16:creationId xmlns:a16="http://schemas.microsoft.com/office/drawing/2014/main" id="{04996754-E4F2-471F-C8C3-8480F6A5D3A8}"/>
                  </a:ext>
                </a:extLst>
              </p:cNvPr>
              <p:cNvSpPr/>
              <p:nvPr/>
            </p:nvSpPr>
            <p:spPr bwMode="gray">
              <a:xfrm>
                <a:off x="3766894" y="1134335"/>
                <a:ext cx="324000" cy="324001"/>
              </a:xfrm>
              <a:prstGeom prst="rect">
                <a:avLst/>
              </a:prstGeom>
              <a:solidFill>
                <a:schemeClr val="tx2"/>
              </a:solidFill>
              <a:ln w="9525">
                <a:solidFill>
                  <a:schemeClr val="tx1"/>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15" name="Rectangle 14">
                <a:extLst>
                  <a:ext uri="{FF2B5EF4-FFF2-40B4-BE49-F238E27FC236}">
                    <a16:creationId xmlns:a16="http://schemas.microsoft.com/office/drawing/2014/main" id="{C7B65EFA-7AC1-E4BB-D364-6F55F28D166D}"/>
                  </a:ext>
                </a:extLst>
              </p:cNvPr>
              <p:cNvSpPr/>
              <p:nvPr/>
            </p:nvSpPr>
            <p:spPr bwMode="gray">
              <a:xfrm>
                <a:off x="6501468" y="966624"/>
                <a:ext cx="3164966" cy="3313070"/>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432000" rIns="36000" bIns="36000" rtlCol="0" anchor="t">
                <a:noAutofit/>
              </a:bodyPr>
              <a:lstStyle/>
              <a:p>
                <a:pPr marL="144000" indent="-144000">
                  <a:spcAft>
                    <a:spcPts val="600"/>
                  </a:spcAft>
                  <a:buClr>
                    <a:srgbClr val="003C50"/>
                  </a:buClr>
                  <a:buFont typeface="Wingdings" panose="05000000000000000000" pitchFamily="2" charset="2"/>
                  <a:buChar char="§"/>
                </a:pPr>
                <a:r>
                  <a:rPr lang="de-DE" sz="1300">
                    <a:solidFill>
                      <a:schemeClr val="tx1"/>
                    </a:solidFill>
                  </a:rPr>
                  <a:t>Große Wärmenachfrage durch Industriegebiet südlich des Stadtzentrums und dichte Wohnsiedlungen im Stadtzentrum</a:t>
                </a:r>
              </a:p>
              <a:p>
                <a:pPr marL="144000" indent="-144000">
                  <a:spcAft>
                    <a:spcPts val="600"/>
                  </a:spcAft>
                  <a:buClr>
                    <a:srgbClr val="003C50"/>
                  </a:buClr>
                  <a:buFont typeface="Wingdings" panose="05000000000000000000" pitchFamily="2" charset="2"/>
                  <a:buChar char="§"/>
                </a:pPr>
                <a:r>
                  <a:rPr lang="de-DE" sz="1300">
                    <a:solidFill>
                      <a:schemeClr val="tx1"/>
                    </a:solidFill>
                  </a:rPr>
                  <a:t>Flusswärme mit Potenzial von 80 GWh/a als lokal nutzbare Wärmequelle verfügbar</a:t>
                </a:r>
              </a:p>
              <a:p>
                <a:pPr marL="144000" indent="-144000">
                  <a:spcAft>
                    <a:spcPts val="600"/>
                  </a:spcAft>
                  <a:buClr>
                    <a:srgbClr val="003C50"/>
                  </a:buClr>
                  <a:buFont typeface="Wingdings" panose="05000000000000000000" pitchFamily="2" charset="2"/>
                  <a:buChar char="§"/>
                </a:pPr>
                <a:r>
                  <a:rPr lang="de-DE" sz="1300">
                    <a:solidFill>
                      <a:schemeClr val="tx1"/>
                    </a:solidFill>
                  </a:rPr>
                  <a:t>Zusammenhängendes Wärmenetz ausgehend von Flusswärmequelle in diesem Gebiet könnte eine Option darstellen</a:t>
                </a:r>
              </a:p>
              <a:p>
                <a:pPr marL="144000" indent="-144000">
                  <a:spcAft>
                    <a:spcPts val="600"/>
                  </a:spcAft>
                  <a:buClr>
                    <a:srgbClr val="003C50"/>
                  </a:buClr>
                  <a:buFont typeface="Wingdings" panose="05000000000000000000" pitchFamily="2" charset="2"/>
                  <a:buChar char="§"/>
                </a:pPr>
                <a:endParaRPr lang="de-DE" sz="1100">
                  <a:solidFill>
                    <a:schemeClr val="tx1"/>
                  </a:solidFill>
                </a:endParaRPr>
              </a:p>
              <a:p>
                <a:pPr>
                  <a:lnSpc>
                    <a:spcPct val="95000"/>
                  </a:lnSpc>
                  <a:spcAft>
                    <a:spcPts val="200"/>
                  </a:spcAft>
                  <a:buClr>
                    <a:srgbClr val="003C50"/>
                  </a:buClr>
                </a:pPr>
                <a:endParaRPr lang="de-DE" sz="1100">
                  <a:solidFill>
                    <a:schemeClr val="tx1"/>
                  </a:solidFill>
                </a:endParaRPr>
              </a:p>
            </p:txBody>
          </p:sp>
        </p:grpSp>
        <p:pic>
          <p:nvPicPr>
            <p:cNvPr id="26" name="Graphic 25">
              <a:extLst>
                <a:ext uri="{FF2B5EF4-FFF2-40B4-BE49-F238E27FC236}">
                  <a16:creationId xmlns:a16="http://schemas.microsoft.com/office/drawing/2014/main" id="{3596AF85-46C8-1EE7-1BAD-5FC0207F669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40302" y="3689059"/>
              <a:ext cx="324000" cy="324000"/>
            </a:xfrm>
            <a:prstGeom prst="rect">
              <a:avLst/>
            </a:prstGeom>
          </p:spPr>
        </p:pic>
      </p:grpSp>
      <p:grpSp>
        <p:nvGrpSpPr>
          <p:cNvPr id="29" name="Group 28">
            <a:extLst>
              <a:ext uri="{FF2B5EF4-FFF2-40B4-BE49-F238E27FC236}">
                <a16:creationId xmlns:a16="http://schemas.microsoft.com/office/drawing/2014/main" id="{58124751-17BE-C545-F045-096979671622}"/>
              </a:ext>
            </a:extLst>
          </p:cNvPr>
          <p:cNvGrpSpPr/>
          <p:nvPr/>
        </p:nvGrpSpPr>
        <p:grpSpPr>
          <a:xfrm>
            <a:off x="6531252" y="3765844"/>
            <a:ext cx="3392680" cy="628650"/>
            <a:chOff x="6400800" y="1419225"/>
            <a:chExt cx="3392680" cy="628650"/>
          </a:xfrm>
        </p:grpSpPr>
        <p:sp>
          <p:nvSpPr>
            <p:cNvPr id="30" name="TextBox 3">
              <a:extLst>
                <a:ext uri="{FF2B5EF4-FFF2-40B4-BE49-F238E27FC236}">
                  <a16:creationId xmlns:a16="http://schemas.microsoft.com/office/drawing/2014/main" id="{D4553487-3810-3E2A-A4C4-3BD43CAE79A0}"/>
                </a:ext>
              </a:extLst>
            </p:cNvPr>
            <p:cNvSpPr txBox="1"/>
            <p:nvPr/>
          </p:nvSpPr>
          <p:spPr>
            <a:xfrm>
              <a:off x="6400800" y="1419225"/>
              <a:ext cx="2990850" cy="628650"/>
            </a:xfrm>
            <a:prstGeom prst="rect">
              <a:avLst/>
            </a:prstGeom>
            <a:solidFill>
              <a:schemeClr val="bg1">
                <a:alpha val="70000"/>
              </a:schemeClr>
            </a:solidFill>
            <a:ln>
              <a:noFill/>
            </a:ln>
          </p:spPr>
          <p:txBody>
            <a:bodyPr wrap="square" lIns="0" tIns="0" rIns="0" bIns="0" rtlCol="0" anchor="t">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11725" indent="-311725" defTabSz="997456">
                <a:buFont typeface="Arial"/>
                <a:buChar char="•"/>
              </a:pPr>
              <a:endParaRPr lang="de-DE" sz="1527">
                <a:solidFill>
                  <a:srgbClr val="003C50"/>
                </a:solidFill>
                <a:latin typeface="Roboto"/>
                <a:ea typeface="Roboto"/>
                <a:cs typeface="Roboto"/>
              </a:endParaRPr>
            </a:p>
            <a:p>
              <a:pPr defTabSz="997456"/>
              <a:endParaRPr lang="de-DE" sz="1527">
                <a:solidFill>
                  <a:srgbClr val="003C50"/>
                </a:solidFill>
                <a:latin typeface="Roboto"/>
              </a:endParaRPr>
            </a:p>
            <a:p>
              <a:pPr defTabSz="997456"/>
              <a:endParaRPr lang="de-DE" sz="1527">
                <a:solidFill>
                  <a:srgbClr val="003C50"/>
                </a:solidFill>
                <a:latin typeface="Roboto"/>
              </a:endParaRPr>
            </a:p>
            <a:p>
              <a:pPr defTabSz="997456"/>
              <a:endParaRPr lang="de-DE" sz="1527">
                <a:solidFill>
                  <a:srgbClr val="003C50"/>
                </a:solidFill>
                <a:latin typeface="Roboto"/>
                <a:ea typeface="Roboto"/>
                <a:cs typeface="Roboto"/>
              </a:endParaRPr>
            </a:p>
          </p:txBody>
        </p:sp>
        <p:grpSp>
          <p:nvGrpSpPr>
            <p:cNvPr id="31" name="Group 30">
              <a:extLst>
                <a:ext uri="{FF2B5EF4-FFF2-40B4-BE49-F238E27FC236}">
                  <a16:creationId xmlns:a16="http://schemas.microsoft.com/office/drawing/2014/main" id="{1AD03027-368F-3D95-A7A7-26204181834F}"/>
                </a:ext>
              </a:extLst>
            </p:cNvPr>
            <p:cNvGrpSpPr/>
            <p:nvPr/>
          </p:nvGrpSpPr>
          <p:grpSpPr>
            <a:xfrm>
              <a:off x="6470861" y="1506111"/>
              <a:ext cx="3322619" cy="448782"/>
              <a:chOff x="271585" y="5610835"/>
              <a:chExt cx="3593570" cy="448782"/>
            </a:xfrm>
          </p:grpSpPr>
          <p:sp>
            <p:nvSpPr>
              <p:cNvPr id="32" name="TextBox 31">
                <a:extLst>
                  <a:ext uri="{FF2B5EF4-FFF2-40B4-BE49-F238E27FC236}">
                    <a16:creationId xmlns:a16="http://schemas.microsoft.com/office/drawing/2014/main" id="{C23C74B4-85B2-2E88-CB02-B8E3022ED366}"/>
                  </a:ext>
                </a:extLst>
              </p:cNvPr>
              <p:cNvSpPr txBox="1"/>
              <p:nvPr/>
            </p:nvSpPr>
            <p:spPr>
              <a:xfrm>
                <a:off x="511664" y="5616197"/>
                <a:ext cx="1439056" cy="169277"/>
              </a:xfrm>
              <a:prstGeom prst="rect">
                <a:avLst/>
              </a:prstGeom>
              <a:noFill/>
              <a:ln>
                <a:noFill/>
              </a:ln>
            </p:spPr>
            <p:txBody>
              <a:bodyPr wrap="square" lIns="0" tIns="0" rIns="0" bIns="0" rtlCol="0" anchor="t">
                <a:spAutoFit/>
              </a:bodyPr>
              <a:lstStyle/>
              <a:p>
                <a:r>
                  <a:rPr lang="de-DE" sz="1100">
                    <a:solidFill>
                      <a:schemeClr val="accent5">
                        <a:lumMod val="10000"/>
                      </a:schemeClr>
                    </a:solidFill>
                    <a:latin typeface="Roboto" panose="02000000000000000000" pitchFamily="2" charset="0"/>
                    <a:ea typeface="Roboto Slab" pitchFamily="2" charset="0"/>
                    <a:cs typeface="Calibri" panose="020F0502020204030204" pitchFamily="34" charset="0"/>
                  </a:rPr>
                  <a:t>Fokusgebiet</a:t>
                </a:r>
              </a:p>
            </p:txBody>
          </p:sp>
          <p:sp>
            <p:nvSpPr>
              <p:cNvPr id="33" name="TextBox 32">
                <a:extLst>
                  <a:ext uri="{FF2B5EF4-FFF2-40B4-BE49-F238E27FC236}">
                    <a16:creationId xmlns:a16="http://schemas.microsoft.com/office/drawing/2014/main" id="{0C73FE28-858D-1333-219C-DE7EAFA9FDF3}"/>
                  </a:ext>
                </a:extLst>
              </p:cNvPr>
              <p:cNvSpPr txBox="1"/>
              <p:nvPr/>
            </p:nvSpPr>
            <p:spPr>
              <a:xfrm>
                <a:off x="511663" y="5884979"/>
                <a:ext cx="2810943" cy="169277"/>
              </a:xfrm>
              <a:prstGeom prst="rect">
                <a:avLst/>
              </a:prstGeom>
              <a:noFill/>
              <a:ln>
                <a:noFill/>
              </a:ln>
            </p:spPr>
            <p:txBody>
              <a:bodyPr wrap="square" lIns="0" tIns="0" rIns="0" bIns="0" rtlCol="0" anchor="t">
                <a:spAutoFit/>
              </a:bodyPr>
              <a:lstStyle/>
              <a:p>
                <a:r>
                  <a:rPr lang="de-DE" sz="1100">
                    <a:solidFill>
                      <a:schemeClr val="accent5">
                        <a:lumMod val="10000"/>
                      </a:schemeClr>
                    </a:solidFill>
                    <a:latin typeface="Roboto" panose="02000000000000000000" pitchFamily="2" charset="0"/>
                    <a:ea typeface="Roboto Slab" pitchFamily="2" charset="0"/>
                    <a:cs typeface="Calibri" panose="020F0502020204030204" pitchFamily="34" charset="0"/>
                  </a:rPr>
                  <a:t>Gebiet mit dezentraler Wärmeversorgung</a:t>
                </a:r>
              </a:p>
            </p:txBody>
          </p:sp>
          <p:sp>
            <p:nvSpPr>
              <p:cNvPr id="34" name="Rectangle: Rounded Corners 33">
                <a:extLst>
                  <a:ext uri="{FF2B5EF4-FFF2-40B4-BE49-F238E27FC236}">
                    <a16:creationId xmlns:a16="http://schemas.microsoft.com/office/drawing/2014/main" id="{522DA73F-0D1A-C17D-0875-AED2A19F6E29}"/>
                  </a:ext>
                </a:extLst>
              </p:cNvPr>
              <p:cNvSpPr/>
              <p:nvPr/>
            </p:nvSpPr>
            <p:spPr bwMode="gray">
              <a:xfrm>
                <a:off x="271585" y="5610835"/>
                <a:ext cx="180000" cy="180000"/>
              </a:xfrm>
              <a:prstGeom prst="roundRect">
                <a:avLst/>
              </a:prstGeom>
              <a:solidFill>
                <a:srgbClr val="60D68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8" tIns="36008" rIns="36008" bIns="36008" rtlCol="0" anchor="ctr">
                <a:noAutofit/>
              </a:bodyPr>
              <a:lstStyle/>
              <a:p>
                <a:pPr algn="ctr"/>
                <a:endParaRPr lang="de-DE" sz="1400">
                  <a:solidFill>
                    <a:schemeClr val="tx1"/>
                  </a:solidFill>
                  <a:latin typeface="Calibri" panose="020F0502020204030204" pitchFamily="34" charset="0"/>
                  <a:cs typeface="Calibri" panose="020F0502020204030204" pitchFamily="34" charset="0"/>
                </a:endParaRPr>
              </a:p>
            </p:txBody>
          </p:sp>
          <p:sp>
            <p:nvSpPr>
              <p:cNvPr id="35" name="Rectangle: Rounded Corners 34">
                <a:extLst>
                  <a:ext uri="{FF2B5EF4-FFF2-40B4-BE49-F238E27FC236}">
                    <a16:creationId xmlns:a16="http://schemas.microsoft.com/office/drawing/2014/main" id="{01620F8B-6B3C-5965-BCE9-488704833618}"/>
                  </a:ext>
                </a:extLst>
              </p:cNvPr>
              <p:cNvSpPr/>
              <p:nvPr/>
            </p:nvSpPr>
            <p:spPr bwMode="gray">
              <a:xfrm>
                <a:off x="271585" y="5879617"/>
                <a:ext cx="180000" cy="180000"/>
              </a:xfrm>
              <a:prstGeom prst="roundRect">
                <a:avLst/>
              </a:prstGeom>
              <a:solidFill>
                <a:srgbClr val="7BA4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8" tIns="36008" rIns="36008" bIns="36008" rtlCol="0" anchor="ctr">
                <a:noAutofit/>
              </a:bodyPr>
              <a:lstStyle/>
              <a:p>
                <a:pPr algn="ctr"/>
                <a:endParaRPr lang="de-DE" sz="1400">
                  <a:solidFill>
                    <a:schemeClr val="tx1"/>
                  </a:solidFill>
                  <a:latin typeface="Calibri" panose="020F0502020204030204" pitchFamily="34" charset="0"/>
                  <a:cs typeface="Calibri" panose="020F0502020204030204" pitchFamily="34" charset="0"/>
                </a:endParaRPr>
              </a:p>
            </p:txBody>
          </p:sp>
          <p:sp>
            <p:nvSpPr>
              <p:cNvPr id="36" name="TextBox 35">
                <a:extLst>
                  <a:ext uri="{FF2B5EF4-FFF2-40B4-BE49-F238E27FC236}">
                    <a16:creationId xmlns:a16="http://schemas.microsoft.com/office/drawing/2014/main" id="{D77A4508-2C3F-DDE4-60C4-1DA20BCDA343}"/>
                  </a:ext>
                </a:extLst>
              </p:cNvPr>
              <p:cNvSpPr txBox="1"/>
              <p:nvPr/>
            </p:nvSpPr>
            <p:spPr>
              <a:xfrm>
                <a:off x="2426099" y="5616197"/>
                <a:ext cx="1439056" cy="169277"/>
              </a:xfrm>
              <a:prstGeom prst="rect">
                <a:avLst/>
              </a:prstGeom>
              <a:noFill/>
              <a:ln>
                <a:noFill/>
              </a:ln>
            </p:spPr>
            <p:txBody>
              <a:bodyPr wrap="square" lIns="0" tIns="0" rIns="0" bIns="0" rtlCol="0" anchor="t">
                <a:spAutoFit/>
              </a:bodyPr>
              <a:lstStyle/>
              <a:p>
                <a:r>
                  <a:rPr lang="de-DE" sz="1100">
                    <a:solidFill>
                      <a:schemeClr val="accent5">
                        <a:lumMod val="10000"/>
                      </a:schemeClr>
                    </a:solidFill>
                    <a:latin typeface="Roboto" panose="02000000000000000000" pitchFamily="2" charset="0"/>
                    <a:ea typeface="Roboto Slab" pitchFamily="2" charset="0"/>
                    <a:cs typeface="Calibri" panose="020F0502020204030204" pitchFamily="34" charset="0"/>
                  </a:rPr>
                  <a:t>Prüfgebiet</a:t>
                </a:r>
              </a:p>
            </p:txBody>
          </p:sp>
          <p:sp>
            <p:nvSpPr>
              <p:cNvPr id="37" name="Rectangle: Rounded Corners 36">
                <a:extLst>
                  <a:ext uri="{FF2B5EF4-FFF2-40B4-BE49-F238E27FC236}">
                    <a16:creationId xmlns:a16="http://schemas.microsoft.com/office/drawing/2014/main" id="{4D6DD5C8-E580-21C9-48E2-4C61696BE7D0}"/>
                  </a:ext>
                </a:extLst>
              </p:cNvPr>
              <p:cNvSpPr/>
              <p:nvPr/>
            </p:nvSpPr>
            <p:spPr bwMode="gray">
              <a:xfrm>
                <a:off x="2163771" y="5610835"/>
                <a:ext cx="180000" cy="180000"/>
              </a:xfrm>
              <a:prstGeom prst="roundRect">
                <a:avLst/>
              </a:prstGeom>
              <a:solidFill>
                <a:srgbClr val="EDBE5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8" tIns="36008" rIns="36008" bIns="36008" rtlCol="0" anchor="ctr">
                <a:noAutofit/>
              </a:bodyPr>
              <a:lstStyle/>
              <a:p>
                <a:pPr algn="ctr"/>
                <a:endParaRPr lang="de-DE" sz="1400">
                  <a:solidFill>
                    <a:schemeClr val="tx1"/>
                  </a:solidFill>
                  <a:latin typeface="Calibri" panose="020F0502020204030204" pitchFamily="34" charset="0"/>
                  <a:cs typeface="Calibri" panose="020F0502020204030204" pitchFamily="34" charset="0"/>
                </a:endParaRPr>
              </a:p>
            </p:txBody>
          </p:sp>
        </p:grpSp>
      </p:grpSp>
      <p:sp>
        <p:nvSpPr>
          <p:cNvPr id="2" name="Content Placeholder 3">
            <a:extLst>
              <a:ext uri="{FF2B5EF4-FFF2-40B4-BE49-F238E27FC236}">
                <a16:creationId xmlns:a16="http://schemas.microsoft.com/office/drawing/2014/main" id="{AE19A4E9-9E84-8212-DDBB-F9A24A0E5C9A}"/>
              </a:ext>
            </a:extLst>
          </p:cNvPr>
          <p:cNvSpPr txBox="1">
            <a:spLocks/>
          </p:cNvSpPr>
          <p:nvPr/>
        </p:nvSpPr>
        <p:spPr>
          <a:xfrm>
            <a:off x="7501913" y="53024"/>
            <a:ext cx="2291567" cy="380480"/>
          </a:xfrm>
          <a:prstGeom prst="rect">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lIns="72000" tIns="36000" rIns="72000" bIns="36000" anchor="t" anchorCtr="0">
            <a:spAutoFit/>
          </a:bodyPr>
          <a:lstStyle>
            <a:lvl1pPr algn="l" rtl="0" eaLnBrk="1" fontAlgn="base" hangingPunct="1">
              <a:spcBef>
                <a:spcPct val="20000"/>
              </a:spcBef>
              <a:spcAft>
                <a:spcPct val="0"/>
              </a:spcAft>
              <a:defRPr sz="1400">
                <a:solidFill>
                  <a:schemeClr val="tx1"/>
                </a:solidFill>
                <a:latin typeface="+mn-lt"/>
                <a:ea typeface="+mn-ea"/>
                <a:cs typeface="+mn-cs"/>
              </a:defRPr>
            </a:lvl1pPr>
            <a:lvl2pPr marL="381000" indent="-190500" algn="l" rtl="0" eaLnBrk="1" fontAlgn="base" hangingPunct="1">
              <a:spcBef>
                <a:spcPct val="20000"/>
              </a:spcBef>
              <a:spcAft>
                <a:spcPct val="0"/>
              </a:spcAft>
              <a:buFont typeface="Wingdings" pitchFamily="84" charset="2"/>
              <a:buChar char="§"/>
              <a:defRPr sz="1400">
                <a:solidFill>
                  <a:schemeClr val="tx1"/>
                </a:solidFill>
                <a:latin typeface="+mn-lt"/>
              </a:defRPr>
            </a:lvl2pPr>
            <a:lvl3pPr marL="747713" indent="-176213" algn="l" rtl="0" eaLnBrk="1" fontAlgn="base" hangingPunct="1">
              <a:spcBef>
                <a:spcPct val="20000"/>
              </a:spcBef>
              <a:spcAft>
                <a:spcPct val="0"/>
              </a:spcAft>
              <a:buChar char="-"/>
              <a:defRPr sz="1200">
                <a:solidFill>
                  <a:schemeClr val="tx1"/>
                </a:solidFill>
                <a:latin typeface="+mn-lt"/>
              </a:defRPr>
            </a:lvl3pPr>
            <a:lvl4pPr marL="1125538" indent="-187325" algn="l" rtl="0" eaLnBrk="1" fontAlgn="base" hangingPunct="1">
              <a:spcBef>
                <a:spcPct val="20000"/>
              </a:spcBef>
              <a:spcAft>
                <a:spcPct val="0"/>
              </a:spcAft>
              <a:buFont typeface="Times" pitchFamily="84" charset="0"/>
              <a:buChar char="•"/>
              <a:defRPr sz="1000">
                <a:solidFill>
                  <a:schemeClr val="tx1"/>
                </a:solidFill>
                <a:latin typeface="+mn-lt"/>
              </a:defRPr>
            </a:lvl4pPr>
            <a:lvl5pPr marL="1431925" indent="-115888" algn="l" rtl="0" eaLnBrk="1" fontAlgn="base" hangingPunct="1">
              <a:spcBef>
                <a:spcPct val="20000"/>
              </a:spcBef>
              <a:spcAft>
                <a:spcPct val="0"/>
              </a:spcAft>
              <a:buChar char="•"/>
              <a:defRPr sz="1000">
                <a:solidFill>
                  <a:schemeClr val="tx1"/>
                </a:solidFill>
                <a:latin typeface="+mn-lt"/>
              </a:defRPr>
            </a:lvl5pPr>
            <a:lvl6pPr marL="1889125" indent="-115888" algn="l" rtl="0" eaLnBrk="1" fontAlgn="base" hangingPunct="1">
              <a:spcBef>
                <a:spcPct val="20000"/>
              </a:spcBef>
              <a:spcAft>
                <a:spcPct val="0"/>
              </a:spcAft>
              <a:buChar char="•"/>
              <a:defRPr sz="1000">
                <a:solidFill>
                  <a:schemeClr val="tx1"/>
                </a:solidFill>
                <a:latin typeface="+mn-lt"/>
              </a:defRPr>
            </a:lvl6pPr>
            <a:lvl7pPr marL="2346325" indent="-115888" algn="l" rtl="0" eaLnBrk="1" fontAlgn="base" hangingPunct="1">
              <a:spcBef>
                <a:spcPct val="20000"/>
              </a:spcBef>
              <a:spcAft>
                <a:spcPct val="0"/>
              </a:spcAft>
              <a:buChar char="•"/>
              <a:defRPr sz="1000">
                <a:solidFill>
                  <a:schemeClr val="tx1"/>
                </a:solidFill>
                <a:latin typeface="+mn-lt"/>
              </a:defRPr>
            </a:lvl7pPr>
            <a:lvl8pPr marL="2803525" indent="-115888" algn="l" rtl="0" eaLnBrk="1" fontAlgn="base" hangingPunct="1">
              <a:spcBef>
                <a:spcPct val="20000"/>
              </a:spcBef>
              <a:spcAft>
                <a:spcPct val="0"/>
              </a:spcAft>
              <a:buChar char="•"/>
              <a:defRPr sz="1000">
                <a:solidFill>
                  <a:schemeClr val="tx1"/>
                </a:solidFill>
                <a:latin typeface="+mn-lt"/>
              </a:defRPr>
            </a:lvl8pPr>
            <a:lvl9pPr marL="3260725" indent="-115888" algn="l" rtl="0" eaLnBrk="1" fontAlgn="base" hangingPunct="1">
              <a:spcBef>
                <a:spcPct val="20000"/>
              </a:spcBef>
              <a:spcAft>
                <a:spcPct val="0"/>
              </a:spcAft>
              <a:buChar char="•"/>
              <a:defRPr sz="1000">
                <a:solidFill>
                  <a:schemeClr val="tx1"/>
                </a:solidFill>
                <a:latin typeface="+mn-lt"/>
              </a:defRPr>
            </a:lvl9pPr>
          </a:lstStyle>
          <a:p>
            <a:pPr defTabSz="997456"/>
            <a:r>
              <a:rPr lang="de-DE" sz="1000" i="1">
                <a:solidFill>
                  <a:srgbClr val="F07D00"/>
                </a:solidFill>
                <a:latin typeface="Roboto"/>
              </a:rPr>
              <a:t>Anmerkung: </a:t>
            </a:r>
            <a:r>
              <a:rPr lang="de-DE" sz="1000">
                <a:solidFill>
                  <a:srgbClr val="003C50"/>
                </a:solidFill>
                <a:latin typeface="Roboto"/>
              </a:rPr>
              <a:t>Ergebnisse sind vorläufig und können sich noch ändern</a:t>
            </a:r>
          </a:p>
        </p:txBody>
      </p:sp>
    </p:spTree>
    <p:extLst>
      <p:ext uri="{BB962C8B-B14F-4D97-AF65-F5344CB8AC3E}">
        <p14:creationId xmlns:p14="http://schemas.microsoft.com/office/powerpoint/2010/main" val="29211886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93A5A1-3E73-9207-8719-FFEAA9BCCBEE}"/>
              </a:ext>
            </a:extLst>
          </p:cNvPr>
          <p:cNvSpPr txBox="1">
            <a:spLocks/>
          </p:cNvSpPr>
          <p:nvPr/>
        </p:nvSpPr>
        <p:spPr>
          <a:xfrm>
            <a:off x="385549" y="408476"/>
            <a:ext cx="8661484" cy="87328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300" b="1">
                <a:solidFill>
                  <a:srgbClr val="336699"/>
                </a:solidFill>
                <a:latin typeface="+mn-lt"/>
                <a:ea typeface="+mn-ea"/>
                <a:cs typeface="+mn-cs"/>
              </a:rPr>
              <a:t>Landesgesellschaft NRW.Energy4Climate</a:t>
            </a:r>
          </a:p>
        </p:txBody>
      </p:sp>
      <p:sp>
        <p:nvSpPr>
          <p:cNvPr id="3" name="Inhaltsplatzhalter 2">
            <a:extLst>
              <a:ext uri="{FF2B5EF4-FFF2-40B4-BE49-F238E27FC236}">
                <a16:creationId xmlns:a16="http://schemas.microsoft.com/office/drawing/2014/main" id="{5965C710-0293-3369-BB07-DBCEAF29F238}"/>
              </a:ext>
            </a:extLst>
          </p:cNvPr>
          <p:cNvSpPr txBox="1">
            <a:spLocks/>
          </p:cNvSpPr>
          <p:nvPr/>
        </p:nvSpPr>
        <p:spPr>
          <a:xfrm>
            <a:off x="323821" y="1258783"/>
            <a:ext cx="9183759" cy="34999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650"/>
              </a:spcBef>
              <a:buNone/>
            </a:pPr>
            <a:r>
              <a:rPr lang="de-DE" sz="2017" b="1" kern="0" dirty="0">
                <a:solidFill>
                  <a:schemeClr val="tx2">
                    <a:lumMod val="75000"/>
                    <a:lumOff val="25000"/>
                  </a:schemeClr>
                </a:solidFill>
                <a:latin typeface="Arial" panose="020B0604020202020204" pitchFamily="34" charset="0"/>
                <a:cs typeface="Arial" panose="020B0604020202020204" pitchFamily="34" charset="0"/>
              </a:rPr>
              <a:t>…</a:t>
            </a:r>
            <a:r>
              <a:rPr lang="de-DE" sz="2017" b="1" dirty="0">
                <a:solidFill>
                  <a:schemeClr val="tx2">
                    <a:lumMod val="75000"/>
                    <a:lumOff val="25000"/>
                  </a:schemeClr>
                </a:solidFill>
              </a:rPr>
              <a:t> </a:t>
            </a:r>
            <a:r>
              <a:rPr lang="de-DE" sz="2017" b="1" kern="0" dirty="0">
                <a:solidFill>
                  <a:schemeClr val="tx2">
                    <a:lumMod val="75000"/>
                    <a:lumOff val="25000"/>
                  </a:schemeClr>
                </a:solidFill>
                <a:latin typeface="Arial" panose="020B0604020202020204" pitchFamily="34" charset="0"/>
                <a:cs typeface="Arial" panose="020B0604020202020204" pitchFamily="34" charset="0"/>
              </a:rPr>
              <a:t>zentrale Stelle für Energie und Klimaschutz</a:t>
            </a:r>
          </a:p>
          <a:p>
            <a:pPr marL="0" indent="0">
              <a:spcBef>
                <a:spcPts val="1650"/>
              </a:spcBef>
              <a:buNone/>
            </a:pPr>
            <a:r>
              <a:rPr lang="de-DE" sz="2017" b="1" kern="0" dirty="0">
                <a:solidFill>
                  <a:schemeClr val="tx2">
                    <a:lumMod val="75000"/>
                    <a:lumOff val="25000"/>
                  </a:schemeClr>
                </a:solidFill>
                <a:latin typeface="Arial" panose="020B0604020202020204" pitchFamily="34" charset="0"/>
                <a:cs typeface="Arial" panose="020B0604020202020204" pitchFamily="34" charset="0"/>
              </a:rPr>
              <a:t>… 100%ige Tochter des Landes NRW</a:t>
            </a:r>
          </a:p>
          <a:p>
            <a:pPr marL="0" indent="0">
              <a:spcBef>
                <a:spcPts val="1650"/>
              </a:spcBef>
              <a:buNone/>
            </a:pPr>
            <a:r>
              <a:rPr lang="de-DE" sz="2017" b="1" kern="0" dirty="0">
                <a:solidFill>
                  <a:schemeClr val="tx2">
                    <a:lumMod val="75000"/>
                    <a:lumOff val="25000"/>
                  </a:schemeClr>
                </a:solidFill>
                <a:latin typeface="Arial" panose="020B0604020202020204" pitchFamily="34" charset="0"/>
                <a:cs typeface="Arial" panose="020B0604020202020204" pitchFamily="34" charset="0"/>
              </a:rPr>
              <a:t>… Sitz in Düsseldorf</a:t>
            </a:r>
          </a:p>
          <a:p>
            <a:pPr marL="0" indent="0">
              <a:spcBef>
                <a:spcPts val="1650"/>
              </a:spcBef>
              <a:buNone/>
            </a:pPr>
            <a:endParaRPr lang="de-DE" sz="2017" b="1" dirty="0">
              <a:solidFill>
                <a:srgbClr val="00629B"/>
              </a:solidFill>
            </a:endParaRPr>
          </a:p>
          <a:p>
            <a:pPr marL="0" indent="0">
              <a:spcBef>
                <a:spcPts val="1650"/>
              </a:spcBef>
              <a:buNone/>
            </a:pPr>
            <a:endParaRPr lang="de-DE" sz="2017" b="1" dirty="0">
              <a:solidFill>
                <a:srgbClr val="00629B"/>
              </a:solidFill>
            </a:endParaRPr>
          </a:p>
        </p:txBody>
      </p:sp>
      <p:pic>
        <p:nvPicPr>
          <p:cNvPr id="5" name="Grafik 4">
            <a:extLst>
              <a:ext uri="{FF2B5EF4-FFF2-40B4-BE49-F238E27FC236}">
                <a16:creationId xmlns:a16="http://schemas.microsoft.com/office/drawing/2014/main" id="{BBFBA031-FDB0-BABF-5E59-0FF2E2DA8BC4}"/>
              </a:ext>
            </a:extLst>
          </p:cNvPr>
          <p:cNvPicPr>
            <a:picLocks noChangeAspect="1"/>
          </p:cNvPicPr>
          <p:nvPr/>
        </p:nvPicPr>
        <p:blipFill>
          <a:blip r:embed="rId2"/>
          <a:srcRect/>
          <a:stretch/>
        </p:blipFill>
        <p:spPr>
          <a:xfrm>
            <a:off x="6114696" y="976280"/>
            <a:ext cx="4805368" cy="5182591"/>
          </a:xfrm>
          <a:prstGeom prst="rect">
            <a:avLst/>
          </a:prstGeom>
          <a:solidFill>
            <a:schemeClr val="bg1">
              <a:lumMod val="95000"/>
            </a:schemeClr>
          </a:solidFill>
        </p:spPr>
      </p:pic>
      <p:pic>
        <p:nvPicPr>
          <p:cNvPr id="6" name="Grafik 5" descr="Ein Bild, das Text enthält.&#10;&#10;Automatisch generierte Beschreibung">
            <a:extLst>
              <a:ext uri="{FF2B5EF4-FFF2-40B4-BE49-F238E27FC236}">
                <a16:creationId xmlns:a16="http://schemas.microsoft.com/office/drawing/2014/main" id="{81F79B37-73E6-E836-711B-2D7C85FAF85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47034" y="127629"/>
            <a:ext cx="1870215" cy="727436"/>
          </a:xfrm>
          <a:prstGeom prst="rect">
            <a:avLst/>
          </a:prstGeom>
          <a:effectLst/>
        </p:spPr>
      </p:pic>
      <p:pic>
        <p:nvPicPr>
          <p:cNvPr id="9" name="Grafik 8">
            <a:extLst>
              <a:ext uri="{FF2B5EF4-FFF2-40B4-BE49-F238E27FC236}">
                <a16:creationId xmlns:a16="http://schemas.microsoft.com/office/drawing/2014/main" id="{02214EC7-CE51-0674-684C-6EAC3C4B9AB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09962" y="2888594"/>
            <a:ext cx="2481516" cy="509277"/>
          </a:xfrm>
          <a:prstGeom prst="rect">
            <a:avLst/>
          </a:prstGeom>
        </p:spPr>
      </p:pic>
      <p:sp>
        <p:nvSpPr>
          <p:cNvPr id="7" name="Textfeld 6">
            <a:extLst>
              <a:ext uri="{FF2B5EF4-FFF2-40B4-BE49-F238E27FC236}">
                <a16:creationId xmlns:a16="http://schemas.microsoft.com/office/drawing/2014/main" id="{173A4B64-CCA9-C7D7-A4F1-151034375E9C}"/>
              </a:ext>
            </a:extLst>
          </p:cNvPr>
          <p:cNvSpPr txBox="1"/>
          <p:nvPr/>
        </p:nvSpPr>
        <p:spPr>
          <a:xfrm>
            <a:off x="6111881" y="5290054"/>
            <a:ext cx="3203121" cy="769634"/>
          </a:xfrm>
          <a:prstGeom prst="rect">
            <a:avLst/>
          </a:prstGeom>
          <a:solidFill>
            <a:schemeClr val="bg1">
              <a:lumMod val="95000"/>
            </a:schemeClr>
          </a:solidFill>
        </p:spPr>
        <p:txBody>
          <a:bodyPr wrap="none" rtlCol="0">
            <a:spAutoFit/>
          </a:bodyPr>
          <a:lstStyle/>
          <a:p>
            <a:r>
              <a:rPr lang="de-DE" sz="1467" kern="0">
                <a:solidFill>
                  <a:schemeClr val="tx2">
                    <a:lumMod val="75000"/>
                    <a:lumOff val="25000"/>
                  </a:schemeClr>
                </a:solidFill>
                <a:latin typeface="Arial" panose="020B0604020202020204" pitchFamily="34" charset="0"/>
                <a:cs typeface="Arial" panose="020B0604020202020204" pitchFamily="34" charset="0"/>
              </a:rPr>
              <a:t>Petra Schepsmeier</a:t>
            </a:r>
          </a:p>
          <a:p>
            <a:r>
              <a:rPr lang="de-DE" sz="1467" kern="0">
                <a:solidFill>
                  <a:schemeClr val="tx2">
                    <a:lumMod val="75000"/>
                    <a:lumOff val="25000"/>
                  </a:schemeClr>
                </a:solidFill>
                <a:latin typeface="Arial" panose="020B0604020202020204" pitchFamily="34" charset="0"/>
                <a:cs typeface="Arial" panose="020B0604020202020204" pitchFamily="34" charset="0"/>
              </a:rPr>
              <a:t>Klimanetzwerkerin für OWL</a:t>
            </a:r>
          </a:p>
          <a:p>
            <a:r>
              <a:rPr lang="de-DE" sz="1467" kern="0">
                <a:solidFill>
                  <a:schemeClr val="tx2">
                    <a:lumMod val="75000"/>
                    <a:lumOff val="25000"/>
                  </a:schemeClr>
                </a:solidFill>
                <a:latin typeface="Arial" panose="020B0604020202020204" pitchFamily="34" charset="0"/>
                <a:cs typeface="Arial" panose="020B0604020202020204" pitchFamily="34" charset="0"/>
              </a:rPr>
              <a:t>Projektleiterin Klimakampagne OWL</a:t>
            </a:r>
          </a:p>
        </p:txBody>
      </p:sp>
      <p:pic>
        <p:nvPicPr>
          <p:cNvPr id="11" name="Grafik 10">
            <a:extLst>
              <a:ext uri="{FF2B5EF4-FFF2-40B4-BE49-F238E27FC236}">
                <a16:creationId xmlns:a16="http://schemas.microsoft.com/office/drawing/2014/main" id="{5DDB7CAF-28BF-63B1-9618-D4B1DD7F4486}"/>
              </a:ext>
            </a:extLst>
          </p:cNvPr>
          <p:cNvPicPr>
            <a:picLocks noChangeAspect="1"/>
          </p:cNvPicPr>
          <p:nvPr/>
        </p:nvPicPr>
        <p:blipFill>
          <a:blip r:embed="rId5"/>
          <a:stretch>
            <a:fillRect/>
          </a:stretch>
        </p:blipFill>
        <p:spPr>
          <a:xfrm>
            <a:off x="9297035" y="3900880"/>
            <a:ext cx="1700693" cy="2101459"/>
          </a:xfrm>
          <a:prstGeom prst="rect">
            <a:avLst/>
          </a:prstGeom>
          <a:effectLst>
            <a:outerShdw blurRad="50800" dist="38100" algn="l" rotWithShape="0">
              <a:prstClr val="black">
                <a:alpha val="40000"/>
              </a:prstClr>
            </a:outerShdw>
          </a:effectLst>
        </p:spPr>
      </p:pic>
      <p:pic>
        <p:nvPicPr>
          <p:cNvPr id="8" name="Grafik 7">
            <a:extLst>
              <a:ext uri="{FF2B5EF4-FFF2-40B4-BE49-F238E27FC236}">
                <a16:creationId xmlns:a16="http://schemas.microsoft.com/office/drawing/2014/main" id="{F59472F9-1196-025B-DE66-EF55A81376D7}"/>
              </a:ext>
            </a:extLst>
          </p:cNvPr>
          <p:cNvPicPr>
            <a:picLocks noChangeAspect="1"/>
          </p:cNvPicPr>
          <p:nvPr/>
        </p:nvPicPr>
        <p:blipFill>
          <a:blip r:embed="rId6"/>
          <a:stretch>
            <a:fillRect/>
          </a:stretch>
        </p:blipFill>
        <p:spPr>
          <a:xfrm>
            <a:off x="503138" y="3483739"/>
            <a:ext cx="5488341" cy="2568062"/>
          </a:xfrm>
          <a:prstGeom prst="rect">
            <a:avLst/>
          </a:prstGeom>
        </p:spPr>
      </p:pic>
    </p:spTree>
    <p:extLst>
      <p:ext uri="{BB962C8B-B14F-4D97-AF65-F5344CB8AC3E}">
        <p14:creationId xmlns:p14="http://schemas.microsoft.com/office/powerpoint/2010/main" val="80638142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C0422A6-5A33-BA4A-1A29-03C56BAD0D4A}"/>
            </a:ext>
          </a:extLst>
        </p:cNvPr>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6D350C7-45CD-8D47-F6F8-D1075F672DCA}"/>
              </a:ext>
            </a:extLst>
          </p:cNvPr>
          <p:cNvSpPr>
            <a:spLocks noGrp="1"/>
          </p:cNvSpPr>
          <p:nvPr>
            <p:ph type="sldNum" sz="quarter" idx="11"/>
          </p:nvPr>
        </p:nvSpPr>
        <p:spPr/>
        <p:txBody>
          <a:bodyPr/>
          <a:lstStyle/>
          <a:p>
            <a:endParaRPr lang="de-DE"/>
          </a:p>
          <a:p>
            <a:fld id="{24C420F5-194C-40F2-A080-C5F3EDD89037}" type="slidenum">
              <a:rPr lang="de-DE" smtClean="0"/>
              <a:pPr/>
              <a:t>50</a:t>
            </a:fld>
            <a:endParaRPr lang="de-DE"/>
          </a:p>
        </p:txBody>
      </p:sp>
      <p:sp>
        <p:nvSpPr>
          <p:cNvPr id="83" name="Title 2">
            <a:extLst>
              <a:ext uri="{FF2B5EF4-FFF2-40B4-BE49-F238E27FC236}">
                <a16:creationId xmlns:a16="http://schemas.microsoft.com/office/drawing/2014/main" id="{945B1C4D-02A9-443A-C95B-A71759AF5DB0}"/>
              </a:ext>
            </a:extLst>
          </p:cNvPr>
          <p:cNvSpPr>
            <a:spLocks noGrp="1"/>
          </p:cNvSpPr>
          <p:nvPr>
            <p:ph type="title"/>
          </p:nvPr>
        </p:nvSpPr>
        <p:spPr/>
        <p:txBody>
          <a:bodyPr/>
          <a:lstStyle/>
          <a:p>
            <a:r>
              <a:rPr lang="de-DE" b="1">
                <a:latin typeface="Roboto" panose="02000000000000000000" pitchFamily="2" charset="0"/>
              </a:rPr>
              <a:t>Erkenntnisse der Kommunalen Wärmeplanung - Zielszenario</a:t>
            </a:r>
            <a:br>
              <a:rPr lang="de-DE" b="1">
                <a:latin typeface="Roboto" panose="02000000000000000000" pitchFamily="2" charset="0"/>
              </a:rPr>
            </a:br>
            <a:r>
              <a:rPr lang="de-DE"/>
              <a:t>Wie kann eine zukünftige Wärmeversorgung in Rheda-Wiedenbrück aussehen?</a:t>
            </a:r>
            <a:endParaRPr lang="de-DE">
              <a:latin typeface="Roboto" panose="02000000000000000000" pitchFamily="2" charset="0"/>
            </a:endParaRPr>
          </a:p>
        </p:txBody>
      </p:sp>
      <p:sp>
        <p:nvSpPr>
          <p:cNvPr id="8" name="Footer Placeholder 7">
            <a:extLst>
              <a:ext uri="{FF2B5EF4-FFF2-40B4-BE49-F238E27FC236}">
                <a16:creationId xmlns:a16="http://schemas.microsoft.com/office/drawing/2014/main" id="{178A3D83-E1FE-BAA3-F525-18568FD94647}"/>
              </a:ext>
            </a:extLst>
          </p:cNvPr>
          <p:cNvSpPr>
            <a:spLocks noGrp="1"/>
          </p:cNvSpPr>
          <p:nvPr>
            <p:ph type="ftr" sz="quarter" idx="12"/>
          </p:nvPr>
        </p:nvSpPr>
        <p:spPr/>
        <p:txBody>
          <a:bodyPr/>
          <a:lstStyle/>
          <a:p>
            <a:r>
              <a:rPr lang="de-DE"/>
              <a:t>© 2026</a:t>
            </a:r>
          </a:p>
          <a:p>
            <a:r>
              <a:rPr lang="de-DE"/>
              <a:t>d-fine</a:t>
            </a:r>
          </a:p>
        </p:txBody>
      </p:sp>
      <p:sp>
        <p:nvSpPr>
          <p:cNvPr id="57" name="Rectangle 56" hidden="1">
            <a:extLst>
              <a:ext uri="{FF2B5EF4-FFF2-40B4-BE49-F238E27FC236}">
                <a16:creationId xmlns:a16="http://schemas.microsoft.com/office/drawing/2014/main" id="{B260DC36-9418-049B-70B7-ABF38922D420}"/>
              </a:ext>
            </a:extLst>
          </p:cNvPr>
          <p:cNvSpPr/>
          <p:nvPr/>
        </p:nvSpPr>
        <p:spPr bwMode="gray">
          <a:xfrm>
            <a:off x="249767" y="1033533"/>
            <a:ext cx="450472" cy="450472"/>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a:solidFill>
                <a:srgbClr val="003C50"/>
              </a:solidFill>
              <a:latin typeface="Roboto"/>
            </a:endParaRPr>
          </a:p>
        </p:txBody>
      </p:sp>
      <p:grpSp>
        <p:nvGrpSpPr>
          <p:cNvPr id="22" name="THM_bar">
            <a:extLst>
              <a:ext uri="{FF2B5EF4-FFF2-40B4-BE49-F238E27FC236}">
                <a16:creationId xmlns:a16="http://schemas.microsoft.com/office/drawing/2014/main" id="{5D758767-C479-1C37-C05E-2CEA1A9EDB09}"/>
              </a:ext>
            </a:extLst>
          </p:cNvPr>
          <p:cNvGrpSpPr/>
          <p:nvPr>
            <p:custDataLst>
              <p:tags r:id="rId1"/>
            </p:custDataLst>
          </p:nvPr>
        </p:nvGrpSpPr>
        <p:grpSpPr>
          <a:xfrm>
            <a:off x="208026" y="5549075"/>
            <a:ext cx="9372600" cy="468059"/>
            <a:chOff x="208026" y="5549074"/>
            <a:chExt cx="9372600" cy="468059"/>
          </a:xfrm>
        </p:grpSpPr>
        <p:sp>
          <p:nvSpPr>
            <p:cNvPr id="24" name="THM_bar_background">
              <a:extLst>
                <a:ext uri="{FF2B5EF4-FFF2-40B4-BE49-F238E27FC236}">
                  <a16:creationId xmlns:a16="http://schemas.microsoft.com/office/drawing/2014/main" id="{CE06D129-2DA3-88C3-139C-4623F10F7311}"/>
                </a:ext>
              </a:extLst>
            </p:cNvPr>
            <p:cNvSpPr/>
            <p:nvPr/>
          </p:nvSpPr>
          <p:spPr bwMode="gray">
            <a:xfrm>
              <a:off x="208026" y="5549074"/>
              <a:ext cx="9372600" cy="468059"/>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45" tIns="0" rIns="144018" bIns="0" rtlCol="0" anchor="ctr">
              <a:noAutofit/>
            </a:bodyPr>
            <a:lstStyle/>
            <a:p>
              <a:pPr defTabSz="914368"/>
              <a:r>
                <a:rPr lang="de-DE" sz="1400" dirty="0">
                  <a:solidFill>
                    <a:srgbClr val="003C50"/>
                  </a:solidFill>
                  <a:latin typeface="Roboto"/>
                </a:rPr>
                <a:t>Bis 2045 wird ein </a:t>
              </a:r>
              <a:r>
                <a:rPr lang="de-DE" sz="1400" b="1" dirty="0">
                  <a:solidFill>
                    <a:srgbClr val="003C50"/>
                  </a:solidFill>
                  <a:latin typeface="Roboto"/>
                </a:rPr>
                <a:t>Mix aus unterschiedlichen Energieträgern </a:t>
              </a:r>
              <a:r>
                <a:rPr lang="de-DE" sz="1400" dirty="0">
                  <a:solidFill>
                    <a:srgbClr val="003C50"/>
                  </a:solidFill>
                  <a:latin typeface="Roboto"/>
                </a:rPr>
                <a:t>das Heizungsbild in Rheda-Wiedenbrück prägen. </a:t>
              </a:r>
            </a:p>
          </p:txBody>
        </p:sp>
        <p:grpSp>
          <p:nvGrpSpPr>
            <p:cNvPr id="34" name="thm_triangle_i52819">
              <a:extLst>
                <a:ext uri="{FF2B5EF4-FFF2-40B4-BE49-F238E27FC236}">
                  <a16:creationId xmlns:a16="http://schemas.microsoft.com/office/drawing/2014/main" id="{7E341431-29F6-2E0D-1EF0-1CE928724110}"/>
                </a:ext>
              </a:extLst>
            </p:cNvPr>
            <p:cNvGrpSpPr/>
            <p:nvPr/>
          </p:nvGrpSpPr>
          <p:grpSpPr>
            <a:xfrm>
              <a:off x="208026" y="5549074"/>
              <a:ext cx="234029" cy="468058"/>
              <a:chOff x="117014" y="-117014"/>
              <a:chExt cx="234029" cy="468058"/>
            </a:xfrm>
          </p:grpSpPr>
          <p:sp>
            <p:nvSpPr>
              <p:cNvPr id="39" name="box">
                <a:extLst>
                  <a:ext uri="{FF2B5EF4-FFF2-40B4-BE49-F238E27FC236}">
                    <a16:creationId xmlns:a16="http://schemas.microsoft.com/office/drawing/2014/main" id="{DC7966BA-78B1-2258-B965-7BA82DD20987}"/>
                  </a:ext>
                </a:extLst>
              </p:cNvPr>
              <p:cNvSpPr/>
              <p:nvPr/>
            </p:nvSpPr>
            <p:spPr bwMode="white">
              <a:xfrm rot="16200000">
                <a:off x="-117015" y="117015"/>
                <a:ext cx="468058" cy="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err="1">
                  <a:solidFill>
                    <a:srgbClr val="003C50"/>
                  </a:solidFill>
                  <a:latin typeface="Roboto"/>
                </a:endParaRPr>
              </a:p>
            </p:txBody>
          </p:sp>
          <p:sp>
            <p:nvSpPr>
              <p:cNvPr id="40" name="triangle_1">
                <a:extLst>
                  <a:ext uri="{FF2B5EF4-FFF2-40B4-BE49-F238E27FC236}">
                    <a16:creationId xmlns:a16="http://schemas.microsoft.com/office/drawing/2014/main" id="{308C65DB-46FB-842E-C8CB-D465692204BC}"/>
                  </a:ext>
                </a:extLst>
              </p:cNvPr>
              <p:cNvSpPr/>
              <p:nvPr/>
            </p:nvSpPr>
            <p:spPr bwMode="white">
              <a:xfrm rot="5400000">
                <a:off x="0" y="0"/>
                <a:ext cx="468058" cy="234029"/>
              </a:xfrm>
              <a:prstGeom prst="triangle">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err="1">
                  <a:solidFill>
                    <a:srgbClr val="003C50"/>
                  </a:solidFill>
                  <a:latin typeface="Roboto"/>
                </a:endParaRPr>
              </a:p>
            </p:txBody>
          </p:sp>
          <p:sp>
            <p:nvSpPr>
              <p:cNvPr id="41" name="triangle_2">
                <a:extLst>
                  <a:ext uri="{FF2B5EF4-FFF2-40B4-BE49-F238E27FC236}">
                    <a16:creationId xmlns:a16="http://schemas.microsoft.com/office/drawing/2014/main" id="{0A1FDAAF-7CB4-3F5F-6763-DB02666A7F9C}"/>
                  </a:ext>
                </a:extLst>
              </p:cNvPr>
              <p:cNvSpPr/>
              <p:nvPr/>
            </p:nvSpPr>
            <p:spPr bwMode="gray">
              <a:xfrm rot="5400000">
                <a:off x="0" y="0"/>
                <a:ext cx="468058" cy="234029"/>
              </a:xfrm>
              <a:prstGeom prst="triangl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err="1">
                  <a:solidFill>
                    <a:srgbClr val="003C50"/>
                  </a:solidFill>
                  <a:latin typeface="Roboto"/>
                </a:endParaRPr>
              </a:p>
            </p:txBody>
          </p:sp>
        </p:grpSp>
      </p:grpSp>
      <p:grpSp>
        <p:nvGrpSpPr>
          <p:cNvPr id="12" name="Group 11">
            <a:extLst>
              <a:ext uri="{FF2B5EF4-FFF2-40B4-BE49-F238E27FC236}">
                <a16:creationId xmlns:a16="http://schemas.microsoft.com/office/drawing/2014/main" id="{E2FE0BAC-2C83-C583-471E-BC9B126F8E36}"/>
              </a:ext>
            </a:extLst>
          </p:cNvPr>
          <p:cNvGrpSpPr/>
          <p:nvPr/>
        </p:nvGrpSpPr>
        <p:grpSpPr>
          <a:xfrm>
            <a:off x="208026" y="990000"/>
            <a:ext cx="9375301" cy="544705"/>
            <a:chOff x="4942892" y="1400502"/>
            <a:chExt cx="4620000" cy="544706"/>
          </a:xfrm>
          <a:solidFill>
            <a:schemeClr val="accent6">
              <a:lumMod val="20000"/>
              <a:lumOff val="80000"/>
            </a:schemeClr>
          </a:solidFill>
        </p:grpSpPr>
        <p:sp>
          <p:nvSpPr>
            <p:cNvPr id="13" name="Rechteck 26">
              <a:extLst>
                <a:ext uri="{FF2B5EF4-FFF2-40B4-BE49-F238E27FC236}">
                  <a16:creationId xmlns:a16="http://schemas.microsoft.com/office/drawing/2014/main" id="{5E2BBADB-6300-CC57-0B2B-C13632491980}"/>
                </a:ext>
              </a:extLst>
            </p:cNvPr>
            <p:cNvSpPr/>
            <p:nvPr>
              <p:custDataLst>
                <p:tags r:id="rId4"/>
              </p:custDataLst>
            </p:nvPr>
          </p:nvSpPr>
          <p:spPr>
            <a:xfrm>
              <a:off x="4942892" y="1400707"/>
              <a:ext cx="4620000" cy="544501"/>
            </a:xfrm>
            <a:prstGeom prst="rect">
              <a:avLst/>
            </a:prstGeom>
            <a:solidFill>
              <a:schemeClr val="accent6">
                <a:lumMod val="40000"/>
                <a:lumOff val="60000"/>
              </a:schemeClr>
            </a:solidFill>
            <a:ln w="9525" cmpd="sng">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368">
                <a:spcBef>
                  <a:spcPct val="30000"/>
                </a:spcBef>
                <a:defRPr/>
              </a:pPr>
              <a:r>
                <a:rPr lang="de-DE" altLang="de-DE" sz="1400" b="1">
                  <a:solidFill>
                    <a:srgbClr val="003C50"/>
                  </a:solidFill>
                  <a:latin typeface="Roboto" panose="02000000000000000000" pitchFamily="2" charset="0"/>
                  <a:cs typeface="Times New Roman" panose="02020603050405020304" pitchFamily="18" charset="0"/>
                </a:rPr>
                <a:t>Zielszenario</a:t>
              </a:r>
            </a:p>
          </p:txBody>
        </p:sp>
        <p:sp>
          <p:nvSpPr>
            <p:cNvPr id="14" name="Rectangle 13" hidden="1">
              <a:extLst>
                <a:ext uri="{FF2B5EF4-FFF2-40B4-BE49-F238E27FC236}">
                  <a16:creationId xmlns:a16="http://schemas.microsoft.com/office/drawing/2014/main" id="{5EB9ED77-1049-1F29-F0A2-1B89E695BD4E}"/>
                </a:ext>
              </a:extLst>
            </p:cNvPr>
            <p:cNvSpPr/>
            <p:nvPr/>
          </p:nvSpPr>
          <p:spPr bwMode="gray">
            <a:xfrm>
              <a:off x="5015058" y="1400502"/>
              <a:ext cx="543319" cy="543319"/>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a:solidFill>
                  <a:srgbClr val="003C50"/>
                </a:solidFill>
                <a:latin typeface="Roboto"/>
              </a:endParaRPr>
            </a:p>
          </p:txBody>
        </p:sp>
      </p:grpSp>
      <p:grpSp>
        <p:nvGrpSpPr>
          <p:cNvPr id="68" name="Group 67">
            <a:extLst>
              <a:ext uri="{FF2B5EF4-FFF2-40B4-BE49-F238E27FC236}">
                <a16:creationId xmlns:a16="http://schemas.microsoft.com/office/drawing/2014/main" id="{8AD5D086-3F48-25A7-E22F-693A956CB0CD}"/>
              </a:ext>
            </a:extLst>
          </p:cNvPr>
          <p:cNvGrpSpPr>
            <a:grpSpLocks noChangeAspect="1"/>
          </p:cNvGrpSpPr>
          <p:nvPr>
            <p:custDataLst>
              <p:tags r:id="rId2"/>
            </p:custDataLst>
          </p:nvPr>
        </p:nvGrpSpPr>
        <p:grpSpPr>
          <a:xfrm>
            <a:off x="3878303" y="1058267"/>
            <a:ext cx="408375" cy="408375"/>
            <a:chOff x="1270000" y="1270000"/>
            <a:chExt cx="889000" cy="889000"/>
          </a:xfrm>
        </p:grpSpPr>
        <p:sp>
          <p:nvSpPr>
            <p:cNvPr id="65" name="Rectangle 64" hidden="1">
              <a:extLst>
                <a:ext uri="{FF2B5EF4-FFF2-40B4-BE49-F238E27FC236}">
                  <a16:creationId xmlns:a16="http://schemas.microsoft.com/office/drawing/2014/main" id="{83BA6894-E752-0911-65D5-EFE2D301FFCE}"/>
                </a:ext>
              </a:extLst>
            </p:cNvPr>
            <p:cNvSpPr/>
            <p:nvPr>
              <p:custDataLst>
                <p:tags r:id="rId3"/>
              </p:custDataLst>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67" name="Graphic 66">
              <a:extLst>
                <a:ext uri="{FF2B5EF4-FFF2-40B4-BE49-F238E27FC236}">
                  <a16:creationId xmlns:a16="http://schemas.microsoft.com/office/drawing/2014/main" id="{CA066777-BEB0-C9E5-0A84-502D63BFF0D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0000" y="1270000"/>
              <a:ext cx="889000" cy="889000"/>
            </a:xfrm>
            <a:prstGeom prst="rect">
              <a:avLst/>
            </a:prstGeom>
          </p:spPr>
        </p:pic>
      </p:grpSp>
      <p:sp>
        <p:nvSpPr>
          <p:cNvPr id="2" name="Content Placeholder 3">
            <a:extLst>
              <a:ext uri="{FF2B5EF4-FFF2-40B4-BE49-F238E27FC236}">
                <a16:creationId xmlns:a16="http://schemas.microsoft.com/office/drawing/2014/main" id="{B0FBB947-A6BC-4A38-9D6F-4F1E76BE4951}"/>
              </a:ext>
            </a:extLst>
          </p:cNvPr>
          <p:cNvSpPr txBox="1">
            <a:spLocks/>
          </p:cNvSpPr>
          <p:nvPr/>
        </p:nvSpPr>
        <p:spPr>
          <a:xfrm>
            <a:off x="7501913" y="53024"/>
            <a:ext cx="2291567" cy="380480"/>
          </a:xfrm>
          <a:prstGeom prst="rect">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lIns="72000" tIns="36000" rIns="72000" bIns="36000" anchor="t" anchorCtr="0">
            <a:spAutoFit/>
          </a:bodyPr>
          <a:lstStyle>
            <a:lvl1pPr algn="l" rtl="0" eaLnBrk="1" fontAlgn="base" hangingPunct="1">
              <a:spcBef>
                <a:spcPct val="20000"/>
              </a:spcBef>
              <a:spcAft>
                <a:spcPct val="0"/>
              </a:spcAft>
              <a:defRPr sz="1400">
                <a:solidFill>
                  <a:schemeClr val="tx1"/>
                </a:solidFill>
                <a:latin typeface="+mn-lt"/>
                <a:ea typeface="+mn-ea"/>
                <a:cs typeface="+mn-cs"/>
              </a:defRPr>
            </a:lvl1pPr>
            <a:lvl2pPr marL="381000" indent="-190500" algn="l" rtl="0" eaLnBrk="1" fontAlgn="base" hangingPunct="1">
              <a:spcBef>
                <a:spcPct val="20000"/>
              </a:spcBef>
              <a:spcAft>
                <a:spcPct val="0"/>
              </a:spcAft>
              <a:buFont typeface="Wingdings" pitchFamily="84" charset="2"/>
              <a:buChar char="§"/>
              <a:defRPr sz="1400">
                <a:solidFill>
                  <a:schemeClr val="tx1"/>
                </a:solidFill>
                <a:latin typeface="+mn-lt"/>
              </a:defRPr>
            </a:lvl2pPr>
            <a:lvl3pPr marL="747713" indent="-176213" algn="l" rtl="0" eaLnBrk="1" fontAlgn="base" hangingPunct="1">
              <a:spcBef>
                <a:spcPct val="20000"/>
              </a:spcBef>
              <a:spcAft>
                <a:spcPct val="0"/>
              </a:spcAft>
              <a:buChar char="-"/>
              <a:defRPr sz="1200">
                <a:solidFill>
                  <a:schemeClr val="tx1"/>
                </a:solidFill>
                <a:latin typeface="+mn-lt"/>
              </a:defRPr>
            </a:lvl3pPr>
            <a:lvl4pPr marL="1125538" indent="-187325" algn="l" rtl="0" eaLnBrk="1" fontAlgn="base" hangingPunct="1">
              <a:spcBef>
                <a:spcPct val="20000"/>
              </a:spcBef>
              <a:spcAft>
                <a:spcPct val="0"/>
              </a:spcAft>
              <a:buFont typeface="Times" pitchFamily="84" charset="0"/>
              <a:buChar char="•"/>
              <a:defRPr sz="1000">
                <a:solidFill>
                  <a:schemeClr val="tx1"/>
                </a:solidFill>
                <a:latin typeface="+mn-lt"/>
              </a:defRPr>
            </a:lvl4pPr>
            <a:lvl5pPr marL="1431925" indent="-115888" algn="l" rtl="0" eaLnBrk="1" fontAlgn="base" hangingPunct="1">
              <a:spcBef>
                <a:spcPct val="20000"/>
              </a:spcBef>
              <a:spcAft>
                <a:spcPct val="0"/>
              </a:spcAft>
              <a:buChar char="•"/>
              <a:defRPr sz="1000">
                <a:solidFill>
                  <a:schemeClr val="tx1"/>
                </a:solidFill>
                <a:latin typeface="+mn-lt"/>
              </a:defRPr>
            </a:lvl5pPr>
            <a:lvl6pPr marL="1889125" indent="-115888" algn="l" rtl="0" eaLnBrk="1" fontAlgn="base" hangingPunct="1">
              <a:spcBef>
                <a:spcPct val="20000"/>
              </a:spcBef>
              <a:spcAft>
                <a:spcPct val="0"/>
              </a:spcAft>
              <a:buChar char="•"/>
              <a:defRPr sz="1000">
                <a:solidFill>
                  <a:schemeClr val="tx1"/>
                </a:solidFill>
                <a:latin typeface="+mn-lt"/>
              </a:defRPr>
            </a:lvl6pPr>
            <a:lvl7pPr marL="2346325" indent="-115888" algn="l" rtl="0" eaLnBrk="1" fontAlgn="base" hangingPunct="1">
              <a:spcBef>
                <a:spcPct val="20000"/>
              </a:spcBef>
              <a:spcAft>
                <a:spcPct val="0"/>
              </a:spcAft>
              <a:buChar char="•"/>
              <a:defRPr sz="1000">
                <a:solidFill>
                  <a:schemeClr val="tx1"/>
                </a:solidFill>
                <a:latin typeface="+mn-lt"/>
              </a:defRPr>
            </a:lvl7pPr>
            <a:lvl8pPr marL="2803525" indent="-115888" algn="l" rtl="0" eaLnBrk="1" fontAlgn="base" hangingPunct="1">
              <a:spcBef>
                <a:spcPct val="20000"/>
              </a:spcBef>
              <a:spcAft>
                <a:spcPct val="0"/>
              </a:spcAft>
              <a:buChar char="•"/>
              <a:defRPr sz="1000">
                <a:solidFill>
                  <a:schemeClr val="tx1"/>
                </a:solidFill>
                <a:latin typeface="+mn-lt"/>
              </a:defRPr>
            </a:lvl8pPr>
            <a:lvl9pPr marL="3260725" indent="-115888" algn="l" rtl="0" eaLnBrk="1" fontAlgn="base" hangingPunct="1">
              <a:spcBef>
                <a:spcPct val="20000"/>
              </a:spcBef>
              <a:spcAft>
                <a:spcPct val="0"/>
              </a:spcAft>
              <a:buChar char="•"/>
              <a:defRPr sz="1000">
                <a:solidFill>
                  <a:schemeClr val="tx1"/>
                </a:solidFill>
                <a:latin typeface="+mn-lt"/>
              </a:defRPr>
            </a:lvl9pPr>
          </a:lstStyle>
          <a:p>
            <a:pPr defTabSz="997456"/>
            <a:r>
              <a:rPr lang="de-DE" sz="1000" i="1">
                <a:solidFill>
                  <a:srgbClr val="F07D00"/>
                </a:solidFill>
                <a:latin typeface="Roboto"/>
              </a:rPr>
              <a:t>Anmerkung: </a:t>
            </a:r>
            <a:r>
              <a:rPr lang="de-DE" sz="1000">
                <a:solidFill>
                  <a:srgbClr val="003C50"/>
                </a:solidFill>
                <a:latin typeface="Roboto"/>
              </a:rPr>
              <a:t>Ergebnisse sind vorläufig und können sich noch ändern</a:t>
            </a:r>
          </a:p>
        </p:txBody>
      </p:sp>
      <p:grpSp>
        <p:nvGrpSpPr>
          <p:cNvPr id="6" name="Group 5">
            <a:extLst>
              <a:ext uri="{FF2B5EF4-FFF2-40B4-BE49-F238E27FC236}">
                <a16:creationId xmlns:a16="http://schemas.microsoft.com/office/drawing/2014/main" id="{F73249FD-8036-E99B-15FD-8A332DD2952B}"/>
              </a:ext>
            </a:extLst>
          </p:cNvPr>
          <p:cNvGrpSpPr/>
          <p:nvPr/>
        </p:nvGrpSpPr>
        <p:grpSpPr>
          <a:xfrm>
            <a:off x="4384026" y="1969513"/>
            <a:ext cx="5128274" cy="3093154"/>
            <a:chOff x="4972092" y="2581469"/>
            <a:chExt cx="4512815" cy="1986946"/>
          </a:xfrm>
        </p:grpSpPr>
        <p:sp>
          <p:nvSpPr>
            <p:cNvPr id="11" name="TextBox 12">
              <a:extLst>
                <a:ext uri="{FF2B5EF4-FFF2-40B4-BE49-F238E27FC236}">
                  <a16:creationId xmlns:a16="http://schemas.microsoft.com/office/drawing/2014/main" id="{8533BB6E-49DA-A332-91A1-BADD8B446DD8}"/>
                </a:ext>
              </a:extLst>
            </p:cNvPr>
            <p:cNvSpPr txBox="1"/>
            <p:nvPr/>
          </p:nvSpPr>
          <p:spPr>
            <a:xfrm>
              <a:off x="5438801" y="2581469"/>
              <a:ext cx="4046106" cy="1986946"/>
            </a:xfrm>
            <a:prstGeom prst="rect">
              <a:avLst/>
            </a:prstGeom>
            <a:noFill/>
          </p:spPr>
          <p:txBody>
            <a:bodyPr wrap="square" lIns="0" tIns="0" rIns="0" bIns="0" rtlCol="0" anchor="t">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97456">
                <a:spcAft>
                  <a:spcPts val="600"/>
                </a:spcAft>
              </a:pPr>
              <a:r>
                <a:rPr lang="de-DE" sz="1600" b="1" dirty="0">
                  <a:solidFill>
                    <a:srgbClr val="003C50"/>
                  </a:solidFill>
                </a:rPr>
                <a:t>Verteilung von Wärmeversorgungslösungen </a:t>
              </a:r>
            </a:p>
            <a:p>
              <a:pPr marL="180975" indent="-180975" defTabSz="997456">
                <a:spcAft>
                  <a:spcPts val="600"/>
                </a:spcAft>
                <a:buFont typeface="Wingdings" panose="05000000000000000000" pitchFamily="2" charset="2"/>
                <a:buChar char="§"/>
              </a:pPr>
              <a:r>
                <a:rPr lang="de-DE" sz="1600" dirty="0">
                  <a:solidFill>
                    <a:srgbClr val="003C50"/>
                  </a:solidFill>
                  <a:latin typeface="Roboto"/>
                </a:rPr>
                <a:t>Bisher </a:t>
              </a:r>
              <a:r>
                <a:rPr lang="de-DE" sz="1600" b="1" dirty="0">
                  <a:solidFill>
                    <a:srgbClr val="003C50"/>
                  </a:solidFill>
                  <a:latin typeface="Roboto"/>
                </a:rPr>
                <a:t>kein Wärmenetz-Bestand</a:t>
              </a:r>
            </a:p>
            <a:p>
              <a:pPr marL="180975" indent="-180975" defTabSz="997456">
                <a:spcAft>
                  <a:spcPts val="600"/>
                </a:spcAft>
                <a:buFont typeface="Wingdings" panose="05000000000000000000" pitchFamily="2" charset="2"/>
                <a:buChar char="§"/>
              </a:pPr>
              <a:r>
                <a:rPr lang="de-DE" sz="1600" dirty="0">
                  <a:solidFill>
                    <a:srgbClr val="003C50"/>
                  </a:solidFill>
                  <a:latin typeface="Roboto"/>
                </a:rPr>
                <a:t>Status Quo der Wärmeversorgung </a:t>
              </a:r>
              <a:r>
                <a:rPr lang="de-DE" sz="1600" dirty="0">
                  <a:solidFill>
                    <a:srgbClr val="003C50"/>
                  </a:solidFill>
                  <a:latin typeface="Roboto" panose="02000000000000000000" pitchFamily="2" charset="0"/>
                </a:rPr>
                <a:t>durch </a:t>
              </a:r>
              <a:r>
                <a:rPr lang="de-DE" sz="1600" b="1" dirty="0">
                  <a:solidFill>
                    <a:srgbClr val="003C50"/>
                  </a:solidFill>
                  <a:latin typeface="Roboto" panose="02000000000000000000" pitchFamily="2" charset="0"/>
                </a:rPr>
                <a:t>Gasnachfrage und vorhandene Gasnetz-infrastruktur </a:t>
              </a:r>
              <a:r>
                <a:rPr lang="de-DE" sz="1600" dirty="0">
                  <a:solidFill>
                    <a:srgbClr val="003C50"/>
                  </a:solidFill>
                  <a:latin typeface="Roboto" panose="02000000000000000000" pitchFamily="2" charset="0"/>
                </a:rPr>
                <a:t>geprägt</a:t>
              </a:r>
              <a:endParaRPr lang="de-DE" sz="1600" b="1" dirty="0">
                <a:solidFill>
                  <a:srgbClr val="003C50"/>
                </a:solidFill>
                <a:latin typeface="Roboto"/>
              </a:endParaRPr>
            </a:p>
            <a:p>
              <a:pPr marL="180975" indent="-180975" defTabSz="997456">
                <a:spcBef>
                  <a:spcPts val="300"/>
                </a:spcBef>
                <a:buFont typeface="Wingdings" panose="05000000000000000000" pitchFamily="2" charset="2"/>
                <a:buChar char="§"/>
              </a:pPr>
              <a:r>
                <a:rPr lang="de-DE" sz="1600" dirty="0">
                  <a:solidFill>
                    <a:srgbClr val="003C50"/>
                  </a:solidFill>
                </a:rPr>
                <a:t>Ab 2045 keine Verwendung fossiler Brennstoffe</a:t>
              </a:r>
            </a:p>
            <a:p>
              <a:pPr marL="180000" indent="-180000" defTabSz="997456">
                <a:spcBef>
                  <a:spcPts val="300"/>
                </a:spcBef>
                <a:buFont typeface="Wingdings" panose="05000000000000000000" pitchFamily="2" charset="2"/>
                <a:buChar char="§"/>
              </a:pPr>
              <a:r>
                <a:rPr lang="de-DE" sz="1600" dirty="0">
                  <a:solidFill>
                    <a:srgbClr val="003C50"/>
                  </a:solidFill>
                  <a:latin typeface="Roboto"/>
                </a:rPr>
                <a:t>Bis zu 19 % des </a:t>
              </a:r>
              <a:r>
                <a:rPr lang="de-DE" sz="1600" dirty="0">
                  <a:solidFill>
                    <a:srgbClr val="003C50"/>
                  </a:solidFill>
                </a:rPr>
                <a:t>Wärmebedarfs könnte durch Wärmenetze gedeckt werden</a:t>
              </a:r>
            </a:p>
            <a:p>
              <a:pPr marL="180000" indent="-180000" defTabSz="997456">
                <a:spcBef>
                  <a:spcPts val="300"/>
                </a:spcBef>
                <a:buFont typeface="Wingdings" panose="05000000000000000000" pitchFamily="2" charset="2"/>
                <a:buChar char="§"/>
              </a:pPr>
              <a:r>
                <a:rPr lang="de-DE" sz="1600" b="1" dirty="0">
                  <a:solidFill>
                    <a:srgbClr val="003C50"/>
                  </a:solidFill>
                </a:rPr>
                <a:t>Hochtemperatur-Prozesswärmenachfrage</a:t>
              </a:r>
              <a:r>
                <a:rPr lang="de-DE" sz="1600" dirty="0">
                  <a:solidFill>
                    <a:srgbClr val="003C50"/>
                  </a:solidFill>
                </a:rPr>
                <a:t> kann nur durch biogene Brennstoffe gedeckt werden</a:t>
              </a:r>
            </a:p>
            <a:p>
              <a:pPr marL="179705" indent="-179705" defTabSz="997456">
                <a:spcBef>
                  <a:spcPts val="300"/>
                </a:spcBef>
                <a:buFont typeface="Wingdings" panose="05000000000000000000" pitchFamily="2" charset="2"/>
                <a:buChar char="§"/>
              </a:pPr>
              <a:endParaRPr lang="de-DE" sz="1600" dirty="0">
                <a:solidFill>
                  <a:srgbClr val="003C50"/>
                </a:solidFill>
                <a:latin typeface="Roboto"/>
              </a:endParaRPr>
            </a:p>
          </p:txBody>
        </p:sp>
        <p:sp>
          <p:nvSpPr>
            <p:cNvPr id="15" name="Isosceles Triangle 14">
              <a:extLst>
                <a:ext uri="{FF2B5EF4-FFF2-40B4-BE49-F238E27FC236}">
                  <a16:creationId xmlns:a16="http://schemas.microsoft.com/office/drawing/2014/main" id="{AA97AA57-E194-E47E-FE4C-45E6053B713C}"/>
                </a:ext>
              </a:extLst>
            </p:cNvPr>
            <p:cNvSpPr/>
            <p:nvPr/>
          </p:nvSpPr>
          <p:spPr bwMode="gray">
            <a:xfrm rot="5400000">
              <a:off x="4643252" y="2926468"/>
              <a:ext cx="877814" cy="220133"/>
            </a:xfrm>
            <a:prstGeom prst="triangle">
              <a:avLst/>
            </a:pr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ctr">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97456"/>
              <a:endParaRPr lang="de-DE" sz="1527">
                <a:solidFill>
                  <a:srgbClr val="003C50"/>
                </a:solidFill>
                <a:latin typeface="Roboto"/>
              </a:endParaRPr>
            </a:p>
          </p:txBody>
        </p:sp>
      </p:grpSp>
      <p:pic>
        <p:nvPicPr>
          <p:cNvPr id="1028" name="Picture 4" descr="A screenshot of a computer screen&#10;&#10;AI-generated content may be incorrect.">
            <a:extLst>
              <a:ext uri="{FF2B5EF4-FFF2-40B4-BE49-F238E27FC236}">
                <a16:creationId xmlns:a16="http://schemas.microsoft.com/office/drawing/2014/main" id="{4086DF7D-4EA7-B921-1DDA-628A5817E19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8026" y="1658629"/>
            <a:ext cx="4176000" cy="3326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68054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3EAE28-B52F-B09A-DD73-20C69AF0F0F6}"/>
            </a:ext>
          </a:extLst>
        </p:cNvPr>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8CAC29A8-D8C9-6214-62E6-3709E964C451}"/>
              </a:ext>
            </a:extLst>
          </p:cNvPr>
          <p:cNvSpPr>
            <a:spLocks noGrp="1"/>
          </p:cNvSpPr>
          <p:nvPr>
            <p:ph type="sldNum" sz="quarter" idx="11"/>
          </p:nvPr>
        </p:nvSpPr>
        <p:spPr/>
        <p:txBody>
          <a:bodyPr/>
          <a:lstStyle/>
          <a:p>
            <a:endParaRPr lang="de-DE"/>
          </a:p>
          <a:p>
            <a:fld id="{24C420F5-194C-40F2-A080-C5F3EDD89037}" type="slidenum">
              <a:rPr lang="de-DE" smtClean="0"/>
              <a:pPr/>
              <a:t>51</a:t>
            </a:fld>
            <a:endParaRPr lang="de-DE"/>
          </a:p>
        </p:txBody>
      </p:sp>
      <p:sp>
        <p:nvSpPr>
          <p:cNvPr id="83" name="Title 2">
            <a:extLst>
              <a:ext uri="{FF2B5EF4-FFF2-40B4-BE49-F238E27FC236}">
                <a16:creationId xmlns:a16="http://schemas.microsoft.com/office/drawing/2014/main" id="{1852951B-4D3D-CA1F-1DAB-5A38B3181E41}"/>
              </a:ext>
            </a:extLst>
          </p:cNvPr>
          <p:cNvSpPr>
            <a:spLocks noGrp="1"/>
          </p:cNvSpPr>
          <p:nvPr>
            <p:ph type="title"/>
          </p:nvPr>
        </p:nvSpPr>
        <p:spPr/>
        <p:txBody>
          <a:bodyPr/>
          <a:lstStyle/>
          <a:p>
            <a:r>
              <a:rPr lang="de-DE" b="1">
                <a:latin typeface="Roboto" panose="02000000000000000000" pitchFamily="2" charset="0"/>
              </a:rPr>
              <a:t>Erkenntnisse der Kommunalen Wärmeplanung - Zielszenario</a:t>
            </a:r>
            <a:br>
              <a:rPr lang="de-DE" b="1">
                <a:latin typeface="Roboto" panose="02000000000000000000" pitchFamily="2" charset="0"/>
              </a:rPr>
            </a:br>
            <a:r>
              <a:rPr lang="de-DE"/>
              <a:t>Wie kann eine zukünftige Wärmeversorgung in Rheda-Wiedenbrück aussehen?</a:t>
            </a:r>
            <a:endParaRPr lang="de-DE">
              <a:latin typeface="Roboto" panose="02000000000000000000" pitchFamily="2" charset="0"/>
            </a:endParaRPr>
          </a:p>
        </p:txBody>
      </p:sp>
      <p:sp>
        <p:nvSpPr>
          <p:cNvPr id="8" name="Footer Placeholder 7">
            <a:extLst>
              <a:ext uri="{FF2B5EF4-FFF2-40B4-BE49-F238E27FC236}">
                <a16:creationId xmlns:a16="http://schemas.microsoft.com/office/drawing/2014/main" id="{54D68F93-99B7-5639-5182-5D82D2C47ABE}"/>
              </a:ext>
            </a:extLst>
          </p:cNvPr>
          <p:cNvSpPr>
            <a:spLocks noGrp="1"/>
          </p:cNvSpPr>
          <p:nvPr>
            <p:ph type="ftr" sz="quarter" idx="12"/>
          </p:nvPr>
        </p:nvSpPr>
        <p:spPr/>
        <p:txBody>
          <a:bodyPr/>
          <a:lstStyle/>
          <a:p>
            <a:r>
              <a:rPr lang="de-DE"/>
              <a:t>© 2026</a:t>
            </a:r>
          </a:p>
          <a:p>
            <a:r>
              <a:rPr lang="de-DE"/>
              <a:t>d-fine</a:t>
            </a:r>
          </a:p>
        </p:txBody>
      </p:sp>
      <p:sp>
        <p:nvSpPr>
          <p:cNvPr id="57" name="Rectangle 56" hidden="1">
            <a:extLst>
              <a:ext uri="{FF2B5EF4-FFF2-40B4-BE49-F238E27FC236}">
                <a16:creationId xmlns:a16="http://schemas.microsoft.com/office/drawing/2014/main" id="{62AF561B-10E8-5FBC-DCB5-37B772DB2CE7}"/>
              </a:ext>
            </a:extLst>
          </p:cNvPr>
          <p:cNvSpPr/>
          <p:nvPr/>
        </p:nvSpPr>
        <p:spPr bwMode="gray">
          <a:xfrm>
            <a:off x="249767" y="1033533"/>
            <a:ext cx="450472" cy="450472"/>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a:solidFill>
                <a:srgbClr val="003C50"/>
              </a:solidFill>
              <a:latin typeface="Roboto"/>
            </a:endParaRPr>
          </a:p>
        </p:txBody>
      </p:sp>
      <p:grpSp>
        <p:nvGrpSpPr>
          <p:cNvPr id="22" name="THM_bar">
            <a:extLst>
              <a:ext uri="{FF2B5EF4-FFF2-40B4-BE49-F238E27FC236}">
                <a16:creationId xmlns:a16="http://schemas.microsoft.com/office/drawing/2014/main" id="{3104B6DC-20B7-DCD1-7718-52B602E7D927}"/>
              </a:ext>
            </a:extLst>
          </p:cNvPr>
          <p:cNvGrpSpPr/>
          <p:nvPr>
            <p:custDataLst>
              <p:tags r:id="rId1"/>
            </p:custDataLst>
          </p:nvPr>
        </p:nvGrpSpPr>
        <p:grpSpPr>
          <a:xfrm>
            <a:off x="208026" y="5549075"/>
            <a:ext cx="9372600" cy="468059"/>
            <a:chOff x="208026" y="5549074"/>
            <a:chExt cx="9372600" cy="468059"/>
          </a:xfrm>
        </p:grpSpPr>
        <p:sp>
          <p:nvSpPr>
            <p:cNvPr id="24" name="THM_bar_background">
              <a:extLst>
                <a:ext uri="{FF2B5EF4-FFF2-40B4-BE49-F238E27FC236}">
                  <a16:creationId xmlns:a16="http://schemas.microsoft.com/office/drawing/2014/main" id="{AFACD41F-8C8A-352D-A233-347287CB75B2}"/>
                </a:ext>
              </a:extLst>
            </p:cNvPr>
            <p:cNvSpPr/>
            <p:nvPr/>
          </p:nvSpPr>
          <p:spPr bwMode="gray">
            <a:xfrm>
              <a:off x="208026" y="5549074"/>
              <a:ext cx="9372600" cy="468059"/>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45" tIns="0" rIns="144018" bIns="0" rtlCol="0" anchor="ctr">
              <a:noAutofit/>
            </a:bodyPr>
            <a:lstStyle/>
            <a:p>
              <a:pPr defTabSz="914368"/>
              <a:r>
                <a:rPr lang="de-DE" sz="1400">
                  <a:solidFill>
                    <a:srgbClr val="003C50"/>
                  </a:solidFill>
                  <a:latin typeface="Roboto"/>
                </a:rPr>
                <a:t>Bis 2045 wird ein </a:t>
              </a:r>
              <a:r>
                <a:rPr lang="de-DE" sz="1400" b="1">
                  <a:solidFill>
                    <a:srgbClr val="003C50"/>
                  </a:solidFill>
                  <a:latin typeface="Roboto"/>
                </a:rPr>
                <a:t>Mix aus unterschiedlichen Energieträgern </a:t>
              </a:r>
              <a:r>
                <a:rPr lang="de-DE" sz="1400">
                  <a:solidFill>
                    <a:srgbClr val="003C50"/>
                  </a:solidFill>
                  <a:latin typeface="Roboto"/>
                </a:rPr>
                <a:t>das Heizungsbild in Rheda-Wiedenbrück prägen. </a:t>
              </a:r>
            </a:p>
          </p:txBody>
        </p:sp>
        <p:grpSp>
          <p:nvGrpSpPr>
            <p:cNvPr id="34" name="thm_triangle_i52819">
              <a:extLst>
                <a:ext uri="{FF2B5EF4-FFF2-40B4-BE49-F238E27FC236}">
                  <a16:creationId xmlns:a16="http://schemas.microsoft.com/office/drawing/2014/main" id="{0AF83A43-1045-7295-3B85-C1361EE55FE8}"/>
                </a:ext>
              </a:extLst>
            </p:cNvPr>
            <p:cNvGrpSpPr/>
            <p:nvPr/>
          </p:nvGrpSpPr>
          <p:grpSpPr>
            <a:xfrm>
              <a:off x="208026" y="5549074"/>
              <a:ext cx="234029" cy="468058"/>
              <a:chOff x="117014" y="-117014"/>
              <a:chExt cx="234029" cy="468058"/>
            </a:xfrm>
          </p:grpSpPr>
          <p:sp>
            <p:nvSpPr>
              <p:cNvPr id="39" name="box">
                <a:extLst>
                  <a:ext uri="{FF2B5EF4-FFF2-40B4-BE49-F238E27FC236}">
                    <a16:creationId xmlns:a16="http://schemas.microsoft.com/office/drawing/2014/main" id="{6CC92A82-8FE0-DF06-84ED-6EA4919EF5AD}"/>
                  </a:ext>
                </a:extLst>
              </p:cNvPr>
              <p:cNvSpPr/>
              <p:nvPr/>
            </p:nvSpPr>
            <p:spPr bwMode="white">
              <a:xfrm rot="16200000">
                <a:off x="-117015" y="117015"/>
                <a:ext cx="468058" cy="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err="1">
                  <a:solidFill>
                    <a:srgbClr val="003C50"/>
                  </a:solidFill>
                  <a:latin typeface="Roboto"/>
                </a:endParaRPr>
              </a:p>
            </p:txBody>
          </p:sp>
          <p:sp>
            <p:nvSpPr>
              <p:cNvPr id="40" name="triangle_1">
                <a:extLst>
                  <a:ext uri="{FF2B5EF4-FFF2-40B4-BE49-F238E27FC236}">
                    <a16:creationId xmlns:a16="http://schemas.microsoft.com/office/drawing/2014/main" id="{C7A05455-F678-1E77-0BC4-85E5D6F4A6C9}"/>
                  </a:ext>
                </a:extLst>
              </p:cNvPr>
              <p:cNvSpPr/>
              <p:nvPr/>
            </p:nvSpPr>
            <p:spPr bwMode="white">
              <a:xfrm rot="5400000">
                <a:off x="0" y="0"/>
                <a:ext cx="468058" cy="234029"/>
              </a:xfrm>
              <a:prstGeom prst="triangle">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err="1">
                  <a:solidFill>
                    <a:srgbClr val="003C50"/>
                  </a:solidFill>
                  <a:latin typeface="Roboto"/>
                </a:endParaRPr>
              </a:p>
            </p:txBody>
          </p:sp>
          <p:sp>
            <p:nvSpPr>
              <p:cNvPr id="41" name="triangle_2">
                <a:extLst>
                  <a:ext uri="{FF2B5EF4-FFF2-40B4-BE49-F238E27FC236}">
                    <a16:creationId xmlns:a16="http://schemas.microsoft.com/office/drawing/2014/main" id="{792D6F43-D12A-C862-C36A-566BBABCE6B3}"/>
                  </a:ext>
                </a:extLst>
              </p:cNvPr>
              <p:cNvSpPr/>
              <p:nvPr/>
            </p:nvSpPr>
            <p:spPr bwMode="gray">
              <a:xfrm rot="5400000">
                <a:off x="0" y="0"/>
                <a:ext cx="468058" cy="234029"/>
              </a:xfrm>
              <a:prstGeom prst="triangl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err="1">
                  <a:solidFill>
                    <a:srgbClr val="003C50"/>
                  </a:solidFill>
                  <a:latin typeface="Roboto"/>
                </a:endParaRPr>
              </a:p>
            </p:txBody>
          </p:sp>
        </p:grpSp>
      </p:grpSp>
      <p:grpSp>
        <p:nvGrpSpPr>
          <p:cNvPr id="12" name="Group 11">
            <a:extLst>
              <a:ext uri="{FF2B5EF4-FFF2-40B4-BE49-F238E27FC236}">
                <a16:creationId xmlns:a16="http://schemas.microsoft.com/office/drawing/2014/main" id="{2C623FED-9F8F-79C8-C9BD-1FC2F1254D93}"/>
              </a:ext>
            </a:extLst>
          </p:cNvPr>
          <p:cNvGrpSpPr/>
          <p:nvPr/>
        </p:nvGrpSpPr>
        <p:grpSpPr>
          <a:xfrm>
            <a:off x="208026" y="990000"/>
            <a:ext cx="9375301" cy="544705"/>
            <a:chOff x="4942892" y="1400502"/>
            <a:chExt cx="4620000" cy="544706"/>
          </a:xfrm>
          <a:solidFill>
            <a:schemeClr val="accent6">
              <a:lumMod val="20000"/>
              <a:lumOff val="80000"/>
            </a:schemeClr>
          </a:solidFill>
        </p:grpSpPr>
        <p:sp>
          <p:nvSpPr>
            <p:cNvPr id="13" name="Rechteck 26">
              <a:extLst>
                <a:ext uri="{FF2B5EF4-FFF2-40B4-BE49-F238E27FC236}">
                  <a16:creationId xmlns:a16="http://schemas.microsoft.com/office/drawing/2014/main" id="{613DFCEC-0E59-3206-63D7-3C0065CBE8B4}"/>
                </a:ext>
              </a:extLst>
            </p:cNvPr>
            <p:cNvSpPr/>
            <p:nvPr>
              <p:custDataLst>
                <p:tags r:id="rId4"/>
              </p:custDataLst>
            </p:nvPr>
          </p:nvSpPr>
          <p:spPr>
            <a:xfrm>
              <a:off x="4942892" y="1400707"/>
              <a:ext cx="4620000" cy="544501"/>
            </a:xfrm>
            <a:prstGeom prst="rect">
              <a:avLst/>
            </a:prstGeom>
            <a:solidFill>
              <a:schemeClr val="accent6">
                <a:lumMod val="40000"/>
                <a:lumOff val="60000"/>
              </a:schemeClr>
            </a:solidFill>
            <a:ln w="9525" cmpd="sng">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368">
                <a:spcBef>
                  <a:spcPct val="30000"/>
                </a:spcBef>
                <a:defRPr/>
              </a:pPr>
              <a:r>
                <a:rPr lang="de-DE" altLang="de-DE" sz="1400" b="1">
                  <a:solidFill>
                    <a:srgbClr val="003C50"/>
                  </a:solidFill>
                  <a:latin typeface="Roboto" panose="02000000000000000000" pitchFamily="2" charset="0"/>
                  <a:cs typeface="Times New Roman" panose="02020603050405020304" pitchFamily="18" charset="0"/>
                </a:rPr>
                <a:t>Zielszenario</a:t>
              </a:r>
            </a:p>
          </p:txBody>
        </p:sp>
        <p:sp>
          <p:nvSpPr>
            <p:cNvPr id="14" name="Rectangle 13" hidden="1">
              <a:extLst>
                <a:ext uri="{FF2B5EF4-FFF2-40B4-BE49-F238E27FC236}">
                  <a16:creationId xmlns:a16="http://schemas.microsoft.com/office/drawing/2014/main" id="{2C5CA77A-55EB-4DA1-E974-F37177A461E7}"/>
                </a:ext>
              </a:extLst>
            </p:cNvPr>
            <p:cNvSpPr/>
            <p:nvPr/>
          </p:nvSpPr>
          <p:spPr bwMode="gray">
            <a:xfrm>
              <a:off x="5015058" y="1400502"/>
              <a:ext cx="543319" cy="543319"/>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914368"/>
              <a:endParaRPr lang="de-DE" sz="1400">
                <a:solidFill>
                  <a:srgbClr val="003C50"/>
                </a:solidFill>
                <a:latin typeface="Roboto"/>
              </a:endParaRPr>
            </a:p>
          </p:txBody>
        </p:sp>
      </p:grpSp>
      <p:grpSp>
        <p:nvGrpSpPr>
          <p:cNvPr id="68" name="Group 67">
            <a:extLst>
              <a:ext uri="{FF2B5EF4-FFF2-40B4-BE49-F238E27FC236}">
                <a16:creationId xmlns:a16="http://schemas.microsoft.com/office/drawing/2014/main" id="{48D9946C-F35D-F1FD-E58D-CB3C3A4FB2AA}"/>
              </a:ext>
            </a:extLst>
          </p:cNvPr>
          <p:cNvGrpSpPr>
            <a:grpSpLocks noChangeAspect="1"/>
          </p:cNvGrpSpPr>
          <p:nvPr>
            <p:custDataLst>
              <p:tags r:id="rId2"/>
            </p:custDataLst>
          </p:nvPr>
        </p:nvGrpSpPr>
        <p:grpSpPr>
          <a:xfrm>
            <a:off x="3878303" y="1058267"/>
            <a:ext cx="408375" cy="408375"/>
            <a:chOff x="1270000" y="1270000"/>
            <a:chExt cx="889000" cy="889000"/>
          </a:xfrm>
        </p:grpSpPr>
        <p:sp>
          <p:nvSpPr>
            <p:cNvPr id="65" name="Rectangle 64" hidden="1">
              <a:extLst>
                <a:ext uri="{FF2B5EF4-FFF2-40B4-BE49-F238E27FC236}">
                  <a16:creationId xmlns:a16="http://schemas.microsoft.com/office/drawing/2014/main" id="{C0D1562A-1FC1-86A1-8EEB-E654DB79C452}"/>
                </a:ext>
              </a:extLst>
            </p:cNvPr>
            <p:cNvSpPr/>
            <p:nvPr>
              <p:custDataLst>
                <p:tags r:id="rId3"/>
              </p:custDataLst>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67" name="Graphic 66">
              <a:extLst>
                <a:ext uri="{FF2B5EF4-FFF2-40B4-BE49-F238E27FC236}">
                  <a16:creationId xmlns:a16="http://schemas.microsoft.com/office/drawing/2014/main" id="{25C89755-E093-5ED8-06E7-14A20BBF791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0000" y="1270000"/>
              <a:ext cx="889000" cy="889000"/>
            </a:xfrm>
            <a:prstGeom prst="rect">
              <a:avLst/>
            </a:prstGeom>
          </p:spPr>
        </p:pic>
      </p:grpSp>
      <p:sp>
        <p:nvSpPr>
          <p:cNvPr id="2" name="Content Placeholder 3">
            <a:extLst>
              <a:ext uri="{FF2B5EF4-FFF2-40B4-BE49-F238E27FC236}">
                <a16:creationId xmlns:a16="http://schemas.microsoft.com/office/drawing/2014/main" id="{AD115869-3E6A-EA33-5957-E80C01D04E18}"/>
              </a:ext>
            </a:extLst>
          </p:cNvPr>
          <p:cNvSpPr txBox="1">
            <a:spLocks/>
          </p:cNvSpPr>
          <p:nvPr/>
        </p:nvSpPr>
        <p:spPr>
          <a:xfrm>
            <a:off x="7501913" y="53024"/>
            <a:ext cx="2291567" cy="380480"/>
          </a:xfrm>
          <a:prstGeom prst="rect">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lIns="72000" tIns="36000" rIns="72000" bIns="36000" anchor="t" anchorCtr="0">
            <a:spAutoFit/>
          </a:bodyPr>
          <a:lstStyle>
            <a:lvl1pPr algn="l" rtl="0" eaLnBrk="1" fontAlgn="base" hangingPunct="1">
              <a:spcBef>
                <a:spcPct val="20000"/>
              </a:spcBef>
              <a:spcAft>
                <a:spcPct val="0"/>
              </a:spcAft>
              <a:defRPr sz="1400">
                <a:solidFill>
                  <a:schemeClr val="tx1"/>
                </a:solidFill>
                <a:latin typeface="+mn-lt"/>
                <a:ea typeface="+mn-ea"/>
                <a:cs typeface="+mn-cs"/>
              </a:defRPr>
            </a:lvl1pPr>
            <a:lvl2pPr marL="381000" indent="-190500" algn="l" rtl="0" eaLnBrk="1" fontAlgn="base" hangingPunct="1">
              <a:spcBef>
                <a:spcPct val="20000"/>
              </a:spcBef>
              <a:spcAft>
                <a:spcPct val="0"/>
              </a:spcAft>
              <a:buFont typeface="Wingdings" pitchFamily="84" charset="2"/>
              <a:buChar char="§"/>
              <a:defRPr sz="1400">
                <a:solidFill>
                  <a:schemeClr val="tx1"/>
                </a:solidFill>
                <a:latin typeface="+mn-lt"/>
              </a:defRPr>
            </a:lvl2pPr>
            <a:lvl3pPr marL="747713" indent="-176213" algn="l" rtl="0" eaLnBrk="1" fontAlgn="base" hangingPunct="1">
              <a:spcBef>
                <a:spcPct val="20000"/>
              </a:spcBef>
              <a:spcAft>
                <a:spcPct val="0"/>
              </a:spcAft>
              <a:buChar char="-"/>
              <a:defRPr sz="1200">
                <a:solidFill>
                  <a:schemeClr val="tx1"/>
                </a:solidFill>
                <a:latin typeface="+mn-lt"/>
              </a:defRPr>
            </a:lvl3pPr>
            <a:lvl4pPr marL="1125538" indent="-187325" algn="l" rtl="0" eaLnBrk="1" fontAlgn="base" hangingPunct="1">
              <a:spcBef>
                <a:spcPct val="20000"/>
              </a:spcBef>
              <a:spcAft>
                <a:spcPct val="0"/>
              </a:spcAft>
              <a:buFont typeface="Times" pitchFamily="84" charset="0"/>
              <a:buChar char="•"/>
              <a:defRPr sz="1000">
                <a:solidFill>
                  <a:schemeClr val="tx1"/>
                </a:solidFill>
                <a:latin typeface="+mn-lt"/>
              </a:defRPr>
            </a:lvl4pPr>
            <a:lvl5pPr marL="1431925" indent="-115888" algn="l" rtl="0" eaLnBrk="1" fontAlgn="base" hangingPunct="1">
              <a:spcBef>
                <a:spcPct val="20000"/>
              </a:spcBef>
              <a:spcAft>
                <a:spcPct val="0"/>
              </a:spcAft>
              <a:buChar char="•"/>
              <a:defRPr sz="1000">
                <a:solidFill>
                  <a:schemeClr val="tx1"/>
                </a:solidFill>
                <a:latin typeface="+mn-lt"/>
              </a:defRPr>
            </a:lvl5pPr>
            <a:lvl6pPr marL="1889125" indent="-115888" algn="l" rtl="0" eaLnBrk="1" fontAlgn="base" hangingPunct="1">
              <a:spcBef>
                <a:spcPct val="20000"/>
              </a:spcBef>
              <a:spcAft>
                <a:spcPct val="0"/>
              </a:spcAft>
              <a:buChar char="•"/>
              <a:defRPr sz="1000">
                <a:solidFill>
                  <a:schemeClr val="tx1"/>
                </a:solidFill>
                <a:latin typeface="+mn-lt"/>
              </a:defRPr>
            </a:lvl6pPr>
            <a:lvl7pPr marL="2346325" indent="-115888" algn="l" rtl="0" eaLnBrk="1" fontAlgn="base" hangingPunct="1">
              <a:spcBef>
                <a:spcPct val="20000"/>
              </a:spcBef>
              <a:spcAft>
                <a:spcPct val="0"/>
              </a:spcAft>
              <a:buChar char="•"/>
              <a:defRPr sz="1000">
                <a:solidFill>
                  <a:schemeClr val="tx1"/>
                </a:solidFill>
                <a:latin typeface="+mn-lt"/>
              </a:defRPr>
            </a:lvl7pPr>
            <a:lvl8pPr marL="2803525" indent="-115888" algn="l" rtl="0" eaLnBrk="1" fontAlgn="base" hangingPunct="1">
              <a:spcBef>
                <a:spcPct val="20000"/>
              </a:spcBef>
              <a:spcAft>
                <a:spcPct val="0"/>
              </a:spcAft>
              <a:buChar char="•"/>
              <a:defRPr sz="1000">
                <a:solidFill>
                  <a:schemeClr val="tx1"/>
                </a:solidFill>
                <a:latin typeface="+mn-lt"/>
              </a:defRPr>
            </a:lvl8pPr>
            <a:lvl9pPr marL="3260725" indent="-115888" algn="l" rtl="0" eaLnBrk="1" fontAlgn="base" hangingPunct="1">
              <a:spcBef>
                <a:spcPct val="20000"/>
              </a:spcBef>
              <a:spcAft>
                <a:spcPct val="0"/>
              </a:spcAft>
              <a:buChar char="•"/>
              <a:defRPr sz="1000">
                <a:solidFill>
                  <a:schemeClr val="tx1"/>
                </a:solidFill>
                <a:latin typeface="+mn-lt"/>
              </a:defRPr>
            </a:lvl9pPr>
          </a:lstStyle>
          <a:p>
            <a:pPr defTabSz="997456"/>
            <a:r>
              <a:rPr lang="de-DE" sz="1000" i="1">
                <a:solidFill>
                  <a:srgbClr val="F07D00"/>
                </a:solidFill>
                <a:latin typeface="Roboto"/>
              </a:rPr>
              <a:t>Anmerkung: </a:t>
            </a:r>
            <a:r>
              <a:rPr lang="de-DE" sz="1000">
                <a:solidFill>
                  <a:srgbClr val="003C50"/>
                </a:solidFill>
                <a:latin typeface="Roboto"/>
              </a:rPr>
              <a:t>Ergebnisse sind vorläufig und können sich noch ändern</a:t>
            </a:r>
          </a:p>
        </p:txBody>
      </p:sp>
      <p:grpSp>
        <p:nvGrpSpPr>
          <p:cNvPr id="6" name="Group 5">
            <a:extLst>
              <a:ext uri="{FF2B5EF4-FFF2-40B4-BE49-F238E27FC236}">
                <a16:creationId xmlns:a16="http://schemas.microsoft.com/office/drawing/2014/main" id="{2EA221B3-C12D-866E-A128-46674DCE42B5}"/>
              </a:ext>
            </a:extLst>
          </p:cNvPr>
          <p:cNvGrpSpPr/>
          <p:nvPr/>
        </p:nvGrpSpPr>
        <p:grpSpPr>
          <a:xfrm>
            <a:off x="4384026" y="1969513"/>
            <a:ext cx="5128274" cy="3093154"/>
            <a:chOff x="4972092" y="2581469"/>
            <a:chExt cx="4512815" cy="1986946"/>
          </a:xfrm>
        </p:grpSpPr>
        <p:sp>
          <p:nvSpPr>
            <p:cNvPr id="11" name="TextBox 12">
              <a:extLst>
                <a:ext uri="{FF2B5EF4-FFF2-40B4-BE49-F238E27FC236}">
                  <a16:creationId xmlns:a16="http://schemas.microsoft.com/office/drawing/2014/main" id="{619F88D7-DE04-1D18-6EF4-C721C2DBC2EE}"/>
                </a:ext>
              </a:extLst>
            </p:cNvPr>
            <p:cNvSpPr txBox="1"/>
            <p:nvPr/>
          </p:nvSpPr>
          <p:spPr>
            <a:xfrm>
              <a:off x="5438801" y="2581469"/>
              <a:ext cx="4046106" cy="1986946"/>
            </a:xfrm>
            <a:prstGeom prst="rect">
              <a:avLst/>
            </a:prstGeom>
            <a:noFill/>
          </p:spPr>
          <p:txBody>
            <a:bodyPr wrap="square" lIns="0" tIns="0" rIns="0" bIns="0" rtlCol="0" anchor="t">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97456">
                <a:spcAft>
                  <a:spcPts val="600"/>
                </a:spcAft>
              </a:pPr>
              <a:r>
                <a:rPr lang="de-DE" sz="1600" b="1">
                  <a:solidFill>
                    <a:srgbClr val="003C50"/>
                  </a:solidFill>
                </a:rPr>
                <a:t>Verteilung von Wärmeversorgungslösungen </a:t>
              </a:r>
            </a:p>
            <a:p>
              <a:pPr marL="180975" indent="-180975" defTabSz="997456">
                <a:spcAft>
                  <a:spcPts val="600"/>
                </a:spcAft>
                <a:buFont typeface="Wingdings" panose="05000000000000000000" pitchFamily="2" charset="2"/>
                <a:buChar char="§"/>
              </a:pPr>
              <a:r>
                <a:rPr lang="de-DE" sz="1600">
                  <a:solidFill>
                    <a:srgbClr val="003C50"/>
                  </a:solidFill>
                  <a:latin typeface="Roboto"/>
                </a:rPr>
                <a:t>Bisher </a:t>
              </a:r>
              <a:r>
                <a:rPr lang="de-DE" sz="1600" b="1">
                  <a:solidFill>
                    <a:srgbClr val="003C50"/>
                  </a:solidFill>
                  <a:latin typeface="Roboto"/>
                </a:rPr>
                <a:t>kein Wärmenetz-Bestand</a:t>
              </a:r>
            </a:p>
            <a:p>
              <a:pPr marL="180975" indent="-180975" defTabSz="997456">
                <a:spcAft>
                  <a:spcPts val="600"/>
                </a:spcAft>
                <a:buFont typeface="Wingdings" panose="05000000000000000000" pitchFamily="2" charset="2"/>
                <a:buChar char="§"/>
              </a:pPr>
              <a:r>
                <a:rPr lang="de-DE" sz="1600">
                  <a:solidFill>
                    <a:srgbClr val="003C50"/>
                  </a:solidFill>
                  <a:latin typeface="Roboto"/>
                </a:rPr>
                <a:t>Status Quo der Wärmeversorgung </a:t>
              </a:r>
              <a:r>
                <a:rPr lang="de-DE" sz="1600">
                  <a:solidFill>
                    <a:srgbClr val="003C50"/>
                  </a:solidFill>
                  <a:latin typeface="Roboto" panose="02000000000000000000" pitchFamily="2" charset="0"/>
                </a:rPr>
                <a:t>durch </a:t>
              </a:r>
              <a:r>
                <a:rPr lang="de-DE" sz="1600" b="1">
                  <a:solidFill>
                    <a:srgbClr val="003C50"/>
                  </a:solidFill>
                  <a:latin typeface="Roboto" panose="02000000000000000000" pitchFamily="2" charset="0"/>
                </a:rPr>
                <a:t>Gasnachfrage und vorhandene Gasnetz-infrastruktur </a:t>
              </a:r>
              <a:r>
                <a:rPr lang="de-DE" sz="1600">
                  <a:solidFill>
                    <a:srgbClr val="003C50"/>
                  </a:solidFill>
                  <a:latin typeface="Roboto" panose="02000000000000000000" pitchFamily="2" charset="0"/>
                </a:rPr>
                <a:t>geprägt</a:t>
              </a:r>
              <a:endParaRPr lang="de-DE" sz="1600" b="1">
                <a:solidFill>
                  <a:srgbClr val="003C50"/>
                </a:solidFill>
                <a:latin typeface="Roboto"/>
              </a:endParaRPr>
            </a:p>
            <a:p>
              <a:pPr marL="180975" indent="-180975" defTabSz="997456">
                <a:spcBef>
                  <a:spcPts val="300"/>
                </a:spcBef>
                <a:buFont typeface="Wingdings" panose="05000000000000000000" pitchFamily="2" charset="2"/>
                <a:buChar char="§"/>
              </a:pPr>
              <a:r>
                <a:rPr lang="de-DE" sz="1600">
                  <a:solidFill>
                    <a:srgbClr val="003C50"/>
                  </a:solidFill>
                </a:rPr>
                <a:t>Ab 2045 keine Verwendung fossiler Brennstoffe</a:t>
              </a:r>
            </a:p>
            <a:p>
              <a:pPr marL="180000" indent="-180000" defTabSz="997456">
                <a:spcBef>
                  <a:spcPts val="300"/>
                </a:spcBef>
                <a:buFont typeface="Wingdings" panose="05000000000000000000" pitchFamily="2" charset="2"/>
                <a:buChar char="§"/>
              </a:pPr>
              <a:r>
                <a:rPr lang="de-DE" sz="1600">
                  <a:solidFill>
                    <a:srgbClr val="003C50"/>
                  </a:solidFill>
                  <a:latin typeface="Roboto"/>
                </a:rPr>
                <a:t>Bis zu 32 % des </a:t>
              </a:r>
              <a:r>
                <a:rPr lang="de-DE" sz="1600">
                  <a:solidFill>
                    <a:srgbClr val="003C50"/>
                  </a:solidFill>
                </a:rPr>
                <a:t>Wärmebedarfs könnte durch Wärmenetze gedeckt werden</a:t>
              </a:r>
            </a:p>
            <a:p>
              <a:pPr marL="180000" indent="-180000" defTabSz="997456">
                <a:spcBef>
                  <a:spcPts val="300"/>
                </a:spcBef>
                <a:buFont typeface="Wingdings" panose="05000000000000000000" pitchFamily="2" charset="2"/>
                <a:buChar char="§"/>
              </a:pPr>
              <a:r>
                <a:rPr lang="de-DE" sz="1600" b="1">
                  <a:solidFill>
                    <a:srgbClr val="003C50"/>
                  </a:solidFill>
                </a:rPr>
                <a:t>Hochtemperatur-Prozesswärmenachfrage</a:t>
              </a:r>
              <a:r>
                <a:rPr lang="de-DE" sz="1600">
                  <a:solidFill>
                    <a:srgbClr val="003C50"/>
                  </a:solidFill>
                </a:rPr>
                <a:t> kann nur durch biogene Brennstoffe gedeckt werden</a:t>
              </a:r>
            </a:p>
            <a:p>
              <a:pPr marL="179705" indent="-179705" defTabSz="997456">
                <a:spcBef>
                  <a:spcPts val="300"/>
                </a:spcBef>
                <a:buFont typeface="Wingdings" panose="05000000000000000000" pitchFamily="2" charset="2"/>
                <a:buChar char="§"/>
              </a:pPr>
              <a:endParaRPr lang="de-DE" sz="1600">
                <a:solidFill>
                  <a:srgbClr val="003C50"/>
                </a:solidFill>
                <a:latin typeface="Roboto"/>
              </a:endParaRPr>
            </a:p>
          </p:txBody>
        </p:sp>
        <p:sp>
          <p:nvSpPr>
            <p:cNvPr id="15" name="Isosceles Triangle 14">
              <a:extLst>
                <a:ext uri="{FF2B5EF4-FFF2-40B4-BE49-F238E27FC236}">
                  <a16:creationId xmlns:a16="http://schemas.microsoft.com/office/drawing/2014/main" id="{940CD898-E556-3FB0-365E-1942F94D446A}"/>
                </a:ext>
              </a:extLst>
            </p:cNvPr>
            <p:cNvSpPr/>
            <p:nvPr/>
          </p:nvSpPr>
          <p:spPr bwMode="gray">
            <a:xfrm rot="5400000">
              <a:off x="4643252" y="2926468"/>
              <a:ext cx="877814" cy="220133"/>
            </a:xfrm>
            <a:prstGeom prst="triangle">
              <a:avLst/>
            </a:pr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9273" tIns="39273" rIns="39273" bIns="39273" rtlCol="0" anchor="ctr">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97456"/>
              <a:endParaRPr lang="de-DE" sz="1527">
                <a:solidFill>
                  <a:srgbClr val="003C50"/>
                </a:solidFill>
                <a:latin typeface="Roboto"/>
              </a:endParaRPr>
            </a:p>
          </p:txBody>
        </p:sp>
      </p:grpSp>
      <p:pic>
        <p:nvPicPr>
          <p:cNvPr id="17" name="Picture 16" descr="A screenshot of a computer screen&#10;&#10;AI-generated content may be incorrect.">
            <a:extLst>
              <a:ext uri="{FF2B5EF4-FFF2-40B4-BE49-F238E27FC236}">
                <a16:creationId xmlns:a16="http://schemas.microsoft.com/office/drawing/2014/main" id="{AF89FF8F-0029-D0F0-8A55-027FD8F4DDA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08026" y="1678676"/>
            <a:ext cx="4176000" cy="3326401"/>
          </a:xfrm>
          <a:prstGeom prst="rect">
            <a:avLst/>
          </a:prstGeom>
        </p:spPr>
      </p:pic>
    </p:spTree>
    <p:extLst>
      <p:ext uri="{BB962C8B-B14F-4D97-AF65-F5344CB8AC3E}">
        <p14:creationId xmlns:p14="http://schemas.microsoft.com/office/powerpoint/2010/main" val="101459751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3CE2A0-5089-612F-55A1-FC41411BFB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90B7927-BD0E-DEF1-A0F9-289015764B11}"/>
              </a:ext>
            </a:extLst>
          </p:cNvPr>
          <p:cNvSpPr>
            <a:spLocks noGrp="1"/>
          </p:cNvSpPr>
          <p:nvPr>
            <p:ph type="ctrTitle"/>
          </p:nvPr>
        </p:nvSpPr>
        <p:spPr/>
        <p:txBody>
          <a:bodyPr/>
          <a:lstStyle/>
          <a:p>
            <a:r>
              <a:rPr lang="de-DE" dirty="0"/>
              <a:t>Wie kann diese Zukunft erreicht werden? </a:t>
            </a:r>
            <a:br>
              <a:rPr lang="de-DE" dirty="0"/>
            </a:br>
            <a:r>
              <a:rPr lang="de-DE" dirty="0"/>
              <a:t>Wie sehen mögliche Maßnahmen aus?</a:t>
            </a:r>
          </a:p>
        </p:txBody>
      </p:sp>
      <p:sp>
        <p:nvSpPr>
          <p:cNvPr id="4" name="Text Placeholder 3">
            <a:extLst>
              <a:ext uri="{FF2B5EF4-FFF2-40B4-BE49-F238E27FC236}">
                <a16:creationId xmlns:a16="http://schemas.microsoft.com/office/drawing/2014/main" id="{DD06E4FC-1AD0-3762-A829-CFF8639757FF}"/>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213843625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E882BB-C870-BE8D-23AE-5A7FE1790D67}"/>
            </a:ext>
          </a:extLst>
        </p:cNvPr>
        <p:cNvGrpSpPr/>
        <p:nvPr/>
      </p:nvGrpSpPr>
      <p:grpSpPr>
        <a:xfrm>
          <a:off x="0" y="0"/>
          <a:ext cx="0" cy="0"/>
          <a:chOff x="0" y="0"/>
          <a:chExt cx="0" cy="0"/>
        </a:xfrm>
      </p:grpSpPr>
      <p:sp>
        <p:nvSpPr>
          <p:cNvPr id="25" name="Slide Number Placeholder 24">
            <a:extLst>
              <a:ext uri="{FF2B5EF4-FFF2-40B4-BE49-F238E27FC236}">
                <a16:creationId xmlns:a16="http://schemas.microsoft.com/office/drawing/2014/main" id="{D24617B0-8760-3A96-6568-8AAF147E2203}"/>
              </a:ext>
            </a:extLst>
          </p:cNvPr>
          <p:cNvSpPr>
            <a:spLocks noGrp="1"/>
          </p:cNvSpPr>
          <p:nvPr>
            <p:ph type="sldNum" sz="quarter" idx="11"/>
          </p:nvPr>
        </p:nvSpPr>
        <p:spPr/>
        <p:txBody>
          <a:bodyPr/>
          <a:lstStyle/>
          <a:p>
            <a:endParaRPr lang="de-DE"/>
          </a:p>
          <a:p>
            <a:fld id="{24C420F5-194C-40F2-A080-C5F3EDD89037}" type="slidenum">
              <a:rPr lang="de-DE" smtClean="0"/>
              <a:pPr/>
              <a:t>53</a:t>
            </a:fld>
            <a:endParaRPr lang="de-DE"/>
          </a:p>
        </p:txBody>
      </p:sp>
      <p:sp>
        <p:nvSpPr>
          <p:cNvPr id="3" name="Title 2">
            <a:extLst>
              <a:ext uri="{FF2B5EF4-FFF2-40B4-BE49-F238E27FC236}">
                <a16:creationId xmlns:a16="http://schemas.microsoft.com/office/drawing/2014/main" id="{1A6DDF5B-E516-F84C-942E-523056A9FA0B}"/>
              </a:ext>
            </a:extLst>
          </p:cNvPr>
          <p:cNvSpPr>
            <a:spLocks noGrp="1"/>
          </p:cNvSpPr>
          <p:nvPr>
            <p:ph type="title"/>
          </p:nvPr>
        </p:nvSpPr>
        <p:spPr/>
        <p:txBody>
          <a:bodyPr/>
          <a:lstStyle/>
          <a:p>
            <a:r>
              <a:rPr lang="de-DE" b="1">
                <a:latin typeface="Roboto" panose="02000000000000000000" pitchFamily="2" charset="0"/>
              </a:rPr>
              <a:t>Erkenntnisse der Kommunalen Wärmeplanung – Maßnahmen</a:t>
            </a:r>
            <a:br>
              <a:rPr lang="de-DE" b="1">
                <a:latin typeface="Roboto" panose="02000000000000000000" pitchFamily="2" charset="0"/>
              </a:rPr>
            </a:br>
            <a:r>
              <a:rPr lang="de-DE"/>
              <a:t>Maßnahmen-Beispiele für den Wärmenetzausbau</a:t>
            </a:r>
          </a:p>
        </p:txBody>
      </p:sp>
      <p:sp>
        <p:nvSpPr>
          <p:cNvPr id="24" name="Footer Placeholder 23">
            <a:extLst>
              <a:ext uri="{FF2B5EF4-FFF2-40B4-BE49-F238E27FC236}">
                <a16:creationId xmlns:a16="http://schemas.microsoft.com/office/drawing/2014/main" id="{A7B19765-E21E-9814-DEFE-9D53F4F1CE55}"/>
              </a:ext>
            </a:extLst>
          </p:cNvPr>
          <p:cNvSpPr>
            <a:spLocks noGrp="1"/>
          </p:cNvSpPr>
          <p:nvPr>
            <p:ph type="ftr" sz="quarter" idx="12"/>
          </p:nvPr>
        </p:nvSpPr>
        <p:spPr/>
        <p:txBody>
          <a:bodyPr/>
          <a:lstStyle/>
          <a:p>
            <a:r>
              <a:rPr lang="de-DE"/>
              <a:t>© 2026</a:t>
            </a:r>
          </a:p>
          <a:p>
            <a:r>
              <a:rPr lang="de-DE"/>
              <a:t>d-fine</a:t>
            </a:r>
          </a:p>
        </p:txBody>
      </p:sp>
      <p:sp>
        <p:nvSpPr>
          <p:cNvPr id="32" name="Text Placeholder 31">
            <a:extLst>
              <a:ext uri="{FF2B5EF4-FFF2-40B4-BE49-F238E27FC236}">
                <a16:creationId xmlns:a16="http://schemas.microsoft.com/office/drawing/2014/main" id="{6E4209A5-7612-6C5A-B999-C2260769B98F}"/>
              </a:ext>
            </a:extLst>
          </p:cNvPr>
          <p:cNvSpPr>
            <a:spLocks noGrp="1"/>
          </p:cNvSpPr>
          <p:nvPr>
            <p:ph type="body" sz="quarter" idx="13"/>
          </p:nvPr>
        </p:nvSpPr>
        <p:spPr/>
        <p:txBody>
          <a:bodyPr/>
          <a:lstStyle/>
          <a:p>
            <a:endParaRPr lang="de-DE"/>
          </a:p>
        </p:txBody>
      </p:sp>
      <p:grpSp>
        <p:nvGrpSpPr>
          <p:cNvPr id="6" name="Group 5">
            <a:extLst>
              <a:ext uri="{FF2B5EF4-FFF2-40B4-BE49-F238E27FC236}">
                <a16:creationId xmlns:a16="http://schemas.microsoft.com/office/drawing/2014/main" id="{9E4292B5-8FCE-03FF-8B67-FDB32D921BDD}"/>
              </a:ext>
            </a:extLst>
          </p:cNvPr>
          <p:cNvGrpSpPr/>
          <p:nvPr>
            <p:custDataLst>
              <p:tags r:id="rId1"/>
            </p:custDataLst>
          </p:nvPr>
        </p:nvGrpSpPr>
        <p:grpSpPr>
          <a:xfrm>
            <a:off x="208026" y="1166983"/>
            <a:ext cx="6984000" cy="2124000"/>
            <a:chOff x="4147820" y="2243138"/>
            <a:chExt cx="2880360" cy="1800225"/>
          </a:xfrm>
        </p:grpSpPr>
        <p:sp>
          <p:nvSpPr>
            <p:cNvPr id="7" name="TextBox 6">
              <a:extLst>
                <a:ext uri="{FF2B5EF4-FFF2-40B4-BE49-F238E27FC236}">
                  <a16:creationId xmlns:a16="http://schemas.microsoft.com/office/drawing/2014/main" id="{11AB1D69-A466-C85B-A774-5DCECD1014E7}"/>
                </a:ext>
              </a:extLst>
            </p:cNvPr>
            <p:cNvSpPr txBox="1"/>
            <p:nvPr>
              <p:custDataLst>
                <p:tags r:id="rId8"/>
              </p:custDataLst>
            </p:nvPr>
          </p:nvSpPr>
          <p:spPr bwMode="gray">
            <a:xfrm>
              <a:off x="4147820" y="2751138"/>
              <a:ext cx="2880360" cy="1292225"/>
            </a:xfrm>
            <a:prstGeom prst="rect">
              <a:avLst/>
            </a:prstGeom>
            <a:solidFill>
              <a:srgbClr val="EBF2F4"/>
            </a:solidFill>
            <a:ln>
              <a:solidFill>
                <a:srgbClr val="EBF2F4"/>
              </a:solidFill>
            </a:ln>
          </p:spPr>
          <p:txBody>
            <a:bodyPr vert="horz" wrap="square" lIns="72009" tIns="72009" rIns="72009" bIns="72009" rtlCol="0" anchor="t">
              <a:noAutofit/>
            </a:bodyPr>
            <a:lstStyle/>
            <a:p>
              <a:endParaRPr lang="de-DE" sz="1200">
                <a:solidFill>
                  <a:srgbClr val="003C50"/>
                </a:solidFill>
                <a:latin typeface="Roboto" panose="02000000000000000000" pitchFamily="2" charset="0"/>
              </a:endParaRPr>
            </a:p>
          </p:txBody>
        </p:sp>
        <p:sp>
          <p:nvSpPr>
            <p:cNvPr id="8" name="Rectangle 7">
              <a:extLst>
                <a:ext uri="{FF2B5EF4-FFF2-40B4-BE49-F238E27FC236}">
                  <a16:creationId xmlns:a16="http://schemas.microsoft.com/office/drawing/2014/main" id="{E5AB00FF-429B-08A9-6BD4-6A6B8913D684}"/>
                </a:ext>
              </a:extLst>
            </p:cNvPr>
            <p:cNvSpPr/>
            <p:nvPr>
              <p:custDataLst>
                <p:tags r:id="rId9"/>
              </p:custDataLst>
            </p:nvPr>
          </p:nvSpPr>
          <p:spPr bwMode="gray">
            <a:xfrm>
              <a:off x="4655820" y="2243138"/>
              <a:ext cx="2372360" cy="508000"/>
            </a:xfrm>
            <a:prstGeom prst="rect">
              <a:avLst/>
            </a:prstGeom>
            <a:solidFill>
              <a:srgbClr val="EBF2F4"/>
            </a:solidFill>
            <a:ln w="9525">
              <a:solidFill>
                <a:srgbClr val="EBF2F4"/>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r>
                <a:rPr lang="de-DE" sz="1600" b="1" dirty="0">
                  <a:solidFill>
                    <a:srgbClr val="003C50"/>
                  </a:solidFill>
                </a:rPr>
                <a:t>Nutzung des Wärmepotenzials Ems </a:t>
              </a:r>
            </a:p>
          </p:txBody>
        </p:sp>
        <p:cxnSp>
          <p:nvCxnSpPr>
            <p:cNvPr id="9" name="Straight Connector 8">
              <a:extLst>
                <a:ext uri="{FF2B5EF4-FFF2-40B4-BE49-F238E27FC236}">
                  <a16:creationId xmlns:a16="http://schemas.microsoft.com/office/drawing/2014/main" id="{8713928D-70FC-6D87-9DC6-7373FEA0F500}"/>
                </a:ext>
              </a:extLst>
            </p:cNvPr>
            <p:cNvCxnSpPr/>
            <p:nvPr>
              <p:custDataLst>
                <p:tags r:id="rId10"/>
              </p:custDataLst>
            </p:nvPr>
          </p:nvCxnSpPr>
          <p:spPr>
            <a:xfrm>
              <a:off x="4147820" y="2751138"/>
              <a:ext cx="2880360" cy="0"/>
            </a:xfrm>
            <a:prstGeom prst="line">
              <a:avLst/>
            </a:prstGeom>
            <a:ln w="19050">
              <a:solidFill>
                <a:srgbClr val="99B1B9"/>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E705C77-F295-5FA0-0442-E60CF63F383B}"/>
                </a:ext>
              </a:extLst>
            </p:cNvPr>
            <p:cNvSpPr/>
            <p:nvPr>
              <p:custDataLst>
                <p:tags r:id="rId11"/>
              </p:custDataLst>
            </p:nvPr>
          </p:nvSpPr>
          <p:spPr bwMode="gray">
            <a:xfrm>
              <a:off x="4147820" y="2243138"/>
              <a:ext cx="508000" cy="508000"/>
            </a:xfrm>
            <a:prstGeom prst="rect">
              <a:avLst/>
            </a:prstGeom>
            <a:solidFill>
              <a:srgbClr val="99B1B9"/>
            </a:solidFill>
            <a:ln w="9525">
              <a:solidFill>
                <a:srgbClr val="99B1B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de-DE" sz="1400">
                  <a:solidFill>
                    <a:schemeClr val="tx1"/>
                  </a:solidFill>
                </a:rPr>
                <a:t>Beispiel 1</a:t>
              </a:r>
            </a:p>
          </p:txBody>
        </p:sp>
      </p:grpSp>
      <p:grpSp>
        <p:nvGrpSpPr>
          <p:cNvPr id="12" name="Group 11">
            <a:extLst>
              <a:ext uri="{FF2B5EF4-FFF2-40B4-BE49-F238E27FC236}">
                <a16:creationId xmlns:a16="http://schemas.microsoft.com/office/drawing/2014/main" id="{33B56DE4-BEC3-24CC-FD6F-02E3F5C59523}"/>
              </a:ext>
            </a:extLst>
          </p:cNvPr>
          <p:cNvGrpSpPr/>
          <p:nvPr>
            <p:custDataLst>
              <p:tags r:id="rId2"/>
            </p:custDataLst>
          </p:nvPr>
        </p:nvGrpSpPr>
        <p:grpSpPr>
          <a:xfrm>
            <a:off x="208026" y="3543544"/>
            <a:ext cx="6984000" cy="2275601"/>
            <a:chOff x="4147820" y="2243138"/>
            <a:chExt cx="2880360" cy="1800225"/>
          </a:xfrm>
        </p:grpSpPr>
        <p:sp>
          <p:nvSpPr>
            <p:cNvPr id="13" name="TextBox 12">
              <a:extLst>
                <a:ext uri="{FF2B5EF4-FFF2-40B4-BE49-F238E27FC236}">
                  <a16:creationId xmlns:a16="http://schemas.microsoft.com/office/drawing/2014/main" id="{E7FE4A2A-4F78-9B78-751B-4BB4360678AC}"/>
                </a:ext>
              </a:extLst>
            </p:cNvPr>
            <p:cNvSpPr txBox="1"/>
            <p:nvPr>
              <p:custDataLst>
                <p:tags r:id="rId4"/>
              </p:custDataLst>
            </p:nvPr>
          </p:nvSpPr>
          <p:spPr bwMode="gray">
            <a:xfrm>
              <a:off x="4147820" y="2751138"/>
              <a:ext cx="2880360" cy="1292225"/>
            </a:xfrm>
            <a:prstGeom prst="rect">
              <a:avLst/>
            </a:prstGeom>
            <a:solidFill>
              <a:srgbClr val="EBF2F4"/>
            </a:solidFill>
            <a:ln>
              <a:solidFill>
                <a:srgbClr val="EBF2F4"/>
              </a:solidFill>
            </a:ln>
          </p:spPr>
          <p:txBody>
            <a:bodyPr vert="horz" wrap="square" lIns="72009" tIns="72009" rIns="72009" bIns="72009" rtlCol="0" anchor="t">
              <a:noAutofit/>
            </a:bodyPr>
            <a:lstStyle/>
            <a:p>
              <a:endParaRPr lang="de-DE" sz="1200">
                <a:solidFill>
                  <a:srgbClr val="003C50"/>
                </a:solidFill>
                <a:latin typeface="Roboto" panose="02000000000000000000" pitchFamily="2" charset="0"/>
              </a:endParaRPr>
            </a:p>
          </p:txBody>
        </p:sp>
        <p:sp>
          <p:nvSpPr>
            <p:cNvPr id="14" name="Rectangle 13">
              <a:extLst>
                <a:ext uri="{FF2B5EF4-FFF2-40B4-BE49-F238E27FC236}">
                  <a16:creationId xmlns:a16="http://schemas.microsoft.com/office/drawing/2014/main" id="{44567980-A707-EF92-48F5-89B1F79BEE08}"/>
                </a:ext>
              </a:extLst>
            </p:cNvPr>
            <p:cNvSpPr/>
            <p:nvPr>
              <p:custDataLst>
                <p:tags r:id="rId5"/>
              </p:custDataLst>
            </p:nvPr>
          </p:nvSpPr>
          <p:spPr bwMode="gray">
            <a:xfrm>
              <a:off x="4655820" y="2243138"/>
              <a:ext cx="2372360" cy="508000"/>
            </a:xfrm>
            <a:prstGeom prst="rect">
              <a:avLst/>
            </a:prstGeom>
            <a:solidFill>
              <a:srgbClr val="EBF2F4"/>
            </a:solidFill>
            <a:ln w="9525">
              <a:solidFill>
                <a:srgbClr val="EBF2F4"/>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r>
                <a:rPr lang="de-DE" sz="1600" b="1" dirty="0">
                  <a:solidFill>
                    <a:srgbClr val="003C50"/>
                  </a:solidFill>
                </a:rPr>
                <a:t>Unterstützung von Biogas-Projekten zur Nahwärmeversorgung</a:t>
              </a:r>
            </a:p>
          </p:txBody>
        </p:sp>
        <p:cxnSp>
          <p:nvCxnSpPr>
            <p:cNvPr id="15" name="Straight Connector 14">
              <a:extLst>
                <a:ext uri="{FF2B5EF4-FFF2-40B4-BE49-F238E27FC236}">
                  <a16:creationId xmlns:a16="http://schemas.microsoft.com/office/drawing/2014/main" id="{079CBED8-41D3-A33F-CD12-B466E3772582}"/>
                </a:ext>
              </a:extLst>
            </p:cNvPr>
            <p:cNvCxnSpPr/>
            <p:nvPr>
              <p:custDataLst>
                <p:tags r:id="rId6"/>
              </p:custDataLst>
            </p:nvPr>
          </p:nvCxnSpPr>
          <p:spPr>
            <a:xfrm>
              <a:off x="4147820" y="2751138"/>
              <a:ext cx="2880360" cy="0"/>
            </a:xfrm>
            <a:prstGeom prst="line">
              <a:avLst/>
            </a:prstGeom>
            <a:ln w="19050">
              <a:solidFill>
                <a:srgbClr val="99B1B9"/>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4711AC17-2437-53EA-EEF9-5B2E70FEE04A}"/>
                </a:ext>
              </a:extLst>
            </p:cNvPr>
            <p:cNvSpPr/>
            <p:nvPr>
              <p:custDataLst>
                <p:tags r:id="rId7"/>
              </p:custDataLst>
            </p:nvPr>
          </p:nvSpPr>
          <p:spPr bwMode="gray">
            <a:xfrm>
              <a:off x="4147820" y="2243138"/>
              <a:ext cx="508000" cy="508000"/>
            </a:xfrm>
            <a:prstGeom prst="rect">
              <a:avLst/>
            </a:prstGeom>
            <a:solidFill>
              <a:srgbClr val="99B1B9"/>
            </a:solidFill>
            <a:ln w="9525">
              <a:solidFill>
                <a:srgbClr val="99B1B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de-DE" sz="1400">
                  <a:solidFill>
                    <a:schemeClr val="tx1"/>
                  </a:solidFill>
                </a:rPr>
                <a:t>Beispiel 2</a:t>
              </a:r>
            </a:p>
          </p:txBody>
        </p:sp>
      </p:grpSp>
      <p:pic>
        <p:nvPicPr>
          <p:cNvPr id="20" name="Graphic 19" descr="Open hand with plant outline">
            <a:extLst>
              <a:ext uri="{FF2B5EF4-FFF2-40B4-BE49-F238E27FC236}">
                <a16:creationId xmlns:a16="http://schemas.microsoft.com/office/drawing/2014/main" id="{E215A6D1-6F66-37D7-8A62-CFA8F2FCE97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533690" y="3518221"/>
            <a:ext cx="585174" cy="585174"/>
          </a:xfrm>
          <a:prstGeom prst="rect">
            <a:avLst/>
          </a:prstGeom>
        </p:spPr>
      </p:pic>
      <p:grpSp>
        <p:nvGrpSpPr>
          <p:cNvPr id="22" name="Group 21">
            <a:extLst>
              <a:ext uri="{FF2B5EF4-FFF2-40B4-BE49-F238E27FC236}">
                <a16:creationId xmlns:a16="http://schemas.microsoft.com/office/drawing/2014/main" id="{9FF03CF7-C682-C6EA-BC1C-1C571ACAE318}"/>
              </a:ext>
            </a:extLst>
          </p:cNvPr>
          <p:cNvGrpSpPr>
            <a:grpSpLocks noChangeAspect="1"/>
          </p:cNvGrpSpPr>
          <p:nvPr>
            <p:custDataLst>
              <p:tags r:id="rId3"/>
            </p:custDataLst>
          </p:nvPr>
        </p:nvGrpSpPr>
        <p:grpSpPr>
          <a:xfrm>
            <a:off x="1563552" y="1201383"/>
            <a:ext cx="525450" cy="525450"/>
            <a:chOff x="1270000" y="1270000"/>
            <a:chExt cx="889000" cy="889000"/>
          </a:xfrm>
        </p:grpSpPr>
        <p:sp>
          <p:nvSpPr>
            <p:cNvPr id="5" name="Rectangle 4" hidden="1">
              <a:extLst>
                <a:ext uri="{FF2B5EF4-FFF2-40B4-BE49-F238E27FC236}">
                  <a16:creationId xmlns:a16="http://schemas.microsoft.com/office/drawing/2014/main" id="{685E94BD-868B-AE5A-3101-EC2185F2E48E}"/>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21" name="Graphic 20">
              <a:extLst>
                <a:ext uri="{FF2B5EF4-FFF2-40B4-BE49-F238E27FC236}">
                  <a16:creationId xmlns:a16="http://schemas.microsoft.com/office/drawing/2014/main" id="{EC8ABF81-07A2-CD47-3B81-14829D363A1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270000" y="1270000"/>
              <a:ext cx="889000" cy="889000"/>
            </a:xfrm>
            <a:prstGeom prst="rect">
              <a:avLst/>
            </a:prstGeom>
          </p:spPr>
        </p:pic>
      </p:grpSp>
      <p:pic>
        <p:nvPicPr>
          <p:cNvPr id="4" name="Picture 3">
            <a:extLst>
              <a:ext uri="{FF2B5EF4-FFF2-40B4-BE49-F238E27FC236}">
                <a16:creationId xmlns:a16="http://schemas.microsoft.com/office/drawing/2014/main" id="{77714C2E-9616-E2B3-5D4E-B47BC7A7669B}"/>
              </a:ext>
            </a:extLst>
          </p:cNvPr>
          <p:cNvPicPr>
            <a:picLocks noChangeAspect="1"/>
          </p:cNvPicPr>
          <p:nvPr/>
        </p:nvPicPr>
        <p:blipFill>
          <a:blip r:embed="rId18"/>
          <a:stretch>
            <a:fillRect/>
          </a:stretch>
        </p:blipFill>
        <p:spPr>
          <a:xfrm>
            <a:off x="7398664" y="1170212"/>
            <a:ext cx="2019270" cy="2120768"/>
          </a:xfrm>
          <a:prstGeom prst="rect">
            <a:avLst/>
          </a:prstGeom>
          <a:ln w="12700">
            <a:solidFill>
              <a:schemeClr val="tx1"/>
            </a:solidFill>
          </a:ln>
        </p:spPr>
      </p:pic>
      <p:pic>
        <p:nvPicPr>
          <p:cNvPr id="28" name="Picture 27">
            <a:extLst>
              <a:ext uri="{FF2B5EF4-FFF2-40B4-BE49-F238E27FC236}">
                <a16:creationId xmlns:a16="http://schemas.microsoft.com/office/drawing/2014/main" id="{61F69DBD-806A-0A8C-F752-9AE27A29B0B7}"/>
              </a:ext>
            </a:extLst>
          </p:cNvPr>
          <p:cNvPicPr>
            <a:picLocks noChangeAspect="1"/>
          </p:cNvPicPr>
          <p:nvPr/>
        </p:nvPicPr>
        <p:blipFill>
          <a:blip r:embed="rId19"/>
          <a:stretch>
            <a:fillRect/>
          </a:stretch>
        </p:blipFill>
        <p:spPr>
          <a:xfrm>
            <a:off x="7398664" y="3543545"/>
            <a:ext cx="2019270" cy="2275602"/>
          </a:xfrm>
          <a:prstGeom prst="rect">
            <a:avLst/>
          </a:prstGeom>
          <a:ln w="12700">
            <a:solidFill>
              <a:schemeClr val="tx1"/>
            </a:solidFill>
          </a:ln>
        </p:spPr>
      </p:pic>
      <p:sp>
        <p:nvSpPr>
          <p:cNvPr id="18" name="Rectangle: Rounded Corners 17">
            <a:extLst>
              <a:ext uri="{FF2B5EF4-FFF2-40B4-BE49-F238E27FC236}">
                <a16:creationId xmlns:a16="http://schemas.microsoft.com/office/drawing/2014/main" id="{BB03AE72-7496-2390-C65B-513D17435336}"/>
              </a:ext>
            </a:extLst>
          </p:cNvPr>
          <p:cNvSpPr/>
          <p:nvPr/>
        </p:nvSpPr>
        <p:spPr bwMode="gray">
          <a:xfrm>
            <a:off x="208026" y="1989355"/>
            <a:ext cx="1692000" cy="1113230"/>
          </a:xfrm>
          <a:prstGeom prst="roundRect">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de-DE" sz="1400">
                <a:solidFill>
                  <a:schemeClr val="tx1"/>
                </a:solidFill>
              </a:rPr>
              <a:t>Flusskraftwerk mit Wärmepumpe</a:t>
            </a:r>
          </a:p>
        </p:txBody>
      </p:sp>
      <p:sp>
        <p:nvSpPr>
          <p:cNvPr id="19" name="Rectangle: Rounded Corners 18">
            <a:extLst>
              <a:ext uri="{FF2B5EF4-FFF2-40B4-BE49-F238E27FC236}">
                <a16:creationId xmlns:a16="http://schemas.microsoft.com/office/drawing/2014/main" id="{7CB4884C-A898-04CD-505F-9F005590E0E8}"/>
              </a:ext>
            </a:extLst>
          </p:cNvPr>
          <p:cNvSpPr/>
          <p:nvPr/>
        </p:nvSpPr>
        <p:spPr bwMode="gray">
          <a:xfrm>
            <a:off x="1964589" y="1989355"/>
            <a:ext cx="1692000" cy="1113230"/>
          </a:xfrm>
          <a:prstGeom prst="roundRect">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de-DE" sz="1400">
                <a:solidFill>
                  <a:schemeClr val="tx1"/>
                </a:solidFill>
              </a:rPr>
              <a:t>Stabile Wärmequelle</a:t>
            </a:r>
          </a:p>
        </p:txBody>
      </p:sp>
      <p:sp>
        <p:nvSpPr>
          <p:cNvPr id="23" name="Rectangle: Rounded Corners 22">
            <a:extLst>
              <a:ext uri="{FF2B5EF4-FFF2-40B4-BE49-F238E27FC236}">
                <a16:creationId xmlns:a16="http://schemas.microsoft.com/office/drawing/2014/main" id="{7B4689CB-1539-788C-8F76-4EC86076E6A5}"/>
              </a:ext>
            </a:extLst>
          </p:cNvPr>
          <p:cNvSpPr/>
          <p:nvPr/>
        </p:nvSpPr>
        <p:spPr bwMode="gray">
          <a:xfrm>
            <a:off x="3721153" y="1989355"/>
            <a:ext cx="1692000" cy="1113230"/>
          </a:xfrm>
          <a:prstGeom prst="roundRect">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de-DE" sz="1400">
                <a:solidFill>
                  <a:schemeClr val="tx1"/>
                </a:solidFill>
              </a:rPr>
              <a:t>Flusswasser wird zurückgeleitet</a:t>
            </a:r>
          </a:p>
        </p:txBody>
      </p:sp>
      <p:sp>
        <p:nvSpPr>
          <p:cNvPr id="26" name="Rectangle: Rounded Corners 25">
            <a:extLst>
              <a:ext uri="{FF2B5EF4-FFF2-40B4-BE49-F238E27FC236}">
                <a16:creationId xmlns:a16="http://schemas.microsoft.com/office/drawing/2014/main" id="{C906122D-30AD-D8A6-2D08-DAD6DF9B158C}"/>
              </a:ext>
            </a:extLst>
          </p:cNvPr>
          <p:cNvSpPr/>
          <p:nvPr/>
        </p:nvSpPr>
        <p:spPr bwMode="gray">
          <a:xfrm>
            <a:off x="5464026" y="1999317"/>
            <a:ext cx="1728000" cy="1113230"/>
          </a:xfrm>
          <a:prstGeom prst="roundRect">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de-DE" sz="1400">
                <a:solidFill>
                  <a:schemeClr val="tx1"/>
                </a:solidFill>
              </a:rPr>
              <a:t>Aufbau auf vorhandenem Vorhaben in Warendorf</a:t>
            </a:r>
          </a:p>
        </p:txBody>
      </p:sp>
      <p:sp>
        <p:nvSpPr>
          <p:cNvPr id="27" name="Rectangle: Rounded Corners 26">
            <a:extLst>
              <a:ext uri="{FF2B5EF4-FFF2-40B4-BE49-F238E27FC236}">
                <a16:creationId xmlns:a16="http://schemas.microsoft.com/office/drawing/2014/main" id="{2A47E8E6-644A-369C-464C-2A643195E2F2}"/>
              </a:ext>
            </a:extLst>
          </p:cNvPr>
          <p:cNvSpPr/>
          <p:nvPr/>
        </p:nvSpPr>
        <p:spPr bwMode="gray">
          <a:xfrm>
            <a:off x="208026" y="4438250"/>
            <a:ext cx="1692000" cy="1113230"/>
          </a:xfrm>
          <a:prstGeom prst="roundRect">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de-DE" sz="1400">
                <a:solidFill>
                  <a:schemeClr val="tx1"/>
                </a:solidFill>
              </a:rPr>
              <a:t>Unterstützung Anschlusskonzept  für biogasbasiertes Wärmenetz</a:t>
            </a:r>
          </a:p>
        </p:txBody>
      </p:sp>
      <p:sp>
        <p:nvSpPr>
          <p:cNvPr id="29" name="Rectangle: Rounded Corners 28">
            <a:extLst>
              <a:ext uri="{FF2B5EF4-FFF2-40B4-BE49-F238E27FC236}">
                <a16:creationId xmlns:a16="http://schemas.microsoft.com/office/drawing/2014/main" id="{DEFFE3FD-86F6-062C-63B0-A24738E48AF8}"/>
              </a:ext>
            </a:extLst>
          </p:cNvPr>
          <p:cNvSpPr/>
          <p:nvPr/>
        </p:nvSpPr>
        <p:spPr bwMode="gray">
          <a:xfrm>
            <a:off x="1964589" y="4438250"/>
            <a:ext cx="1692000" cy="1113230"/>
          </a:xfrm>
          <a:prstGeom prst="roundRect">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de-DE" sz="1400">
                <a:solidFill>
                  <a:schemeClr val="tx1"/>
                </a:solidFill>
              </a:rPr>
              <a:t>Konzeptphase mit externen Partnern abgeschlossen</a:t>
            </a:r>
          </a:p>
        </p:txBody>
      </p:sp>
      <p:sp>
        <p:nvSpPr>
          <p:cNvPr id="30" name="Rectangle: Rounded Corners 29">
            <a:extLst>
              <a:ext uri="{FF2B5EF4-FFF2-40B4-BE49-F238E27FC236}">
                <a16:creationId xmlns:a16="http://schemas.microsoft.com/office/drawing/2014/main" id="{A1FF81E9-22A1-BB54-4611-6D1191FF6ECB}"/>
              </a:ext>
            </a:extLst>
          </p:cNvPr>
          <p:cNvSpPr/>
          <p:nvPr/>
        </p:nvSpPr>
        <p:spPr bwMode="gray">
          <a:xfrm>
            <a:off x="3721153" y="4438250"/>
            <a:ext cx="1692000" cy="1113230"/>
          </a:xfrm>
          <a:prstGeom prst="roundRect">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de-DE" sz="1400">
                <a:solidFill>
                  <a:schemeClr val="tx1"/>
                </a:solidFill>
              </a:rPr>
              <a:t>Anlagenbetreiber in der lokalen Landwirtschaft</a:t>
            </a:r>
          </a:p>
        </p:txBody>
      </p:sp>
      <p:sp>
        <p:nvSpPr>
          <p:cNvPr id="31" name="Rectangle: Rounded Corners 30">
            <a:extLst>
              <a:ext uri="{FF2B5EF4-FFF2-40B4-BE49-F238E27FC236}">
                <a16:creationId xmlns:a16="http://schemas.microsoft.com/office/drawing/2014/main" id="{E48A68D7-630C-EF43-CBA2-6757FC3D2F0C}"/>
              </a:ext>
            </a:extLst>
          </p:cNvPr>
          <p:cNvSpPr/>
          <p:nvPr/>
        </p:nvSpPr>
        <p:spPr bwMode="gray">
          <a:xfrm>
            <a:off x="5464026" y="4448212"/>
            <a:ext cx="1728000" cy="1113230"/>
          </a:xfrm>
          <a:prstGeom prst="roundRect">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de-DE" sz="1400">
                <a:solidFill>
                  <a:schemeClr val="tx1"/>
                </a:solidFill>
              </a:rPr>
              <a:t>Ausbau eines Nahwärmenetzes (Fokusgebiet Rheda, </a:t>
            </a:r>
            <a:r>
              <a:rPr lang="de-DE" sz="1400" i="1">
                <a:solidFill>
                  <a:schemeClr val="tx1"/>
                </a:solidFill>
              </a:rPr>
              <a:t>s. Kapitel Zielszenario</a:t>
            </a:r>
            <a:r>
              <a:rPr lang="de-DE" sz="1400">
                <a:solidFill>
                  <a:schemeClr val="tx1"/>
                </a:solidFill>
              </a:rPr>
              <a:t>)</a:t>
            </a:r>
          </a:p>
        </p:txBody>
      </p:sp>
    </p:spTree>
    <p:extLst>
      <p:ext uri="{BB962C8B-B14F-4D97-AF65-F5344CB8AC3E}">
        <p14:creationId xmlns:p14="http://schemas.microsoft.com/office/powerpoint/2010/main" val="103734479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DC1AE6-2870-5BB7-A299-F97F61135E2C}"/>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8B2650F5-BA91-0919-88F8-B8DF89CEF4DD}"/>
              </a:ext>
            </a:extLst>
          </p:cNvPr>
          <p:cNvSpPr/>
          <p:nvPr/>
        </p:nvSpPr>
        <p:spPr bwMode="gray">
          <a:xfrm>
            <a:off x="684000" y="3259513"/>
            <a:ext cx="98028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3" name="Slide Number Placeholder 2">
            <a:extLst>
              <a:ext uri="{FF2B5EF4-FFF2-40B4-BE49-F238E27FC236}">
                <a16:creationId xmlns:a16="http://schemas.microsoft.com/office/drawing/2014/main" id="{89CEFE86-E708-C402-5D61-17AEC183FEC3}"/>
              </a:ext>
            </a:extLst>
          </p:cNvPr>
          <p:cNvSpPr>
            <a:spLocks noGrp="1"/>
          </p:cNvSpPr>
          <p:nvPr>
            <p:ph type="sldNum" sz="quarter" idx="12"/>
          </p:nvPr>
        </p:nvSpPr>
        <p:spPr/>
        <p:txBody>
          <a:bodyPr/>
          <a:lstStyle/>
          <a:p>
            <a:fld id="{AD1E7D88-B9F0-490E-9127-FC8A160405D5}" type="slidenum">
              <a:rPr lang="de-DE" smtClean="0"/>
              <a:t>54</a:t>
            </a:fld>
            <a:endParaRPr lang="de-DE"/>
          </a:p>
        </p:txBody>
      </p:sp>
      <p:cxnSp>
        <p:nvCxnSpPr>
          <p:cNvPr id="4" name="TopLine">
            <a:extLst>
              <a:ext uri="{FF2B5EF4-FFF2-40B4-BE49-F238E27FC236}">
                <a16:creationId xmlns:a16="http://schemas.microsoft.com/office/drawing/2014/main" id="{F6EA020D-2379-6FE6-E3F2-173619EC83BC}"/>
              </a:ext>
            </a:extLst>
          </p:cNvPr>
          <p:cNvCxnSpPr/>
          <p:nvPr/>
        </p:nvCxnSpPr>
        <p:spPr>
          <a:xfrm>
            <a:off x="684000" y="1512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5" name="index_0">
            <a:hlinkClick r:id="rId2" action="ppaction://hlinksldjump"/>
            <a:extLst>
              <a:ext uri="{FF2B5EF4-FFF2-40B4-BE49-F238E27FC236}">
                <a16:creationId xmlns:a16="http://schemas.microsoft.com/office/drawing/2014/main" id="{C939C02B-2612-1B33-C8C9-E1385D5A088F}"/>
              </a:ext>
            </a:extLst>
          </p:cNvPr>
          <p:cNvSpPr txBox="1"/>
          <p:nvPr/>
        </p:nvSpPr>
        <p:spPr>
          <a:xfrm>
            <a:off x="684000" y="1520010"/>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Impulsvortrag: Hintergründe und Ziele der Kommunalen Wärmeplanung​</a:t>
            </a:r>
          </a:p>
        </p:txBody>
      </p:sp>
      <p:cxnSp>
        <p:nvCxnSpPr>
          <p:cNvPr id="6" name="Line_0">
            <a:extLst>
              <a:ext uri="{FF2B5EF4-FFF2-40B4-BE49-F238E27FC236}">
                <a16:creationId xmlns:a16="http://schemas.microsoft.com/office/drawing/2014/main" id="{7CC916A9-0A96-886A-43AD-34461353A607}"/>
              </a:ext>
            </a:extLst>
          </p:cNvPr>
          <p:cNvCxnSpPr/>
          <p:nvPr/>
        </p:nvCxnSpPr>
        <p:spPr>
          <a:xfrm>
            <a:off x="684000" y="1944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7" name="index_1">
            <a:hlinkClick r:id="rId3" action="ppaction://hlinksldjump"/>
            <a:extLst>
              <a:ext uri="{FF2B5EF4-FFF2-40B4-BE49-F238E27FC236}">
                <a16:creationId xmlns:a16="http://schemas.microsoft.com/office/drawing/2014/main" id="{34B376F8-1711-699D-67F5-ACCD7E7A10E9}"/>
              </a:ext>
            </a:extLst>
          </p:cNvPr>
          <p:cNvSpPr txBox="1"/>
          <p:nvPr/>
        </p:nvSpPr>
        <p:spPr>
          <a:xfrm>
            <a:off x="682400" y="1939800"/>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Was ist die Kommunale Wärmeplanung (KWP)?​</a:t>
            </a:r>
          </a:p>
        </p:txBody>
      </p:sp>
      <p:cxnSp>
        <p:nvCxnSpPr>
          <p:cNvPr id="12" name="Line_3">
            <a:extLst>
              <a:ext uri="{FF2B5EF4-FFF2-40B4-BE49-F238E27FC236}">
                <a16:creationId xmlns:a16="http://schemas.microsoft.com/office/drawing/2014/main" id="{8BAE94DF-C5FB-4B33-C3A3-FB8BA812DE94}"/>
              </a:ext>
            </a:extLst>
          </p:cNvPr>
          <p:cNvCxnSpPr/>
          <p:nvPr/>
        </p:nvCxnSpPr>
        <p:spPr>
          <a:xfrm>
            <a:off x="684000" y="3672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3" name="index_4">
            <a:hlinkClick r:id="rId4" action="ppaction://hlinksldjump"/>
            <a:extLst>
              <a:ext uri="{FF2B5EF4-FFF2-40B4-BE49-F238E27FC236}">
                <a16:creationId xmlns:a16="http://schemas.microsoft.com/office/drawing/2014/main" id="{BDCAF048-3F23-A048-FD94-703F84B4D627}"/>
              </a:ext>
            </a:extLst>
          </p:cNvPr>
          <p:cNvSpPr txBox="1"/>
          <p:nvPr/>
        </p:nvSpPr>
        <p:spPr>
          <a:xfrm>
            <a:off x="684000" y="2372207"/>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Rückblick: Ergebnisse der Bestands- und Potenzialanalyse der KWP in Rheda-Wiedenbrück​</a:t>
            </a:r>
          </a:p>
        </p:txBody>
      </p:sp>
      <p:sp>
        <p:nvSpPr>
          <p:cNvPr id="19" name="index_7">
            <a:hlinkClick r:id="rId5" action="ppaction://hlinksldjump"/>
            <a:extLst>
              <a:ext uri="{FF2B5EF4-FFF2-40B4-BE49-F238E27FC236}">
                <a16:creationId xmlns:a16="http://schemas.microsoft.com/office/drawing/2014/main" id="{521AD739-D44C-8A99-4335-ED8EC9952461}"/>
              </a:ext>
            </a:extLst>
          </p:cNvPr>
          <p:cNvSpPr txBox="1"/>
          <p:nvPr/>
        </p:nvSpPr>
        <p:spPr>
          <a:xfrm>
            <a:off x="684000" y="2816063"/>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Zielszenario und Maßnahmen</a:t>
            </a:r>
          </a:p>
        </p:txBody>
      </p:sp>
      <p:sp>
        <p:nvSpPr>
          <p:cNvPr id="25" name="Title 1">
            <a:extLst>
              <a:ext uri="{FF2B5EF4-FFF2-40B4-BE49-F238E27FC236}">
                <a16:creationId xmlns:a16="http://schemas.microsoft.com/office/drawing/2014/main" id="{2DC3F3EA-EEA1-2656-BE60-97E44E04FED3}"/>
              </a:ext>
            </a:extLst>
          </p:cNvPr>
          <p:cNvSpPr txBox="1">
            <a:spLocks/>
          </p:cNvSpPr>
          <p:nvPr/>
        </p:nvSpPr>
        <p:spPr>
          <a:xfrm>
            <a:off x="687600" y="644400"/>
            <a:ext cx="9799200" cy="360000"/>
          </a:xfrm>
          <a:prstGeom prst="rect">
            <a:avLst/>
          </a:prstGeom>
        </p:spPr>
        <p:txBody>
          <a:bodyPr/>
          <a:lstStyle>
            <a:lvl1pPr algn="l" defTabSz="116754" rtl="0" eaLnBrk="1" latinLnBrk="0" hangingPunct="1">
              <a:spcBef>
                <a:spcPct val="0"/>
              </a:spcBef>
              <a:buNone/>
              <a:defRPr sz="270" kern="1200">
                <a:solidFill>
                  <a:schemeClr val="tx1"/>
                </a:solidFill>
                <a:latin typeface="+mj-lt"/>
                <a:ea typeface="+mj-ea"/>
                <a:cs typeface="+mj-cs"/>
              </a:defRPr>
            </a:lvl1pPr>
          </a:lstStyle>
          <a:p>
            <a:r>
              <a:rPr lang="de-DE" sz="2800"/>
              <a:t>Programm</a:t>
            </a:r>
          </a:p>
        </p:txBody>
      </p:sp>
      <p:sp>
        <p:nvSpPr>
          <p:cNvPr id="26" name="index_10">
            <a:hlinkClick r:id="rId6" action="ppaction://hlinksldjump"/>
            <a:extLst>
              <a:ext uri="{FF2B5EF4-FFF2-40B4-BE49-F238E27FC236}">
                <a16:creationId xmlns:a16="http://schemas.microsoft.com/office/drawing/2014/main" id="{2592ABEE-8EBE-66E9-EBB5-0B87D1894E6D}"/>
              </a:ext>
            </a:extLst>
          </p:cNvPr>
          <p:cNvSpPr txBox="1"/>
          <p:nvPr/>
        </p:nvSpPr>
        <p:spPr>
          <a:xfrm>
            <a:off x="684000" y="3231150"/>
            <a:ext cx="9804400" cy="432054"/>
          </a:xfrm>
          <a:prstGeom prst="rect">
            <a:avLst/>
          </a:prstGeom>
          <a:noFill/>
        </p:spPr>
        <p:txBody>
          <a:bodyPr vert="horz" wrap="square" lIns="72009" tIns="0" rIns="720090" bIns="0" rtlCol="0" anchor="ctr">
            <a:noAutofit/>
          </a:bodyPr>
          <a:lstStyle/>
          <a:p>
            <a:r>
              <a:rPr lang="de-DE" sz="1200" b="1">
                <a:latin typeface="Roboto" panose="02000000000000000000" pitchFamily="2" charset="0"/>
              </a:rPr>
              <a:t>Zusammenfassung und Fazit​</a:t>
            </a:r>
          </a:p>
        </p:txBody>
      </p:sp>
      <p:cxnSp>
        <p:nvCxnSpPr>
          <p:cNvPr id="27" name="Line_3">
            <a:extLst>
              <a:ext uri="{FF2B5EF4-FFF2-40B4-BE49-F238E27FC236}">
                <a16:creationId xmlns:a16="http://schemas.microsoft.com/office/drawing/2014/main" id="{5AE58253-6417-4BD1-3BDB-653496081307}"/>
              </a:ext>
            </a:extLst>
          </p:cNvPr>
          <p:cNvCxnSpPr/>
          <p:nvPr/>
        </p:nvCxnSpPr>
        <p:spPr>
          <a:xfrm>
            <a:off x="682400" y="2376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Line_3">
            <a:extLst>
              <a:ext uri="{FF2B5EF4-FFF2-40B4-BE49-F238E27FC236}">
                <a16:creationId xmlns:a16="http://schemas.microsoft.com/office/drawing/2014/main" id="{FE9D1058-ACE5-4D91-A428-CD1F128C2370}"/>
              </a:ext>
            </a:extLst>
          </p:cNvPr>
          <p:cNvCxnSpPr/>
          <p:nvPr/>
        </p:nvCxnSpPr>
        <p:spPr>
          <a:xfrm>
            <a:off x="684000" y="2808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Line_3">
            <a:extLst>
              <a:ext uri="{FF2B5EF4-FFF2-40B4-BE49-F238E27FC236}">
                <a16:creationId xmlns:a16="http://schemas.microsoft.com/office/drawing/2014/main" id="{AFDA496D-FEAF-20C1-B1CB-2F79DE1B7F4F}"/>
              </a:ext>
            </a:extLst>
          </p:cNvPr>
          <p:cNvCxnSpPr/>
          <p:nvPr/>
        </p:nvCxnSpPr>
        <p:spPr>
          <a:xfrm>
            <a:off x="684000" y="3240000"/>
            <a:ext cx="98044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360479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86B7C-E5D0-9942-4E7E-2901F3FC8DE1}"/>
              </a:ext>
            </a:extLst>
          </p:cNvPr>
          <p:cNvSpPr>
            <a:spLocks noGrp="1"/>
          </p:cNvSpPr>
          <p:nvPr>
            <p:ph type="ctrTitle"/>
          </p:nvPr>
        </p:nvSpPr>
        <p:spPr/>
        <p:txBody>
          <a:bodyPr/>
          <a:lstStyle/>
          <a:p>
            <a:r>
              <a:rPr lang="de-DE" dirty="0"/>
              <a:t>Zusammenfassung und Fazit</a:t>
            </a:r>
            <a:r>
              <a:rPr lang="en-US" dirty="0"/>
              <a:t>​</a:t>
            </a:r>
            <a:br>
              <a:rPr lang="en-US" dirty="0"/>
            </a:br>
            <a:endParaRPr lang="de-DE" dirty="0"/>
          </a:p>
        </p:txBody>
      </p:sp>
      <p:sp>
        <p:nvSpPr>
          <p:cNvPr id="4" name="Text Placeholder 3">
            <a:extLst>
              <a:ext uri="{FF2B5EF4-FFF2-40B4-BE49-F238E27FC236}">
                <a16:creationId xmlns:a16="http://schemas.microsoft.com/office/drawing/2014/main" id="{86DF5BDF-C3CE-B7C0-B799-9B767148CB66}"/>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226618513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FD9BEA-C72E-6624-CED6-0520A8A5BCEE}"/>
              </a:ext>
            </a:extLst>
          </p:cNvPr>
          <p:cNvSpPr>
            <a:spLocks noGrp="1"/>
          </p:cNvSpPr>
          <p:nvPr>
            <p:ph type="title"/>
          </p:nvPr>
        </p:nvSpPr>
        <p:spPr/>
        <p:txBody>
          <a:bodyPr/>
          <a:lstStyle/>
          <a:p>
            <a:r>
              <a:rPr lang="de-DE" dirty="0">
                <a:latin typeface="Roboto"/>
                <a:ea typeface="Roboto"/>
                <a:cs typeface="Roboto"/>
              </a:rPr>
              <a:t>Zusammenfassung und Ausblick</a:t>
            </a:r>
            <a:endParaRPr lang="de-DE" dirty="0">
              <a:latin typeface="Roboto" panose="02000000000000000000" pitchFamily="2" charset="0"/>
              <a:ea typeface="Roboto" panose="02000000000000000000" pitchFamily="2" charset="0"/>
              <a:cs typeface="Roboto" panose="02000000000000000000" pitchFamily="2" charset="0"/>
            </a:endParaRPr>
          </a:p>
        </p:txBody>
      </p:sp>
      <p:grpSp>
        <p:nvGrpSpPr>
          <p:cNvPr id="148" name="Group 147">
            <a:extLst>
              <a:ext uri="{FF2B5EF4-FFF2-40B4-BE49-F238E27FC236}">
                <a16:creationId xmlns:a16="http://schemas.microsoft.com/office/drawing/2014/main" id="{5E529974-C207-9327-3C6A-4D3060E25F12}"/>
              </a:ext>
            </a:extLst>
          </p:cNvPr>
          <p:cNvGrpSpPr/>
          <p:nvPr/>
        </p:nvGrpSpPr>
        <p:grpSpPr>
          <a:xfrm>
            <a:off x="208026" y="1638793"/>
            <a:ext cx="9375429" cy="504000"/>
            <a:chOff x="208026" y="3273495"/>
            <a:chExt cx="9375429" cy="541621"/>
          </a:xfrm>
        </p:grpSpPr>
        <p:sp>
          <p:nvSpPr>
            <p:cNvPr id="123" name="box_header">
              <a:extLst>
                <a:ext uri="{FF2B5EF4-FFF2-40B4-BE49-F238E27FC236}">
                  <a16:creationId xmlns:a16="http://schemas.microsoft.com/office/drawing/2014/main" id="{829E8C3C-F0AB-1063-C81B-75CDE29752D9}"/>
                </a:ext>
              </a:extLst>
            </p:cNvPr>
            <p:cNvSpPr/>
            <p:nvPr>
              <p:custDataLst>
                <p:tags r:id="rId19"/>
              </p:custDataLst>
            </p:nvPr>
          </p:nvSpPr>
          <p:spPr bwMode="gray">
            <a:xfrm>
              <a:off x="208026" y="3280602"/>
              <a:ext cx="1553250" cy="534514"/>
            </a:xfrm>
            <a:custGeom>
              <a:avLst/>
              <a:gdLst/>
              <a:ahLst/>
              <a:cxnLst/>
              <a:rect l="0" t="0" r="0" b="0"/>
              <a:pathLst>
                <a:path w="1548194" h="900114">
                  <a:moveTo>
                    <a:pt x="0" y="0"/>
                  </a:moveTo>
                  <a:lnTo>
                    <a:pt x="1440180" y="0"/>
                  </a:lnTo>
                  <a:lnTo>
                    <a:pt x="1440180" y="342043"/>
                  </a:lnTo>
                  <a:lnTo>
                    <a:pt x="1548193" y="450056"/>
                  </a:lnTo>
                  <a:lnTo>
                    <a:pt x="1440180" y="558070"/>
                  </a:lnTo>
                  <a:lnTo>
                    <a:pt x="1440180" y="900113"/>
                  </a:lnTo>
                  <a:lnTo>
                    <a:pt x="0" y="900113"/>
                  </a:lnTo>
                  <a:close/>
                </a:path>
              </a:pathLst>
            </a:cu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algn="ctr"/>
              <a:endParaRPr lang="de-DE" sz="1200">
                <a:solidFill>
                  <a:srgbClr val="003C50"/>
                </a:solidFill>
                <a:latin typeface="Roboto" panose="02000000000000000000" pitchFamily="2" charset="0"/>
              </a:endParaRPr>
            </a:p>
          </p:txBody>
        </p:sp>
        <p:sp>
          <p:nvSpPr>
            <p:cNvPr id="125" name="box_text">
              <a:extLst>
                <a:ext uri="{FF2B5EF4-FFF2-40B4-BE49-F238E27FC236}">
                  <a16:creationId xmlns:a16="http://schemas.microsoft.com/office/drawing/2014/main" id="{BB3C5BBA-7522-8DA8-AD1B-C34C5B70AD0D}"/>
                </a:ext>
              </a:extLst>
            </p:cNvPr>
            <p:cNvSpPr/>
            <p:nvPr>
              <p:custDataLst>
                <p:tags r:id="rId20"/>
              </p:custDataLst>
            </p:nvPr>
          </p:nvSpPr>
          <p:spPr bwMode="gray">
            <a:xfrm>
              <a:off x="1625130" y="3273495"/>
              <a:ext cx="7958325" cy="534514"/>
            </a:xfrm>
            <a:prstGeom prst="rect">
              <a:avLst/>
            </a:prstGeom>
            <a:noFill/>
            <a:ln w="9525">
              <a:solidFill>
                <a:srgbClr val="EFEEEB"/>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216000" tIns="36005" rIns="36005" bIns="36005" rtlCol="0" anchor="ctr">
              <a:noAutofit/>
            </a:bodyPr>
            <a:lstStyle/>
            <a:p>
              <a:r>
                <a:rPr lang="de-DE" sz="1200" dirty="0">
                  <a:solidFill>
                    <a:srgbClr val="003C50"/>
                  </a:solidFill>
                  <a:latin typeface="Roboto" panose="02000000000000000000" pitchFamily="2" charset="0"/>
                </a:rPr>
                <a:t>Ermittlung des </a:t>
              </a:r>
              <a:r>
                <a:rPr lang="de-DE" sz="1200" b="1" dirty="0">
                  <a:solidFill>
                    <a:srgbClr val="003C50"/>
                  </a:solidFill>
                  <a:latin typeface="Roboto" panose="02000000000000000000" pitchFamily="2" charset="0"/>
                </a:rPr>
                <a:t>Status Quo, der Potenziale und eines Transformationspfades </a:t>
              </a:r>
              <a:r>
                <a:rPr lang="de-DE" sz="1200" dirty="0">
                  <a:solidFill>
                    <a:srgbClr val="003C50"/>
                  </a:solidFill>
                  <a:latin typeface="Roboto" panose="02000000000000000000" pitchFamily="2" charset="0"/>
                </a:rPr>
                <a:t>der Wärmeversorgung in Rheda-Wiedenbrück</a:t>
              </a:r>
              <a:endParaRPr lang="de-DE" sz="1200" dirty="0">
                <a:solidFill>
                  <a:schemeClr val="tx1"/>
                </a:solidFill>
                <a:latin typeface="Roboto" panose="02000000000000000000" pitchFamily="2" charset="0"/>
              </a:endParaRPr>
            </a:p>
          </p:txBody>
        </p:sp>
        <p:grpSp>
          <p:nvGrpSpPr>
            <p:cNvPr id="30" name="Group 29">
              <a:extLst>
                <a:ext uri="{FF2B5EF4-FFF2-40B4-BE49-F238E27FC236}">
                  <a16:creationId xmlns:a16="http://schemas.microsoft.com/office/drawing/2014/main" id="{2A7065DC-6253-4DFC-2B94-7E13773B0632}"/>
                </a:ext>
              </a:extLst>
            </p:cNvPr>
            <p:cNvGrpSpPr>
              <a:grpSpLocks noChangeAspect="1"/>
            </p:cNvGrpSpPr>
            <p:nvPr>
              <p:custDataLst>
                <p:tags r:id="rId21"/>
              </p:custDataLst>
            </p:nvPr>
          </p:nvGrpSpPr>
          <p:grpSpPr>
            <a:xfrm>
              <a:off x="733742" y="3296951"/>
              <a:ext cx="501817" cy="501817"/>
              <a:chOff x="1270000" y="1270000"/>
              <a:chExt cx="889000" cy="889000"/>
            </a:xfrm>
          </p:grpSpPr>
          <p:sp>
            <p:nvSpPr>
              <p:cNvPr id="27" name="Rectangle 26" hidden="1">
                <a:extLst>
                  <a:ext uri="{FF2B5EF4-FFF2-40B4-BE49-F238E27FC236}">
                    <a16:creationId xmlns:a16="http://schemas.microsoft.com/office/drawing/2014/main" id="{ABD03180-3E3F-FF16-7749-4FE6DC5A9FEE}"/>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29" name="Graphic 28">
                <a:extLst>
                  <a:ext uri="{FF2B5EF4-FFF2-40B4-BE49-F238E27FC236}">
                    <a16:creationId xmlns:a16="http://schemas.microsoft.com/office/drawing/2014/main" id="{679891D3-5D28-8F2D-0DC0-05F59D2C8E7B}"/>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270000" y="1270000"/>
                <a:ext cx="889000" cy="889000"/>
              </a:xfrm>
              <a:prstGeom prst="rect">
                <a:avLst/>
              </a:prstGeom>
            </p:spPr>
          </p:pic>
        </p:grpSp>
      </p:grpSp>
      <p:grpSp>
        <p:nvGrpSpPr>
          <p:cNvPr id="152" name="Group 151">
            <a:extLst>
              <a:ext uri="{FF2B5EF4-FFF2-40B4-BE49-F238E27FC236}">
                <a16:creationId xmlns:a16="http://schemas.microsoft.com/office/drawing/2014/main" id="{F06A137C-11F2-41F0-1923-129A00F3CDB2}"/>
              </a:ext>
            </a:extLst>
          </p:cNvPr>
          <p:cNvGrpSpPr/>
          <p:nvPr/>
        </p:nvGrpSpPr>
        <p:grpSpPr>
          <a:xfrm>
            <a:off x="208026" y="2257803"/>
            <a:ext cx="9375429" cy="504000"/>
            <a:chOff x="208026" y="3988462"/>
            <a:chExt cx="9375429" cy="541621"/>
          </a:xfrm>
        </p:grpSpPr>
        <p:sp>
          <p:nvSpPr>
            <p:cNvPr id="129" name="box_header">
              <a:extLst>
                <a:ext uri="{FF2B5EF4-FFF2-40B4-BE49-F238E27FC236}">
                  <a16:creationId xmlns:a16="http://schemas.microsoft.com/office/drawing/2014/main" id="{A4F5FD40-380D-3136-172F-FC6DC06FDA7E}"/>
                </a:ext>
              </a:extLst>
            </p:cNvPr>
            <p:cNvSpPr/>
            <p:nvPr>
              <p:custDataLst>
                <p:tags r:id="rId16"/>
              </p:custDataLst>
            </p:nvPr>
          </p:nvSpPr>
          <p:spPr bwMode="gray">
            <a:xfrm>
              <a:off x="208026" y="3995569"/>
              <a:ext cx="1553250" cy="534514"/>
            </a:xfrm>
            <a:custGeom>
              <a:avLst/>
              <a:gdLst/>
              <a:ahLst/>
              <a:cxnLst/>
              <a:rect l="0" t="0" r="0" b="0"/>
              <a:pathLst>
                <a:path w="1548194" h="900114">
                  <a:moveTo>
                    <a:pt x="0" y="0"/>
                  </a:moveTo>
                  <a:lnTo>
                    <a:pt x="1440180" y="0"/>
                  </a:lnTo>
                  <a:lnTo>
                    <a:pt x="1440180" y="342043"/>
                  </a:lnTo>
                  <a:lnTo>
                    <a:pt x="1548193" y="450056"/>
                  </a:lnTo>
                  <a:lnTo>
                    <a:pt x="1440180" y="558070"/>
                  </a:lnTo>
                  <a:lnTo>
                    <a:pt x="1440180" y="900113"/>
                  </a:lnTo>
                  <a:lnTo>
                    <a:pt x="0" y="900113"/>
                  </a:lnTo>
                  <a:close/>
                </a:path>
              </a:pathLst>
            </a:cu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algn="ctr"/>
              <a:endParaRPr lang="de-DE" sz="1200" dirty="0">
                <a:solidFill>
                  <a:srgbClr val="003C50"/>
                </a:solidFill>
                <a:latin typeface="Roboto" panose="02000000000000000000" pitchFamily="2" charset="0"/>
              </a:endParaRPr>
            </a:p>
          </p:txBody>
        </p:sp>
        <p:sp>
          <p:nvSpPr>
            <p:cNvPr id="132" name="box_text">
              <a:extLst>
                <a:ext uri="{FF2B5EF4-FFF2-40B4-BE49-F238E27FC236}">
                  <a16:creationId xmlns:a16="http://schemas.microsoft.com/office/drawing/2014/main" id="{25F2BAF9-1783-6B9F-551B-ED86E5C93928}"/>
                </a:ext>
              </a:extLst>
            </p:cNvPr>
            <p:cNvSpPr/>
            <p:nvPr>
              <p:custDataLst>
                <p:tags r:id="rId17"/>
              </p:custDataLst>
            </p:nvPr>
          </p:nvSpPr>
          <p:spPr bwMode="gray">
            <a:xfrm>
              <a:off x="1625130" y="3988462"/>
              <a:ext cx="7958325" cy="534514"/>
            </a:xfrm>
            <a:prstGeom prst="rect">
              <a:avLst/>
            </a:prstGeom>
            <a:noFill/>
            <a:ln w="9525">
              <a:solidFill>
                <a:srgbClr val="EFEEEB"/>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216000" tIns="36005" rIns="36005" bIns="36005" rtlCol="0" anchor="ctr">
              <a:noAutofit/>
            </a:bodyPr>
            <a:lstStyle/>
            <a:p>
              <a:endParaRPr lang="de-DE" sz="1200" dirty="0">
                <a:solidFill>
                  <a:schemeClr val="tx1"/>
                </a:solidFill>
                <a:latin typeface="Roboto" panose="02000000000000000000" pitchFamily="2" charset="0"/>
              </a:endParaRPr>
            </a:p>
          </p:txBody>
        </p:sp>
        <p:grpSp>
          <p:nvGrpSpPr>
            <p:cNvPr id="98" name="Group 97">
              <a:extLst>
                <a:ext uri="{FF2B5EF4-FFF2-40B4-BE49-F238E27FC236}">
                  <a16:creationId xmlns:a16="http://schemas.microsoft.com/office/drawing/2014/main" id="{2EB59D90-CB63-FBAA-82B7-AE637526F7A5}"/>
                </a:ext>
              </a:extLst>
            </p:cNvPr>
            <p:cNvGrpSpPr>
              <a:grpSpLocks noChangeAspect="1"/>
            </p:cNvGrpSpPr>
            <p:nvPr>
              <p:custDataLst>
                <p:tags r:id="rId18"/>
              </p:custDataLst>
            </p:nvPr>
          </p:nvGrpSpPr>
          <p:grpSpPr>
            <a:xfrm>
              <a:off x="733742" y="4011918"/>
              <a:ext cx="501817" cy="501817"/>
              <a:chOff x="1270000" y="1270000"/>
              <a:chExt cx="889000" cy="889000"/>
            </a:xfrm>
          </p:grpSpPr>
          <p:sp>
            <p:nvSpPr>
              <p:cNvPr id="31" name="Rectangle 30" hidden="1">
                <a:extLst>
                  <a:ext uri="{FF2B5EF4-FFF2-40B4-BE49-F238E27FC236}">
                    <a16:creationId xmlns:a16="http://schemas.microsoft.com/office/drawing/2014/main" id="{69361AD0-E75E-8EAF-177D-567249D62075}"/>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97" name="Graphic 96">
                <a:extLst>
                  <a:ext uri="{FF2B5EF4-FFF2-40B4-BE49-F238E27FC236}">
                    <a16:creationId xmlns:a16="http://schemas.microsoft.com/office/drawing/2014/main" id="{7199F29C-7338-EDE0-8DEB-55CE24FA20F5}"/>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270000" y="1270000"/>
                <a:ext cx="889000" cy="889000"/>
              </a:xfrm>
              <a:prstGeom prst="rect">
                <a:avLst/>
              </a:prstGeom>
            </p:spPr>
          </p:pic>
        </p:grpSp>
      </p:grpSp>
      <p:grpSp>
        <p:nvGrpSpPr>
          <p:cNvPr id="156" name="Group 155">
            <a:extLst>
              <a:ext uri="{FF2B5EF4-FFF2-40B4-BE49-F238E27FC236}">
                <a16:creationId xmlns:a16="http://schemas.microsoft.com/office/drawing/2014/main" id="{CA944A11-F92D-22AD-EB20-EA8C44F76AF3}"/>
              </a:ext>
            </a:extLst>
          </p:cNvPr>
          <p:cNvGrpSpPr/>
          <p:nvPr/>
        </p:nvGrpSpPr>
        <p:grpSpPr>
          <a:xfrm>
            <a:off x="208026" y="4334459"/>
            <a:ext cx="9375429" cy="497650"/>
            <a:chOff x="208026" y="4710253"/>
            <a:chExt cx="9375429" cy="534797"/>
          </a:xfrm>
        </p:grpSpPr>
        <p:sp>
          <p:nvSpPr>
            <p:cNvPr id="134" name="box_header">
              <a:extLst>
                <a:ext uri="{FF2B5EF4-FFF2-40B4-BE49-F238E27FC236}">
                  <a16:creationId xmlns:a16="http://schemas.microsoft.com/office/drawing/2014/main" id="{8D6F00CC-EA40-60AA-F937-114DF47AF45B}"/>
                </a:ext>
              </a:extLst>
            </p:cNvPr>
            <p:cNvSpPr/>
            <p:nvPr>
              <p:custDataLst>
                <p:tags r:id="rId13"/>
              </p:custDataLst>
            </p:nvPr>
          </p:nvSpPr>
          <p:spPr bwMode="gray">
            <a:xfrm>
              <a:off x="208026" y="4710536"/>
              <a:ext cx="1553250" cy="534514"/>
            </a:xfrm>
            <a:custGeom>
              <a:avLst/>
              <a:gdLst/>
              <a:ahLst/>
              <a:cxnLst/>
              <a:rect l="0" t="0" r="0" b="0"/>
              <a:pathLst>
                <a:path w="1548194" h="900114">
                  <a:moveTo>
                    <a:pt x="0" y="0"/>
                  </a:moveTo>
                  <a:lnTo>
                    <a:pt x="1440180" y="0"/>
                  </a:lnTo>
                  <a:lnTo>
                    <a:pt x="1440180" y="342043"/>
                  </a:lnTo>
                  <a:lnTo>
                    <a:pt x="1548193" y="450056"/>
                  </a:lnTo>
                  <a:lnTo>
                    <a:pt x="1440180" y="558070"/>
                  </a:lnTo>
                  <a:lnTo>
                    <a:pt x="1440180" y="900113"/>
                  </a:lnTo>
                  <a:lnTo>
                    <a:pt x="0" y="900113"/>
                  </a:lnTo>
                  <a:close/>
                </a:path>
              </a:pathLst>
            </a:cu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algn="ctr"/>
              <a:endParaRPr lang="de-DE" sz="1200">
                <a:solidFill>
                  <a:srgbClr val="003C50"/>
                </a:solidFill>
                <a:latin typeface="Roboto" panose="02000000000000000000" pitchFamily="2" charset="0"/>
              </a:endParaRPr>
            </a:p>
          </p:txBody>
        </p:sp>
        <p:sp>
          <p:nvSpPr>
            <p:cNvPr id="135" name="box_text">
              <a:extLst>
                <a:ext uri="{FF2B5EF4-FFF2-40B4-BE49-F238E27FC236}">
                  <a16:creationId xmlns:a16="http://schemas.microsoft.com/office/drawing/2014/main" id="{3198153C-3AB9-E5FF-919D-1E8879F91DF4}"/>
                </a:ext>
              </a:extLst>
            </p:cNvPr>
            <p:cNvSpPr/>
            <p:nvPr>
              <p:custDataLst>
                <p:tags r:id="rId14"/>
              </p:custDataLst>
            </p:nvPr>
          </p:nvSpPr>
          <p:spPr bwMode="gray">
            <a:xfrm>
              <a:off x="1625130" y="4710253"/>
              <a:ext cx="7958325" cy="534514"/>
            </a:xfrm>
            <a:prstGeom prst="rect">
              <a:avLst/>
            </a:prstGeom>
            <a:noFill/>
            <a:ln w="9525">
              <a:solidFill>
                <a:srgbClr val="EFEEEB"/>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216000" tIns="36005" rIns="36005" bIns="36005" rtlCol="0" anchor="ctr">
              <a:noAutofit/>
            </a:bodyPr>
            <a:lstStyle/>
            <a:p>
              <a:r>
                <a:rPr lang="de-DE" sz="1200" dirty="0">
                  <a:solidFill>
                    <a:srgbClr val="003C50"/>
                  </a:solidFill>
                  <a:latin typeface="Roboto" panose="02000000000000000000" pitchFamily="2" charset="0"/>
                </a:rPr>
                <a:t>Integration Ihres Feedbacks und </a:t>
              </a:r>
              <a:r>
                <a:rPr lang="de-DE" sz="1200" b="1" dirty="0">
                  <a:solidFill>
                    <a:srgbClr val="003C50"/>
                  </a:solidFill>
                  <a:latin typeface="Roboto" panose="02000000000000000000" pitchFamily="2" charset="0"/>
                </a:rPr>
                <a:t>Finalisierung der kommunalen Wärmeplanung</a:t>
              </a:r>
              <a:r>
                <a:rPr lang="de-DE" sz="1200" dirty="0">
                  <a:solidFill>
                    <a:srgbClr val="003C50"/>
                  </a:solidFill>
                  <a:latin typeface="Roboto" panose="02000000000000000000" pitchFamily="2" charset="0"/>
                </a:rPr>
                <a:t>;</a:t>
              </a:r>
            </a:p>
            <a:p>
              <a:r>
                <a:rPr lang="de-DE" sz="1200" b="1" dirty="0">
                  <a:solidFill>
                    <a:srgbClr val="003C50"/>
                  </a:solidFill>
                  <a:latin typeface="Roboto" panose="02000000000000000000" pitchFamily="2" charset="0"/>
                </a:rPr>
                <a:t>Veröffentlichung</a:t>
              </a:r>
              <a:r>
                <a:rPr lang="de-DE" sz="1200" dirty="0">
                  <a:solidFill>
                    <a:srgbClr val="003C50"/>
                  </a:solidFill>
                  <a:latin typeface="Roboto" panose="02000000000000000000" pitchFamily="2" charset="0"/>
                </a:rPr>
                <a:t> des finalen Standes des Digitalen Zwillings sowie des zugehörigen Gutachtens</a:t>
              </a:r>
              <a:endParaRPr lang="de-DE" sz="1200" dirty="0">
                <a:solidFill>
                  <a:schemeClr val="tx1"/>
                </a:solidFill>
                <a:latin typeface="Roboto" panose="02000000000000000000" pitchFamily="2" charset="0"/>
              </a:endParaRPr>
            </a:p>
          </p:txBody>
        </p:sp>
        <p:grpSp>
          <p:nvGrpSpPr>
            <p:cNvPr id="106" name="Group 105">
              <a:extLst>
                <a:ext uri="{FF2B5EF4-FFF2-40B4-BE49-F238E27FC236}">
                  <a16:creationId xmlns:a16="http://schemas.microsoft.com/office/drawing/2014/main" id="{17DA5F72-EC76-3932-4788-ECD857FC9AA0}"/>
                </a:ext>
              </a:extLst>
            </p:cNvPr>
            <p:cNvGrpSpPr>
              <a:grpSpLocks noChangeAspect="1"/>
            </p:cNvGrpSpPr>
            <p:nvPr>
              <p:custDataLst>
                <p:tags r:id="rId15"/>
              </p:custDataLst>
            </p:nvPr>
          </p:nvGrpSpPr>
          <p:grpSpPr>
            <a:xfrm>
              <a:off x="733742" y="4726885"/>
              <a:ext cx="501817" cy="501817"/>
              <a:chOff x="1270000" y="1270000"/>
              <a:chExt cx="889000" cy="889000"/>
            </a:xfrm>
          </p:grpSpPr>
          <p:sp>
            <p:nvSpPr>
              <p:cNvPr id="99" name="Rectangle 98" hidden="1">
                <a:extLst>
                  <a:ext uri="{FF2B5EF4-FFF2-40B4-BE49-F238E27FC236}">
                    <a16:creationId xmlns:a16="http://schemas.microsoft.com/office/drawing/2014/main" id="{348CD296-E88B-C88B-58A8-FDE8179C9EA8}"/>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01" name="Graphic 100">
                <a:extLst>
                  <a:ext uri="{FF2B5EF4-FFF2-40B4-BE49-F238E27FC236}">
                    <a16:creationId xmlns:a16="http://schemas.microsoft.com/office/drawing/2014/main" id="{8FBEB953-01CE-F815-1D2F-C2320C9423F0}"/>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270000" y="1270000"/>
                <a:ext cx="889000" cy="889000"/>
              </a:xfrm>
              <a:prstGeom prst="rect">
                <a:avLst/>
              </a:prstGeom>
            </p:spPr>
          </p:pic>
        </p:grpSp>
      </p:grpSp>
      <p:grpSp>
        <p:nvGrpSpPr>
          <p:cNvPr id="136" name="Group 135">
            <a:extLst>
              <a:ext uri="{FF2B5EF4-FFF2-40B4-BE49-F238E27FC236}">
                <a16:creationId xmlns:a16="http://schemas.microsoft.com/office/drawing/2014/main" id="{C878D4FC-3E8E-60F6-E6D0-E23720405BB8}"/>
              </a:ext>
            </a:extLst>
          </p:cNvPr>
          <p:cNvGrpSpPr/>
          <p:nvPr/>
        </p:nvGrpSpPr>
        <p:grpSpPr>
          <a:xfrm>
            <a:off x="208026" y="2873558"/>
            <a:ext cx="9375429" cy="504000"/>
            <a:chOff x="208026" y="1183161"/>
            <a:chExt cx="9375429" cy="541621"/>
          </a:xfrm>
        </p:grpSpPr>
        <p:sp>
          <p:nvSpPr>
            <p:cNvPr id="11" name="box_header">
              <a:extLst>
                <a:ext uri="{FF2B5EF4-FFF2-40B4-BE49-F238E27FC236}">
                  <a16:creationId xmlns:a16="http://schemas.microsoft.com/office/drawing/2014/main" id="{A0722B33-9606-3DAC-049B-6917A6D575F3}"/>
                </a:ext>
              </a:extLst>
            </p:cNvPr>
            <p:cNvSpPr/>
            <p:nvPr>
              <p:custDataLst>
                <p:tags r:id="rId10"/>
              </p:custDataLst>
            </p:nvPr>
          </p:nvSpPr>
          <p:spPr bwMode="gray">
            <a:xfrm>
              <a:off x="208026" y="1190268"/>
              <a:ext cx="1553250" cy="534514"/>
            </a:xfrm>
            <a:custGeom>
              <a:avLst/>
              <a:gdLst/>
              <a:ahLst/>
              <a:cxnLst/>
              <a:rect l="0" t="0" r="0" b="0"/>
              <a:pathLst>
                <a:path w="1548194" h="900114">
                  <a:moveTo>
                    <a:pt x="0" y="0"/>
                  </a:moveTo>
                  <a:lnTo>
                    <a:pt x="1440180" y="0"/>
                  </a:lnTo>
                  <a:lnTo>
                    <a:pt x="1440180" y="342043"/>
                  </a:lnTo>
                  <a:lnTo>
                    <a:pt x="1548193" y="450056"/>
                  </a:lnTo>
                  <a:lnTo>
                    <a:pt x="1440180" y="558070"/>
                  </a:lnTo>
                  <a:lnTo>
                    <a:pt x="1440180" y="900113"/>
                  </a:lnTo>
                  <a:lnTo>
                    <a:pt x="0" y="900113"/>
                  </a:lnTo>
                  <a:close/>
                </a:path>
              </a:pathLst>
            </a:cu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algn="ctr"/>
              <a:endParaRPr lang="de-DE" sz="1200">
                <a:solidFill>
                  <a:srgbClr val="003C50"/>
                </a:solidFill>
                <a:latin typeface="Roboto" panose="02000000000000000000" pitchFamily="2" charset="0"/>
              </a:endParaRPr>
            </a:p>
          </p:txBody>
        </p:sp>
        <p:sp>
          <p:nvSpPr>
            <p:cNvPr id="10" name="box_text">
              <a:extLst>
                <a:ext uri="{FF2B5EF4-FFF2-40B4-BE49-F238E27FC236}">
                  <a16:creationId xmlns:a16="http://schemas.microsoft.com/office/drawing/2014/main" id="{E1413B7A-E86C-809D-5814-0153CFB726EB}"/>
                </a:ext>
              </a:extLst>
            </p:cNvPr>
            <p:cNvSpPr/>
            <p:nvPr>
              <p:custDataLst>
                <p:tags r:id="rId11"/>
              </p:custDataLst>
            </p:nvPr>
          </p:nvSpPr>
          <p:spPr bwMode="gray">
            <a:xfrm>
              <a:off x="1625130" y="1183161"/>
              <a:ext cx="7958325" cy="534514"/>
            </a:xfrm>
            <a:prstGeom prst="rect">
              <a:avLst/>
            </a:prstGeom>
            <a:noFill/>
            <a:ln w="9525">
              <a:solidFill>
                <a:srgbClr val="EFEEEB"/>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216000" tIns="36005" rIns="36005" bIns="36005" rtlCol="0" anchor="ctr">
              <a:noAutofit/>
            </a:bodyPr>
            <a:lstStyle/>
            <a:p>
              <a:r>
                <a:rPr lang="de-DE" sz="1200" dirty="0">
                  <a:solidFill>
                    <a:srgbClr val="003C50"/>
                  </a:solidFill>
                  <a:latin typeface="Roboto" panose="02000000000000000000" pitchFamily="2" charset="0"/>
                </a:rPr>
                <a:t>Veröffentlichung der Ergebnisse der KWP in </a:t>
              </a:r>
              <a:r>
                <a:rPr lang="de-DE" sz="1200" b="1" dirty="0">
                  <a:solidFill>
                    <a:srgbClr val="003C50"/>
                  </a:solidFill>
                  <a:latin typeface="Roboto" panose="02000000000000000000" pitchFamily="2" charset="0"/>
                </a:rPr>
                <a:t>datenschutzkonformer Version Digitalen Zwillings</a:t>
              </a:r>
              <a:endParaRPr lang="de-DE" sz="1200" b="1" dirty="0">
                <a:solidFill>
                  <a:schemeClr val="tx1"/>
                </a:solidFill>
                <a:latin typeface="Roboto" panose="02000000000000000000" pitchFamily="2" charset="0"/>
              </a:endParaRPr>
            </a:p>
          </p:txBody>
        </p:sp>
        <p:grpSp>
          <p:nvGrpSpPr>
            <p:cNvPr id="120" name="Group 119">
              <a:extLst>
                <a:ext uri="{FF2B5EF4-FFF2-40B4-BE49-F238E27FC236}">
                  <a16:creationId xmlns:a16="http://schemas.microsoft.com/office/drawing/2014/main" id="{91B1D509-C8BA-4E21-4F5B-42A6609D935E}"/>
                </a:ext>
              </a:extLst>
            </p:cNvPr>
            <p:cNvGrpSpPr>
              <a:grpSpLocks noChangeAspect="1"/>
            </p:cNvGrpSpPr>
            <p:nvPr>
              <p:custDataLst>
                <p:tags r:id="rId12"/>
              </p:custDataLst>
            </p:nvPr>
          </p:nvGrpSpPr>
          <p:grpSpPr>
            <a:xfrm>
              <a:off x="733742" y="1206617"/>
              <a:ext cx="501817" cy="501817"/>
              <a:chOff x="1270000" y="1270000"/>
              <a:chExt cx="889000" cy="889000"/>
            </a:xfrm>
          </p:grpSpPr>
          <p:sp>
            <p:nvSpPr>
              <p:cNvPr id="116" name="Rectangle 115" hidden="1">
                <a:extLst>
                  <a:ext uri="{FF2B5EF4-FFF2-40B4-BE49-F238E27FC236}">
                    <a16:creationId xmlns:a16="http://schemas.microsoft.com/office/drawing/2014/main" id="{9FF95AE7-DD97-7E9D-3CED-466276C120F8}"/>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pic>
            <p:nvPicPr>
              <p:cNvPr id="119" name="Graphic 118">
                <a:extLst>
                  <a:ext uri="{FF2B5EF4-FFF2-40B4-BE49-F238E27FC236}">
                    <a16:creationId xmlns:a16="http://schemas.microsoft.com/office/drawing/2014/main" id="{0DABB481-B8D2-1F89-E925-3205BE53B778}"/>
                  </a:ext>
                </a:extLst>
              </p:cNvPr>
              <p:cNvPicPr>
                <a:picLocks noChangeAspect="1"/>
              </p:cNvPicPr>
              <p:nvPr/>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270000" y="1270000"/>
                <a:ext cx="889000" cy="889000"/>
              </a:xfrm>
              <a:prstGeom prst="rect">
                <a:avLst/>
              </a:prstGeom>
            </p:spPr>
          </p:pic>
        </p:grpSp>
      </p:grpSp>
      <p:grpSp>
        <p:nvGrpSpPr>
          <p:cNvPr id="12" name="Group 11">
            <a:extLst>
              <a:ext uri="{FF2B5EF4-FFF2-40B4-BE49-F238E27FC236}">
                <a16:creationId xmlns:a16="http://schemas.microsoft.com/office/drawing/2014/main" id="{A709090D-A510-26B2-48DE-3249B0B2F67A}"/>
              </a:ext>
            </a:extLst>
          </p:cNvPr>
          <p:cNvGrpSpPr/>
          <p:nvPr/>
        </p:nvGrpSpPr>
        <p:grpSpPr>
          <a:xfrm>
            <a:off x="208026" y="3752609"/>
            <a:ext cx="9337555" cy="698866"/>
            <a:chOff x="208026" y="5115674"/>
            <a:chExt cx="9337555" cy="698866"/>
          </a:xfrm>
        </p:grpSpPr>
        <p:grpSp>
          <p:nvGrpSpPr>
            <p:cNvPr id="160" name="Group 159">
              <a:extLst>
                <a:ext uri="{FF2B5EF4-FFF2-40B4-BE49-F238E27FC236}">
                  <a16:creationId xmlns:a16="http://schemas.microsoft.com/office/drawing/2014/main" id="{B9858CC0-020C-E1CA-C2B1-0952CB759045}"/>
                </a:ext>
              </a:extLst>
            </p:cNvPr>
            <p:cNvGrpSpPr/>
            <p:nvPr/>
          </p:nvGrpSpPr>
          <p:grpSpPr>
            <a:xfrm>
              <a:off x="208026" y="5115674"/>
              <a:ext cx="9337555" cy="698866"/>
              <a:chOff x="208026" y="5417946"/>
              <a:chExt cx="9337555" cy="525724"/>
            </a:xfrm>
          </p:grpSpPr>
          <p:sp>
            <p:nvSpPr>
              <p:cNvPr id="137" name="box_header">
                <a:extLst>
                  <a:ext uri="{FF2B5EF4-FFF2-40B4-BE49-F238E27FC236}">
                    <a16:creationId xmlns:a16="http://schemas.microsoft.com/office/drawing/2014/main" id="{C9B0AEAA-302B-EFDF-CC24-9D6E57BCCD45}"/>
                  </a:ext>
                </a:extLst>
              </p:cNvPr>
              <p:cNvSpPr/>
              <p:nvPr>
                <p:custDataLst>
                  <p:tags r:id="rId8"/>
                </p:custDataLst>
              </p:nvPr>
            </p:nvSpPr>
            <p:spPr bwMode="gray">
              <a:xfrm>
                <a:off x="208026" y="5417946"/>
                <a:ext cx="1553250" cy="373719"/>
              </a:xfrm>
              <a:custGeom>
                <a:avLst/>
                <a:gdLst/>
                <a:ahLst/>
                <a:cxnLst/>
                <a:rect l="0" t="0" r="0" b="0"/>
                <a:pathLst>
                  <a:path w="1548194" h="900114">
                    <a:moveTo>
                      <a:pt x="0" y="0"/>
                    </a:moveTo>
                    <a:lnTo>
                      <a:pt x="1440180" y="0"/>
                    </a:lnTo>
                    <a:lnTo>
                      <a:pt x="1440180" y="342043"/>
                    </a:lnTo>
                    <a:lnTo>
                      <a:pt x="1548193" y="450056"/>
                    </a:lnTo>
                    <a:lnTo>
                      <a:pt x="1440180" y="558070"/>
                    </a:lnTo>
                    <a:lnTo>
                      <a:pt x="1440180" y="900113"/>
                    </a:lnTo>
                    <a:lnTo>
                      <a:pt x="0" y="900113"/>
                    </a:lnTo>
                    <a:close/>
                  </a:path>
                </a:pathLst>
              </a:cu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algn="ctr"/>
                <a:endParaRPr lang="de-DE" sz="1200">
                  <a:solidFill>
                    <a:srgbClr val="003C50"/>
                  </a:solidFill>
                  <a:latin typeface="Roboto" panose="02000000000000000000" pitchFamily="2" charset="0"/>
                </a:endParaRPr>
              </a:p>
            </p:txBody>
          </p:sp>
          <p:sp>
            <p:nvSpPr>
              <p:cNvPr id="138" name="box_text">
                <a:extLst>
                  <a:ext uri="{FF2B5EF4-FFF2-40B4-BE49-F238E27FC236}">
                    <a16:creationId xmlns:a16="http://schemas.microsoft.com/office/drawing/2014/main" id="{F3075F06-CAC2-AEFC-CF9F-7C6AAC3093CD}"/>
                  </a:ext>
                </a:extLst>
              </p:cNvPr>
              <p:cNvSpPr/>
              <p:nvPr>
                <p:custDataLst>
                  <p:tags r:id="rId9"/>
                </p:custDataLst>
              </p:nvPr>
            </p:nvSpPr>
            <p:spPr bwMode="gray">
              <a:xfrm>
                <a:off x="1587256" y="5418118"/>
                <a:ext cx="7958325" cy="373718"/>
              </a:xfrm>
              <a:prstGeom prst="rect">
                <a:avLst/>
              </a:prstGeom>
              <a:noFill/>
              <a:ln w="9525">
                <a:solidFill>
                  <a:srgbClr val="EFEEEB"/>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216000" tIns="36005" rIns="36005" bIns="36005" rtlCol="0" anchor="ctr">
                <a:noAutofit/>
              </a:bodyPr>
              <a:lstStyle/>
              <a:p>
                <a:r>
                  <a:rPr lang="de-DE" sz="1200">
                    <a:solidFill>
                      <a:srgbClr val="003C50"/>
                    </a:solidFill>
                    <a:latin typeface="Roboto" panose="02000000000000000000" pitchFamily="2" charset="0"/>
                  </a:rPr>
                  <a:t>Finalisierung der </a:t>
                </a:r>
                <a:r>
                  <a:rPr lang="de-DE" sz="1200" b="1">
                    <a:solidFill>
                      <a:srgbClr val="003C50"/>
                    </a:solidFill>
                    <a:latin typeface="Roboto" panose="02000000000000000000" pitchFamily="2" charset="0"/>
                  </a:rPr>
                  <a:t>Maßnahmen</a:t>
                </a:r>
              </a:p>
            </p:txBody>
          </p:sp>
          <p:sp>
            <p:nvSpPr>
              <p:cNvPr id="111" name="Rectangle 110" hidden="1">
                <a:extLst>
                  <a:ext uri="{FF2B5EF4-FFF2-40B4-BE49-F238E27FC236}">
                    <a16:creationId xmlns:a16="http://schemas.microsoft.com/office/drawing/2014/main" id="{D3403D1B-BF2C-6C5E-FD97-846774FD6CB7}"/>
                  </a:ext>
                </a:extLst>
              </p:cNvPr>
              <p:cNvSpPr/>
              <p:nvPr/>
            </p:nvSpPr>
            <p:spPr bwMode="gray">
              <a:xfrm>
                <a:off x="733742" y="5441853"/>
                <a:ext cx="501817" cy="501817"/>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grpSp>
        <p:grpSp>
          <p:nvGrpSpPr>
            <p:cNvPr id="9" name="Group 8">
              <a:extLst>
                <a:ext uri="{FF2B5EF4-FFF2-40B4-BE49-F238E27FC236}">
                  <a16:creationId xmlns:a16="http://schemas.microsoft.com/office/drawing/2014/main" id="{7B0709F0-A823-C018-AD89-849F68C10B3E}"/>
                </a:ext>
              </a:extLst>
            </p:cNvPr>
            <p:cNvGrpSpPr>
              <a:grpSpLocks noChangeAspect="1"/>
            </p:cNvGrpSpPr>
            <p:nvPr>
              <p:custDataLst>
                <p:tags r:id="rId6"/>
              </p:custDataLst>
            </p:nvPr>
          </p:nvGrpSpPr>
          <p:grpSpPr>
            <a:xfrm>
              <a:off x="718193" y="5149931"/>
              <a:ext cx="532914" cy="588090"/>
              <a:chOff x="1270000" y="1177954"/>
              <a:chExt cx="889000" cy="981046"/>
            </a:xfrm>
          </p:grpSpPr>
          <p:sp>
            <p:nvSpPr>
              <p:cNvPr id="6" name="Rectangle 5" hidden="1">
                <a:extLst>
                  <a:ext uri="{FF2B5EF4-FFF2-40B4-BE49-F238E27FC236}">
                    <a16:creationId xmlns:a16="http://schemas.microsoft.com/office/drawing/2014/main" id="{D9205341-7A39-F2BF-F71B-5FED2943F851}"/>
                  </a:ext>
                </a:extLst>
              </p:cNvPr>
              <p:cNvSpPr/>
              <p:nvPr>
                <p:custDataLst>
                  <p:tags r:id="rId7"/>
                </p:custDataLst>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pic>
            <p:nvPicPr>
              <p:cNvPr id="8" name="Graphic 7">
                <a:extLst>
                  <a:ext uri="{FF2B5EF4-FFF2-40B4-BE49-F238E27FC236}">
                    <a16:creationId xmlns:a16="http://schemas.microsoft.com/office/drawing/2014/main" id="{E5751FBD-46C8-0CF1-5EBD-9F99D5AD968D}"/>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1303522" y="1177954"/>
                <a:ext cx="780711" cy="780713"/>
              </a:xfrm>
              <a:prstGeom prst="rect">
                <a:avLst/>
              </a:prstGeom>
            </p:spPr>
          </p:pic>
        </p:grpSp>
      </p:grpSp>
      <p:sp>
        <p:nvSpPr>
          <p:cNvPr id="5" name="TextBox 4">
            <a:extLst>
              <a:ext uri="{FF2B5EF4-FFF2-40B4-BE49-F238E27FC236}">
                <a16:creationId xmlns:a16="http://schemas.microsoft.com/office/drawing/2014/main" id="{149F7370-CD20-0B8A-6D23-35959F1A9349}"/>
              </a:ext>
            </a:extLst>
          </p:cNvPr>
          <p:cNvSpPr txBox="1"/>
          <p:nvPr/>
        </p:nvSpPr>
        <p:spPr>
          <a:xfrm>
            <a:off x="208027" y="1333870"/>
            <a:ext cx="2758458" cy="287757"/>
          </a:xfrm>
          <a:prstGeom prst="rect">
            <a:avLst/>
          </a:prstGeom>
          <a:noFill/>
        </p:spPr>
        <p:txBody>
          <a:bodyPr wrap="square" lIns="0" tIns="0" rIns="0" bIns="0" rtlCol="0" anchor="t">
            <a:noAutofit/>
          </a:bodyPr>
          <a:lstStyle/>
          <a:p>
            <a:r>
              <a:rPr lang="de-DE" sz="1400" dirty="0"/>
              <a:t>Zusammenfassung</a:t>
            </a:r>
          </a:p>
        </p:txBody>
      </p:sp>
      <p:sp>
        <p:nvSpPr>
          <p:cNvPr id="7" name="TextBox 6">
            <a:extLst>
              <a:ext uri="{FF2B5EF4-FFF2-40B4-BE49-F238E27FC236}">
                <a16:creationId xmlns:a16="http://schemas.microsoft.com/office/drawing/2014/main" id="{99207DF6-4781-031A-C9C3-06726DEA94D5}"/>
              </a:ext>
            </a:extLst>
          </p:cNvPr>
          <p:cNvSpPr txBox="1"/>
          <p:nvPr/>
        </p:nvSpPr>
        <p:spPr>
          <a:xfrm>
            <a:off x="245901" y="3466715"/>
            <a:ext cx="2758458" cy="287757"/>
          </a:xfrm>
          <a:prstGeom prst="rect">
            <a:avLst/>
          </a:prstGeom>
          <a:noFill/>
        </p:spPr>
        <p:txBody>
          <a:bodyPr wrap="square" lIns="0" tIns="0" rIns="0" bIns="0" rtlCol="0" anchor="t">
            <a:noAutofit/>
          </a:bodyPr>
          <a:lstStyle/>
          <a:p>
            <a:r>
              <a:rPr lang="de-DE" sz="1400"/>
              <a:t>Nächsten Schritte:</a:t>
            </a:r>
          </a:p>
        </p:txBody>
      </p:sp>
      <p:sp>
        <p:nvSpPr>
          <p:cNvPr id="14" name="Footer Placeholder 13">
            <a:extLst>
              <a:ext uri="{FF2B5EF4-FFF2-40B4-BE49-F238E27FC236}">
                <a16:creationId xmlns:a16="http://schemas.microsoft.com/office/drawing/2014/main" id="{C9C21DBD-2611-FFD7-3B7E-6206A30CC5F3}"/>
              </a:ext>
            </a:extLst>
          </p:cNvPr>
          <p:cNvSpPr>
            <a:spLocks noGrp="1"/>
          </p:cNvSpPr>
          <p:nvPr>
            <p:ph type="ftr" sz="quarter" idx="12"/>
          </p:nvPr>
        </p:nvSpPr>
        <p:spPr/>
        <p:txBody>
          <a:bodyPr/>
          <a:lstStyle/>
          <a:p>
            <a:r>
              <a:rPr lang="de-DE"/>
              <a:t>© 2026</a:t>
            </a:r>
          </a:p>
          <a:p>
            <a:r>
              <a:rPr lang="de-DE"/>
              <a:t>d-fine</a:t>
            </a:r>
          </a:p>
        </p:txBody>
      </p:sp>
      <p:sp>
        <p:nvSpPr>
          <p:cNvPr id="15" name="Slide Number Placeholder 14">
            <a:extLst>
              <a:ext uri="{FF2B5EF4-FFF2-40B4-BE49-F238E27FC236}">
                <a16:creationId xmlns:a16="http://schemas.microsoft.com/office/drawing/2014/main" id="{8626EBE5-B20B-6142-4806-7A80FA9BBB15}"/>
              </a:ext>
            </a:extLst>
          </p:cNvPr>
          <p:cNvSpPr>
            <a:spLocks noGrp="1"/>
          </p:cNvSpPr>
          <p:nvPr>
            <p:ph type="sldNum" sz="quarter" idx="11"/>
          </p:nvPr>
        </p:nvSpPr>
        <p:spPr/>
        <p:txBody>
          <a:bodyPr/>
          <a:lstStyle/>
          <a:p>
            <a:endParaRPr lang="de-DE"/>
          </a:p>
          <a:p>
            <a:fld id="{24C420F5-194C-40F2-A080-C5F3EDD89037}" type="slidenum">
              <a:rPr lang="de-DE" smtClean="0"/>
              <a:pPr/>
              <a:t>56</a:t>
            </a:fld>
            <a:endParaRPr lang="de-DE"/>
          </a:p>
        </p:txBody>
      </p:sp>
      <p:grpSp>
        <p:nvGrpSpPr>
          <p:cNvPr id="13" name="Group 12">
            <a:extLst>
              <a:ext uri="{FF2B5EF4-FFF2-40B4-BE49-F238E27FC236}">
                <a16:creationId xmlns:a16="http://schemas.microsoft.com/office/drawing/2014/main" id="{4AC10BE1-0A6A-807D-33E9-EB8F82420B6B}"/>
              </a:ext>
            </a:extLst>
          </p:cNvPr>
          <p:cNvGrpSpPr/>
          <p:nvPr/>
        </p:nvGrpSpPr>
        <p:grpSpPr>
          <a:xfrm>
            <a:off x="208026" y="5518030"/>
            <a:ext cx="9410573" cy="512600"/>
            <a:chOff x="208026" y="4710536"/>
            <a:chExt cx="9410573" cy="550863"/>
          </a:xfrm>
        </p:grpSpPr>
        <p:sp>
          <p:nvSpPr>
            <p:cNvPr id="16" name="box_header">
              <a:extLst>
                <a:ext uri="{FF2B5EF4-FFF2-40B4-BE49-F238E27FC236}">
                  <a16:creationId xmlns:a16="http://schemas.microsoft.com/office/drawing/2014/main" id="{006159B4-CCEB-6886-A865-9816B2C82E57}"/>
                </a:ext>
              </a:extLst>
            </p:cNvPr>
            <p:cNvSpPr/>
            <p:nvPr>
              <p:custDataLst>
                <p:tags r:id="rId4"/>
              </p:custDataLst>
            </p:nvPr>
          </p:nvSpPr>
          <p:spPr bwMode="gray">
            <a:xfrm>
              <a:off x="208026" y="4710536"/>
              <a:ext cx="1553250" cy="534514"/>
            </a:xfrm>
            <a:custGeom>
              <a:avLst/>
              <a:gdLst/>
              <a:ahLst/>
              <a:cxnLst/>
              <a:rect l="0" t="0" r="0" b="0"/>
              <a:pathLst>
                <a:path w="1548194" h="900114">
                  <a:moveTo>
                    <a:pt x="0" y="0"/>
                  </a:moveTo>
                  <a:lnTo>
                    <a:pt x="1440180" y="0"/>
                  </a:lnTo>
                  <a:lnTo>
                    <a:pt x="1440180" y="342043"/>
                  </a:lnTo>
                  <a:lnTo>
                    <a:pt x="1548193" y="450056"/>
                  </a:lnTo>
                  <a:lnTo>
                    <a:pt x="1440180" y="558070"/>
                  </a:lnTo>
                  <a:lnTo>
                    <a:pt x="1440180" y="900113"/>
                  </a:lnTo>
                  <a:lnTo>
                    <a:pt x="0" y="900113"/>
                  </a:lnTo>
                  <a:close/>
                </a:path>
              </a:pathLst>
            </a:cu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algn="ctr"/>
              <a:endParaRPr lang="de-DE" sz="1200">
                <a:solidFill>
                  <a:srgbClr val="003C50"/>
                </a:solidFill>
                <a:latin typeface="Roboto" panose="02000000000000000000" pitchFamily="2" charset="0"/>
              </a:endParaRPr>
            </a:p>
          </p:txBody>
        </p:sp>
        <p:sp>
          <p:nvSpPr>
            <p:cNvPr id="17" name="box_text">
              <a:extLst>
                <a:ext uri="{FF2B5EF4-FFF2-40B4-BE49-F238E27FC236}">
                  <a16:creationId xmlns:a16="http://schemas.microsoft.com/office/drawing/2014/main" id="{ED2E0A64-22B9-2E40-90C3-671797471A32}"/>
                </a:ext>
              </a:extLst>
            </p:cNvPr>
            <p:cNvSpPr/>
            <p:nvPr>
              <p:custDataLst>
                <p:tags r:id="rId5"/>
              </p:custDataLst>
            </p:nvPr>
          </p:nvSpPr>
          <p:spPr bwMode="gray">
            <a:xfrm>
              <a:off x="1660274" y="4726885"/>
              <a:ext cx="7958325" cy="534514"/>
            </a:xfrm>
            <a:prstGeom prst="rect">
              <a:avLst/>
            </a:prstGeom>
            <a:noFill/>
            <a:ln w="9525">
              <a:solidFill>
                <a:srgbClr val="EFEEEB"/>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216000" tIns="36005" rIns="36005" bIns="36005" rtlCol="0" anchor="ctr">
              <a:noAutofit/>
            </a:bodyPr>
            <a:lstStyle/>
            <a:p>
              <a:r>
                <a:rPr lang="de-DE" sz="1200" dirty="0">
                  <a:solidFill>
                    <a:srgbClr val="003C50"/>
                  </a:solidFill>
                  <a:latin typeface="Roboto" panose="02000000000000000000" pitchFamily="2" charset="0"/>
                </a:rPr>
                <a:t>Gibt es damit </a:t>
              </a:r>
              <a:r>
                <a:rPr lang="de-DE" sz="1200" b="1" dirty="0">
                  <a:solidFill>
                    <a:srgbClr val="003C50"/>
                  </a:solidFill>
                  <a:latin typeface="Roboto" panose="02000000000000000000" pitchFamily="2" charset="0"/>
                </a:rPr>
                <a:t>Konsequenzen</a:t>
              </a:r>
              <a:r>
                <a:rPr lang="de-DE" sz="1200" dirty="0">
                  <a:solidFill>
                    <a:srgbClr val="003C50"/>
                  </a:solidFill>
                  <a:latin typeface="Roboto" panose="02000000000000000000" pitchFamily="2" charset="0"/>
                </a:rPr>
                <a:t> für meine Heizungsanlage?</a:t>
              </a:r>
            </a:p>
          </p:txBody>
        </p:sp>
        <p:sp>
          <p:nvSpPr>
            <p:cNvPr id="19" name="Rectangle 18" hidden="1">
              <a:extLst>
                <a:ext uri="{FF2B5EF4-FFF2-40B4-BE49-F238E27FC236}">
                  <a16:creationId xmlns:a16="http://schemas.microsoft.com/office/drawing/2014/main" id="{44696C66-192B-1B65-7263-2F592230ED00}"/>
                </a:ext>
              </a:extLst>
            </p:cNvPr>
            <p:cNvSpPr/>
            <p:nvPr/>
          </p:nvSpPr>
          <p:spPr bwMode="gray">
            <a:xfrm>
              <a:off x="733742" y="4726885"/>
              <a:ext cx="501817" cy="501817"/>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grpSp>
      <p:pic>
        <p:nvPicPr>
          <p:cNvPr id="22" name="Graphic 21" descr="Question Mark with solid fill">
            <a:extLst>
              <a:ext uri="{FF2B5EF4-FFF2-40B4-BE49-F238E27FC236}">
                <a16:creationId xmlns:a16="http://schemas.microsoft.com/office/drawing/2014/main" id="{7FEA4065-2AB0-84ED-AE73-8080E1878238}"/>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785089" y="5573430"/>
            <a:ext cx="405931" cy="405931"/>
          </a:xfrm>
          <a:prstGeom prst="rect">
            <a:avLst/>
          </a:prstGeom>
        </p:spPr>
      </p:pic>
      <p:sp>
        <p:nvSpPr>
          <p:cNvPr id="25" name="box_text">
            <a:extLst>
              <a:ext uri="{FF2B5EF4-FFF2-40B4-BE49-F238E27FC236}">
                <a16:creationId xmlns:a16="http://schemas.microsoft.com/office/drawing/2014/main" id="{F4B17E3A-940C-6528-2BA7-23DA0D6FF824}"/>
              </a:ext>
            </a:extLst>
          </p:cNvPr>
          <p:cNvSpPr/>
          <p:nvPr>
            <p:custDataLst>
              <p:tags r:id="rId1"/>
            </p:custDataLst>
          </p:nvPr>
        </p:nvSpPr>
        <p:spPr bwMode="gray">
          <a:xfrm>
            <a:off x="1660274" y="2264153"/>
            <a:ext cx="7958325" cy="497387"/>
          </a:xfrm>
          <a:prstGeom prst="rect">
            <a:avLst/>
          </a:prstGeom>
          <a:noFill/>
          <a:ln w="9525">
            <a:solidFill>
              <a:srgbClr val="EFEEEB"/>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216000" tIns="36005" rIns="36005" bIns="36005" rtlCol="0" anchor="ctr">
            <a:noAutofit/>
          </a:bodyPr>
          <a:lstStyle/>
          <a:p>
            <a:r>
              <a:rPr lang="de-DE" sz="1200" dirty="0">
                <a:solidFill>
                  <a:srgbClr val="003C50"/>
                </a:solidFill>
                <a:latin typeface="Roboto" panose="02000000000000000000" pitchFamily="2" charset="0"/>
              </a:rPr>
              <a:t>Durchführung individueller </a:t>
            </a:r>
            <a:r>
              <a:rPr lang="de-DE" sz="1200" b="1" dirty="0">
                <a:solidFill>
                  <a:srgbClr val="003C50"/>
                </a:solidFill>
                <a:latin typeface="Roboto" panose="02000000000000000000" pitchFamily="2" charset="0"/>
              </a:rPr>
              <a:t>Interviews</a:t>
            </a:r>
            <a:r>
              <a:rPr lang="de-DE" sz="1200" dirty="0">
                <a:solidFill>
                  <a:srgbClr val="003C50"/>
                </a:solidFill>
                <a:latin typeface="Roboto" panose="02000000000000000000" pitchFamily="2" charset="0"/>
              </a:rPr>
              <a:t> mit zentralen Akteuren sowie Präsentation von Ergebnissen in </a:t>
            </a:r>
            <a:r>
              <a:rPr lang="de-DE" sz="1200" b="1" dirty="0">
                <a:solidFill>
                  <a:srgbClr val="003C50"/>
                </a:solidFill>
                <a:latin typeface="Roboto" panose="02000000000000000000" pitchFamily="2" charset="0"/>
              </a:rPr>
              <a:t>Informationsveranstaltungen</a:t>
            </a:r>
            <a:endParaRPr lang="de-DE" sz="1200" b="1" dirty="0">
              <a:solidFill>
                <a:schemeClr val="tx1"/>
              </a:solidFill>
              <a:latin typeface="Roboto" panose="02000000000000000000" pitchFamily="2" charset="0"/>
            </a:endParaRPr>
          </a:p>
        </p:txBody>
      </p:sp>
      <p:grpSp>
        <p:nvGrpSpPr>
          <p:cNvPr id="103" name="Group 102">
            <a:extLst>
              <a:ext uri="{FF2B5EF4-FFF2-40B4-BE49-F238E27FC236}">
                <a16:creationId xmlns:a16="http://schemas.microsoft.com/office/drawing/2014/main" id="{AE007D72-64E4-CDFC-5B62-F619F2EB3711}"/>
              </a:ext>
            </a:extLst>
          </p:cNvPr>
          <p:cNvGrpSpPr/>
          <p:nvPr/>
        </p:nvGrpSpPr>
        <p:grpSpPr>
          <a:xfrm>
            <a:off x="208071" y="4931183"/>
            <a:ext cx="9375429" cy="497650"/>
            <a:chOff x="208026" y="4710253"/>
            <a:chExt cx="9375429" cy="534797"/>
          </a:xfrm>
        </p:grpSpPr>
        <p:sp>
          <p:nvSpPr>
            <p:cNvPr id="104" name="box_header">
              <a:extLst>
                <a:ext uri="{FF2B5EF4-FFF2-40B4-BE49-F238E27FC236}">
                  <a16:creationId xmlns:a16="http://schemas.microsoft.com/office/drawing/2014/main" id="{56898909-5EE7-A15A-1F41-0536DCB9A898}"/>
                </a:ext>
              </a:extLst>
            </p:cNvPr>
            <p:cNvSpPr/>
            <p:nvPr>
              <p:custDataLst>
                <p:tags r:id="rId2"/>
              </p:custDataLst>
            </p:nvPr>
          </p:nvSpPr>
          <p:spPr bwMode="gray">
            <a:xfrm>
              <a:off x="208026" y="4710536"/>
              <a:ext cx="1553250" cy="534514"/>
            </a:xfrm>
            <a:custGeom>
              <a:avLst/>
              <a:gdLst/>
              <a:ahLst/>
              <a:cxnLst/>
              <a:rect l="0" t="0" r="0" b="0"/>
              <a:pathLst>
                <a:path w="1548194" h="900114">
                  <a:moveTo>
                    <a:pt x="0" y="0"/>
                  </a:moveTo>
                  <a:lnTo>
                    <a:pt x="1440180" y="0"/>
                  </a:lnTo>
                  <a:lnTo>
                    <a:pt x="1440180" y="342043"/>
                  </a:lnTo>
                  <a:lnTo>
                    <a:pt x="1548193" y="450056"/>
                  </a:lnTo>
                  <a:lnTo>
                    <a:pt x="1440180" y="558070"/>
                  </a:lnTo>
                  <a:lnTo>
                    <a:pt x="1440180" y="900113"/>
                  </a:lnTo>
                  <a:lnTo>
                    <a:pt x="0" y="900113"/>
                  </a:lnTo>
                  <a:close/>
                </a:path>
              </a:pathLst>
            </a:cu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algn="ctr"/>
              <a:endParaRPr lang="de-DE" sz="1200">
                <a:solidFill>
                  <a:srgbClr val="003C50"/>
                </a:solidFill>
                <a:latin typeface="Roboto" panose="02000000000000000000" pitchFamily="2" charset="0"/>
              </a:endParaRPr>
            </a:p>
          </p:txBody>
        </p:sp>
        <p:sp>
          <p:nvSpPr>
            <p:cNvPr id="105" name="box_text">
              <a:extLst>
                <a:ext uri="{FF2B5EF4-FFF2-40B4-BE49-F238E27FC236}">
                  <a16:creationId xmlns:a16="http://schemas.microsoft.com/office/drawing/2014/main" id="{BDD95E9C-F711-586C-3E58-1269EA3B7884}"/>
                </a:ext>
              </a:extLst>
            </p:cNvPr>
            <p:cNvSpPr/>
            <p:nvPr>
              <p:custDataLst>
                <p:tags r:id="rId3"/>
              </p:custDataLst>
            </p:nvPr>
          </p:nvSpPr>
          <p:spPr bwMode="gray">
            <a:xfrm>
              <a:off x="1625130" y="4710253"/>
              <a:ext cx="7958325" cy="534514"/>
            </a:xfrm>
            <a:prstGeom prst="rect">
              <a:avLst/>
            </a:prstGeom>
            <a:noFill/>
            <a:ln w="9525">
              <a:solidFill>
                <a:srgbClr val="EFEEEB"/>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216000" tIns="36005" rIns="36005" bIns="36005" rtlCol="0" anchor="ctr">
              <a:noAutofit/>
            </a:bodyPr>
            <a:lstStyle/>
            <a:p>
              <a:r>
                <a:rPr lang="de-DE" sz="1200" dirty="0">
                  <a:solidFill>
                    <a:srgbClr val="003C50"/>
                  </a:solidFill>
                  <a:latin typeface="Roboto" panose="02000000000000000000" pitchFamily="2" charset="0"/>
                </a:rPr>
                <a:t>Integration Ihres Feedbacks und </a:t>
              </a:r>
              <a:r>
                <a:rPr lang="de-DE" sz="1200" b="1" dirty="0">
                  <a:solidFill>
                    <a:srgbClr val="003C50"/>
                  </a:solidFill>
                  <a:latin typeface="Roboto" panose="02000000000000000000" pitchFamily="2" charset="0"/>
                </a:rPr>
                <a:t>Finalisierung der kommunalen Wärmeplanung</a:t>
              </a:r>
              <a:r>
                <a:rPr lang="de-DE" sz="1200" dirty="0">
                  <a:solidFill>
                    <a:srgbClr val="003C50"/>
                  </a:solidFill>
                  <a:latin typeface="Roboto" panose="02000000000000000000" pitchFamily="2" charset="0"/>
                </a:rPr>
                <a:t>;</a:t>
              </a:r>
            </a:p>
            <a:p>
              <a:r>
                <a:rPr lang="de-DE" sz="1200" b="1" dirty="0">
                  <a:solidFill>
                    <a:srgbClr val="003C50"/>
                  </a:solidFill>
                  <a:latin typeface="Roboto" panose="02000000000000000000" pitchFamily="2" charset="0"/>
                </a:rPr>
                <a:t>Veröffentlichung</a:t>
              </a:r>
              <a:r>
                <a:rPr lang="de-DE" sz="1200" dirty="0">
                  <a:solidFill>
                    <a:srgbClr val="003C50"/>
                  </a:solidFill>
                  <a:latin typeface="Roboto" panose="02000000000000000000" pitchFamily="2" charset="0"/>
                </a:rPr>
                <a:t> des finalen Standes des Digitalen Zwillings sowie des zugehörigen Gutachtens</a:t>
              </a:r>
              <a:endParaRPr lang="de-DE" sz="1200" dirty="0">
                <a:solidFill>
                  <a:schemeClr val="tx1"/>
                </a:solidFill>
                <a:latin typeface="Roboto" panose="02000000000000000000" pitchFamily="2" charset="0"/>
              </a:endParaRPr>
            </a:p>
          </p:txBody>
        </p:sp>
        <p:sp>
          <p:nvSpPr>
            <p:cNvPr id="108" name="Rectangle 107" hidden="1">
              <a:extLst>
                <a:ext uri="{FF2B5EF4-FFF2-40B4-BE49-F238E27FC236}">
                  <a16:creationId xmlns:a16="http://schemas.microsoft.com/office/drawing/2014/main" id="{614CB819-178C-5A55-FD05-8E1D1189888B}"/>
                </a:ext>
              </a:extLst>
            </p:cNvPr>
            <p:cNvSpPr/>
            <p:nvPr/>
          </p:nvSpPr>
          <p:spPr bwMode="gray">
            <a:xfrm>
              <a:off x="733742" y="4726885"/>
              <a:ext cx="501817" cy="501817"/>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grpSp>
      <p:pic>
        <p:nvPicPr>
          <p:cNvPr id="102" name="Graphic 101" descr="Chat outline">
            <a:extLst>
              <a:ext uri="{FF2B5EF4-FFF2-40B4-BE49-F238E27FC236}">
                <a16:creationId xmlns:a16="http://schemas.microsoft.com/office/drawing/2014/main" id="{836EEC6A-AD05-BAAA-5F91-553587CC5B5C}"/>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630255" y="4859429"/>
            <a:ext cx="684066" cy="684066"/>
          </a:xfrm>
          <a:prstGeom prst="rect">
            <a:avLst/>
          </a:prstGeom>
        </p:spPr>
      </p:pic>
    </p:spTree>
    <p:extLst>
      <p:ext uri="{BB962C8B-B14F-4D97-AF65-F5344CB8AC3E}">
        <p14:creationId xmlns:p14="http://schemas.microsoft.com/office/powerpoint/2010/main" val="200786175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5187F4A-995C-0874-7556-73F3606A5449}"/>
              </a:ext>
            </a:extLst>
          </p:cNvPr>
          <p:cNvSpPr>
            <a:spLocks noGrp="1"/>
          </p:cNvSpPr>
          <p:nvPr>
            <p:ph type="sldNum" sz="quarter" idx="11"/>
          </p:nvPr>
        </p:nvSpPr>
        <p:spPr/>
        <p:txBody>
          <a:bodyPr/>
          <a:lstStyle/>
          <a:p>
            <a:endParaRPr lang="de-DE"/>
          </a:p>
          <a:p>
            <a:fld id="{24C420F5-194C-40F2-A080-C5F3EDD89037}" type="slidenum">
              <a:rPr lang="de-DE" smtClean="0"/>
              <a:pPr/>
              <a:t>57</a:t>
            </a:fld>
            <a:endParaRPr lang="de-DE"/>
          </a:p>
        </p:txBody>
      </p:sp>
      <p:sp>
        <p:nvSpPr>
          <p:cNvPr id="3" name="Title 2">
            <a:extLst>
              <a:ext uri="{FF2B5EF4-FFF2-40B4-BE49-F238E27FC236}">
                <a16:creationId xmlns:a16="http://schemas.microsoft.com/office/drawing/2014/main" id="{C56CF0E2-8BD2-8A38-2060-E4046D7BAFE2}"/>
              </a:ext>
            </a:extLst>
          </p:cNvPr>
          <p:cNvSpPr>
            <a:spLocks noGrp="1"/>
          </p:cNvSpPr>
          <p:nvPr>
            <p:ph type="title"/>
          </p:nvPr>
        </p:nvSpPr>
        <p:spPr/>
        <p:txBody>
          <a:bodyPr/>
          <a:lstStyle/>
          <a:p>
            <a:r>
              <a:rPr lang="en-US"/>
              <a:t>GEG und GMG </a:t>
            </a:r>
            <a:r>
              <a:rPr lang="en-US" err="1"/>
              <a:t>im</a:t>
            </a:r>
            <a:r>
              <a:rPr lang="en-US"/>
              <a:t> </a:t>
            </a:r>
            <a:r>
              <a:rPr lang="en-US" err="1"/>
              <a:t>Vergleich</a:t>
            </a:r>
            <a:r>
              <a:rPr lang="en-US"/>
              <a:t>: was </a:t>
            </a:r>
            <a:r>
              <a:rPr lang="en-US" err="1"/>
              <a:t>kann</a:t>
            </a:r>
            <a:r>
              <a:rPr lang="en-US"/>
              <a:t> </a:t>
            </a:r>
            <a:r>
              <a:rPr lang="en-US" err="1"/>
              <a:t>sich</a:t>
            </a:r>
            <a:r>
              <a:rPr lang="en-US"/>
              <a:t> </a:t>
            </a:r>
            <a:r>
              <a:rPr lang="en-US" err="1"/>
              <a:t>zukünftig</a:t>
            </a:r>
            <a:r>
              <a:rPr lang="en-US"/>
              <a:t> </a:t>
            </a:r>
            <a:r>
              <a:rPr lang="en-US" err="1"/>
              <a:t>ändern</a:t>
            </a:r>
            <a:r>
              <a:rPr lang="en-US"/>
              <a:t> für den Bürger?</a:t>
            </a:r>
            <a:endParaRPr lang="de-DE"/>
          </a:p>
        </p:txBody>
      </p:sp>
      <p:sp>
        <p:nvSpPr>
          <p:cNvPr id="4" name="Footer Placeholder 3">
            <a:extLst>
              <a:ext uri="{FF2B5EF4-FFF2-40B4-BE49-F238E27FC236}">
                <a16:creationId xmlns:a16="http://schemas.microsoft.com/office/drawing/2014/main" id="{932C907C-F05A-9F51-29AC-F25373468F51}"/>
              </a:ext>
            </a:extLst>
          </p:cNvPr>
          <p:cNvSpPr>
            <a:spLocks noGrp="1"/>
          </p:cNvSpPr>
          <p:nvPr>
            <p:ph type="ftr" sz="quarter" idx="12"/>
          </p:nvPr>
        </p:nvSpPr>
        <p:spPr/>
        <p:txBody>
          <a:bodyPr/>
          <a:lstStyle/>
          <a:p>
            <a:r>
              <a:rPr lang="de-DE"/>
              <a:t>© 2026</a:t>
            </a:r>
          </a:p>
          <a:p>
            <a:r>
              <a:rPr lang="de-DE"/>
              <a:t>d-fine</a:t>
            </a:r>
          </a:p>
        </p:txBody>
      </p:sp>
      <p:grpSp>
        <p:nvGrpSpPr>
          <p:cNvPr id="6" name="THM_bar">
            <a:extLst>
              <a:ext uri="{FF2B5EF4-FFF2-40B4-BE49-F238E27FC236}">
                <a16:creationId xmlns:a16="http://schemas.microsoft.com/office/drawing/2014/main" id="{F36399AB-070E-4443-13AD-612D5FF8733B}"/>
              </a:ext>
            </a:extLst>
          </p:cNvPr>
          <p:cNvGrpSpPr/>
          <p:nvPr>
            <p:custDataLst>
              <p:tags r:id="rId1"/>
            </p:custDataLst>
          </p:nvPr>
        </p:nvGrpSpPr>
        <p:grpSpPr>
          <a:xfrm>
            <a:off x="208263" y="5552363"/>
            <a:ext cx="9372600" cy="468059"/>
            <a:chOff x="266700" y="5831141"/>
            <a:chExt cx="9372600" cy="468059"/>
          </a:xfrm>
        </p:grpSpPr>
        <p:sp>
          <p:nvSpPr>
            <p:cNvPr id="7" name="THM_bar_background">
              <a:extLst>
                <a:ext uri="{FF2B5EF4-FFF2-40B4-BE49-F238E27FC236}">
                  <a16:creationId xmlns:a16="http://schemas.microsoft.com/office/drawing/2014/main" id="{8E266DFD-48F1-CBBB-27C6-CE730ECA2D1C}"/>
                </a:ext>
              </a:extLst>
            </p:cNvPr>
            <p:cNvSpPr/>
            <p:nvPr/>
          </p:nvSpPr>
          <p:spPr bwMode="gray">
            <a:xfrm>
              <a:off x="266700" y="5831141"/>
              <a:ext cx="9372600" cy="468059"/>
            </a:xfrm>
            <a:prstGeom prst="rect">
              <a:avLst/>
            </a:prstGeom>
            <a:solidFill>
              <a:srgbClr val="F0EEEB"/>
            </a:solidFill>
            <a:ln w="9525">
              <a:solidFill>
                <a:srgbClr val="F0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45" tIns="0" rIns="144018" bIns="0" rtlCol="0" anchor="ctr">
              <a:noAutofit/>
            </a:bodyPr>
            <a:lstStyle/>
            <a:p>
              <a:r>
                <a:rPr lang="de-DE" sz="1400">
                  <a:solidFill>
                    <a:srgbClr val="003C50"/>
                  </a:solidFill>
                  <a:latin typeface="Roboto" panose="02000000000000000000" pitchFamily="2" charset="0"/>
                </a:rPr>
                <a:t>Das GMG hält am Ziel der Klimaneutralität fest, verändert jedoch den Weg dorthin indem es </a:t>
              </a:r>
              <a:r>
                <a:rPr lang="de-DE" sz="1400" b="1">
                  <a:solidFill>
                    <a:srgbClr val="003C50"/>
                  </a:solidFill>
                  <a:latin typeface="Roboto" panose="02000000000000000000" pitchFamily="2" charset="0"/>
                </a:rPr>
                <a:t>Vorgaben der Zwischenziele und Fristen lockert</a:t>
              </a:r>
              <a:endParaRPr lang="de-DE" sz="1400">
                <a:solidFill>
                  <a:srgbClr val="003C50"/>
                </a:solidFill>
                <a:latin typeface="Roboto" panose="02000000000000000000" pitchFamily="2" charset="0"/>
              </a:endParaRPr>
            </a:p>
          </p:txBody>
        </p:sp>
        <p:grpSp>
          <p:nvGrpSpPr>
            <p:cNvPr id="8" name="thm_triangle_i7687">
              <a:extLst>
                <a:ext uri="{FF2B5EF4-FFF2-40B4-BE49-F238E27FC236}">
                  <a16:creationId xmlns:a16="http://schemas.microsoft.com/office/drawing/2014/main" id="{0109250F-141A-67F0-8C43-0735B801E11D}"/>
                </a:ext>
              </a:extLst>
            </p:cNvPr>
            <p:cNvGrpSpPr/>
            <p:nvPr/>
          </p:nvGrpSpPr>
          <p:grpSpPr>
            <a:xfrm>
              <a:off x="266700" y="5831141"/>
              <a:ext cx="234029" cy="468058"/>
              <a:chOff x="117014" y="-117014"/>
              <a:chExt cx="234029" cy="468058"/>
            </a:xfrm>
          </p:grpSpPr>
          <p:sp>
            <p:nvSpPr>
              <p:cNvPr id="9" name="box">
                <a:extLst>
                  <a:ext uri="{FF2B5EF4-FFF2-40B4-BE49-F238E27FC236}">
                    <a16:creationId xmlns:a16="http://schemas.microsoft.com/office/drawing/2014/main" id="{1347011A-50B3-0C44-2185-2FED5D68D5CE}"/>
                  </a:ext>
                </a:extLst>
              </p:cNvPr>
              <p:cNvSpPr/>
              <p:nvPr/>
            </p:nvSpPr>
            <p:spPr bwMode="white">
              <a:xfrm rot="16200000">
                <a:off x="-117015" y="117015"/>
                <a:ext cx="468058" cy="0"/>
              </a:xfrm>
              <a:prstGeom prst="rect">
                <a:avLst/>
              </a:prstGeom>
              <a:solidFill>
                <a:srgbClr val="F0EEEB"/>
              </a:solidFill>
              <a:ln w="9525">
                <a:solidFill>
                  <a:srgbClr val="F0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sp>
            <p:nvSpPr>
              <p:cNvPr id="10" name="triangle_1">
                <a:extLst>
                  <a:ext uri="{FF2B5EF4-FFF2-40B4-BE49-F238E27FC236}">
                    <a16:creationId xmlns:a16="http://schemas.microsoft.com/office/drawing/2014/main" id="{4762173C-8398-F6E0-EB53-36B2409309DE}"/>
                  </a:ext>
                </a:extLst>
              </p:cNvPr>
              <p:cNvSpPr/>
              <p:nvPr/>
            </p:nvSpPr>
            <p:spPr bwMode="white">
              <a:xfrm rot="5400000">
                <a:off x="0" y="0"/>
                <a:ext cx="468058" cy="234029"/>
              </a:xfrm>
              <a:prstGeom prst="triangle">
                <a:avLst/>
              </a:prstGeom>
              <a:solidFill>
                <a:srgbClr val="F0EEEB"/>
              </a:solidFill>
              <a:ln w="9525">
                <a:solidFill>
                  <a:srgbClr val="F0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sp>
            <p:nvSpPr>
              <p:cNvPr id="11" name="triangle_2">
                <a:extLst>
                  <a:ext uri="{FF2B5EF4-FFF2-40B4-BE49-F238E27FC236}">
                    <a16:creationId xmlns:a16="http://schemas.microsoft.com/office/drawing/2014/main" id="{8E0D880E-9462-F134-754A-51B63CAF0216}"/>
                  </a:ext>
                </a:extLst>
              </p:cNvPr>
              <p:cNvSpPr/>
              <p:nvPr/>
            </p:nvSpPr>
            <p:spPr bwMode="gray">
              <a:xfrm rot="5400000">
                <a:off x="0" y="0"/>
                <a:ext cx="468058" cy="234029"/>
              </a:xfrm>
              <a:prstGeom prst="triangl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grpSp>
      </p:grpSp>
      <p:sp>
        <p:nvSpPr>
          <p:cNvPr id="13" name="box_text_1">
            <a:extLst>
              <a:ext uri="{FF2B5EF4-FFF2-40B4-BE49-F238E27FC236}">
                <a16:creationId xmlns:a16="http://schemas.microsoft.com/office/drawing/2014/main" id="{9829C4F9-5B7E-D8ED-0E34-9CCFAD9ED233}"/>
              </a:ext>
            </a:extLst>
          </p:cNvPr>
          <p:cNvSpPr/>
          <p:nvPr>
            <p:custDataLst>
              <p:tags r:id="rId2"/>
            </p:custDataLst>
          </p:nvPr>
        </p:nvSpPr>
        <p:spPr bwMode="gray">
          <a:xfrm>
            <a:off x="208265" y="1405758"/>
            <a:ext cx="4383120" cy="4027563"/>
          </a:xfrm>
          <a:prstGeom prst="rect">
            <a:avLst/>
          </a:prstGeom>
          <a:solidFill>
            <a:schemeClr val="accent1">
              <a:alpha val="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68000" tIns="144018" rIns="36005" bIns="36005" rtlCol="0" anchor="t">
            <a:noAutofit/>
          </a:bodyPr>
          <a:lstStyle/>
          <a:p>
            <a:pPr marL="180023" indent="-180023">
              <a:buClr>
                <a:srgbClr val="003C50"/>
              </a:buClr>
              <a:buFont typeface="Wingdings" panose="05000000000000000000" pitchFamily="2" charset="2"/>
              <a:buChar char="§"/>
            </a:pPr>
            <a:r>
              <a:rPr lang="en-GB" sz="1400">
                <a:solidFill>
                  <a:srgbClr val="003C50"/>
                </a:solidFill>
                <a:latin typeface="Roboto" panose="02000000000000000000" pitchFamily="2" charset="0"/>
              </a:rPr>
              <a:t>Neue </a:t>
            </a:r>
            <a:r>
              <a:rPr lang="en-GB" sz="1400" err="1">
                <a:solidFill>
                  <a:srgbClr val="003C50"/>
                </a:solidFill>
                <a:latin typeface="Roboto" panose="02000000000000000000" pitchFamily="2" charset="0"/>
              </a:rPr>
              <a:t>Heizungen</a:t>
            </a:r>
            <a:r>
              <a:rPr lang="en-GB" sz="1400">
                <a:solidFill>
                  <a:srgbClr val="003C50"/>
                </a:solidFill>
                <a:latin typeface="Roboto" panose="02000000000000000000" pitchFamily="2" charset="0"/>
              </a:rPr>
              <a:t> </a:t>
            </a:r>
            <a:r>
              <a:rPr lang="en-GB" sz="1400" err="1">
                <a:solidFill>
                  <a:srgbClr val="003C50"/>
                </a:solidFill>
                <a:latin typeface="Roboto" panose="02000000000000000000" pitchFamily="2" charset="0"/>
              </a:rPr>
              <a:t>müssen</a:t>
            </a:r>
            <a:r>
              <a:rPr lang="en-GB" sz="1400">
                <a:solidFill>
                  <a:srgbClr val="003C50"/>
                </a:solidFill>
                <a:latin typeface="Roboto" panose="02000000000000000000" pitchFamily="2" charset="0"/>
              </a:rPr>
              <a:t> </a:t>
            </a:r>
            <a:r>
              <a:rPr lang="en-GB" sz="1400" b="1" err="1">
                <a:solidFill>
                  <a:srgbClr val="003C50"/>
                </a:solidFill>
                <a:latin typeface="Roboto" panose="02000000000000000000" pitchFamily="2" charset="0"/>
              </a:rPr>
              <a:t>Anteil</a:t>
            </a:r>
            <a:r>
              <a:rPr lang="en-GB" sz="1400" b="1">
                <a:solidFill>
                  <a:srgbClr val="003C50"/>
                </a:solidFill>
                <a:latin typeface="Roboto" panose="02000000000000000000" pitchFamily="2" charset="0"/>
              </a:rPr>
              <a:t> von mind. 65% </a:t>
            </a:r>
            <a:r>
              <a:rPr lang="en-GB" sz="1400">
                <a:solidFill>
                  <a:srgbClr val="003C50"/>
                </a:solidFill>
                <a:latin typeface="Roboto" panose="02000000000000000000" pitchFamily="2" charset="0"/>
              </a:rPr>
              <a:t>an </a:t>
            </a:r>
            <a:r>
              <a:rPr lang="en-GB" sz="1400" err="1">
                <a:solidFill>
                  <a:srgbClr val="003C50"/>
                </a:solidFill>
                <a:latin typeface="Roboto" panose="02000000000000000000" pitchFamily="2" charset="0"/>
              </a:rPr>
              <a:t>erneuerbaren</a:t>
            </a:r>
            <a:r>
              <a:rPr lang="en-GB" sz="1400">
                <a:solidFill>
                  <a:srgbClr val="003C50"/>
                </a:solidFill>
                <a:latin typeface="Roboto" panose="02000000000000000000" pitchFamily="2" charset="0"/>
              </a:rPr>
              <a:t> </a:t>
            </a:r>
            <a:r>
              <a:rPr lang="en-GB" sz="1400" err="1">
                <a:solidFill>
                  <a:srgbClr val="003C50"/>
                </a:solidFill>
                <a:latin typeface="Roboto" panose="02000000000000000000" pitchFamily="2" charset="0"/>
              </a:rPr>
              <a:t>Energien</a:t>
            </a:r>
            <a:r>
              <a:rPr lang="en-GB" sz="1400">
                <a:solidFill>
                  <a:srgbClr val="003C50"/>
                </a:solidFill>
                <a:latin typeface="Roboto" panose="02000000000000000000" pitchFamily="2" charset="0"/>
              </a:rPr>
              <a:t> </a:t>
            </a:r>
            <a:r>
              <a:rPr lang="en-GB" sz="1400" err="1">
                <a:solidFill>
                  <a:srgbClr val="003C50"/>
                </a:solidFill>
                <a:latin typeface="Roboto" panose="02000000000000000000" pitchFamily="2" charset="0"/>
              </a:rPr>
              <a:t>aufweisen</a:t>
            </a:r>
            <a:r>
              <a:rPr lang="en-GB" sz="1400">
                <a:solidFill>
                  <a:srgbClr val="003C50"/>
                </a:solidFill>
                <a:latin typeface="Roboto" panose="02000000000000000000" pitchFamily="2" charset="0"/>
              </a:rPr>
              <a:t> </a:t>
            </a:r>
          </a:p>
          <a:p>
            <a:pPr marL="180023" indent="-180023">
              <a:buClr>
                <a:srgbClr val="003C50"/>
              </a:buClr>
              <a:buFont typeface="Wingdings" panose="05000000000000000000" pitchFamily="2" charset="2"/>
              <a:buChar char="§"/>
            </a:pPr>
            <a:endParaRPr lang="en-GB" sz="1400">
              <a:solidFill>
                <a:srgbClr val="003C50"/>
              </a:solidFill>
              <a:latin typeface="Roboto" panose="02000000000000000000" pitchFamily="2" charset="0"/>
            </a:endParaRPr>
          </a:p>
          <a:p>
            <a:pPr marL="180023" indent="-180023">
              <a:buClr>
                <a:srgbClr val="003C50"/>
              </a:buClr>
              <a:buFont typeface="Wingdings" panose="05000000000000000000" pitchFamily="2" charset="2"/>
              <a:buChar char="§"/>
            </a:pPr>
            <a:r>
              <a:rPr lang="en-GB" sz="1400" err="1">
                <a:solidFill>
                  <a:srgbClr val="003C50"/>
                </a:solidFill>
                <a:latin typeface="Roboto" panose="02000000000000000000" pitchFamily="2" charset="0"/>
              </a:rPr>
              <a:t>bedeutet</a:t>
            </a:r>
            <a:r>
              <a:rPr lang="en-GB" sz="1400">
                <a:solidFill>
                  <a:srgbClr val="003C50"/>
                </a:solidFill>
                <a:latin typeface="Roboto" panose="02000000000000000000" pitchFamily="2" charset="0"/>
              </a:rPr>
              <a:t> de-facto das Aus für </a:t>
            </a:r>
            <a:r>
              <a:rPr lang="en-GB" sz="1400" err="1">
                <a:solidFill>
                  <a:srgbClr val="003C50"/>
                </a:solidFill>
                <a:latin typeface="Roboto" panose="02000000000000000000" pitchFamily="2" charset="0"/>
              </a:rPr>
              <a:t>fossile</a:t>
            </a:r>
            <a:r>
              <a:rPr lang="en-GB" sz="1400">
                <a:solidFill>
                  <a:srgbClr val="003C50"/>
                </a:solidFill>
                <a:latin typeface="Roboto" panose="02000000000000000000" pitchFamily="2" charset="0"/>
              </a:rPr>
              <a:t> Gas- und </a:t>
            </a:r>
            <a:r>
              <a:rPr lang="de-DE" sz="1400">
                <a:solidFill>
                  <a:srgbClr val="003C50"/>
                </a:solidFill>
                <a:latin typeface="Roboto" panose="02000000000000000000" pitchFamily="2" charset="0"/>
              </a:rPr>
              <a:t>Ölheizungen</a:t>
            </a:r>
            <a:endParaRPr lang="en-GB" sz="1400">
              <a:solidFill>
                <a:srgbClr val="003C50"/>
              </a:solidFill>
              <a:latin typeface="Roboto" panose="02000000000000000000" pitchFamily="2" charset="0"/>
            </a:endParaRPr>
          </a:p>
          <a:p>
            <a:pPr>
              <a:buClr>
                <a:srgbClr val="003C50"/>
              </a:buClr>
            </a:pPr>
            <a:endParaRPr lang="en-GB" sz="1400">
              <a:solidFill>
                <a:srgbClr val="003C50"/>
              </a:solidFill>
              <a:latin typeface="Roboto" panose="02000000000000000000" pitchFamily="2" charset="0"/>
            </a:endParaRPr>
          </a:p>
          <a:p>
            <a:pPr>
              <a:buClr>
                <a:srgbClr val="003C50"/>
              </a:buClr>
            </a:pPr>
            <a:r>
              <a:rPr lang="en-GB" sz="1400" b="1" err="1">
                <a:solidFill>
                  <a:srgbClr val="003C50"/>
                </a:solidFill>
                <a:latin typeface="Roboto" panose="02000000000000000000" pitchFamily="2" charset="0"/>
              </a:rPr>
              <a:t>Zukünftige</a:t>
            </a:r>
            <a:r>
              <a:rPr lang="en-GB" sz="1400" b="1">
                <a:solidFill>
                  <a:srgbClr val="003C50"/>
                </a:solidFill>
                <a:latin typeface="Roboto" panose="02000000000000000000" pitchFamily="2" charset="0"/>
              </a:rPr>
              <a:t> </a:t>
            </a:r>
            <a:r>
              <a:rPr lang="en-GB" sz="1400" b="1" err="1">
                <a:solidFill>
                  <a:srgbClr val="003C50"/>
                </a:solidFill>
                <a:latin typeface="Roboto" panose="02000000000000000000" pitchFamily="2" charset="0"/>
              </a:rPr>
              <a:t>Heizungstechnologien</a:t>
            </a:r>
            <a:r>
              <a:rPr lang="en-GB" sz="1400" b="1">
                <a:solidFill>
                  <a:srgbClr val="003C50"/>
                </a:solidFill>
                <a:latin typeface="Roboto" panose="02000000000000000000" pitchFamily="2" charset="0"/>
              </a:rPr>
              <a:t>:</a:t>
            </a:r>
          </a:p>
          <a:p>
            <a:pPr marL="180023" indent="-180023">
              <a:buClr>
                <a:srgbClr val="003C50"/>
              </a:buClr>
              <a:buFont typeface="Wingdings" panose="05000000000000000000" pitchFamily="2" charset="2"/>
              <a:buChar char="§"/>
            </a:pPr>
            <a:endParaRPr lang="en-GB" sz="1400">
              <a:solidFill>
                <a:srgbClr val="003C50"/>
              </a:solidFill>
              <a:latin typeface="Roboto" panose="02000000000000000000" pitchFamily="2" charset="0"/>
            </a:endParaRPr>
          </a:p>
          <a:p>
            <a:pPr marL="360045" lvl="1" indent="-180023">
              <a:buClr>
                <a:srgbClr val="668A96"/>
              </a:buClr>
              <a:buFont typeface="Wingdings" panose="05000000000000000000" pitchFamily="2" charset="2"/>
              <a:buChar char="§"/>
            </a:pPr>
            <a:endParaRPr lang="en-GB" sz="1400">
              <a:solidFill>
                <a:srgbClr val="003C50"/>
              </a:solidFill>
              <a:latin typeface="Roboto" panose="02000000000000000000" pitchFamily="2" charset="0"/>
            </a:endParaRPr>
          </a:p>
          <a:p>
            <a:pPr marL="360045" lvl="1" indent="-180023">
              <a:buClr>
                <a:srgbClr val="668A96"/>
              </a:buClr>
              <a:buFont typeface="Wingdings" panose="05000000000000000000" pitchFamily="2" charset="2"/>
              <a:buChar char="§"/>
            </a:pPr>
            <a:endParaRPr lang="en-GB" sz="1400">
              <a:solidFill>
                <a:srgbClr val="003C50"/>
              </a:solidFill>
              <a:latin typeface="Roboto" panose="02000000000000000000" pitchFamily="2" charset="0"/>
            </a:endParaRPr>
          </a:p>
          <a:p>
            <a:pPr marL="180022" lvl="1">
              <a:buClr>
                <a:srgbClr val="668A96"/>
              </a:buClr>
            </a:pPr>
            <a:endParaRPr lang="en-GB" sz="1400">
              <a:solidFill>
                <a:srgbClr val="003C50"/>
              </a:solidFill>
              <a:latin typeface="Roboto" panose="02000000000000000000" pitchFamily="2" charset="0"/>
            </a:endParaRPr>
          </a:p>
          <a:p>
            <a:pPr marL="360045" lvl="1" indent="-180023">
              <a:buClr>
                <a:srgbClr val="668A96"/>
              </a:buClr>
              <a:buFont typeface="Wingdings" panose="05000000000000000000" pitchFamily="2" charset="2"/>
              <a:buChar char="§"/>
            </a:pPr>
            <a:endParaRPr lang="en-GB" sz="1400">
              <a:solidFill>
                <a:srgbClr val="003C50"/>
              </a:solidFill>
              <a:latin typeface="Roboto" panose="02000000000000000000" pitchFamily="2" charset="0"/>
            </a:endParaRPr>
          </a:p>
          <a:p>
            <a:endParaRPr lang="en-GB" sz="1200">
              <a:solidFill>
                <a:srgbClr val="003C50"/>
              </a:solidFill>
              <a:latin typeface="Roboto" panose="02000000000000000000" pitchFamily="2" charset="0"/>
            </a:endParaRPr>
          </a:p>
        </p:txBody>
      </p:sp>
      <p:sp>
        <p:nvSpPr>
          <p:cNvPr id="14" name="box_header_1">
            <a:extLst>
              <a:ext uri="{FF2B5EF4-FFF2-40B4-BE49-F238E27FC236}">
                <a16:creationId xmlns:a16="http://schemas.microsoft.com/office/drawing/2014/main" id="{750A14FD-4A10-9912-9E93-5FC4C0725D49}"/>
              </a:ext>
            </a:extLst>
          </p:cNvPr>
          <p:cNvSpPr/>
          <p:nvPr>
            <p:custDataLst>
              <p:tags r:id="rId3"/>
            </p:custDataLst>
          </p:nvPr>
        </p:nvSpPr>
        <p:spPr bwMode="gray">
          <a:xfrm>
            <a:off x="208265" y="1008970"/>
            <a:ext cx="4383121" cy="515832"/>
          </a:xfrm>
          <a:custGeom>
            <a:avLst/>
            <a:gdLst/>
            <a:ahLst/>
            <a:cxnLst/>
            <a:rect l="0" t="0" r="0" b="0"/>
            <a:pathLst>
              <a:path w="4632286" h="468059">
                <a:moveTo>
                  <a:pt x="0" y="0"/>
                </a:moveTo>
                <a:lnTo>
                  <a:pt x="4632285" y="0"/>
                </a:lnTo>
                <a:lnTo>
                  <a:pt x="4632285" y="360045"/>
                </a:lnTo>
                <a:lnTo>
                  <a:pt x="2424157" y="360045"/>
                </a:lnTo>
                <a:lnTo>
                  <a:pt x="2316143" y="468058"/>
                </a:lnTo>
                <a:lnTo>
                  <a:pt x="2208129" y="360045"/>
                </a:lnTo>
                <a:lnTo>
                  <a:pt x="0" y="360045"/>
                </a:lnTo>
                <a:close/>
              </a:path>
            </a:pathLst>
          </a:cu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algn="ctr"/>
            <a:endParaRPr lang="en-GB" sz="1400" err="1">
              <a:solidFill>
                <a:srgbClr val="003C50"/>
              </a:solidFill>
              <a:latin typeface="Roboto" panose="02000000000000000000" pitchFamily="2" charset="0"/>
            </a:endParaRPr>
          </a:p>
        </p:txBody>
      </p:sp>
      <p:sp>
        <p:nvSpPr>
          <p:cNvPr id="15" name="box_header_text_1">
            <a:extLst>
              <a:ext uri="{FF2B5EF4-FFF2-40B4-BE49-F238E27FC236}">
                <a16:creationId xmlns:a16="http://schemas.microsoft.com/office/drawing/2014/main" id="{D0A51A2E-C80B-4A52-861F-018D94CEE6E8}"/>
              </a:ext>
            </a:extLst>
          </p:cNvPr>
          <p:cNvSpPr/>
          <p:nvPr>
            <p:custDataLst>
              <p:tags r:id="rId4"/>
            </p:custDataLst>
          </p:nvPr>
        </p:nvSpPr>
        <p:spPr bwMode="gray">
          <a:xfrm>
            <a:off x="208265" y="1008967"/>
            <a:ext cx="4383120" cy="396793"/>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72009" tIns="72009" rIns="72009" bIns="72009" rtlCol="0" anchor="ctr">
            <a:noAutofit/>
          </a:bodyPr>
          <a:lstStyle/>
          <a:p>
            <a:pPr algn="ctr"/>
            <a:r>
              <a:rPr lang="en-GB" sz="1200" b="1">
                <a:solidFill>
                  <a:schemeClr val="tx1"/>
                </a:solidFill>
                <a:latin typeface="Roboto" panose="02000000000000000000" pitchFamily="2" charset="0"/>
              </a:rPr>
              <a:t>GEG</a:t>
            </a:r>
          </a:p>
        </p:txBody>
      </p:sp>
      <p:sp>
        <p:nvSpPr>
          <p:cNvPr id="17" name="box_text_2">
            <a:extLst>
              <a:ext uri="{FF2B5EF4-FFF2-40B4-BE49-F238E27FC236}">
                <a16:creationId xmlns:a16="http://schemas.microsoft.com/office/drawing/2014/main" id="{21D233E8-DFE1-BA17-019C-BA99B4F0DB06}"/>
              </a:ext>
            </a:extLst>
          </p:cNvPr>
          <p:cNvSpPr/>
          <p:nvPr>
            <p:custDataLst>
              <p:tags r:id="rId5"/>
            </p:custDataLst>
          </p:nvPr>
        </p:nvSpPr>
        <p:spPr bwMode="gray">
          <a:xfrm>
            <a:off x="5195643" y="1405758"/>
            <a:ext cx="4383120" cy="4034713"/>
          </a:xfrm>
          <a:prstGeom prst="rect">
            <a:avLst/>
          </a:prstGeom>
          <a:solidFill>
            <a:schemeClr val="bg2">
              <a:alpha val="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68000" tIns="144018" rIns="36005" bIns="36005" rtlCol="0" anchor="t">
            <a:noAutofit/>
          </a:bodyPr>
          <a:lstStyle/>
          <a:p>
            <a:pPr marL="180023" indent="-180023">
              <a:buClr>
                <a:srgbClr val="003C50"/>
              </a:buClr>
              <a:buFont typeface="Wingdings" panose="05000000000000000000" pitchFamily="2" charset="2"/>
              <a:buChar char="§"/>
            </a:pPr>
            <a:r>
              <a:rPr lang="de-DE" sz="1400">
                <a:solidFill>
                  <a:srgbClr val="003C50"/>
                </a:solidFill>
                <a:latin typeface="Roboto" panose="02000000000000000000" pitchFamily="2" charset="0"/>
              </a:rPr>
              <a:t>Die </a:t>
            </a:r>
            <a:r>
              <a:rPr lang="de-DE" sz="1400" b="1">
                <a:solidFill>
                  <a:srgbClr val="003C50"/>
                </a:solidFill>
                <a:latin typeface="Roboto" panose="02000000000000000000" pitchFamily="2" charset="0"/>
              </a:rPr>
              <a:t>65 %-Vorgabe </a:t>
            </a:r>
            <a:r>
              <a:rPr lang="de-DE" sz="1400">
                <a:solidFill>
                  <a:srgbClr val="003C50"/>
                </a:solidFill>
                <a:latin typeface="Roboto" panose="02000000000000000000" pitchFamily="2" charset="0"/>
              </a:rPr>
              <a:t>für erneuerbare Energien beim Einbau neuer Heizungen </a:t>
            </a:r>
            <a:r>
              <a:rPr lang="de-DE" sz="1400" b="1">
                <a:solidFill>
                  <a:srgbClr val="003C50"/>
                </a:solidFill>
                <a:latin typeface="Roboto" panose="02000000000000000000" pitchFamily="2" charset="0"/>
              </a:rPr>
              <a:t>entfällt </a:t>
            </a:r>
          </a:p>
          <a:p>
            <a:pPr marL="180023" indent="-180023">
              <a:buClr>
                <a:srgbClr val="003C50"/>
              </a:buClr>
              <a:buFont typeface="Wingdings" panose="05000000000000000000" pitchFamily="2" charset="2"/>
              <a:buChar char="§"/>
            </a:pPr>
            <a:endParaRPr lang="de-DE" sz="1400" b="1">
              <a:solidFill>
                <a:srgbClr val="003C50"/>
              </a:solidFill>
              <a:latin typeface="Roboto" panose="02000000000000000000" pitchFamily="2" charset="0"/>
            </a:endParaRPr>
          </a:p>
          <a:p>
            <a:pPr marL="180023" indent="-180023">
              <a:buClr>
                <a:srgbClr val="003C50"/>
              </a:buClr>
              <a:buFont typeface="Wingdings" panose="05000000000000000000" pitchFamily="2" charset="2"/>
              <a:buChar char="§"/>
            </a:pPr>
            <a:r>
              <a:rPr lang="de-DE" sz="1400">
                <a:solidFill>
                  <a:srgbClr val="003C50"/>
                </a:solidFill>
                <a:latin typeface="Roboto" panose="02000000000000000000" pitchFamily="2" charset="0"/>
              </a:rPr>
              <a:t>Einbau von Öl- und Gasheizungen bleibt zulässig, sofern sie schrittweise einen steigenden Anteil CO₂-neutraler Brennstoffe nutzen </a:t>
            </a:r>
            <a:r>
              <a:rPr lang="de-DE" sz="1400" b="1">
                <a:solidFill>
                  <a:srgbClr val="003C50"/>
                </a:solidFill>
                <a:latin typeface="Roboto" panose="02000000000000000000" pitchFamily="2" charset="0"/>
              </a:rPr>
              <a:t>(      „Biotreppe“, z.B. 10 % ab 2029)</a:t>
            </a:r>
          </a:p>
          <a:p>
            <a:pPr>
              <a:buClr>
                <a:srgbClr val="003C50"/>
              </a:buClr>
            </a:pPr>
            <a:endParaRPr lang="en-GB" sz="1400" b="1">
              <a:solidFill>
                <a:srgbClr val="003C50"/>
              </a:solidFill>
              <a:latin typeface="Roboto" panose="02000000000000000000" pitchFamily="2" charset="0"/>
            </a:endParaRPr>
          </a:p>
          <a:p>
            <a:pPr>
              <a:buClr>
                <a:srgbClr val="003C50"/>
              </a:buClr>
            </a:pPr>
            <a:r>
              <a:rPr lang="en-GB" sz="1400" b="1" err="1">
                <a:solidFill>
                  <a:srgbClr val="003C50"/>
                </a:solidFill>
                <a:latin typeface="Roboto" panose="02000000000000000000" pitchFamily="2" charset="0"/>
              </a:rPr>
              <a:t>Zukünftige</a:t>
            </a:r>
            <a:r>
              <a:rPr lang="en-GB" sz="1400" b="1">
                <a:solidFill>
                  <a:srgbClr val="003C50"/>
                </a:solidFill>
                <a:latin typeface="Roboto" panose="02000000000000000000" pitchFamily="2" charset="0"/>
              </a:rPr>
              <a:t> </a:t>
            </a:r>
            <a:r>
              <a:rPr lang="en-GB" sz="1400" b="1" err="1">
                <a:solidFill>
                  <a:srgbClr val="003C50"/>
                </a:solidFill>
                <a:latin typeface="Roboto" panose="02000000000000000000" pitchFamily="2" charset="0"/>
              </a:rPr>
              <a:t>Heizungstechnologien</a:t>
            </a:r>
            <a:r>
              <a:rPr lang="en-GB" sz="1400" b="1">
                <a:solidFill>
                  <a:srgbClr val="003C50"/>
                </a:solidFill>
                <a:latin typeface="Roboto" panose="02000000000000000000" pitchFamily="2" charset="0"/>
              </a:rPr>
              <a:t>:</a:t>
            </a:r>
          </a:p>
          <a:p>
            <a:pPr marL="180023" indent="-180023">
              <a:buClr>
                <a:srgbClr val="003C50"/>
              </a:buClr>
              <a:buFont typeface="Wingdings" panose="05000000000000000000" pitchFamily="2" charset="2"/>
              <a:buChar char="§"/>
            </a:pPr>
            <a:endParaRPr lang="de-DE" sz="1400" b="1">
              <a:solidFill>
                <a:srgbClr val="003C50"/>
              </a:solidFill>
              <a:latin typeface="Roboto" panose="02000000000000000000" pitchFamily="2" charset="0"/>
            </a:endParaRPr>
          </a:p>
          <a:p>
            <a:pPr marL="360045" lvl="1" indent="-180023">
              <a:buClr>
                <a:srgbClr val="668A96"/>
              </a:buClr>
              <a:buFont typeface="Wingdings" panose="05000000000000000000" pitchFamily="2" charset="2"/>
              <a:buChar char="§"/>
            </a:pPr>
            <a:endParaRPr lang="de-DE" sz="1400">
              <a:solidFill>
                <a:srgbClr val="003C50"/>
              </a:solidFill>
              <a:latin typeface="Roboto" panose="02000000000000000000" pitchFamily="2" charset="0"/>
            </a:endParaRPr>
          </a:p>
          <a:p>
            <a:pPr marL="180022" lvl="1">
              <a:buClr>
                <a:srgbClr val="668A96"/>
              </a:buClr>
            </a:pPr>
            <a:endParaRPr lang="de-DE" sz="1400">
              <a:solidFill>
                <a:srgbClr val="003C50"/>
              </a:solidFill>
              <a:latin typeface="Roboto" panose="02000000000000000000" pitchFamily="2" charset="0"/>
            </a:endParaRPr>
          </a:p>
          <a:p>
            <a:pPr marL="180022" lvl="1">
              <a:buClr>
                <a:srgbClr val="668A96"/>
              </a:buClr>
            </a:pPr>
            <a:endParaRPr lang="de-DE" sz="1400">
              <a:solidFill>
                <a:srgbClr val="003C50"/>
              </a:solidFill>
              <a:latin typeface="Roboto" panose="02000000000000000000" pitchFamily="2" charset="0"/>
            </a:endParaRPr>
          </a:p>
          <a:p>
            <a:pPr marL="360045" lvl="1" indent="-180023">
              <a:buClr>
                <a:srgbClr val="668A96"/>
              </a:buClr>
              <a:buFont typeface="Wingdings" panose="05000000000000000000" pitchFamily="2" charset="2"/>
              <a:buChar char="§"/>
            </a:pPr>
            <a:endParaRPr lang="en-GB" sz="1400">
              <a:solidFill>
                <a:srgbClr val="003C50"/>
              </a:solidFill>
              <a:latin typeface="Roboto" panose="02000000000000000000" pitchFamily="2" charset="0"/>
            </a:endParaRPr>
          </a:p>
        </p:txBody>
      </p:sp>
      <p:sp>
        <p:nvSpPr>
          <p:cNvPr id="18" name="box_header_2">
            <a:extLst>
              <a:ext uri="{FF2B5EF4-FFF2-40B4-BE49-F238E27FC236}">
                <a16:creationId xmlns:a16="http://schemas.microsoft.com/office/drawing/2014/main" id="{46EFAFB9-8D14-CC2A-5204-63E3C41BDBEE}"/>
              </a:ext>
            </a:extLst>
          </p:cNvPr>
          <p:cNvSpPr/>
          <p:nvPr>
            <p:custDataLst>
              <p:tags r:id="rId6"/>
            </p:custDataLst>
          </p:nvPr>
        </p:nvSpPr>
        <p:spPr bwMode="gray">
          <a:xfrm>
            <a:off x="5195643" y="1008965"/>
            <a:ext cx="4383121" cy="515832"/>
          </a:xfrm>
          <a:custGeom>
            <a:avLst/>
            <a:gdLst/>
            <a:ahLst/>
            <a:cxnLst/>
            <a:rect l="0" t="0" r="0" b="0"/>
            <a:pathLst>
              <a:path w="4632286" h="468059">
                <a:moveTo>
                  <a:pt x="0" y="0"/>
                </a:moveTo>
                <a:lnTo>
                  <a:pt x="4632285" y="0"/>
                </a:lnTo>
                <a:lnTo>
                  <a:pt x="4632285" y="360045"/>
                </a:lnTo>
                <a:lnTo>
                  <a:pt x="2424157" y="360045"/>
                </a:lnTo>
                <a:lnTo>
                  <a:pt x="2316143" y="468058"/>
                </a:lnTo>
                <a:lnTo>
                  <a:pt x="2208129" y="360045"/>
                </a:lnTo>
                <a:lnTo>
                  <a:pt x="0" y="360045"/>
                </a:lnTo>
                <a:close/>
              </a:path>
            </a:pathLst>
          </a:custGeom>
          <a:noFill/>
          <a:ln w="222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algn="ctr"/>
            <a:endParaRPr lang="en-GB" sz="1400" err="1">
              <a:solidFill>
                <a:srgbClr val="003C50"/>
              </a:solidFill>
              <a:latin typeface="Roboto" panose="02000000000000000000" pitchFamily="2" charset="0"/>
            </a:endParaRPr>
          </a:p>
        </p:txBody>
      </p:sp>
      <p:sp>
        <p:nvSpPr>
          <p:cNvPr id="19" name="box_header_text_2">
            <a:extLst>
              <a:ext uri="{FF2B5EF4-FFF2-40B4-BE49-F238E27FC236}">
                <a16:creationId xmlns:a16="http://schemas.microsoft.com/office/drawing/2014/main" id="{A2611C37-D41C-9EB8-EF6D-60F8AB49930F}"/>
              </a:ext>
            </a:extLst>
          </p:cNvPr>
          <p:cNvSpPr/>
          <p:nvPr>
            <p:custDataLst>
              <p:tags r:id="rId7"/>
            </p:custDataLst>
          </p:nvPr>
        </p:nvSpPr>
        <p:spPr bwMode="gray">
          <a:xfrm>
            <a:off x="5195643" y="1008965"/>
            <a:ext cx="4383120" cy="396793"/>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72009" tIns="72009" rIns="72009" bIns="72009" rtlCol="0" anchor="ctr">
            <a:noAutofit/>
          </a:bodyPr>
          <a:lstStyle/>
          <a:p>
            <a:pPr algn="ctr"/>
            <a:r>
              <a:rPr lang="en-GB" sz="1200" b="1">
                <a:solidFill>
                  <a:schemeClr val="tx1"/>
                </a:solidFill>
                <a:latin typeface="Roboto" panose="02000000000000000000" pitchFamily="2" charset="0"/>
              </a:rPr>
              <a:t>GMG</a:t>
            </a:r>
          </a:p>
        </p:txBody>
      </p:sp>
      <p:sp>
        <p:nvSpPr>
          <p:cNvPr id="21" name="block_arrow">
            <a:extLst>
              <a:ext uri="{FF2B5EF4-FFF2-40B4-BE49-F238E27FC236}">
                <a16:creationId xmlns:a16="http://schemas.microsoft.com/office/drawing/2014/main" id="{609B8B4F-A71A-CCB8-B2E9-5428B1713943}"/>
              </a:ext>
            </a:extLst>
          </p:cNvPr>
          <p:cNvSpPr>
            <a:spLocks noChangeAspect="1"/>
          </p:cNvSpPr>
          <p:nvPr/>
        </p:nvSpPr>
        <p:spPr bwMode="white">
          <a:xfrm>
            <a:off x="4768549" y="2779398"/>
            <a:ext cx="252031" cy="770176"/>
          </a:xfrm>
          <a:prstGeom prst="chevron">
            <a:avLst>
              <a:gd name="adj" fmla="val 71429"/>
            </a:avLst>
          </a:prstGeom>
          <a:noFill/>
          <a:ln w="254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grpSp>
        <p:nvGrpSpPr>
          <p:cNvPr id="32" name="Group 31">
            <a:extLst>
              <a:ext uri="{FF2B5EF4-FFF2-40B4-BE49-F238E27FC236}">
                <a16:creationId xmlns:a16="http://schemas.microsoft.com/office/drawing/2014/main" id="{1DB8DB99-D5FB-CA5B-5690-8F3A8A14C93A}"/>
              </a:ext>
            </a:extLst>
          </p:cNvPr>
          <p:cNvGrpSpPr>
            <a:grpSpLocks noChangeAspect="1"/>
          </p:cNvGrpSpPr>
          <p:nvPr>
            <p:custDataLst>
              <p:tags r:id="rId8"/>
            </p:custDataLst>
          </p:nvPr>
        </p:nvGrpSpPr>
        <p:grpSpPr>
          <a:xfrm>
            <a:off x="227904" y="1573419"/>
            <a:ext cx="293327" cy="293327"/>
            <a:chOff x="1270000" y="1270000"/>
            <a:chExt cx="889000" cy="889000"/>
          </a:xfrm>
          <a:solidFill>
            <a:schemeClr val="accent1"/>
          </a:solidFill>
          <a:effectLst>
            <a:outerShdw blurRad="50800" dist="38100" dir="2700000" sx="86000" sy="86000" algn="tl" rotWithShape="0">
              <a:schemeClr val="accent1">
                <a:alpha val="40000"/>
              </a:schemeClr>
            </a:outerShdw>
          </a:effectLst>
        </p:grpSpPr>
        <p:sp>
          <p:nvSpPr>
            <p:cNvPr id="29" name="Rectangle 28" hidden="1">
              <a:extLst>
                <a:ext uri="{FF2B5EF4-FFF2-40B4-BE49-F238E27FC236}">
                  <a16:creationId xmlns:a16="http://schemas.microsoft.com/office/drawing/2014/main" id="{14337399-720F-927E-1AB1-993F0549CF99}"/>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pic>
          <p:nvPicPr>
            <p:cNvPr id="31" name="Graphic 30">
              <a:extLst>
                <a:ext uri="{FF2B5EF4-FFF2-40B4-BE49-F238E27FC236}">
                  <a16:creationId xmlns:a16="http://schemas.microsoft.com/office/drawing/2014/main" id="{458446D8-57A1-2D81-B407-7AC1402B380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270000" y="1270000"/>
              <a:ext cx="889000" cy="889000"/>
            </a:xfrm>
            <a:prstGeom prst="rect">
              <a:avLst/>
            </a:prstGeom>
          </p:spPr>
        </p:pic>
      </p:grpSp>
      <p:grpSp>
        <p:nvGrpSpPr>
          <p:cNvPr id="51" name="Group 50">
            <a:extLst>
              <a:ext uri="{FF2B5EF4-FFF2-40B4-BE49-F238E27FC236}">
                <a16:creationId xmlns:a16="http://schemas.microsoft.com/office/drawing/2014/main" id="{1B394181-1BFE-64D5-48EB-BB396D55F350}"/>
              </a:ext>
            </a:extLst>
          </p:cNvPr>
          <p:cNvGrpSpPr>
            <a:grpSpLocks noChangeAspect="1"/>
          </p:cNvGrpSpPr>
          <p:nvPr>
            <p:custDataLst>
              <p:tags r:id="rId9"/>
            </p:custDataLst>
          </p:nvPr>
        </p:nvGrpSpPr>
        <p:grpSpPr>
          <a:xfrm>
            <a:off x="5195642" y="1573419"/>
            <a:ext cx="293327" cy="293327"/>
            <a:chOff x="1270000" y="1270000"/>
            <a:chExt cx="889000" cy="889000"/>
          </a:xfrm>
          <a:solidFill>
            <a:schemeClr val="bg2"/>
          </a:solidFill>
          <a:effectLst>
            <a:outerShdw blurRad="50800" dist="38100" dir="2700000" sx="86000" sy="86000" algn="tl" rotWithShape="0">
              <a:schemeClr val="bg2">
                <a:alpha val="40000"/>
              </a:schemeClr>
            </a:outerShdw>
          </a:effectLst>
        </p:grpSpPr>
        <p:sp>
          <p:nvSpPr>
            <p:cNvPr id="52" name="Rectangle 51" hidden="1">
              <a:extLst>
                <a:ext uri="{FF2B5EF4-FFF2-40B4-BE49-F238E27FC236}">
                  <a16:creationId xmlns:a16="http://schemas.microsoft.com/office/drawing/2014/main" id="{08D504AD-8F68-1FCE-F430-7BC7AF764055}"/>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pic>
          <p:nvPicPr>
            <p:cNvPr id="53" name="Graphic 52">
              <a:extLst>
                <a:ext uri="{FF2B5EF4-FFF2-40B4-BE49-F238E27FC236}">
                  <a16:creationId xmlns:a16="http://schemas.microsoft.com/office/drawing/2014/main" id="{284FDC0F-4A09-FEDA-4FCF-7D947FA7E72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270000" y="1270000"/>
              <a:ext cx="889000" cy="889000"/>
            </a:xfrm>
            <a:prstGeom prst="rect">
              <a:avLst/>
            </a:prstGeom>
          </p:spPr>
        </p:pic>
      </p:grpSp>
      <p:sp>
        <p:nvSpPr>
          <p:cNvPr id="60" name="Explosion: 8 Points 59">
            <a:extLst>
              <a:ext uri="{FF2B5EF4-FFF2-40B4-BE49-F238E27FC236}">
                <a16:creationId xmlns:a16="http://schemas.microsoft.com/office/drawing/2014/main" id="{66716D6D-9B31-4085-D89F-B9120D904D15}"/>
              </a:ext>
            </a:extLst>
          </p:cNvPr>
          <p:cNvSpPr/>
          <p:nvPr/>
        </p:nvSpPr>
        <p:spPr bwMode="gray">
          <a:xfrm rot="580814">
            <a:off x="8939223" y="941048"/>
            <a:ext cx="833305" cy="469898"/>
          </a:xfrm>
          <a:prstGeom prst="irregularSeal1">
            <a:avLst/>
          </a:prstGeom>
          <a:solidFill>
            <a:schemeClr val="bg2"/>
          </a:solidFill>
          <a:ln w="9525">
            <a:solidFill>
              <a:schemeClr val="bg2"/>
            </a:solidFill>
          </a:ln>
          <a:effectLst>
            <a:glow rad="63500">
              <a:schemeClr val="accent2">
                <a:satMod val="175000"/>
                <a:alpha val="29000"/>
              </a:schemeClr>
            </a:glo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de-DE" sz="1000">
                <a:solidFill>
                  <a:schemeClr val="bg1"/>
                </a:solidFill>
              </a:rPr>
              <a:t>NEU</a:t>
            </a:r>
            <a:endParaRPr lang="en-GB" sz="1000" err="1">
              <a:solidFill>
                <a:schemeClr val="bg1"/>
              </a:solidFill>
            </a:endParaRPr>
          </a:p>
        </p:txBody>
      </p:sp>
      <p:grpSp>
        <p:nvGrpSpPr>
          <p:cNvPr id="34" name="Group 33">
            <a:extLst>
              <a:ext uri="{FF2B5EF4-FFF2-40B4-BE49-F238E27FC236}">
                <a16:creationId xmlns:a16="http://schemas.microsoft.com/office/drawing/2014/main" id="{A3DFBF7C-9490-5DCF-93B9-52232A255395}"/>
              </a:ext>
            </a:extLst>
          </p:cNvPr>
          <p:cNvGrpSpPr>
            <a:grpSpLocks noChangeAspect="1"/>
          </p:cNvGrpSpPr>
          <p:nvPr>
            <p:custDataLst>
              <p:tags r:id="rId10"/>
            </p:custDataLst>
          </p:nvPr>
        </p:nvGrpSpPr>
        <p:grpSpPr>
          <a:xfrm>
            <a:off x="227903" y="2251905"/>
            <a:ext cx="293327" cy="293327"/>
            <a:chOff x="1270000" y="1270000"/>
            <a:chExt cx="889000" cy="889000"/>
          </a:xfrm>
          <a:solidFill>
            <a:schemeClr val="accent1"/>
          </a:solidFill>
          <a:effectLst/>
        </p:grpSpPr>
        <p:sp>
          <p:nvSpPr>
            <p:cNvPr id="26" name="Rectangle 25" hidden="1">
              <a:extLst>
                <a:ext uri="{FF2B5EF4-FFF2-40B4-BE49-F238E27FC236}">
                  <a16:creationId xmlns:a16="http://schemas.microsoft.com/office/drawing/2014/main" id="{05D2F436-84D8-B745-02B6-41204330A763}"/>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pic>
          <p:nvPicPr>
            <p:cNvPr id="33" name="Graphic 32">
              <a:extLst>
                <a:ext uri="{FF2B5EF4-FFF2-40B4-BE49-F238E27FC236}">
                  <a16:creationId xmlns:a16="http://schemas.microsoft.com/office/drawing/2014/main" id="{5A87C40D-4D84-91AA-6025-7796D635D2B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270000" y="1270000"/>
              <a:ext cx="889000" cy="889000"/>
            </a:xfrm>
            <a:prstGeom prst="rect">
              <a:avLst/>
            </a:prstGeom>
          </p:spPr>
        </p:pic>
      </p:grpSp>
      <p:grpSp>
        <p:nvGrpSpPr>
          <p:cNvPr id="35" name="Group 34">
            <a:extLst>
              <a:ext uri="{FF2B5EF4-FFF2-40B4-BE49-F238E27FC236}">
                <a16:creationId xmlns:a16="http://schemas.microsoft.com/office/drawing/2014/main" id="{C87FA08E-2326-0E5B-4D78-60C61581BF97}"/>
              </a:ext>
            </a:extLst>
          </p:cNvPr>
          <p:cNvGrpSpPr>
            <a:grpSpLocks noChangeAspect="1"/>
          </p:cNvGrpSpPr>
          <p:nvPr>
            <p:custDataLst>
              <p:tags r:id="rId11"/>
            </p:custDataLst>
          </p:nvPr>
        </p:nvGrpSpPr>
        <p:grpSpPr>
          <a:xfrm>
            <a:off x="5195642" y="2206921"/>
            <a:ext cx="293327" cy="293327"/>
            <a:chOff x="1270000" y="1270000"/>
            <a:chExt cx="889000" cy="889000"/>
          </a:xfrm>
          <a:solidFill>
            <a:schemeClr val="bg2"/>
          </a:solidFill>
          <a:effectLst/>
        </p:grpSpPr>
        <p:sp>
          <p:nvSpPr>
            <p:cNvPr id="36" name="Rectangle 35" hidden="1">
              <a:extLst>
                <a:ext uri="{FF2B5EF4-FFF2-40B4-BE49-F238E27FC236}">
                  <a16:creationId xmlns:a16="http://schemas.microsoft.com/office/drawing/2014/main" id="{9D399614-8633-8513-DCB1-8BBB5754B997}"/>
                </a:ext>
              </a:extLst>
            </p:cNvPr>
            <p:cNvSpPr/>
            <p:nvPr/>
          </p:nvSpPr>
          <p:spPr bwMode="gray">
            <a:xfrm>
              <a:off x="1270000" y="1270000"/>
              <a:ext cx="889000" cy="889000"/>
            </a:xfrm>
            <a:prstGeom prst="rect">
              <a:avLst/>
            </a:prstGeom>
            <a:grp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pic>
          <p:nvPicPr>
            <p:cNvPr id="38" name="Graphic 37">
              <a:extLst>
                <a:ext uri="{FF2B5EF4-FFF2-40B4-BE49-F238E27FC236}">
                  <a16:creationId xmlns:a16="http://schemas.microsoft.com/office/drawing/2014/main" id="{951B1411-627C-31E1-2FD1-D3A30A250EFA}"/>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270000" y="1270000"/>
              <a:ext cx="889000" cy="889000"/>
            </a:xfrm>
            <a:prstGeom prst="rect">
              <a:avLst/>
            </a:prstGeom>
          </p:spPr>
        </p:pic>
      </p:grpSp>
      <p:cxnSp>
        <p:nvCxnSpPr>
          <p:cNvPr id="123" name="Straight Connector 122">
            <a:extLst>
              <a:ext uri="{FF2B5EF4-FFF2-40B4-BE49-F238E27FC236}">
                <a16:creationId xmlns:a16="http://schemas.microsoft.com/office/drawing/2014/main" id="{0025EBCA-C976-03BD-B7E6-9CA2A74A6B10}"/>
              </a:ext>
            </a:extLst>
          </p:cNvPr>
          <p:cNvCxnSpPr/>
          <p:nvPr/>
        </p:nvCxnSpPr>
        <p:spPr>
          <a:xfrm flipH="1">
            <a:off x="247541" y="2261334"/>
            <a:ext cx="293327" cy="29332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21" name="Freeform: Shape 420">
            <a:extLst>
              <a:ext uri="{FF2B5EF4-FFF2-40B4-BE49-F238E27FC236}">
                <a16:creationId xmlns:a16="http://schemas.microsoft.com/office/drawing/2014/main" id="{077018CD-6CEB-E47E-321D-B68F51478E89}"/>
              </a:ext>
            </a:extLst>
          </p:cNvPr>
          <p:cNvSpPr/>
          <p:nvPr/>
        </p:nvSpPr>
        <p:spPr>
          <a:xfrm>
            <a:off x="-224581" y="2396716"/>
            <a:ext cx="637927" cy="92558"/>
          </a:xfrm>
          <a:custGeom>
            <a:avLst/>
            <a:gdLst>
              <a:gd name="connsiteX0" fmla="*/ 0 w 1279445"/>
              <a:gd name="connsiteY0" fmla="*/ 0 h 185637"/>
              <a:gd name="connsiteX1" fmla="*/ 1279445 w 1279445"/>
              <a:gd name="connsiteY1" fmla="*/ 0 h 185637"/>
              <a:gd name="connsiteX2" fmla="*/ 1279445 w 1279445"/>
              <a:gd name="connsiteY2" fmla="*/ 185638 h 185637"/>
              <a:gd name="connsiteX3" fmla="*/ 0 w 1279445"/>
              <a:gd name="connsiteY3" fmla="*/ 185638 h 185637"/>
            </a:gdLst>
            <a:ahLst/>
            <a:cxnLst>
              <a:cxn ang="0">
                <a:pos x="connsiteX0" y="connsiteY0"/>
              </a:cxn>
              <a:cxn ang="0">
                <a:pos x="connsiteX1" y="connsiteY1"/>
              </a:cxn>
              <a:cxn ang="0">
                <a:pos x="connsiteX2" y="connsiteY2"/>
              </a:cxn>
              <a:cxn ang="0">
                <a:pos x="connsiteX3" y="connsiteY3"/>
              </a:cxn>
            </a:cxnLst>
            <a:rect l="l" t="t" r="r" b="b"/>
            <a:pathLst>
              <a:path w="1279445" h="185637">
                <a:moveTo>
                  <a:pt x="0" y="0"/>
                </a:moveTo>
                <a:lnTo>
                  <a:pt x="1279445" y="0"/>
                </a:lnTo>
                <a:lnTo>
                  <a:pt x="1279445" y="185638"/>
                </a:lnTo>
                <a:lnTo>
                  <a:pt x="0" y="185638"/>
                </a:lnTo>
                <a:close/>
              </a:path>
            </a:pathLst>
          </a:custGeom>
          <a:noFill/>
          <a:ln w="2597" cap="flat">
            <a:noFill/>
            <a:prstDash val="solid"/>
            <a:miter/>
          </a:ln>
        </p:spPr>
        <p:txBody>
          <a:bodyPr rtlCol="0" anchor="ctr"/>
          <a:lstStyle/>
          <a:p>
            <a:endParaRPr lang="en-GB"/>
          </a:p>
        </p:txBody>
      </p:sp>
      <p:grpSp>
        <p:nvGrpSpPr>
          <p:cNvPr id="22" name="Graphic 6">
            <a:extLst>
              <a:ext uri="{FF2B5EF4-FFF2-40B4-BE49-F238E27FC236}">
                <a16:creationId xmlns:a16="http://schemas.microsoft.com/office/drawing/2014/main" id="{70DC17E5-163C-A944-FF1B-DC53E4738A37}"/>
              </a:ext>
            </a:extLst>
          </p:cNvPr>
          <p:cNvGrpSpPr/>
          <p:nvPr/>
        </p:nvGrpSpPr>
        <p:grpSpPr>
          <a:xfrm>
            <a:off x="3347226" y="4551361"/>
            <a:ext cx="424314" cy="515832"/>
            <a:chOff x="7307489" y="3354997"/>
            <a:chExt cx="851012" cy="1034564"/>
          </a:xfrm>
        </p:grpSpPr>
        <p:grpSp>
          <p:nvGrpSpPr>
            <p:cNvPr id="23" name="Graphic 6">
              <a:extLst>
                <a:ext uri="{FF2B5EF4-FFF2-40B4-BE49-F238E27FC236}">
                  <a16:creationId xmlns:a16="http://schemas.microsoft.com/office/drawing/2014/main" id="{FB2C205F-4DE1-5091-4108-903C8017B1C9}"/>
                </a:ext>
              </a:extLst>
            </p:cNvPr>
            <p:cNvGrpSpPr/>
            <p:nvPr/>
          </p:nvGrpSpPr>
          <p:grpSpPr>
            <a:xfrm>
              <a:off x="7339468" y="4044805"/>
              <a:ext cx="272476" cy="344755"/>
              <a:chOff x="7339468" y="4044805"/>
              <a:chExt cx="272476" cy="344755"/>
            </a:xfrm>
            <a:solidFill>
              <a:srgbClr val="0069FF"/>
            </a:solidFill>
          </p:grpSpPr>
          <p:sp>
            <p:nvSpPr>
              <p:cNvPr id="124" name="Freeform: Shape 123">
                <a:extLst>
                  <a:ext uri="{FF2B5EF4-FFF2-40B4-BE49-F238E27FC236}">
                    <a16:creationId xmlns:a16="http://schemas.microsoft.com/office/drawing/2014/main" id="{7BE5D777-F604-C4FE-D052-A34B13CB1A85}"/>
                  </a:ext>
                </a:extLst>
              </p:cNvPr>
              <p:cNvSpPr/>
              <p:nvPr/>
            </p:nvSpPr>
            <p:spPr>
              <a:xfrm>
                <a:off x="7344668" y="4049745"/>
                <a:ext cx="262076" cy="334356"/>
              </a:xfrm>
              <a:custGeom>
                <a:avLst/>
                <a:gdLst>
                  <a:gd name="connsiteX0" fmla="*/ 0 w 262076"/>
                  <a:gd name="connsiteY0" fmla="*/ 0 h 334356"/>
                  <a:gd name="connsiteX1" fmla="*/ 262077 w 262076"/>
                  <a:gd name="connsiteY1" fmla="*/ 0 h 334356"/>
                  <a:gd name="connsiteX2" fmla="*/ 262077 w 262076"/>
                  <a:gd name="connsiteY2" fmla="*/ 334356 h 334356"/>
                  <a:gd name="connsiteX3" fmla="*/ 0 w 262076"/>
                  <a:gd name="connsiteY3" fmla="*/ 334356 h 334356"/>
                </a:gdLst>
                <a:ahLst/>
                <a:cxnLst>
                  <a:cxn ang="0">
                    <a:pos x="connsiteX0" y="connsiteY0"/>
                  </a:cxn>
                  <a:cxn ang="0">
                    <a:pos x="connsiteX1" y="connsiteY1"/>
                  </a:cxn>
                  <a:cxn ang="0">
                    <a:pos x="connsiteX2" y="connsiteY2"/>
                  </a:cxn>
                  <a:cxn ang="0">
                    <a:pos x="connsiteX3" y="connsiteY3"/>
                  </a:cxn>
                </a:cxnLst>
                <a:rect l="l" t="t" r="r" b="b"/>
                <a:pathLst>
                  <a:path w="262076" h="334356">
                    <a:moveTo>
                      <a:pt x="0" y="0"/>
                    </a:moveTo>
                    <a:lnTo>
                      <a:pt x="262077" y="0"/>
                    </a:lnTo>
                    <a:lnTo>
                      <a:pt x="262077" y="334356"/>
                    </a:lnTo>
                    <a:lnTo>
                      <a:pt x="0" y="334356"/>
                    </a:lnTo>
                    <a:close/>
                  </a:path>
                </a:pathLst>
              </a:custGeom>
              <a:solidFill>
                <a:srgbClr val="0069FF"/>
              </a:solidFill>
              <a:ln w="2597" cap="flat">
                <a:noFill/>
                <a:prstDash val="solid"/>
                <a:miter/>
              </a:ln>
            </p:spPr>
            <p:txBody>
              <a:bodyPr rtlCol="0" anchor="ctr"/>
              <a:lstStyle/>
              <a:p>
                <a:endParaRPr lang="en-GB"/>
              </a:p>
            </p:txBody>
          </p:sp>
          <p:sp>
            <p:nvSpPr>
              <p:cNvPr id="125" name="Freeform: Shape 124">
                <a:extLst>
                  <a:ext uri="{FF2B5EF4-FFF2-40B4-BE49-F238E27FC236}">
                    <a16:creationId xmlns:a16="http://schemas.microsoft.com/office/drawing/2014/main" id="{87B26C20-99BD-FE68-8B9E-4548DA5712DA}"/>
                  </a:ext>
                </a:extLst>
              </p:cNvPr>
              <p:cNvSpPr/>
              <p:nvPr/>
            </p:nvSpPr>
            <p:spPr>
              <a:xfrm>
                <a:off x="7339468" y="4044805"/>
                <a:ext cx="272476" cy="344755"/>
              </a:xfrm>
              <a:custGeom>
                <a:avLst/>
                <a:gdLst>
                  <a:gd name="connsiteX0" fmla="*/ 267277 w 272476"/>
                  <a:gd name="connsiteY0" fmla="*/ 344756 h 344755"/>
                  <a:gd name="connsiteX1" fmla="*/ 5200 w 272476"/>
                  <a:gd name="connsiteY1" fmla="*/ 344756 h 344755"/>
                  <a:gd name="connsiteX2" fmla="*/ 0 w 272476"/>
                  <a:gd name="connsiteY2" fmla="*/ 339556 h 344755"/>
                  <a:gd name="connsiteX3" fmla="*/ 0 w 272476"/>
                  <a:gd name="connsiteY3" fmla="*/ 5200 h 344755"/>
                  <a:gd name="connsiteX4" fmla="*/ 5200 w 272476"/>
                  <a:gd name="connsiteY4" fmla="*/ 0 h 344755"/>
                  <a:gd name="connsiteX5" fmla="*/ 267277 w 272476"/>
                  <a:gd name="connsiteY5" fmla="*/ 0 h 344755"/>
                  <a:gd name="connsiteX6" fmla="*/ 272477 w 272476"/>
                  <a:gd name="connsiteY6" fmla="*/ 5200 h 344755"/>
                  <a:gd name="connsiteX7" fmla="*/ 272477 w 272476"/>
                  <a:gd name="connsiteY7" fmla="*/ 339556 h 344755"/>
                  <a:gd name="connsiteX8" fmla="*/ 267277 w 272476"/>
                  <a:gd name="connsiteY8" fmla="*/ 344756 h 344755"/>
                  <a:gd name="connsiteX9" fmla="*/ 10400 w 272476"/>
                  <a:gd name="connsiteY9" fmla="*/ 334096 h 344755"/>
                  <a:gd name="connsiteX10" fmla="*/ 261817 w 272476"/>
                  <a:gd name="connsiteY10" fmla="*/ 334096 h 344755"/>
                  <a:gd name="connsiteX11" fmla="*/ 261817 w 272476"/>
                  <a:gd name="connsiteY11" fmla="*/ 10400 h 344755"/>
                  <a:gd name="connsiteX12" fmla="*/ 10400 w 272476"/>
                  <a:gd name="connsiteY12" fmla="*/ 10400 h 344755"/>
                  <a:gd name="connsiteX13" fmla="*/ 10400 w 272476"/>
                  <a:gd name="connsiteY13" fmla="*/ 334096 h 344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2476" h="344755">
                    <a:moveTo>
                      <a:pt x="267277" y="344756"/>
                    </a:moveTo>
                    <a:lnTo>
                      <a:pt x="5200" y="344756"/>
                    </a:lnTo>
                    <a:cubicBezTo>
                      <a:pt x="2080" y="344756"/>
                      <a:pt x="0" y="342676"/>
                      <a:pt x="0" y="339556"/>
                    </a:cubicBezTo>
                    <a:lnTo>
                      <a:pt x="0" y="5200"/>
                    </a:lnTo>
                    <a:cubicBezTo>
                      <a:pt x="0" y="2080"/>
                      <a:pt x="2080" y="0"/>
                      <a:pt x="5200" y="0"/>
                    </a:cubicBezTo>
                    <a:lnTo>
                      <a:pt x="267277" y="0"/>
                    </a:lnTo>
                    <a:cubicBezTo>
                      <a:pt x="270397" y="0"/>
                      <a:pt x="272477" y="2080"/>
                      <a:pt x="272477" y="5200"/>
                    </a:cubicBezTo>
                    <a:lnTo>
                      <a:pt x="272477" y="339556"/>
                    </a:lnTo>
                    <a:cubicBezTo>
                      <a:pt x="272477" y="342676"/>
                      <a:pt x="270397" y="344756"/>
                      <a:pt x="267277" y="344756"/>
                    </a:cubicBezTo>
                    <a:close/>
                    <a:moveTo>
                      <a:pt x="10400" y="334096"/>
                    </a:moveTo>
                    <a:lnTo>
                      <a:pt x="261817" y="334096"/>
                    </a:lnTo>
                    <a:lnTo>
                      <a:pt x="261817" y="10400"/>
                    </a:lnTo>
                    <a:lnTo>
                      <a:pt x="10400" y="10400"/>
                    </a:lnTo>
                    <a:lnTo>
                      <a:pt x="10400" y="334096"/>
                    </a:lnTo>
                    <a:close/>
                  </a:path>
                </a:pathLst>
              </a:custGeom>
              <a:solidFill>
                <a:srgbClr val="0069FF"/>
              </a:solidFill>
              <a:ln w="2597" cap="flat">
                <a:noFill/>
                <a:prstDash val="solid"/>
                <a:miter/>
              </a:ln>
            </p:spPr>
            <p:txBody>
              <a:bodyPr rtlCol="0" anchor="ctr"/>
              <a:lstStyle/>
              <a:p>
                <a:endParaRPr lang="en-GB"/>
              </a:p>
            </p:txBody>
          </p:sp>
        </p:grpSp>
        <p:sp>
          <p:nvSpPr>
            <p:cNvPr id="24" name="Freeform: Shape 23">
              <a:extLst>
                <a:ext uri="{FF2B5EF4-FFF2-40B4-BE49-F238E27FC236}">
                  <a16:creationId xmlns:a16="http://schemas.microsoft.com/office/drawing/2014/main" id="{53FB0825-C63F-5117-74B8-134AFCB6D048}"/>
                </a:ext>
              </a:extLst>
            </p:cNvPr>
            <p:cNvSpPr/>
            <p:nvPr/>
          </p:nvSpPr>
          <p:spPr>
            <a:xfrm>
              <a:off x="7307489" y="4012566"/>
              <a:ext cx="279237" cy="351515"/>
            </a:xfrm>
            <a:custGeom>
              <a:avLst/>
              <a:gdLst>
                <a:gd name="connsiteX0" fmla="*/ 270657 w 279237"/>
                <a:gd name="connsiteY0" fmla="*/ 351516 h 351515"/>
                <a:gd name="connsiteX1" fmla="*/ 8580 w 279237"/>
                <a:gd name="connsiteY1" fmla="*/ 351516 h 351515"/>
                <a:gd name="connsiteX2" fmla="*/ 0 w 279237"/>
                <a:gd name="connsiteY2" fmla="*/ 342936 h 351515"/>
                <a:gd name="connsiteX3" fmla="*/ 0 w 279237"/>
                <a:gd name="connsiteY3" fmla="*/ 8580 h 351515"/>
                <a:gd name="connsiteX4" fmla="*/ 8580 w 279237"/>
                <a:gd name="connsiteY4" fmla="*/ 0 h 351515"/>
                <a:gd name="connsiteX5" fmla="*/ 270657 w 279237"/>
                <a:gd name="connsiteY5" fmla="*/ 0 h 351515"/>
                <a:gd name="connsiteX6" fmla="*/ 279237 w 279237"/>
                <a:gd name="connsiteY6" fmla="*/ 8580 h 351515"/>
                <a:gd name="connsiteX7" fmla="*/ 279237 w 279237"/>
                <a:gd name="connsiteY7" fmla="*/ 342936 h 351515"/>
                <a:gd name="connsiteX8" fmla="*/ 270657 w 279237"/>
                <a:gd name="connsiteY8" fmla="*/ 351516 h 351515"/>
                <a:gd name="connsiteX9" fmla="*/ 15860 w 279237"/>
                <a:gd name="connsiteY9" fmla="*/ 334356 h 351515"/>
                <a:gd name="connsiteX10" fmla="*/ 262077 w 279237"/>
                <a:gd name="connsiteY10" fmla="*/ 334356 h 351515"/>
                <a:gd name="connsiteX11" fmla="*/ 262077 w 279237"/>
                <a:gd name="connsiteY11" fmla="*/ 15860 h 351515"/>
                <a:gd name="connsiteX12" fmla="*/ 15860 w 279237"/>
                <a:gd name="connsiteY12" fmla="*/ 15860 h 351515"/>
                <a:gd name="connsiteX13" fmla="*/ 15860 w 279237"/>
                <a:gd name="connsiteY13" fmla="*/ 334356 h 35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9237" h="351515">
                  <a:moveTo>
                    <a:pt x="270657" y="351516"/>
                  </a:moveTo>
                  <a:lnTo>
                    <a:pt x="8580" y="351516"/>
                  </a:lnTo>
                  <a:cubicBezTo>
                    <a:pt x="4420" y="351516"/>
                    <a:pt x="0" y="348396"/>
                    <a:pt x="0" y="342936"/>
                  </a:cubicBezTo>
                  <a:lnTo>
                    <a:pt x="0" y="8580"/>
                  </a:lnTo>
                  <a:cubicBezTo>
                    <a:pt x="0" y="4420"/>
                    <a:pt x="3120" y="0"/>
                    <a:pt x="8580" y="0"/>
                  </a:cubicBezTo>
                  <a:lnTo>
                    <a:pt x="270657" y="0"/>
                  </a:lnTo>
                  <a:cubicBezTo>
                    <a:pt x="274817" y="0"/>
                    <a:pt x="279237" y="3120"/>
                    <a:pt x="279237" y="8580"/>
                  </a:cubicBezTo>
                  <a:lnTo>
                    <a:pt x="279237" y="342936"/>
                  </a:lnTo>
                  <a:cubicBezTo>
                    <a:pt x="277937" y="347096"/>
                    <a:pt x="274817" y="351516"/>
                    <a:pt x="270657" y="351516"/>
                  </a:cubicBezTo>
                  <a:close/>
                  <a:moveTo>
                    <a:pt x="15860" y="334356"/>
                  </a:moveTo>
                  <a:lnTo>
                    <a:pt x="262077" y="334356"/>
                  </a:lnTo>
                  <a:lnTo>
                    <a:pt x="262077" y="15860"/>
                  </a:lnTo>
                  <a:lnTo>
                    <a:pt x="15860" y="15860"/>
                  </a:lnTo>
                  <a:lnTo>
                    <a:pt x="15860" y="334356"/>
                  </a:lnTo>
                  <a:close/>
                </a:path>
              </a:pathLst>
            </a:custGeom>
            <a:solidFill>
              <a:srgbClr val="00005A"/>
            </a:solidFill>
            <a:ln w="2597"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80FEA0A9-E6AA-7A11-60AC-0FB529EBC12E}"/>
                </a:ext>
              </a:extLst>
            </p:cNvPr>
            <p:cNvSpPr/>
            <p:nvPr/>
          </p:nvSpPr>
          <p:spPr>
            <a:xfrm>
              <a:off x="7307489" y="4124104"/>
              <a:ext cx="200718" cy="17159"/>
            </a:xfrm>
            <a:custGeom>
              <a:avLst/>
              <a:gdLst>
                <a:gd name="connsiteX0" fmla="*/ 192138 w 200718"/>
                <a:gd name="connsiteY0" fmla="*/ 17160 h 17159"/>
                <a:gd name="connsiteX1" fmla="*/ 8580 w 200718"/>
                <a:gd name="connsiteY1" fmla="*/ 17160 h 17159"/>
                <a:gd name="connsiteX2" fmla="*/ 0 w 200718"/>
                <a:gd name="connsiteY2" fmla="*/ 8580 h 17159"/>
                <a:gd name="connsiteX3" fmla="*/ 8580 w 200718"/>
                <a:gd name="connsiteY3" fmla="*/ 0 h 17159"/>
                <a:gd name="connsiteX4" fmla="*/ 192138 w 200718"/>
                <a:gd name="connsiteY4" fmla="*/ 0 h 17159"/>
                <a:gd name="connsiteX5" fmla="*/ 200718 w 200718"/>
                <a:gd name="connsiteY5" fmla="*/ 8580 h 17159"/>
                <a:gd name="connsiteX6" fmla="*/ 192138 w 20071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718" h="17159">
                  <a:moveTo>
                    <a:pt x="192138" y="17160"/>
                  </a:moveTo>
                  <a:lnTo>
                    <a:pt x="8580" y="17160"/>
                  </a:lnTo>
                  <a:cubicBezTo>
                    <a:pt x="4420" y="17160"/>
                    <a:pt x="0" y="14040"/>
                    <a:pt x="0" y="8580"/>
                  </a:cubicBezTo>
                  <a:cubicBezTo>
                    <a:pt x="0" y="3380"/>
                    <a:pt x="3120" y="0"/>
                    <a:pt x="8580" y="0"/>
                  </a:cubicBezTo>
                  <a:lnTo>
                    <a:pt x="192138" y="0"/>
                  </a:lnTo>
                  <a:cubicBezTo>
                    <a:pt x="196298" y="0"/>
                    <a:pt x="200718" y="3120"/>
                    <a:pt x="200718" y="8580"/>
                  </a:cubicBezTo>
                  <a:cubicBezTo>
                    <a:pt x="200458" y="13780"/>
                    <a:pt x="196298" y="17160"/>
                    <a:pt x="192138" y="17160"/>
                  </a:cubicBezTo>
                  <a:close/>
                </a:path>
              </a:pathLst>
            </a:custGeom>
            <a:solidFill>
              <a:srgbClr val="00005A"/>
            </a:solidFill>
            <a:ln w="2597"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61344B-6B9D-5114-B2EF-B059702223A9}"/>
                </a:ext>
              </a:extLst>
            </p:cNvPr>
            <p:cNvSpPr/>
            <p:nvPr/>
          </p:nvSpPr>
          <p:spPr>
            <a:xfrm>
              <a:off x="7491047" y="4012566"/>
              <a:ext cx="17160" cy="350475"/>
            </a:xfrm>
            <a:custGeom>
              <a:avLst/>
              <a:gdLst>
                <a:gd name="connsiteX0" fmla="*/ 8580 w 17160"/>
                <a:gd name="connsiteY0" fmla="*/ 350476 h 350475"/>
                <a:gd name="connsiteX1" fmla="*/ 0 w 17160"/>
                <a:gd name="connsiteY1" fmla="*/ 341896 h 350475"/>
                <a:gd name="connsiteX2" fmla="*/ 0 w 17160"/>
                <a:gd name="connsiteY2" fmla="*/ 8580 h 350475"/>
                <a:gd name="connsiteX3" fmla="*/ 8580 w 17160"/>
                <a:gd name="connsiteY3" fmla="*/ 0 h 350475"/>
                <a:gd name="connsiteX4" fmla="*/ 17160 w 17160"/>
                <a:gd name="connsiteY4" fmla="*/ 8580 h 350475"/>
                <a:gd name="connsiteX5" fmla="*/ 17160 w 17160"/>
                <a:gd name="connsiteY5" fmla="*/ 341896 h 350475"/>
                <a:gd name="connsiteX6" fmla="*/ 8580 w 17160"/>
                <a:gd name="connsiteY6" fmla="*/ 350476 h 35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60" h="350475">
                  <a:moveTo>
                    <a:pt x="8580" y="350476"/>
                  </a:moveTo>
                  <a:cubicBezTo>
                    <a:pt x="4420" y="350476"/>
                    <a:pt x="0" y="347356"/>
                    <a:pt x="0" y="341896"/>
                  </a:cubicBezTo>
                  <a:lnTo>
                    <a:pt x="0" y="8580"/>
                  </a:lnTo>
                  <a:cubicBezTo>
                    <a:pt x="0" y="4420"/>
                    <a:pt x="3120" y="0"/>
                    <a:pt x="8580" y="0"/>
                  </a:cubicBezTo>
                  <a:cubicBezTo>
                    <a:pt x="14040" y="0"/>
                    <a:pt x="17160" y="3120"/>
                    <a:pt x="17160" y="8580"/>
                  </a:cubicBezTo>
                  <a:lnTo>
                    <a:pt x="17160" y="341896"/>
                  </a:lnTo>
                  <a:cubicBezTo>
                    <a:pt x="15860" y="346056"/>
                    <a:pt x="12740" y="350476"/>
                    <a:pt x="8580" y="350476"/>
                  </a:cubicBezTo>
                  <a:close/>
                </a:path>
              </a:pathLst>
            </a:custGeom>
            <a:solidFill>
              <a:srgbClr val="00005A"/>
            </a:solidFill>
            <a:ln w="2597"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C62B57E4-9CAE-FAED-098D-9306FFA0337C}"/>
                </a:ext>
              </a:extLst>
            </p:cNvPr>
            <p:cNvSpPr/>
            <p:nvPr/>
          </p:nvSpPr>
          <p:spPr>
            <a:xfrm>
              <a:off x="7356368" y="4266323"/>
              <a:ext cx="99839" cy="17159"/>
            </a:xfrm>
            <a:custGeom>
              <a:avLst/>
              <a:gdLst>
                <a:gd name="connsiteX0" fmla="*/ 91259 w 99839"/>
                <a:gd name="connsiteY0" fmla="*/ 17160 h 17159"/>
                <a:gd name="connsiteX1" fmla="*/ 8580 w 99839"/>
                <a:gd name="connsiteY1" fmla="*/ 17160 h 17159"/>
                <a:gd name="connsiteX2" fmla="*/ 0 w 99839"/>
                <a:gd name="connsiteY2" fmla="*/ 8580 h 17159"/>
                <a:gd name="connsiteX3" fmla="*/ 8580 w 99839"/>
                <a:gd name="connsiteY3" fmla="*/ 0 h 17159"/>
                <a:gd name="connsiteX4" fmla="*/ 91259 w 99839"/>
                <a:gd name="connsiteY4" fmla="*/ 0 h 17159"/>
                <a:gd name="connsiteX5" fmla="*/ 99839 w 99839"/>
                <a:gd name="connsiteY5" fmla="*/ 8580 h 17159"/>
                <a:gd name="connsiteX6" fmla="*/ 91259 w 99839"/>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839" h="17159">
                  <a:moveTo>
                    <a:pt x="91259" y="17160"/>
                  </a:moveTo>
                  <a:lnTo>
                    <a:pt x="8580" y="17160"/>
                  </a:lnTo>
                  <a:cubicBezTo>
                    <a:pt x="4420" y="17160"/>
                    <a:pt x="0" y="14040"/>
                    <a:pt x="0" y="8580"/>
                  </a:cubicBezTo>
                  <a:cubicBezTo>
                    <a:pt x="0" y="3380"/>
                    <a:pt x="3120" y="0"/>
                    <a:pt x="8580" y="0"/>
                  </a:cubicBezTo>
                  <a:lnTo>
                    <a:pt x="91259" y="0"/>
                  </a:lnTo>
                  <a:cubicBezTo>
                    <a:pt x="95419" y="0"/>
                    <a:pt x="99839" y="3120"/>
                    <a:pt x="99839" y="8580"/>
                  </a:cubicBezTo>
                  <a:cubicBezTo>
                    <a:pt x="99579" y="13780"/>
                    <a:pt x="95419" y="17160"/>
                    <a:pt x="91259" y="17160"/>
                  </a:cubicBezTo>
                  <a:close/>
                </a:path>
              </a:pathLst>
            </a:custGeom>
            <a:solidFill>
              <a:srgbClr val="FFFFFF"/>
            </a:solidFill>
            <a:ln w="2597"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9A16706D-CC64-09CB-9C8C-73FB835D686E}"/>
                </a:ext>
              </a:extLst>
            </p:cNvPr>
            <p:cNvSpPr/>
            <p:nvPr/>
          </p:nvSpPr>
          <p:spPr>
            <a:xfrm>
              <a:off x="7356368" y="4299082"/>
              <a:ext cx="99839" cy="17159"/>
            </a:xfrm>
            <a:custGeom>
              <a:avLst/>
              <a:gdLst>
                <a:gd name="connsiteX0" fmla="*/ 91259 w 99839"/>
                <a:gd name="connsiteY0" fmla="*/ 17160 h 17159"/>
                <a:gd name="connsiteX1" fmla="*/ 8580 w 99839"/>
                <a:gd name="connsiteY1" fmla="*/ 17160 h 17159"/>
                <a:gd name="connsiteX2" fmla="*/ 0 w 99839"/>
                <a:gd name="connsiteY2" fmla="*/ 8580 h 17159"/>
                <a:gd name="connsiteX3" fmla="*/ 8580 w 99839"/>
                <a:gd name="connsiteY3" fmla="*/ 0 h 17159"/>
                <a:gd name="connsiteX4" fmla="*/ 91259 w 99839"/>
                <a:gd name="connsiteY4" fmla="*/ 0 h 17159"/>
                <a:gd name="connsiteX5" fmla="*/ 99839 w 99839"/>
                <a:gd name="connsiteY5" fmla="*/ 8580 h 17159"/>
                <a:gd name="connsiteX6" fmla="*/ 91259 w 99839"/>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839" h="17159">
                  <a:moveTo>
                    <a:pt x="91259" y="17160"/>
                  </a:moveTo>
                  <a:lnTo>
                    <a:pt x="8580" y="17160"/>
                  </a:lnTo>
                  <a:cubicBezTo>
                    <a:pt x="4420" y="17160"/>
                    <a:pt x="0" y="14040"/>
                    <a:pt x="0" y="8580"/>
                  </a:cubicBezTo>
                  <a:cubicBezTo>
                    <a:pt x="0" y="3120"/>
                    <a:pt x="3120" y="0"/>
                    <a:pt x="8580" y="0"/>
                  </a:cubicBezTo>
                  <a:lnTo>
                    <a:pt x="91259" y="0"/>
                  </a:lnTo>
                  <a:cubicBezTo>
                    <a:pt x="95419" y="0"/>
                    <a:pt x="99839" y="3120"/>
                    <a:pt x="99839" y="8580"/>
                  </a:cubicBezTo>
                  <a:cubicBezTo>
                    <a:pt x="99839" y="14040"/>
                    <a:pt x="95419" y="17160"/>
                    <a:pt x="91259" y="17160"/>
                  </a:cubicBezTo>
                  <a:close/>
                </a:path>
              </a:pathLst>
            </a:custGeom>
            <a:solidFill>
              <a:srgbClr val="FFFFFF"/>
            </a:solidFill>
            <a:ln w="2597"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283F0CF1-2987-AC8E-C338-9AA6745C87A0}"/>
                </a:ext>
              </a:extLst>
            </p:cNvPr>
            <p:cNvSpPr/>
            <p:nvPr/>
          </p:nvSpPr>
          <p:spPr>
            <a:xfrm>
              <a:off x="7356368" y="4073145"/>
              <a:ext cx="99839" cy="17160"/>
            </a:xfrm>
            <a:custGeom>
              <a:avLst/>
              <a:gdLst>
                <a:gd name="connsiteX0" fmla="*/ 91259 w 99839"/>
                <a:gd name="connsiteY0" fmla="*/ 17160 h 17160"/>
                <a:gd name="connsiteX1" fmla="*/ 8580 w 99839"/>
                <a:gd name="connsiteY1" fmla="*/ 17160 h 17160"/>
                <a:gd name="connsiteX2" fmla="*/ 0 w 99839"/>
                <a:gd name="connsiteY2" fmla="*/ 8580 h 17160"/>
                <a:gd name="connsiteX3" fmla="*/ 8580 w 99839"/>
                <a:gd name="connsiteY3" fmla="*/ 0 h 17160"/>
                <a:gd name="connsiteX4" fmla="*/ 91259 w 99839"/>
                <a:gd name="connsiteY4" fmla="*/ 0 h 17160"/>
                <a:gd name="connsiteX5" fmla="*/ 99839 w 99839"/>
                <a:gd name="connsiteY5" fmla="*/ 8580 h 17160"/>
                <a:gd name="connsiteX6" fmla="*/ 91259 w 99839"/>
                <a:gd name="connsiteY6" fmla="*/ 17160 h 1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839" h="17160">
                  <a:moveTo>
                    <a:pt x="91259" y="17160"/>
                  </a:moveTo>
                  <a:lnTo>
                    <a:pt x="8580" y="17160"/>
                  </a:lnTo>
                  <a:cubicBezTo>
                    <a:pt x="4420" y="17160"/>
                    <a:pt x="0" y="14040"/>
                    <a:pt x="0" y="8580"/>
                  </a:cubicBezTo>
                  <a:cubicBezTo>
                    <a:pt x="0" y="3380"/>
                    <a:pt x="3120" y="0"/>
                    <a:pt x="8580" y="0"/>
                  </a:cubicBezTo>
                  <a:lnTo>
                    <a:pt x="91259" y="0"/>
                  </a:lnTo>
                  <a:cubicBezTo>
                    <a:pt x="95419" y="0"/>
                    <a:pt x="99839" y="3120"/>
                    <a:pt x="99839" y="8580"/>
                  </a:cubicBezTo>
                  <a:cubicBezTo>
                    <a:pt x="99579" y="13780"/>
                    <a:pt x="95419" y="17160"/>
                    <a:pt x="91259" y="17160"/>
                  </a:cubicBezTo>
                  <a:close/>
                </a:path>
              </a:pathLst>
            </a:custGeom>
            <a:solidFill>
              <a:srgbClr val="FFFFFF"/>
            </a:solidFill>
            <a:ln w="2597" cap="flat">
              <a:noFill/>
              <a:prstDash val="solid"/>
              <a:miter/>
            </a:ln>
          </p:spPr>
          <p:txBody>
            <a:bodyPr rtlCol="0" anchor="ctr"/>
            <a:lstStyle/>
            <a:p>
              <a:endParaRPr lang="en-GB"/>
            </a:p>
          </p:txBody>
        </p:sp>
        <p:grpSp>
          <p:nvGrpSpPr>
            <p:cNvPr id="43" name="Graphic 6">
              <a:extLst>
                <a:ext uri="{FF2B5EF4-FFF2-40B4-BE49-F238E27FC236}">
                  <a16:creationId xmlns:a16="http://schemas.microsoft.com/office/drawing/2014/main" id="{1357A61B-DF39-4DA0-5CFB-4C8B4CCC4498}"/>
                </a:ext>
              </a:extLst>
            </p:cNvPr>
            <p:cNvGrpSpPr/>
            <p:nvPr/>
          </p:nvGrpSpPr>
          <p:grpSpPr>
            <a:xfrm>
              <a:off x="7771324" y="3699009"/>
              <a:ext cx="375457" cy="410275"/>
              <a:chOff x="7771324" y="3699009"/>
              <a:chExt cx="375457" cy="410275"/>
            </a:xfrm>
            <a:solidFill>
              <a:srgbClr val="0069FF"/>
            </a:solidFill>
          </p:grpSpPr>
          <p:sp>
            <p:nvSpPr>
              <p:cNvPr id="99" name="Freeform: Shape 98">
                <a:extLst>
                  <a:ext uri="{FF2B5EF4-FFF2-40B4-BE49-F238E27FC236}">
                    <a16:creationId xmlns:a16="http://schemas.microsoft.com/office/drawing/2014/main" id="{E5D48045-2AE3-2AE8-246C-1B76C3904BDA}"/>
                  </a:ext>
                </a:extLst>
              </p:cNvPr>
              <p:cNvSpPr/>
              <p:nvPr/>
            </p:nvSpPr>
            <p:spPr>
              <a:xfrm>
                <a:off x="7776524" y="3703949"/>
                <a:ext cx="365035" cy="400135"/>
              </a:xfrm>
              <a:custGeom>
                <a:avLst/>
                <a:gdLst>
                  <a:gd name="connsiteX0" fmla="*/ 365036 w 365035"/>
                  <a:gd name="connsiteY0" fmla="*/ 140138 h 400135"/>
                  <a:gd name="connsiteX1" fmla="*/ 182518 w 365035"/>
                  <a:gd name="connsiteY1" fmla="*/ 0 h 400135"/>
                  <a:gd name="connsiteX2" fmla="*/ 0 w 365035"/>
                  <a:gd name="connsiteY2" fmla="*/ 140138 h 400135"/>
                  <a:gd name="connsiteX3" fmla="*/ 0 w 365035"/>
                  <a:gd name="connsiteY3" fmla="*/ 400135 h 400135"/>
                  <a:gd name="connsiteX4" fmla="*/ 365036 w 365035"/>
                  <a:gd name="connsiteY4" fmla="*/ 400135 h 400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035" h="400135">
                    <a:moveTo>
                      <a:pt x="365036" y="140138"/>
                    </a:moveTo>
                    <a:lnTo>
                      <a:pt x="182518" y="0"/>
                    </a:lnTo>
                    <a:lnTo>
                      <a:pt x="0" y="140138"/>
                    </a:lnTo>
                    <a:lnTo>
                      <a:pt x="0" y="400135"/>
                    </a:lnTo>
                    <a:lnTo>
                      <a:pt x="365036" y="400135"/>
                    </a:lnTo>
                    <a:close/>
                  </a:path>
                </a:pathLst>
              </a:custGeom>
              <a:solidFill>
                <a:srgbClr val="0069FF"/>
              </a:solidFill>
              <a:ln w="2597" cap="flat">
                <a:noFill/>
                <a:prstDash val="solid"/>
                <a:miter/>
              </a:ln>
            </p:spPr>
            <p:txBody>
              <a:bodyPr rtlCol="0" anchor="ctr"/>
              <a:lstStyle/>
              <a:p>
                <a:endParaRPr lang="en-GB"/>
              </a:p>
            </p:txBody>
          </p:sp>
          <p:sp>
            <p:nvSpPr>
              <p:cNvPr id="122" name="Freeform: Shape 121">
                <a:extLst>
                  <a:ext uri="{FF2B5EF4-FFF2-40B4-BE49-F238E27FC236}">
                    <a16:creationId xmlns:a16="http://schemas.microsoft.com/office/drawing/2014/main" id="{A1D02892-A404-4D49-503C-7CB55E81B86E}"/>
                  </a:ext>
                </a:extLst>
              </p:cNvPr>
              <p:cNvSpPr/>
              <p:nvPr/>
            </p:nvSpPr>
            <p:spPr>
              <a:xfrm>
                <a:off x="7771324" y="3699009"/>
                <a:ext cx="375457" cy="410275"/>
              </a:xfrm>
              <a:custGeom>
                <a:avLst/>
                <a:gdLst>
                  <a:gd name="connsiteX0" fmla="*/ 370235 w 375457"/>
                  <a:gd name="connsiteY0" fmla="*/ 410275 h 410275"/>
                  <a:gd name="connsiteX1" fmla="*/ 5200 w 375457"/>
                  <a:gd name="connsiteY1" fmla="*/ 410275 h 410275"/>
                  <a:gd name="connsiteX2" fmla="*/ 0 w 375457"/>
                  <a:gd name="connsiteY2" fmla="*/ 405075 h 410275"/>
                  <a:gd name="connsiteX3" fmla="*/ 0 w 375457"/>
                  <a:gd name="connsiteY3" fmla="*/ 145078 h 410275"/>
                  <a:gd name="connsiteX4" fmla="*/ 2080 w 375457"/>
                  <a:gd name="connsiteY4" fmla="*/ 140919 h 410275"/>
                  <a:gd name="connsiteX5" fmla="*/ 184598 w 375457"/>
                  <a:gd name="connsiteY5" fmla="*/ 780 h 410275"/>
                  <a:gd name="connsiteX6" fmla="*/ 190838 w 375457"/>
                  <a:gd name="connsiteY6" fmla="*/ 780 h 410275"/>
                  <a:gd name="connsiteX7" fmla="*/ 373355 w 375457"/>
                  <a:gd name="connsiteY7" fmla="*/ 140919 h 410275"/>
                  <a:gd name="connsiteX8" fmla="*/ 375435 w 375457"/>
                  <a:gd name="connsiteY8" fmla="*/ 145078 h 410275"/>
                  <a:gd name="connsiteX9" fmla="*/ 375435 w 375457"/>
                  <a:gd name="connsiteY9" fmla="*/ 405075 h 410275"/>
                  <a:gd name="connsiteX10" fmla="*/ 370235 w 375457"/>
                  <a:gd name="connsiteY10" fmla="*/ 410275 h 410275"/>
                  <a:gd name="connsiteX11" fmla="*/ 10659 w 375457"/>
                  <a:gd name="connsiteY11" fmla="*/ 399616 h 410275"/>
                  <a:gd name="connsiteX12" fmla="*/ 365036 w 375457"/>
                  <a:gd name="connsiteY12" fmla="*/ 399616 h 410275"/>
                  <a:gd name="connsiteX13" fmla="*/ 365036 w 375457"/>
                  <a:gd name="connsiteY13" fmla="*/ 146899 h 410275"/>
                  <a:gd name="connsiteX14" fmla="*/ 187718 w 375457"/>
                  <a:gd name="connsiteY14" fmla="*/ 11180 h 410275"/>
                  <a:gd name="connsiteX15" fmla="*/ 10400 w 375457"/>
                  <a:gd name="connsiteY15" fmla="*/ 146899 h 410275"/>
                  <a:gd name="connsiteX16" fmla="*/ 10659 w 375457"/>
                  <a:gd name="connsiteY16" fmla="*/ 399616 h 410275"/>
                  <a:gd name="connsiteX17" fmla="*/ 10659 w 375457"/>
                  <a:gd name="connsiteY17" fmla="*/ 399616 h 41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5457" h="410275">
                    <a:moveTo>
                      <a:pt x="370235" y="410275"/>
                    </a:moveTo>
                    <a:lnTo>
                      <a:pt x="5200" y="410275"/>
                    </a:lnTo>
                    <a:cubicBezTo>
                      <a:pt x="2080" y="410275"/>
                      <a:pt x="0" y="408196"/>
                      <a:pt x="0" y="405075"/>
                    </a:cubicBezTo>
                    <a:lnTo>
                      <a:pt x="0" y="145078"/>
                    </a:lnTo>
                    <a:cubicBezTo>
                      <a:pt x="0" y="142999"/>
                      <a:pt x="1040" y="141959"/>
                      <a:pt x="2080" y="140919"/>
                    </a:cubicBezTo>
                    <a:lnTo>
                      <a:pt x="184598" y="780"/>
                    </a:lnTo>
                    <a:cubicBezTo>
                      <a:pt x="186678" y="-260"/>
                      <a:pt x="188757" y="-260"/>
                      <a:pt x="190838" y="780"/>
                    </a:cubicBezTo>
                    <a:lnTo>
                      <a:pt x="373355" y="140919"/>
                    </a:lnTo>
                    <a:cubicBezTo>
                      <a:pt x="374396" y="141959"/>
                      <a:pt x="375435" y="142999"/>
                      <a:pt x="375435" y="145078"/>
                    </a:cubicBezTo>
                    <a:lnTo>
                      <a:pt x="375435" y="405075"/>
                    </a:lnTo>
                    <a:cubicBezTo>
                      <a:pt x="375696" y="408196"/>
                      <a:pt x="373616" y="410275"/>
                      <a:pt x="370235" y="410275"/>
                    </a:cubicBezTo>
                    <a:close/>
                    <a:moveTo>
                      <a:pt x="10659" y="399616"/>
                    </a:moveTo>
                    <a:lnTo>
                      <a:pt x="365036" y="399616"/>
                    </a:lnTo>
                    <a:lnTo>
                      <a:pt x="365036" y="146899"/>
                    </a:lnTo>
                    <a:lnTo>
                      <a:pt x="187718" y="11180"/>
                    </a:lnTo>
                    <a:lnTo>
                      <a:pt x="10400" y="146899"/>
                    </a:lnTo>
                    <a:lnTo>
                      <a:pt x="10659" y="399616"/>
                    </a:lnTo>
                    <a:lnTo>
                      <a:pt x="10659" y="399616"/>
                    </a:lnTo>
                    <a:close/>
                  </a:path>
                </a:pathLst>
              </a:custGeom>
              <a:solidFill>
                <a:srgbClr val="0069FF"/>
              </a:solidFill>
              <a:ln w="2597" cap="flat">
                <a:noFill/>
                <a:prstDash val="solid"/>
                <a:miter/>
              </a:ln>
            </p:spPr>
            <p:txBody>
              <a:bodyPr rtlCol="0" anchor="ctr"/>
              <a:lstStyle/>
              <a:p>
                <a:endParaRPr lang="en-GB"/>
              </a:p>
            </p:txBody>
          </p:sp>
        </p:grpSp>
        <p:sp>
          <p:nvSpPr>
            <p:cNvPr id="44" name="Freeform: Shape 43">
              <a:extLst>
                <a:ext uri="{FF2B5EF4-FFF2-40B4-BE49-F238E27FC236}">
                  <a16:creationId xmlns:a16="http://schemas.microsoft.com/office/drawing/2014/main" id="{8F3DB0DD-44F3-A219-D86A-2EB03577C638}"/>
                </a:ext>
              </a:extLst>
            </p:cNvPr>
            <p:cNvSpPr/>
            <p:nvPr/>
          </p:nvSpPr>
          <p:spPr>
            <a:xfrm>
              <a:off x="7739344" y="3672490"/>
              <a:ext cx="381126" cy="409235"/>
            </a:xfrm>
            <a:custGeom>
              <a:avLst/>
              <a:gdLst>
                <a:gd name="connsiteX0" fmla="*/ 373616 w 381126"/>
                <a:gd name="connsiteY0" fmla="*/ 409235 h 409235"/>
                <a:gd name="connsiteX1" fmla="*/ 8580 w 381126"/>
                <a:gd name="connsiteY1" fmla="*/ 409235 h 409235"/>
                <a:gd name="connsiteX2" fmla="*/ 0 w 381126"/>
                <a:gd name="connsiteY2" fmla="*/ 400655 h 409235"/>
                <a:gd name="connsiteX3" fmla="*/ 0 w 381126"/>
                <a:gd name="connsiteY3" fmla="*/ 145858 h 409235"/>
                <a:gd name="connsiteX4" fmla="*/ 3120 w 381126"/>
                <a:gd name="connsiteY4" fmla="*/ 139619 h 409235"/>
                <a:gd name="connsiteX5" fmla="*/ 185638 w 381126"/>
                <a:gd name="connsiteY5" fmla="*/ 1560 h 409235"/>
                <a:gd name="connsiteX6" fmla="*/ 195258 w 381126"/>
                <a:gd name="connsiteY6" fmla="*/ 1560 h 409235"/>
                <a:gd name="connsiteX7" fmla="*/ 377776 w 381126"/>
                <a:gd name="connsiteY7" fmla="*/ 139619 h 409235"/>
                <a:gd name="connsiteX8" fmla="*/ 380896 w 381126"/>
                <a:gd name="connsiteY8" fmla="*/ 145858 h 409235"/>
                <a:gd name="connsiteX9" fmla="*/ 380896 w 381126"/>
                <a:gd name="connsiteY9" fmla="*/ 400655 h 409235"/>
                <a:gd name="connsiteX10" fmla="*/ 373616 w 381126"/>
                <a:gd name="connsiteY10" fmla="*/ 409235 h 409235"/>
                <a:gd name="connsiteX11" fmla="*/ 15860 w 381126"/>
                <a:gd name="connsiteY11" fmla="*/ 393376 h 409235"/>
                <a:gd name="connsiteX12" fmla="*/ 365036 w 381126"/>
                <a:gd name="connsiteY12" fmla="*/ 393376 h 409235"/>
                <a:gd name="connsiteX13" fmla="*/ 365036 w 381126"/>
                <a:gd name="connsiteY13" fmla="*/ 150278 h 409235"/>
                <a:gd name="connsiteX14" fmla="*/ 189798 w 381126"/>
                <a:gd name="connsiteY14" fmla="*/ 18720 h 409235"/>
                <a:gd name="connsiteX15" fmla="*/ 14560 w 381126"/>
                <a:gd name="connsiteY15" fmla="*/ 150278 h 409235"/>
                <a:gd name="connsiteX16" fmla="*/ 14560 w 381126"/>
                <a:gd name="connsiteY16" fmla="*/ 393376 h 409235"/>
                <a:gd name="connsiteX17" fmla="*/ 15860 w 381126"/>
                <a:gd name="connsiteY17" fmla="*/ 393376 h 409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126" h="409235">
                  <a:moveTo>
                    <a:pt x="373616" y="409235"/>
                  </a:moveTo>
                  <a:lnTo>
                    <a:pt x="8580" y="409235"/>
                  </a:lnTo>
                  <a:cubicBezTo>
                    <a:pt x="4420" y="409235"/>
                    <a:pt x="0" y="406115"/>
                    <a:pt x="0" y="400655"/>
                  </a:cubicBezTo>
                  <a:lnTo>
                    <a:pt x="0" y="145858"/>
                  </a:lnTo>
                  <a:cubicBezTo>
                    <a:pt x="0" y="143778"/>
                    <a:pt x="1040" y="140658"/>
                    <a:pt x="3120" y="139619"/>
                  </a:cubicBezTo>
                  <a:lnTo>
                    <a:pt x="185638" y="1560"/>
                  </a:lnTo>
                  <a:cubicBezTo>
                    <a:pt x="188758" y="-520"/>
                    <a:pt x="191878" y="-520"/>
                    <a:pt x="195258" y="1560"/>
                  </a:cubicBezTo>
                  <a:lnTo>
                    <a:pt x="377776" y="139619"/>
                  </a:lnTo>
                  <a:cubicBezTo>
                    <a:pt x="379856" y="140658"/>
                    <a:pt x="380896" y="143778"/>
                    <a:pt x="380896" y="145858"/>
                  </a:cubicBezTo>
                  <a:lnTo>
                    <a:pt x="380896" y="400655"/>
                  </a:lnTo>
                  <a:cubicBezTo>
                    <a:pt x="382196" y="405075"/>
                    <a:pt x="377776" y="409235"/>
                    <a:pt x="373616" y="409235"/>
                  </a:cubicBezTo>
                  <a:close/>
                  <a:moveTo>
                    <a:pt x="15860" y="393376"/>
                  </a:moveTo>
                  <a:lnTo>
                    <a:pt x="365036" y="393376"/>
                  </a:lnTo>
                  <a:lnTo>
                    <a:pt x="365036" y="150278"/>
                  </a:lnTo>
                  <a:lnTo>
                    <a:pt x="189798" y="18720"/>
                  </a:lnTo>
                  <a:lnTo>
                    <a:pt x="14560" y="150278"/>
                  </a:lnTo>
                  <a:lnTo>
                    <a:pt x="14560" y="393376"/>
                  </a:lnTo>
                  <a:lnTo>
                    <a:pt x="15860" y="393376"/>
                  </a:lnTo>
                  <a:close/>
                </a:path>
              </a:pathLst>
            </a:custGeom>
            <a:solidFill>
              <a:srgbClr val="00005A"/>
            </a:solidFill>
            <a:ln w="2597"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DE5B168C-7AA7-3DA0-349D-C935B97F6658}"/>
                </a:ext>
              </a:extLst>
            </p:cNvPr>
            <p:cNvSpPr/>
            <p:nvPr/>
          </p:nvSpPr>
          <p:spPr>
            <a:xfrm>
              <a:off x="7703835" y="3673530"/>
              <a:ext cx="454666" cy="180327"/>
            </a:xfrm>
            <a:custGeom>
              <a:avLst/>
              <a:gdLst>
                <a:gd name="connsiteX0" fmla="*/ 447344 w 454666"/>
                <a:gd name="connsiteY0" fmla="*/ 179918 h 180327"/>
                <a:gd name="connsiteX1" fmla="*/ 443184 w 454666"/>
                <a:gd name="connsiteY1" fmla="*/ 178878 h 180327"/>
                <a:gd name="connsiteX2" fmla="*/ 227647 w 454666"/>
                <a:gd name="connsiteY2" fmla="*/ 17680 h 180327"/>
                <a:gd name="connsiteX3" fmla="*/ 13149 w 454666"/>
                <a:gd name="connsiteY3" fmla="*/ 178878 h 180327"/>
                <a:gd name="connsiteX4" fmla="*/ 1449 w 454666"/>
                <a:gd name="connsiteY4" fmla="*/ 177838 h 180327"/>
                <a:gd name="connsiteX5" fmla="*/ 2490 w 454666"/>
                <a:gd name="connsiteY5" fmla="*/ 166138 h 180327"/>
                <a:gd name="connsiteX6" fmla="*/ 221147 w 454666"/>
                <a:gd name="connsiteY6" fmla="*/ 1560 h 180327"/>
                <a:gd name="connsiteX7" fmla="*/ 230767 w 454666"/>
                <a:gd name="connsiteY7" fmla="*/ 1560 h 180327"/>
                <a:gd name="connsiteX8" fmla="*/ 451504 w 454666"/>
                <a:gd name="connsiteY8" fmla="*/ 166138 h 180327"/>
                <a:gd name="connsiteX9" fmla="*/ 453584 w 454666"/>
                <a:gd name="connsiteY9" fmla="*/ 176798 h 180327"/>
                <a:gd name="connsiteX10" fmla="*/ 447344 w 454666"/>
                <a:gd name="connsiteY10" fmla="*/ 179918 h 1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4666" h="180327">
                  <a:moveTo>
                    <a:pt x="447344" y="179918"/>
                  </a:moveTo>
                  <a:cubicBezTo>
                    <a:pt x="445265" y="179918"/>
                    <a:pt x="444224" y="179918"/>
                    <a:pt x="443184" y="178878"/>
                  </a:cubicBezTo>
                  <a:lnTo>
                    <a:pt x="227647" y="17680"/>
                  </a:lnTo>
                  <a:lnTo>
                    <a:pt x="13149" y="178878"/>
                  </a:lnTo>
                  <a:cubicBezTo>
                    <a:pt x="10029" y="180958"/>
                    <a:pt x="4570" y="180958"/>
                    <a:pt x="1449" y="177838"/>
                  </a:cubicBezTo>
                  <a:cubicBezTo>
                    <a:pt x="-630" y="174718"/>
                    <a:pt x="-630" y="169258"/>
                    <a:pt x="2490" y="166138"/>
                  </a:cubicBezTo>
                  <a:lnTo>
                    <a:pt x="221147" y="1560"/>
                  </a:lnTo>
                  <a:cubicBezTo>
                    <a:pt x="224267" y="-520"/>
                    <a:pt x="227387" y="-520"/>
                    <a:pt x="230767" y="1560"/>
                  </a:cubicBezTo>
                  <a:lnTo>
                    <a:pt x="451504" y="166138"/>
                  </a:lnTo>
                  <a:cubicBezTo>
                    <a:pt x="454624" y="168218"/>
                    <a:pt x="455664" y="173678"/>
                    <a:pt x="453584" y="176798"/>
                  </a:cubicBezTo>
                  <a:cubicBezTo>
                    <a:pt x="452544" y="177838"/>
                    <a:pt x="449424" y="179918"/>
                    <a:pt x="447344" y="179918"/>
                  </a:cubicBezTo>
                  <a:close/>
                </a:path>
              </a:pathLst>
            </a:custGeom>
            <a:solidFill>
              <a:srgbClr val="00005A"/>
            </a:solidFill>
            <a:ln w="2597"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4BB64F24-DB9C-C736-DB88-FB36C2C298A6}"/>
                </a:ext>
              </a:extLst>
            </p:cNvPr>
            <p:cNvSpPr/>
            <p:nvPr/>
          </p:nvSpPr>
          <p:spPr>
            <a:xfrm>
              <a:off x="7810323" y="3947826"/>
              <a:ext cx="68119" cy="68119"/>
            </a:xfrm>
            <a:custGeom>
              <a:avLst/>
              <a:gdLst>
                <a:gd name="connsiteX0" fmla="*/ 59539 w 68119"/>
                <a:gd name="connsiteY0" fmla="*/ 68119 h 68119"/>
                <a:gd name="connsiteX1" fmla="*/ 8580 w 68119"/>
                <a:gd name="connsiteY1" fmla="*/ 68119 h 68119"/>
                <a:gd name="connsiteX2" fmla="*/ 0 w 68119"/>
                <a:gd name="connsiteY2" fmla="*/ 59539 h 68119"/>
                <a:gd name="connsiteX3" fmla="*/ 0 w 68119"/>
                <a:gd name="connsiteY3" fmla="*/ 8580 h 68119"/>
                <a:gd name="connsiteX4" fmla="*/ 8580 w 68119"/>
                <a:gd name="connsiteY4" fmla="*/ 0 h 68119"/>
                <a:gd name="connsiteX5" fmla="*/ 59539 w 68119"/>
                <a:gd name="connsiteY5" fmla="*/ 0 h 68119"/>
                <a:gd name="connsiteX6" fmla="*/ 68119 w 68119"/>
                <a:gd name="connsiteY6" fmla="*/ 8580 h 68119"/>
                <a:gd name="connsiteX7" fmla="*/ 68119 w 68119"/>
                <a:gd name="connsiteY7" fmla="*/ 59539 h 68119"/>
                <a:gd name="connsiteX8" fmla="*/ 59539 w 68119"/>
                <a:gd name="connsiteY8" fmla="*/ 68119 h 68119"/>
                <a:gd name="connsiteX9" fmla="*/ 17159 w 68119"/>
                <a:gd name="connsiteY9" fmla="*/ 52259 h 68119"/>
                <a:gd name="connsiteX10" fmla="*/ 52259 w 68119"/>
                <a:gd name="connsiteY10" fmla="*/ 52259 h 68119"/>
                <a:gd name="connsiteX11" fmla="*/ 52259 w 68119"/>
                <a:gd name="connsiteY11" fmla="*/ 17160 h 68119"/>
                <a:gd name="connsiteX12" fmla="*/ 17159 w 68119"/>
                <a:gd name="connsiteY12" fmla="*/ 17160 h 68119"/>
                <a:gd name="connsiteX13" fmla="*/ 17159 w 68119"/>
                <a:gd name="connsiteY13" fmla="*/ 52259 h 6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119" h="68119">
                  <a:moveTo>
                    <a:pt x="59539" y="68119"/>
                  </a:moveTo>
                  <a:lnTo>
                    <a:pt x="8580" y="68119"/>
                  </a:lnTo>
                  <a:cubicBezTo>
                    <a:pt x="4420" y="68119"/>
                    <a:pt x="0" y="64999"/>
                    <a:pt x="0" y="59539"/>
                  </a:cubicBezTo>
                  <a:lnTo>
                    <a:pt x="0" y="8580"/>
                  </a:lnTo>
                  <a:cubicBezTo>
                    <a:pt x="0" y="4420"/>
                    <a:pt x="3120" y="0"/>
                    <a:pt x="8580" y="0"/>
                  </a:cubicBezTo>
                  <a:lnTo>
                    <a:pt x="59539" y="0"/>
                  </a:lnTo>
                  <a:cubicBezTo>
                    <a:pt x="63699" y="0"/>
                    <a:pt x="68119" y="3120"/>
                    <a:pt x="68119" y="8580"/>
                  </a:cubicBezTo>
                  <a:lnTo>
                    <a:pt x="68119" y="59539"/>
                  </a:lnTo>
                  <a:cubicBezTo>
                    <a:pt x="68119" y="63959"/>
                    <a:pt x="63959" y="68119"/>
                    <a:pt x="59539" y="68119"/>
                  </a:cubicBezTo>
                  <a:close/>
                  <a:moveTo>
                    <a:pt x="17159" y="52259"/>
                  </a:moveTo>
                  <a:lnTo>
                    <a:pt x="52259" y="52259"/>
                  </a:lnTo>
                  <a:lnTo>
                    <a:pt x="52259" y="17160"/>
                  </a:lnTo>
                  <a:lnTo>
                    <a:pt x="17159" y="17160"/>
                  </a:lnTo>
                  <a:lnTo>
                    <a:pt x="17159" y="52259"/>
                  </a:lnTo>
                  <a:close/>
                </a:path>
              </a:pathLst>
            </a:custGeom>
            <a:solidFill>
              <a:srgbClr val="FFFFFF"/>
            </a:solidFill>
            <a:ln w="2597"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9ED5260F-9B68-894B-4A85-4114CE1248BE}"/>
                </a:ext>
              </a:extLst>
            </p:cNvPr>
            <p:cNvSpPr/>
            <p:nvPr/>
          </p:nvSpPr>
          <p:spPr>
            <a:xfrm>
              <a:off x="7897422" y="3947826"/>
              <a:ext cx="68119" cy="68119"/>
            </a:xfrm>
            <a:custGeom>
              <a:avLst/>
              <a:gdLst>
                <a:gd name="connsiteX0" fmla="*/ 59539 w 68119"/>
                <a:gd name="connsiteY0" fmla="*/ 68119 h 68119"/>
                <a:gd name="connsiteX1" fmla="*/ 8580 w 68119"/>
                <a:gd name="connsiteY1" fmla="*/ 68119 h 68119"/>
                <a:gd name="connsiteX2" fmla="*/ 0 w 68119"/>
                <a:gd name="connsiteY2" fmla="*/ 59539 h 68119"/>
                <a:gd name="connsiteX3" fmla="*/ 0 w 68119"/>
                <a:gd name="connsiteY3" fmla="*/ 8580 h 68119"/>
                <a:gd name="connsiteX4" fmla="*/ 8580 w 68119"/>
                <a:gd name="connsiteY4" fmla="*/ 0 h 68119"/>
                <a:gd name="connsiteX5" fmla="*/ 59539 w 68119"/>
                <a:gd name="connsiteY5" fmla="*/ 0 h 68119"/>
                <a:gd name="connsiteX6" fmla="*/ 68119 w 68119"/>
                <a:gd name="connsiteY6" fmla="*/ 8580 h 68119"/>
                <a:gd name="connsiteX7" fmla="*/ 68119 w 68119"/>
                <a:gd name="connsiteY7" fmla="*/ 59539 h 68119"/>
                <a:gd name="connsiteX8" fmla="*/ 59539 w 68119"/>
                <a:gd name="connsiteY8" fmla="*/ 68119 h 68119"/>
                <a:gd name="connsiteX9" fmla="*/ 17159 w 68119"/>
                <a:gd name="connsiteY9" fmla="*/ 52259 h 68119"/>
                <a:gd name="connsiteX10" fmla="*/ 52259 w 68119"/>
                <a:gd name="connsiteY10" fmla="*/ 52259 h 68119"/>
                <a:gd name="connsiteX11" fmla="*/ 52259 w 68119"/>
                <a:gd name="connsiteY11" fmla="*/ 17160 h 68119"/>
                <a:gd name="connsiteX12" fmla="*/ 17159 w 68119"/>
                <a:gd name="connsiteY12" fmla="*/ 17160 h 68119"/>
                <a:gd name="connsiteX13" fmla="*/ 17159 w 68119"/>
                <a:gd name="connsiteY13" fmla="*/ 52259 h 6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119" h="68119">
                  <a:moveTo>
                    <a:pt x="59539" y="68119"/>
                  </a:moveTo>
                  <a:lnTo>
                    <a:pt x="8580" y="68119"/>
                  </a:lnTo>
                  <a:cubicBezTo>
                    <a:pt x="4420" y="68119"/>
                    <a:pt x="0" y="64999"/>
                    <a:pt x="0" y="59539"/>
                  </a:cubicBezTo>
                  <a:lnTo>
                    <a:pt x="0" y="8580"/>
                  </a:lnTo>
                  <a:cubicBezTo>
                    <a:pt x="0" y="4420"/>
                    <a:pt x="3120" y="0"/>
                    <a:pt x="8580" y="0"/>
                  </a:cubicBezTo>
                  <a:lnTo>
                    <a:pt x="59539" y="0"/>
                  </a:lnTo>
                  <a:cubicBezTo>
                    <a:pt x="63699" y="0"/>
                    <a:pt x="68119" y="3120"/>
                    <a:pt x="68119" y="8580"/>
                  </a:cubicBezTo>
                  <a:lnTo>
                    <a:pt x="68119" y="59539"/>
                  </a:lnTo>
                  <a:cubicBezTo>
                    <a:pt x="68119" y="63959"/>
                    <a:pt x="63699" y="68119"/>
                    <a:pt x="59539" y="68119"/>
                  </a:cubicBezTo>
                  <a:close/>
                  <a:moveTo>
                    <a:pt x="17159" y="52259"/>
                  </a:moveTo>
                  <a:lnTo>
                    <a:pt x="52259" y="52259"/>
                  </a:lnTo>
                  <a:lnTo>
                    <a:pt x="52259" y="17160"/>
                  </a:lnTo>
                  <a:lnTo>
                    <a:pt x="17159" y="17160"/>
                  </a:lnTo>
                  <a:lnTo>
                    <a:pt x="17159" y="52259"/>
                  </a:lnTo>
                  <a:close/>
                </a:path>
              </a:pathLst>
            </a:custGeom>
            <a:solidFill>
              <a:srgbClr val="FFFFFF"/>
            </a:solidFill>
            <a:ln w="2597"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42437DF9-A1A6-9D49-4DBB-EF5251B0C6F8}"/>
                </a:ext>
              </a:extLst>
            </p:cNvPr>
            <p:cNvSpPr/>
            <p:nvPr/>
          </p:nvSpPr>
          <p:spPr>
            <a:xfrm>
              <a:off x="7810323" y="3859687"/>
              <a:ext cx="68119" cy="68119"/>
            </a:xfrm>
            <a:custGeom>
              <a:avLst/>
              <a:gdLst>
                <a:gd name="connsiteX0" fmla="*/ 59539 w 68119"/>
                <a:gd name="connsiteY0" fmla="*/ 68119 h 68119"/>
                <a:gd name="connsiteX1" fmla="*/ 8580 w 68119"/>
                <a:gd name="connsiteY1" fmla="*/ 68119 h 68119"/>
                <a:gd name="connsiteX2" fmla="*/ 0 w 68119"/>
                <a:gd name="connsiteY2" fmla="*/ 59539 h 68119"/>
                <a:gd name="connsiteX3" fmla="*/ 0 w 68119"/>
                <a:gd name="connsiteY3" fmla="*/ 8580 h 68119"/>
                <a:gd name="connsiteX4" fmla="*/ 8580 w 68119"/>
                <a:gd name="connsiteY4" fmla="*/ 0 h 68119"/>
                <a:gd name="connsiteX5" fmla="*/ 59539 w 68119"/>
                <a:gd name="connsiteY5" fmla="*/ 0 h 68119"/>
                <a:gd name="connsiteX6" fmla="*/ 68119 w 68119"/>
                <a:gd name="connsiteY6" fmla="*/ 8580 h 68119"/>
                <a:gd name="connsiteX7" fmla="*/ 68119 w 68119"/>
                <a:gd name="connsiteY7" fmla="*/ 59539 h 68119"/>
                <a:gd name="connsiteX8" fmla="*/ 59539 w 68119"/>
                <a:gd name="connsiteY8" fmla="*/ 68119 h 68119"/>
                <a:gd name="connsiteX9" fmla="*/ 17159 w 68119"/>
                <a:gd name="connsiteY9" fmla="*/ 52259 h 68119"/>
                <a:gd name="connsiteX10" fmla="*/ 52259 w 68119"/>
                <a:gd name="connsiteY10" fmla="*/ 52259 h 68119"/>
                <a:gd name="connsiteX11" fmla="*/ 52259 w 68119"/>
                <a:gd name="connsiteY11" fmla="*/ 17160 h 68119"/>
                <a:gd name="connsiteX12" fmla="*/ 17159 w 68119"/>
                <a:gd name="connsiteY12" fmla="*/ 17160 h 68119"/>
                <a:gd name="connsiteX13" fmla="*/ 17159 w 68119"/>
                <a:gd name="connsiteY13" fmla="*/ 52259 h 6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119" h="68119">
                  <a:moveTo>
                    <a:pt x="59539" y="68119"/>
                  </a:moveTo>
                  <a:lnTo>
                    <a:pt x="8580" y="68119"/>
                  </a:lnTo>
                  <a:cubicBezTo>
                    <a:pt x="4420" y="68119"/>
                    <a:pt x="0" y="64999"/>
                    <a:pt x="0" y="59539"/>
                  </a:cubicBezTo>
                  <a:lnTo>
                    <a:pt x="0" y="8580"/>
                  </a:lnTo>
                  <a:cubicBezTo>
                    <a:pt x="0" y="4420"/>
                    <a:pt x="3120" y="0"/>
                    <a:pt x="8580" y="0"/>
                  </a:cubicBezTo>
                  <a:lnTo>
                    <a:pt x="59539" y="0"/>
                  </a:lnTo>
                  <a:cubicBezTo>
                    <a:pt x="63699" y="0"/>
                    <a:pt x="68119" y="3120"/>
                    <a:pt x="68119" y="8580"/>
                  </a:cubicBezTo>
                  <a:lnTo>
                    <a:pt x="68119" y="59539"/>
                  </a:lnTo>
                  <a:cubicBezTo>
                    <a:pt x="68119" y="63959"/>
                    <a:pt x="63959" y="68119"/>
                    <a:pt x="59539" y="68119"/>
                  </a:cubicBezTo>
                  <a:close/>
                  <a:moveTo>
                    <a:pt x="17159" y="52259"/>
                  </a:moveTo>
                  <a:lnTo>
                    <a:pt x="52259" y="52259"/>
                  </a:lnTo>
                  <a:lnTo>
                    <a:pt x="52259" y="17160"/>
                  </a:lnTo>
                  <a:lnTo>
                    <a:pt x="17159" y="17160"/>
                  </a:lnTo>
                  <a:lnTo>
                    <a:pt x="17159" y="52259"/>
                  </a:lnTo>
                  <a:close/>
                </a:path>
              </a:pathLst>
            </a:custGeom>
            <a:solidFill>
              <a:srgbClr val="FFFFFF"/>
            </a:solidFill>
            <a:ln w="2597"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FF21E721-FAF3-AB65-153E-165317034917}"/>
                </a:ext>
              </a:extLst>
            </p:cNvPr>
            <p:cNvSpPr/>
            <p:nvPr/>
          </p:nvSpPr>
          <p:spPr>
            <a:xfrm>
              <a:off x="7897422" y="3859687"/>
              <a:ext cx="68119" cy="68119"/>
            </a:xfrm>
            <a:custGeom>
              <a:avLst/>
              <a:gdLst>
                <a:gd name="connsiteX0" fmla="*/ 59539 w 68119"/>
                <a:gd name="connsiteY0" fmla="*/ 68119 h 68119"/>
                <a:gd name="connsiteX1" fmla="*/ 8580 w 68119"/>
                <a:gd name="connsiteY1" fmla="*/ 68119 h 68119"/>
                <a:gd name="connsiteX2" fmla="*/ 0 w 68119"/>
                <a:gd name="connsiteY2" fmla="*/ 59539 h 68119"/>
                <a:gd name="connsiteX3" fmla="*/ 0 w 68119"/>
                <a:gd name="connsiteY3" fmla="*/ 8580 h 68119"/>
                <a:gd name="connsiteX4" fmla="*/ 8580 w 68119"/>
                <a:gd name="connsiteY4" fmla="*/ 0 h 68119"/>
                <a:gd name="connsiteX5" fmla="*/ 59539 w 68119"/>
                <a:gd name="connsiteY5" fmla="*/ 0 h 68119"/>
                <a:gd name="connsiteX6" fmla="*/ 68119 w 68119"/>
                <a:gd name="connsiteY6" fmla="*/ 8580 h 68119"/>
                <a:gd name="connsiteX7" fmla="*/ 68119 w 68119"/>
                <a:gd name="connsiteY7" fmla="*/ 59539 h 68119"/>
                <a:gd name="connsiteX8" fmla="*/ 59539 w 68119"/>
                <a:gd name="connsiteY8" fmla="*/ 68119 h 68119"/>
                <a:gd name="connsiteX9" fmla="*/ 17159 w 68119"/>
                <a:gd name="connsiteY9" fmla="*/ 52259 h 68119"/>
                <a:gd name="connsiteX10" fmla="*/ 52259 w 68119"/>
                <a:gd name="connsiteY10" fmla="*/ 52259 h 68119"/>
                <a:gd name="connsiteX11" fmla="*/ 52259 w 68119"/>
                <a:gd name="connsiteY11" fmla="*/ 17160 h 68119"/>
                <a:gd name="connsiteX12" fmla="*/ 17159 w 68119"/>
                <a:gd name="connsiteY12" fmla="*/ 17160 h 68119"/>
                <a:gd name="connsiteX13" fmla="*/ 17159 w 68119"/>
                <a:gd name="connsiteY13" fmla="*/ 52259 h 6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119" h="68119">
                  <a:moveTo>
                    <a:pt x="59539" y="68119"/>
                  </a:moveTo>
                  <a:lnTo>
                    <a:pt x="8580" y="68119"/>
                  </a:lnTo>
                  <a:cubicBezTo>
                    <a:pt x="4420" y="68119"/>
                    <a:pt x="0" y="64999"/>
                    <a:pt x="0" y="59539"/>
                  </a:cubicBezTo>
                  <a:lnTo>
                    <a:pt x="0" y="8580"/>
                  </a:lnTo>
                  <a:cubicBezTo>
                    <a:pt x="0" y="4420"/>
                    <a:pt x="3120" y="0"/>
                    <a:pt x="8580" y="0"/>
                  </a:cubicBezTo>
                  <a:lnTo>
                    <a:pt x="59539" y="0"/>
                  </a:lnTo>
                  <a:cubicBezTo>
                    <a:pt x="63699" y="0"/>
                    <a:pt x="68119" y="3120"/>
                    <a:pt x="68119" y="8580"/>
                  </a:cubicBezTo>
                  <a:lnTo>
                    <a:pt x="68119" y="59539"/>
                  </a:lnTo>
                  <a:cubicBezTo>
                    <a:pt x="68119" y="63959"/>
                    <a:pt x="63699" y="68119"/>
                    <a:pt x="59539" y="68119"/>
                  </a:cubicBezTo>
                  <a:close/>
                  <a:moveTo>
                    <a:pt x="17159" y="52259"/>
                  </a:moveTo>
                  <a:lnTo>
                    <a:pt x="52259" y="52259"/>
                  </a:lnTo>
                  <a:lnTo>
                    <a:pt x="52259" y="17160"/>
                  </a:lnTo>
                  <a:lnTo>
                    <a:pt x="17159" y="17160"/>
                  </a:lnTo>
                  <a:lnTo>
                    <a:pt x="17159" y="52259"/>
                  </a:lnTo>
                  <a:close/>
                </a:path>
              </a:pathLst>
            </a:custGeom>
            <a:solidFill>
              <a:srgbClr val="FFFFFF"/>
            </a:solidFill>
            <a:ln w="2597" cap="flat">
              <a:noFill/>
              <a:prstDash val="solid"/>
              <a:miter/>
            </a:ln>
          </p:spPr>
          <p:txBody>
            <a:bodyPr rtlCol="0" anchor="ctr"/>
            <a:lstStyle/>
            <a:p>
              <a:endParaRPr lang="en-GB"/>
            </a:p>
          </p:txBody>
        </p:sp>
        <p:sp>
          <p:nvSpPr>
            <p:cNvPr id="50" name="Freeform: Shape 49">
              <a:extLst>
                <a:ext uri="{FF2B5EF4-FFF2-40B4-BE49-F238E27FC236}">
                  <a16:creationId xmlns:a16="http://schemas.microsoft.com/office/drawing/2014/main" id="{10243610-D775-9E80-FD99-860B69056FC9}"/>
                </a:ext>
              </a:extLst>
            </p:cNvPr>
            <p:cNvSpPr/>
            <p:nvPr/>
          </p:nvSpPr>
          <p:spPr>
            <a:xfrm>
              <a:off x="7897422" y="3774668"/>
              <a:ext cx="68119" cy="68119"/>
            </a:xfrm>
            <a:custGeom>
              <a:avLst/>
              <a:gdLst>
                <a:gd name="connsiteX0" fmla="*/ 59539 w 68119"/>
                <a:gd name="connsiteY0" fmla="*/ 68119 h 68119"/>
                <a:gd name="connsiteX1" fmla="*/ 8580 w 68119"/>
                <a:gd name="connsiteY1" fmla="*/ 68119 h 68119"/>
                <a:gd name="connsiteX2" fmla="*/ 0 w 68119"/>
                <a:gd name="connsiteY2" fmla="*/ 59539 h 68119"/>
                <a:gd name="connsiteX3" fmla="*/ 0 w 68119"/>
                <a:gd name="connsiteY3" fmla="*/ 8580 h 68119"/>
                <a:gd name="connsiteX4" fmla="*/ 8580 w 68119"/>
                <a:gd name="connsiteY4" fmla="*/ 0 h 68119"/>
                <a:gd name="connsiteX5" fmla="*/ 59539 w 68119"/>
                <a:gd name="connsiteY5" fmla="*/ 0 h 68119"/>
                <a:gd name="connsiteX6" fmla="*/ 68119 w 68119"/>
                <a:gd name="connsiteY6" fmla="*/ 8580 h 68119"/>
                <a:gd name="connsiteX7" fmla="*/ 68119 w 68119"/>
                <a:gd name="connsiteY7" fmla="*/ 59539 h 68119"/>
                <a:gd name="connsiteX8" fmla="*/ 59539 w 68119"/>
                <a:gd name="connsiteY8" fmla="*/ 68119 h 68119"/>
                <a:gd name="connsiteX9" fmla="*/ 17159 w 68119"/>
                <a:gd name="connsiteY9" fmla="*/ 52259 h 68119"/>
                <a:gd name="connsiteX10" fmla="*/ 52259 w 68119"/>
                <a:gd name="connsiteY10" fmla="*/ 52259 h 68119"/>
                <a:gd name="connsiteX11" fmla="*/ 52259 w 68119"/>
                <a:gd name="connsiteY11" fmla="*/ 17160 h 68119"/>
                <a:gd name="connsiteX12" fmla="*/ 17159 w 68119"/>
                <a:gd name="connsiteY12" fmla="*/ 17160 h 68119"/>
                <a:gd name="connsiteX13" fmla="*/ 17159 w 68119"/>
                <a:gd name="connsiteY13" fmla="*/ 52259 h 6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119" h="68119">
                  <a:moveTo>
                    <a:pt x="59539" y="68119"/>
                  </a:moveTo>
                  <a:lnTo>
                    <a:pt x="8580" y="68119"/>
                  </a:lnTo>
                  <a:cubicBezTo>
                    <a:pt x="4420" y="68119"/>
                    <a:pt x="0" y="64999"/>
                    <a:pt x="0" y="59539"/>
                  </a:cubicBezTo>
                  <a:lnTo>
                    <a:pt x="0" y="8580"/>
                  </a:lnTo>
                  <a:cubicBezTo>
                    <a:pt x="0" y="4420"/>
                    <a:pt x="3120" y="0"/>
                    <a:pt x="8580" y="0"/>
                  </a:cubicBezTo>
                  <a:lnTo>
                    <a:pt x="59539" y="0"/>
                  </a:lnTo>
                  <a:cubicBezTo>
                    <a:pt x="63699" y="0"/>
                    <a:pt x="68119" y="3120"/>
                    <a:pt x="68119" y="8580"/>
                  </a:cubicBezTo>
                  <a:lnTo>
                    <a:pt x="68119" y="59539"/>
                  </a:lnTo>
                  <a:cubicBezTo>
                    <a:pt x="68119" y="63959"/>
                    <a:pt x="63699" y="68119"/>
                    <a:pt x="59539" y="68119"/>
                  </a:cubicBezTo>
                  <a:close/>
                  <a:moveTo>
                    <a:pt x="17159" y="52259"/>
                  </a:moveTo>
                  <a:lnTo>
                    <a:pt x="52259" y="52259"/>
                  </a:lnTo>
                  <a:lnTo>
                    <a:pt x="52259" y="17160"/>
                  </a:lnTo>
                  <a:lnTo>
                    <a:pt x="17159" y="17160"/>
                  </a:lnTo>
                  <a:lnTo>
                    <a:pt x="17159" y="52259"/>
                  </a:lnTo>
                  <a:close/>
                </a:path>
              </a:pathLst>
            </a:custGeom>
            <a:solidFill>
              <a:srgbClr val="FFFFFF"/>
            </a:solidFill>
            <a:ln w="2597" cap="flat">
              <a:noFill/>
              <a:prstDash val="solid"/>
              <a:miter/>
            </a:ln>
          </p:spPr>
          <p:txBody>
            <a:bodyPr rtlCol="0" anchor="ctr"/>
            <a:lstStyle/>
            <a:p>
              <a:endParaRPr lang="en-GB"/>
            </a:p>
          </p:txBody>
        </p:sp>
        <p:sp>
          <p:nvSpPr>
            <p:cNvPr id="57" name="Freeform: Shape 56">
              <a:extLst>
                <a:ext uri="{FF2B5EF4-FFF2-40B4-BE49-F238E27FC236}">
                  <a16:creationId xmlns:a16="http://schemas.microsoft.com/office/drawing/2014/main" id="{79201197-C507-190E-E301-7683C5BFCC08}"/>
                </a:ext>
              </a:extLst>
            </p:cNvPr>
            <p:cNvSpPr/>
            <p:nvPr/>
          </p:nvSpPr>
          <p:spPr>
            <a:xfrm>
              <a:off x="7983481" y="3947826"/>
              <a:ext cx="68119" cy="68119"/>
            </a:xfrm>
            <a:custGeom>
              <a:avLst/>
              <a:gdLst>
                <a:gd name="connsiteX0" fmla="*/ 59540 w 68119"/>
                <a:gd name="connsiteY0" fmla="*/ 68119 h 68119"/>
                <a:gd name="connsiteX1" fmla="*/ 8580 w 68119"/>
                <a:gd name="connsiteY1" fmla="*/ 68119 h 68119"/>
                <a:gd name="connsiteX2" fmla="*/ 0 w 68119"/>
                <a:gd name="connsiteY2" fmla="*/ 59539 h 68119"/>
                <a:gd name="connsiteX3" fmla="*/ 0 w 68119"/>
                <a:gd name="connsiteY3" fmla="*/ 8580 h 68119"/>
                <a:gd name="connsiteX4" fmla="*/ 8580 w 68119"/>
                <a:gd name="connsiteY4" fmla="*/ 0 h 68119"/>
                <a:gd name="connsiteX5" fmla="*/ 59540 w 68119"/>
                <a:gd name="connsiteY5" fmla="*/ 0 h 68119"/>
                <a:gd name="connsiteX6" fmla="*/ 68120 w 68119"/>
                <a:gd name="connsiteY6" fmla="*/ 8580 h 68119"/>
                <a:gd name="connsiteX7" fmla="*/ 68120 w 68119"/>
                <a:gd name="connsiteY7" fmla="*/ 59539 h 68119"/>
                <a:gd name="connsiteX8" fmla="*/ 59540 w 68119"/>
                <a:gd name="connsiteY8" fmla="*/ 68119 h 68119"/>
                <a:gd name="connsiteX9" fmla="*/ 15860 w 68119"/>
                <a:gd name="connsiteY9" fmla="*/ 52259 h 68119"/>
                <a:gd name="connsiteX10" fmla="*/ 50960 w 68119"/>
                <a:gd name="connsiteY10" fmla="*/ 52259 h 68119"/>
                <a:gd name="connsiteX11" fmla="*/ 50960 w 68119"/>
                <a:gd name="connsiteY11" fmla="*/ 17160 h 68119"/>
                <a:gd name="connsiteX12" fmla="*/ 15860 w 68119"/>
                <a:gd name="connsiteY12" fmla="*/ 17160 h 68119"/>
                <a:gd name="connsiteX13" fmla="*/ 15860 w 68119"/>
                <a:gd name="connsiteY13" fmla="*/ 52259 h 6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119" h="68119">
                  <a:moveTo>
                    <a:pt x="59540" y="68119"/>
                  </a:moveTo>
                  <a:lnTo>
                    <a:pt x="8580" y="68119"/>
                  </a:lnTo>
                  <a:cubicBezTo>
                    <a:pt x="4420" y="68119"/>
                    <a:pt x="0" y="64999"/>
                    <a:pt x="0" y="59539"/>
                  </a:cubicBezTo>
                  <a:lnTo>
                    <a:pt x="0" y="8580"/>
                  </a:lnTo>
                  <a:cubicBezTo>
                    <a:pt x="0" y="4420"/>
                    <a:pt x="3120" y="0"/>
                    <a:pt x="8580" y="0"/>
                  </a:cubicBezTo>
                  <a:lnTo>
                    <a:pt x="59540" y="0"/>
                  </a:lnTo>
                  <a:cubicBezTo>
                    <a:pt x="63699" y="0"/>
                    <a:pt x="68120" y="3120"/>
                    <a:pt x="68120" y="8580"/>
                  </a:cubicBezTo>
                  <a:lnTo>
                    <a:pt x="68120" y="59539"/>
                  </a:lnTo>
                  <a:cubicBezTo>
                    <a:pt x="66820" y="63959"/>
                    <a:pt x="63699" y="68119"/>
                    <a:pt x="59540" y="68119"/>
                  </a:cubicBezTo>
                  <a:close/>
                  <a:moveTo>
                    <a:pt x="15860" y="52259"/>
                  </a:moveTo>
                  <a:lnTo>
                    <a:pt x="50960" y="52259"/>
                  </a:lnTo>
                  <a:lnTo>
                    <a:pt x="50960" y="17160"/>
                  </a:lnTo>
                  <a:lnTo>
                    <a:pt x="15860" y="17160"/>
                  </a:lnTo>
                  <a:lnTo>
                    <a:pt x="15860" y="52259"/>
                  </a:lnTo>
                  <a:close/>
                </a:path>
              </a:pathLst>
            </a:custGeom>
            <a:solidFill>
              <a:srgbClr val="FFFFFF"/>
            </a:solidFill>
            <a:ln w="2597" cap="flat">
              <a:noFill/>
              <a:prstDash val="solid"/>
              <a:miter/>
            </a:ln>
          </p:spPr>
          <p:txBody>
            <a:bodyPr rtlCol="0" anchor="ctr"/>
            <a:lstStyle/>
            <a:p>
              <a:endParaRPr lang="en-GB"/>
            </a:p>
          </p:txBody>
        </p:sp>
        <p:sp>
          <p:nvSpPr>
            <p:cNvPr id="58" name="Freeform: Shape 57">
              <a:extLst>
                <a:ext uri="{FF2B5EF4-FFF2-40B4-BE49-F238E27FC236}">
                  <a16:creationId xmlns:a16="http://schemas.microsoft.com/office/drawing/2014/main" id="{0DA8380B-CFBA-8F94-6B96-A32CF7F01B00}"/>
                </a:ext>
              </a:extLst>
            </p:cNvPr>
            <p:cNvSpPr/>
            <p:nvPr/>
          </p:nvSpPr>
          <p:spPr>
            <a:xfrm>
              <a:off x="7983481" y="3859687"/>
              <a:ext cx="68119" cy="68119"/>
            </a:xfrm>
            <a:custGeom>
              <a:avLst/>
              <a:gdLst>
                <a:gd name="connsiteX0" fmla="*/ 59540 w 68119"/>
                <a:gd name="connsiteY0" fmla="*/ 68119 h 68119"/>
                <a:gd name="connsiteX1" fmla="*/ 8580 w 68119"/>
                <a:gd name="connsiteY1" fmla="*/ 68119 h 68119"/>
                <a:gd name="connsiteX2" fmla="*/ 0 w 68119"/>
                <a:gd name="connsiteY2" fmla="*/ 59539 h 68119"/>
                <a:gd name="connsiteX3" fmla="*/ 0 w 68119"/>
                <a:gd name="connsiteY3" fmla="*/ 8580 h 68119"/>
                <a:gd name="connsiteX4" fmla="*/ 8580 w 68119"/>
                <a:gd name="connsiteY4" fmla="*/ 0 h 68119"/>
                <a:gd name="connsiteX5" fmla="*/ 59540 w 68119"/>
                <a:gd name="connsiteY5" fmla="*/ 0 h 68119"/>
                <a:gd name="connsiteX6" fmla="*/ 68120 w 68119"/>
                <a:gd name="connsiteY6" fmla="*/ 8580 h 68119"/>
                <a:gd name="connsiteX7" fmla="*/ 68120 w 68119"/>
                <a:gd name="connsiteY7" fmla="*/ 59539 h 68119"/>
                <a:gd name="connsiteX8" fmla="*/ 59540 w 68119"/>
                <a:gd name="connsiteY8" fmla="*/ 68119 h 68119"/>
                <a:gd name="connsiteX9" fmla="*/ 15860 w 68119"/>
                <a:gd name="connsiteY9" fmla="*/ 52259 h 68119"/>
                <a:gd name="connsiteX10" fmla="*/ 50960 w 68119"/>
                <a:gd name="connsiteY10" fmla="*/ 52259 h 68119"/>
                <a:gd name="connsiteX11" fmla="*/ 50960 w 68119"/>
                <a:gd name="connsiteY11" fmla="*/ 17160 h 68119"/>
                <a:gd name="connsiteX12" fmla="*/ 15860 w 68119"/>
                <a:gd name="connsiteY12" fmla="*/ 17160 h 68119"/>
                <a:gd name="connsiteX13" fmla="*/ 15860 w 68119"/>
                <a:gd name="connsiteY13" fmla="*/ 52259 h 6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119" h="68119">
                  <a:moveTo>
                    <a:pt x="59540" y="68119"/>
                  </a:moveTo>
                  <a:lnTo>
                    <a:pt x="8580" y="68119"/>
                  </a:lnTo>
                  <a:cubicBezTo>
                    <a:pt x="4420" y="68119"/>
                    <a:pt x="0" y="64999"/>
                    <a:pt x="0" y="59539"/>
                  </a:cubicBezTo>
                  <a:lnTo>
                    <a:pt x="0" y="8580"/>
                  </a:lnTo>
                  <a:cubicBezTo>
                    <a:pt x="0" y="4420"/>
                    <a:pt x="3120" y="0"/>
                    <a:pt x="8580" y="0"/>
                  </a:cubicBezTo>
                  <a:lnTo>
                    <a:pt x="59540" y="0"/>
                  </a:lnTo>
                  <a:cubicBezTo>
                    <a:pt x="63699" y="0"/>
                    <a:pt x="68120" y="3120"/>
                    <a:pt x="68120" y="8580"/>
                  </a:cubicBezTo>
                  <a:lnTo>
                    <a:pt x="68120" y="59539"/>
                  </a:lnTo>
                  <a:cubicBezTo>
                    <a:pt x="66820" y="63959"/>
                    <a:pt x="63699" y="68119"/>
                    <a:pt x="59540" y="68119"/>
                  </a:cubicBezTo>
                  <a:close/>
                  <a:moveTo>
                    <a:pt x="15860" y="52259"/>
                  </a:moveTo>
                  <a:lnTo>
                    <a:pt x="50960" y="52259"/>
                  </a:lnTo>
                  <a:lnTo>
                    <a:pt x="50960" y="17160"/>
                  </a:lnTo>
                  <a:lnTo>
                    <a:pt x="15860" y="17160"/>
                  </a:lnTo>
                  <a:lnTo>
                    <a:pt x="15860" y="52259"/>
                  </a:lnTo>
                  <a:close/>
                </a:path>
              </a:pathLst>
            </a:custGeom>
            <a:solidFill>
              <a:srgbClr val="FFFFFF"/>
            </a:solidFill>
            <a:ln w="2597" cap="flat">
              <a:noFill/>
              <a:prstDash val="solid"/>
              <a:miter/>
            </a:ln>
          </p:spPr>
          <p:txBody>
            <a:bodyPr rtlCol="0" anchor="ctr"/>
            <a:lstStyle/>
            <a:p>
              <a:endParaRPr lang="en-GB"/>
            </a:p>
          </p:txBody>
        </p:sp>
        <p:grpSp>
          <p:nvGrpSpPr>
            <p:cNvPr id="59" name="Graphic 6">
              <a:extLst>
                <a:ext uri="{FF2B5EF4-FFF2-40B4-BE49-F238E27FC236}">
                  <a16:creationId xmlns:a16="http://schemas.microsoft.com/office/drawing/2014/main" id="{D08843DB-1467-656D-DD10-510847341B36}"/>
                </a:ext>
              </a:extLst>
            </p:cNvPr>
            <p:cNvGrpSpPr/>
            <p:nvPr/>
          </p:nvGrpSpPr>
          <p:grpSpPr>
            <a:xfrm>
              <a:off x="7578146" y="3400793"/>
              <a:ext cx="224659" cy="335916"/>
              <a:chOff x="7578146" y="3400793"/>
              <a:chExt cx="224659" cy="335916"/>
            </a:xfrm>
            <a:solidFill>
              <a:srgbClr val="0069FF"/>
            </a:solidFill>
          </p:grpSpPr>
          <p:sp>
            <p:nvSpPr>
              <p:cNvPr id="91" name="Freeform: Shape 90">
                <a:extLst>
                  <a:ext uri="{FF2B5EF4-FFF2-40B4-BE49-F238E27FC236}">
                    <a16:creationId xmlns:a16="http://schemas.microsoft.com/office/drawing/2014/main" id="{7DEC7609-073D-E59C-3F71-54323CB712DB}"/>
                  </a:ext>
                </a:extLst>
              </p:cNvPr>
              <p:cNvSpPr/>
              <p:nvPr/>
            </p:nvSpPr>
            <p:spPr>
              <a:xfrm>
                <a:off x="7583346" y="3405733"/>
                <a:ext cx="214497" cy="325776"/>
              </a:xfrm>
              <a:custGeom>
                <a:avLst/>
                <a:gdLst>
                  <a:gd name="connsiteX0" fmla="*/ 214498 w 214497"/>
                  <a:gd name="connsiteY0" fmla="*/ 86839 h 325776"/>
                  <a:gd name="connsiteX1" fmla="*/ 107119 w 214497"/>
                  <a:gd name="connsiteY1" fmla="*/ 44459 h 325776"/>
                  <a:gd name="connsiteX2" fmla="*/ 0 w 214497"/>
                  <a:gd name="connsiteY2" fmla="*/ 0 h 325776"/>
                  <a:gd name="connsiteX3" fmla="*/ 0 w 214497"/>
                  <a:gd name="connsiteY3" fmla="*/ 325776 h 325776"/>
                  <a:gd name="connsiteX4" fmla="*/ 214498 w 214497"/>
                  <a:gd name="connsiteY4" fmla="*/ 325776 h 325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497" h="325776">
                    <a:moveTo>
                      <a:pt x="214498" y="86839"/>
                    </a:moveTo>
                    <a:lnTo>
                      <a:pt x="107119" y="44459"/>
                    </a:lnTo>
                    <a:lnTo>
                      <a:pt x="0" y="0"/>
                    </a:lnTo>
                    <a:lnTo>
                      <a:pt x="0" y="325776"/>
                    </a:lnTo>
                    <a:lnTo>
                      <a:pt x="214498" y="325776"/>
                    </a:lnTo>
                    <a:close/>
                  </a:path>
                </a:pathLst>
              </a:custGeom>
              <a:solidFill>
                <a:srgbClr val="0069FF"/>
              </a:solidFill>
              <a:ln w="2597" cap="flat">
                <a:noFill/>
                <a:prstDash val="solid"/>
                <a:miter/>
              </a:ln>
            </p:spPr>
            <p:txBody>
              <a:bodyPr rtlCol="0" anchor="ctr"/>
              <a:lstStyle/>
              <a:p>
                <a:endParaRPr lang="en-GB"/>
              </a:p>
            </p:txBody>
          </p:sp>
          <p:sp>
            <p:nvSpPr>
              <p:cNvPr id="95" name="Freeform: Shape 94">
                <a:extLst>
                  <a:ext uri="{FF2B5EF4-FFF2-40B4-BE49-F238E27FC236}">
                    <a16:creationId xmlns:a16="http://schemas.microsoft.com/office/drawing/2014/main" id="{F249877E-1990-A5F8-D07C-EB1BDC4CE367}"/>
                  </a:ext>
                </a:extLst>
              </p:cNvPr>
              <p:cNvSpPr/>
              <p:nvPr/>
            </p:nvSpPr>
            <p:spPr>
              <a:xfrm>
                <a:off x="7578146" y="3400793"/>
                <a:ext cx="224659" cy="335916"/>
              </a:xfrm>
              <a:custGeom>
                <a:avLst/>
                <a:gdLst>
                  <a:gd name="connsiteX0" fmla="*/ 219697 w 224659"/>
                  <a:gd name="connsiteY0" fmla="*/ 335916 h 335916"/>
                  <a:gd name="connsiteX1" fmla="*/ 5200 w 224659"/>
                  <a:gd name="connsiteY1" fmla="*/ 335916 h 335916"/>
                  <a:gd name="connsiteX2" fmla="*/ 0 w 224659"/>
                  <a:gd name="connsiteY2" fmla="*/ 330716 h 335916"/>
                  <a:gd name="connsiteX3" fmla="*/ 0 w 224659"/>
                  <a:gd name="connsiteY3" fmla="*/ 4940 h 335916"/>
                  <a:gd name="connsiteX4" fmla="*/ 2080 w 224659"/>
                  <a:gd name="connsiteY4" fmla="*/ 780 h 335916"/>
                  <a:gd name="connsiteX5" fmla="*/ 7280 w 224659"/>
                  <a:gd name="connsiteY5" fmla="*/ 780 h 335916"/>
                  <a:gd name="connsiteX6" fmla="*/ 114399 w 224659"/>
                  <a:gd name="connsiteY6" fmla="*/ 45239 h 335916"/>
                  <a:gd name="connsiteX7" fmla="*/ 221517 w 224659"/>
                  <a:gd name="connsiteY7" fmla="*/ 87619 h 335916"/>
                  <a:gd name="connsiteX8" fmla="*/ 224637 w 224659"/>
                  <a:gd name="connsiteY8" fmla="*/ 92819 h 335916"/>
                  <a:gd name="connsiteX9" fmla="*/ 224637 w 224659"/>
                  <a:gd name="connsiteY9" fmla="*/ 331496 h 335916"/>
                  <a:gd name="connsiteX10" fmla="*/ 219697 w 224659"/>
                  <a:gd name="connsiteY10" fmla="*/ 335916 h 335916"/>
                  <a:gd name="connsiteX11" fmla="*/ 10660 w 224659"/>
                  <a:gd name="connsiteY11" fmla="*/ 325256 h 335916"/>
                  <a:gd name="connsiteX12" fmla="*/ 214498 w 224659"/>
                  <a:gd name="connsiteY12" fmla="*/ 325256 h 335916"/>
                  <a:gd name="connsiteX13" fmla="*/ 214498 w 224659"/>
                  <a:gd name="connsiteY13" fmla="*/ 94899 h 335916"/>
                  <a:gd name="connsiteX14" fmla="*/ 110499 w 224659"/>
                  <a:gd name="connsiteY14" fmla="*/ 53559 h 335916"/>
                  <a:gd name="connsiteX15" fmla="*/ 10660 w 224659"/>
                  <a:gd name="connsiteY15" fmla="*/ 12220 h 335916"/>
                  <a:gd name="connsiteX16" fmla="*/ 10660 w 224659"/>
                  <a:gd name="connsiteY16" fmla="*/ 325256 h 335916"/>
                  <a:gd name="connsiteX17" fmla="*/ 10660 w 224659"/>
                  <a:gd name="connsiteY17" fmla="*/ 325256 h 335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659" h="335916">
                    <a:moveTo>
                      <a:pt x="219697" y="335916"/>
                    </a:moveTo>
                    <a:lnTo>
                      <a:pt x="5200" y="335916"/>
                    </a:lnTo>
                    <a:cubicBezTo>
                      <a:pt x="2080" y="335916"/>
                      <a:pt x="0" y="333836"/>
                      <a:pt x="0" y="330716"/>
                    </a:cubicBezTo>
                    <a:lnTo>
                      <a:pt x="0" y="4940"/>
                    </a:lnTo>
                    <a:cubicBezTo>
                      <a:pt x="0" y="2860"/>
                      <a:pt x="1040" y="1820"/>
                      <a:pt x="2080" y="780"/>
                    </a:cubicBezTo>
                    <a:cubicBezTo>
                      <a:pt x="3120" y="-260"/>
                      <a:pt x="5200" y="-260"/>
                      <a:pt x="7280" y="780"/>
                    </a:cubicBezTo>
                    <a:lnTo>
                      <a:pt x="114399" y="45239"/>
                    </a:lnTo>
                    <a:lnTo>
                      <a:pt x="221517" y="87619"/>
                    </a:lnTo>
                    <a:cubicBezTo>
                      <a:pt x="223597" y="88659"/>
                      <a:pt x="224637" y="90739"/>
                      <a:pt x="224637" y="92819"/>
                    </a:cubicBezTo>
                    <a:lnTo>
                      <a:pt x="224637" y="331496"/>
                    </a:lnTo>
                    <a:cubicBezTo>
                      <a:pt x="224897" y="333836"/>
                      <a:pt x="222817" y="335916"/>
                      <a:pt x="219697" y="335916"/>
                    </a:cubicBezTo>
                    <a:close/>
                    <a:moveTo>
                      <a:pt x="10660" y="325256"/>
                    </a:moveTo>
                    <a:lnTo>
                      <a:pt x="214498" y="325256"/>
                    </a:lnTo>
                    <a:lnTo>
                      <a:pt x="214498" y="94899"/>
                    </a:lnTo>
                    <a:lnTo>
                      <a:pt x="110499" y="53559"/>
                    </a:lnTo>
                    <a:lnTo>
                      <a:pt x="10660" y="12220"/>
                    </a:lnTo>
                    <a:lnTo>
                      <a:pt x="10660" y="325256"/>
                    </a:lnTo>
                    <a:lnTo>
                      <a:pt x="10660" y="325256"/>
                    </a:lnTo>
                    <a:close/>
                  </a:path>
                </a:pathLst>
              </a:custGeom>
              <a:solidFill>
                <a:srgbClr val="0069FF"/>
              </a:solidFill>
              <a:ln w="2597" cap="flat">
                <a:noFill/>
                <a:prstDash val="solid"/>
                <a:miter/>
              </a:ln>
            </p:spPr>
            <p:txBody>
              <a:bodyPr rtlCol="0" anchor="ctr"/>
              <a:lstStyle/>
              <a:p>
                <a:endParaRPr lang="en-GB"/>
              </a:p>
            </p:txBody>
          </p:sp>
        </p:grpSp>
        <p:sp>
          <p:nvSpPr>
            <p:cNvPr id="61" name="Freeform: Shape 60">
              <a:extLst>
                <a:ext uri="{FF2B5EF4-FFF2-40B4-BE49-F238E27FC236}">
                  <a16:creationId xmlns:a16="http://schemas.microsoft.com/office/drawing/2014/main" id="{B846009D-EEB3-4D7A-E636-564E63705B18}"/>
                </a:ext>
              </a:extLst>
            </p:cNvPr>
            <p:cNvSpPr/>
            <p:nvPr/>
          </p:nvSpPr>
          <p:spPr>
            <a:xfrm>
              <a:off x="7546166" y="3364133"/>
              <a:ext cx="233737" cy="334356"/>
            </a:xfrm>
            <a:custGeom>
              <a:avLst/>
              <a:gdLst>
                <a:gd name="connsiteX0" fmla="*/ 224117 w 233737"/>
                <a:gd name="connsiteY0" fmla="*/ 334356 h 334356"/>
                <a:gd name="connsiteX1" fmla="*/ 8580 w 233737"/>
                <a:gd name="connsiteY1" fmla="*/ 334356 h 334356"/>
                <a:gd name="connsiteX2" fmla="*/ 0 w 233737"/>
                <a:gd name="connsiteY2" fmla="*/ 325776 h 334356"/>
                <a:gd name="connsiteX3" fmla="*/ 0 w 233737"/>
                <a:gd name="connsiteY3" fmla="*/ 8580 h 334356"/>
                <a:gd name="connsiteX4" fmla="*/ 8580 w 233737"/>
                <a:gd name="connsiteY4" fmla="*/ 0 h 334356"/>
                <a:gd name="connsiteX5" fmla="*/ 17160 w 233737"/>
                <a:gd name="connsiteY5" fmla="*/ 8580 h 334356"/>
                <a:gd name="connsiteX6" fmla="*/ 17160 w 233737"/>
                <a:gd name="connsiteY6" fmla="*/ 317456 h 334356"/>
                <a:gd name="connsiteX7" fmla="*/ 216578 w 233737"/>
                <a:gd name="connsiteY7" fmla="*/ 317456 h 334356"/>
                <a:gd name="connsiteX8" fmla="*/ 216578 w 233737"/>
                <a:gd name="connsiteY8" fmla="*/ 100879 h 334356"/>
                <a:gd name="connsiteX9" fmla="*/ 225158 w 233737"/>
                <a:gd name="connsiteY9" fmla="*/ 92299 h 334356"/>
                <a:gd name="connsiteX10" fmla="*/ 233738 w 233737"/>
                <a:gd name="connsiteY10" fmla="*/ 100879 h 334356"/>
                <a:gd name="connsiteX11" fmla="*/ 233738 w 233737"/>
                <a:gd name="connsiteY11" fmla="*/ 325776 h 334356"/>
                <a:gd name="connsiteX12" fmla="*/ 224117 w 233737"/>
                <a:gd name="connsiteY12" fmla="*/ 334356 h 334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3737" h="334356">
                  <a:moveTo>
                    <a:pt x="224117" y="334356"/>
                  </a:moveTo>
                  <a:lnTo>
                    <a:pt x="8580" y="334356"/>
                  </a:lnTo>
                  <a:cubicBezTo>
                    <a:pt x="4420" y="334356"/>
                    <a:pt x="0" y="331236"/>
                    <a:pt x="0" y="325776"/>
                  </a:cubicBezTo>
                  <a:lnTo>
                    <a:pt x="0" y="8580"/>
                  </a:lnTo>
                  <a:cubicBezTo>
                    <a:pt x="0" y="4420"/>
                    <a:pt x="3120" y="0"/>
                    <a:pt x="8580" y="0"/>
                  </a:cubicBezTo>
                  <a:cubicBezTo>
                    <a:pt x="14040" y="0"/>
                    <a:pt x="17160" y="3120"/>
                    <a:pt x="17160" y="8580"/>
                  </a:cubicBezTo>
                  <a:lnTo>
                    <a:pt x="17160" y="317456"/>
                  </a:lnTo>
                  <a:lnTo>
                    <a:pt x="216578" y="317456"/>
                  </a:lnTo>
                  <a:lnTo>
                    <a:pt x="216578" y="100879"/>
                  </a:lnTo>
                  <a:cubicBezTo>
                    <a:pt x="216578" y="96719"/>
                    <a:pt x="219697" y="92299"/>
                    <a:pt x="225158" y="92299"/>
                  </a:cubicBezTo>
                  <a:cubicBezTo>
                    <a:pt x="230617" y="92299"/>
                    <a:pt x="233738" y="95419"/>
                    <a:pt x="233738" y="100879"/>
                  </a:cubicBezTo>
                  <a:lnTo>
                    <a:pt x="233738" y="325776"/>
                  </a:lnTo>
                  <a:cubicBezTo>
                    <a:pt x="231397" y="331236"/>
                    <a:pt x="228277" y="334356"/>
                    <a:pt x="224117" y="334356"/>
                  </a:cubicBezTo>
                  <a:close/>
                </a:path>
              </a:pathLst>
            </a:custGeom>
            <a:solidFill>
              <a:srgbClr val="00005A"/>
            </a:solidFill>
            <a:ln w="2597" cap="flat">
              <a:noFill/>
              <a:prstDash val="solid"/>
              <a:miter/>
            </a:ln>
          </p:spPr>
          <p:txBody>
            <a:bodyPr rtlCol="0" anchor="ctr"/>
            <a:lstStyle/>
            <a:p>
              <a:endParaRPr lang="en-GB"/>
            </a:p>
          </p:txBody>
        </p:sp>
        <p:sp>
          <p:nvSpPr>
            <p:cNvPr id="65" name="Freeform: Shape 64">
              <a:extLst>
                <a:ext uri="{FF2B5EF4-FFF2-40B4-BE49-F238E27FC236}">
                  <a16:creationId xmlns:a16="http://schemas.microsoft.com/office/drawing/2014/main" id="{07C4767C-679F-53E0-6D97-C91CD821BBCB}"/>
                </a:ext>
              </a:extLst>
            </p:cNvPr>
            <p:cNvSpPr/>
            <p:nvPr/>
          </p:nvSpPr>
          <p:spPr>
            <a:xfrm>
              <a:off x="7523510" y="3354997"/>
              <a:ext cx="281908" cy="128214"/>
            </a:xfrm>
            <a:custGeom>
              <a:avLst/>
              <a:gdLst>
                <a:gd name="connsiteX0" fmla="*/ 273293 w 281908"/>
                <a:gd name="connsiteY0" fmla="*/ 128215 h 128214"/>
                <a:gd name="connsiteX1" fmla="*/ 270173 w 281908"/>
                <a:gd name="connsiteY1" fmla="*/ 127175 h 128214"/>
                <a:gd name="connsiteX2" fmla="*/ 4976 w 281908"/>
                <a:gd name="connsiteY2" fmla="*/ 15636 h 128214"/>
                <a:gd name="connsiteX3" fmla="*/ 816 w 281908"/>
                <a:gd name="connsiteY3" fmla="*/ 4976 h 128214"/>
                <a:gd name="connsiteX4" fmla="*/ 11476 w 281908"/>
                <a:gd name="connsiteY4" fmla="*/ 816 h 128214"/>
                <a:gd name="connsiteX5" fmla="*/ 276933 w 281908"/>
                <a:gd name="connsiteY5" fmla="*/ 112355 h 128214"/>
                <a:gd name="connsiteX6" fmla="*/ 281093 w 281908"/>
                <a:gd name="connsiteY6" fmla="*/ 123015 h 128214"/>
                <a:gd name="connsiteX7" fmla="*/ 273293 w 281908"/>
                <a:gd name="connsiteY7" fmla="*/ 128215 h 128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908" h="128214">
                  <a:moveTo>
                    <a:pt x="273293" y="128215"/>
                  </a:moveTo>
                  <a:cubicBezTo>
                    <a:pt x="272253" y="128215"/>
                    <a:pt x="271213" y="128215"/>
                    <a:pt x="270173" y="127175"/>
                  </a:cubicBezTo>
                  <a:lnTo>
                    <a:pt x="4976" y="15636"/>
                  </a:lnTo>
                  <a:cubicBezTo>
                    <a:pt x="816" y="13556"/>
                    <a:pt x="-1264" y="9396"/>
                    <a:pt x="816" y="4976"/>
                  </a:cubicBezTo>
                  <a:cubicBezTo>
                    <a:pt x="2896" y="816"/>
                    <a:pt x="7056" y="-1264"/>
                    <a:pt x="11476" y="816"/>
                  </a:cubicBezTo>
                  <a:lnTo>
                    <a:pt x="276933" y="112355"/>
                  </a:lnTo>
                  <a:cubicBezTo>
                    <a:pt x="281093" y="114435"/>
                    <a:pt x="283172" y="118595"/>
                    <a:pt x="281093" y="123015"/>
                  </a:cubicBezTo>
                  <a:cubicBezTo>
                    <a:pt x="279533" y="126135"/>
                    <a:pt x="276413" y="128215"/>
                    <a:pt x="273293" y="128215"/>
                  </a:cubicBezTo>
                  <a:close/>
                </a:path>
              </a:pathLst>
            </a:custGeom>
            <a:solidFill>
              <a:srgbClr val="00005A"/>
            </a:solidFill>
            <a:ln w="2597" cap="flat">
              <a:noFill/>
              <a:prstDash val="solid"/>
              <a:miter/>
            </a:ln>
          </p:spPr>
          <p:txBody>
            <a:bodyPr rtlCol="0" anchor="ctr"/>
            <a:lstStyle/>
            <a:p>
              <a:endParaRPr lang="en-GB"/>
            </a:p>
          </p:txBody>
        </p:sp>
        <p:sp>
          <p:nvSpPr>
            <p:cNvPr id="69" name="Freeform: Shape 68">
              <a:extLst>
                <a:ext uri="{FF2B5EF4-FFF2-40B4-BE49-F238E27FC236}">
                  <a16:creationId xmlns:a16="http://schemas.microsoft.com/office/drawing/2014/main" id="{EE22F200-6DF8-C263-FD97-883B3F88AAC1}"/>
                </a:ext>
              </a:extLst>
            </p:cNvPr>
            <p:cNvSpPr/>
            <p:nvPr/>
          </p:nvSpPr>
          <p:spPr>
            <a:xfrm>
              <a:off x="7592965" y="3573171"/>
              <a:ext cx="66039" cy="66039"/>
            </a:xfrm>
            <a:custGeom>
              <a:avLst/>
              <a:gdLst>
                <a:gd name="connsiteX0" fmla="*/ 57199 w 66039"/>
                <a:gd name="connsiteY0" fmla="*/ 66039 h 66039"/>
                <a:gd name="connsiteX1" fmla="*/ 8580 w 66039"/>
                <a:gd name="connsiteY1" fmla="*/ 66039 h 66039"/>
                <a:gd name="connsiteX2" fmla="*/ 0 w 66039"/>
                <a:gd name="connsiteY2" fmla="*/ 57459 h 66039"/>
                <a:gd name="connsiteX3" fmla="*/ 0 w 66039"/>
                <a:gd name="connsiteY3" fmla="*/ 8580 h 66039"/>
                <a:gd name="connsiteX4" fmla="*/ 8580 w 66039"/>
                <a:gd name="connsiteY4" fmla="*/ 0 h 66039"/>
                <a:gd name="connsiteX5" fmla="*/ 57460 w 66039"/>
                <a:gd name="connsiteY5" fmla="*/ 0 h 66039"/>
                <a:gd name="connsiteX6" fmla="*/ 66040 w 66039"/>
                <a:gd name="connsiteY6" fmla="*/ 8580 h 66039"/>
                <a:gd name="connsiteX7" fmla="*/ 66040 w 66039"/>
                <a:gd name="connsiteY7" fmla="*/ 57459 h 66039"/>
                <a:gd name="connsiteX8" fmla="*/ 57199 w 66039"/>
                <a:gd name="connsiteY8" fmla="*/ 66039 h 66039"/>
                <a:gd name="connsiteX9" fmla="*/ 16900 w 66039"/>
                <a:gd name="connsiteY9" fmla="*/ 50179 h 66039"/>
                <a:gd name="connsiteX10" fmla="*/ 49919 w 66039"/>
                <a:gd name="connsiteY10" fmla="*/ 50179 h 66039"/>
                <a:gd name="connsiteX11" fmla="*/ 49919 w 66039"/>
                <a:gd name="connsiteY11" fmla="*/ 18460 h 66039"/>
                <a:gd name="connsiteX12" fmla="*/ 16900 w 66039"/>
                <a:gd name="connsiteY12" fmla="*/ 18460 h 66039"/>
                <a:gd name="connsiteX13" fmla="*/ 16900 w 66039"/>
                <a:gd name="connsiteY13" fmla="*/ 50179 h 66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039" h="66039">
                  <a:moveTo>
                    <a:pt x="57199" y="66039"/>
                  </a:moveTo>
                  <a:lnTo>
                    <a:pt x="8580" y="66039"/>
                  </a:lnTo>
                  <a:cubicBezTo>
                    <a:pt x="4420" y="66039"/>
                    <a:pt x="0" y="62919"/>
                    <a:pt x="0" y="57459"/>
                  </a:cubicBezTo>
                  <a:lnTo>
                    <a:pt x="0" y="8580"/>
                  </a:lnTo>
                  <a:cubicBezTo>
                    <a:pt x="0" y="4420"/>
                    <a:pt x="3120" y="0"/>
                    <a:pt x="8580" y="0"/>
                  </a:cubicBezTo>
                  <a:lnTo>
                    <a:pt x="57460" y="0"/>
                  </a:lnTo>
                  <a:cubicBezTo>
                    <a:pt x="61619" y="0"/>
                    <a:pt x="66040" y="3120"/>
                    <a:pt x="66040" y="8580"/>
                  </a:cubicBezTo>
                  <a:lnTo>
                    <a:pt x="66040" y="57459"/>
                  </a:lnTo>
                  <a:cubicBezTo>
                    <a:pt x="64740" y="62659"/>
                    <a:pt x="61619" y="66039"/>
                    <a:pt x="57199" y="66039"/>
                  </a:cubicBezTo>
                  <a:close/>
                  <a:moveTo>
                    <a:pt x="16900" y="50179"/>
                  </a:moveTo>
                  <a:lnTo>
                    <a:pt x="49919" y="50179"/>
                  </a:lnTo>
                  <a:lnTo>
                    <a:pt x="49919" y="18460"/>
                  </a:lnTo>
                  <a:lnTo>
                    <a:pt x="16900" y="18460"/>
                  </a:lnTo>
                  <a:lnTo>
                    <a:pt x="16900" y="50179"/>
                  </a:lnTo>
                  <a:close/>
                </a:path>
              </a:pathLst>
            </a:custGeom>
            <a:solidFill>
              <a:srgbClr val="FFFFFF"/>
            </a:solidFill>
            <a:ln w="2597" cap="flat">
              <a:noFill/>
              <a:prstDash val="solid"/>
              <a:miter/>
            </a:ln>
          </p:spPr>
          <p:txBody>
            <a:bodyPr rtlCol="0" anchor="ctr"/>
            <a:lstStyle/>
            <a:p>
              <a:endParaRPr lang="en-GB"/>
            </a:p>
          </p:txBody>
        </p:sp>
        <p:sp>
          <p:nvSpPr>
            <p:cNvPr id="73" name="Freeform: Shape 72">
              <a:extLst>
                <a:ext uri="{FF2B5EF4-FFF2-40B4-BE49-F238E27FC236}">
                  <a16:creationId xmlns:a16="http://schemas.microsoft.com/office/drawing/2014/main" id="{CDC992DB-146D-5FB3-B967-4CBDB519573C}"/>
                </a:ext>
              </a:extLst>
            </p:cNvPr>
            <p:cNvSpPr/>
            <p:nvPr/>
          </p:nvSpPr>
          <p:spPr>
            <a:xfrm>
              <a:off x="7674605" y="3573171"/>
              <a:ext cx="66038" cy="66039"/>
            </a:xfrm>
            <a:custGeom>
              <a:avLst/>
              <a:gdLst>
                <a:gd name="connsiteX0" fmla="*/ 57459 w 66038"/>
                <a:gd name="connsiteY0" fmla="*/ 66039 h 66039"/>
                <a:gd name="connsiteX1" fmla="*/ 8579 w 66038"/>
                <a:gd name="connsiteY1" fmla="*/ 66039 h 66039"/>
                <a:gd name="connsiteX2" fmla="*/ 0 w 66038"/>
                <a:gd name="connsiteY2" fmla="*/ 57459 h 66039"/>
                <a:gd name="connsiteX3" fmla="*/ 0 w 66038"/>
                <a:gd name="connsiteY3" fmla="*/ 8580 h 66039"/>
                <a:gd name="connsiteX4" fmla="*/ 8579 w 66038"/>
                <a:gd name="connsiteY4" fmla="*/ 0 h 66039"/>
                <a:gd name="connsiteX5" fmla="*/ 57459 w 66038"/>
                <a:gd name="connsiteY5" fmla="*/ 0 h 66039"/>
                <a:gd name="connsiteX6" fmla="*/ 66039 w 66038"/>
                <a:gd name="connsiteY6" fmla="*/ 8580 h 66039"/>
                <a:gd name="connsiteX7" fmla="*/ 66039 w 66038"/>
                <a:gd name="connsiteY7" fmla="*/ 57459 h 66039"/>
                <a:gd name="connsiteX8" fmla="*/ 57459 w 66038"/>
                <a:gd name="connsiteY8" fmla="*/ 66039 h 66039"/>
                <a:gd name="connsiteX9" fmla="*/ 17159 w 66038"/>
                <a:gd name="connsiteY9" fmla="*/ 50179 h 66039"/>
                <a:gd name="connsiteX10" fmla="*/ 50179 w 66038"/>
                <a:gd name="connsiteY10" fmla="*/ 50179 h 66039"/>
                <a:gd name="connsiteX11" fmla="*/ 50179 w 66038"/>
                <a:gd name="connsiteY11" fmla="*/ 18460 h 66039"/>
                <a:gd name="connsiteX12" fmla="*/ 17159 w 66038"/>
                <a:gd name="connsiteY12" fmla="*/ 18460 h 66039"/>
                <a:gd name="connsiteX13" fmla="*/ 17159 w 66038"/>
                <a:gd name="connsiteY13" fmla="*/ 50179 h 66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038" h="66039">
                  <a:moveTo>
                    <a:pt x="57459" y="66039"/>
                  </a:moveTo>
                  <a:lnTo>
                    <a:pt x="8579" y="66039"/>
                  </a:lnTo>
                  <a:cubicBezTo>
                    <a:pt x="4420" y="66039"/>
                    <a:pt x="0" y="62919"/>
                    <a:pt x="0" y="57459"/>
                  </a:cubicBezTo>
                  <a:lnTo>
                    <a:pt x="0" y="8580"/>
                  </a:lnTo>
                  <a:cubicBezTo>
                    <a:pt x="0" y="4420"/>
                    <a:pt x="3120" y="0"/>
                    <a:pt x="8579" y="0"/>
                  </a:cubicBezTo>
                  <a:lnTo>
                    <a:pt x="57459" y="0"/>
                  </a:lnTo>
                  <a:cubicBezTo>
                    <a:pt x="61619" y="0"/>
                    <a:pt x="66039" y="3120"/>
                    <a:pt x="66039" y="8580"/>
                  </a:cubicBezTo>
                  <a:lnTo>
                    <a:pt x="66039" y="57459"/>
                  </a:lnTo>
                  <a:cubicBezTo>
                    <a:pt x="65779" y="62659"/>
                    <a:pt x="61619" y="66039"/>
                    <a:pt x="57459" y="66039"/>
                  </a:cubicBezTo>
                  <a:close/>
                  <a:moveTo>
                    <a:pt x="17159" y="50179"/>
                  </a:moveTo>
                  <a:lnTo>
                    <a:pt x="50179" y="50179"/>
                  </a:lnTo>
                  <a:lnTo>
                    <a:pt x="50179" y="18460"/>
                  </a:lnTo>
                  <a:lnTo>
                    <a:pt x="17159" y="18460"/>
                  </a:lnTo>
                  <a:lnTo>
                    <a:pt x="17159" y="50179"/>
                  </a:lnTo>
                  <a:close/>
                </a:path>
              </a:pathLst>
            </a:custGeom>
            <a:solidFill>
              <a:srgbClr val="FFFFFF"/>
            </a:solidFill>
            <a:ln w="2597" cap="flat">
              <a:noFill/>
              <a:prstDash val="solid"/>
              <a:miter/>
            </a:ln>
          </p:spPr>
          <p:txBody>
            <a:bodyPr rtlCol="0" anchor="ctr"/>
            <a:lstStyle/>
            <a:p>
              <a:endParaRPr lang="en-GB"/>
            </a:p>
          </p:txBody>
        </p:sp>
        <p:sp>
          <p:nvSpPr>
            <p:cNvPr id="77" name="Freeform: Shape 76">
              <a:extLst>
                <a:ext uri="{FF2B5EF4-FFF2-40B4-BE49-F238E27FC236}">
                  <a16:creationId xmlns:a16="http://schemas.microsoft.com/office/drawing/2014/main" id="{E319F95E-0551-9853-8035-4AE6AFDF3C38}"/>
                </a:ext>
              </a:extLst>
            </p:cNvPr>
            <p:cNvSpPr/>
            <p:nvPr/>
          </p:nvSpPr>
          <p:spPr>
            <a:xfrm>
              <a:off x="7569566" y="4063265"/>
              <a:ext cx="362175" cy="252976"/>
            </a:xfrm>
            <a:custGeom>
              <a:avLst/>
              <a:gdLst>
                <a:gd name="connsiteX0" fmla="*/ 352296 w 362175"/>
                <a:gd name="connsiteY0" fmla="*/ 252977 h 252976"/>
                <a:gd name="connsiteX1" fmla="*/ 8580 w 362175"/>
                <a:gd name="connsiteY1" fmla="*/ 252977 h 252976"/>
                <a:gd name="connsiteX2" fmla="*/ 0 w 362175"/>
                <a:gd name="connsiteY2" fmla="*/ 244397 h 252976"/>
                <a:gd name="connsiteX3" fmla="*/ 8580 w 362175"/>
                <a:gd name="connsiteY3" fmla="*/ 235817 h 252976"/>
                <a:gd name="connsiteX4" fmla="*/ 345016 w 362175"/>
                <a:gd name="connsiteY4" fmla="*/ 235817 h 252976"/>
                <a:gd name="connsiteX5" fmla="*/ 345016 w 362175"/>
                <a:gd name="connsiteY5" fmla="*/ 8580 h 252976"/>
                <a:gd name="connsiteX6" fmla="*/ 353596 w 362175"/>
                <a:gd name="connsiteY6" fmla="*/ 0 h 252976"/>
                <a:gd name="connsiteX7" fmla="*/ 362176 w 362175"/>
                <a:gd name="connsiteY7" fmla="*/ 8580 h 252976"/>
                <a:gd name="connsiteX8" fmla="*/ 362176 w 362175"/>
                <a:gd name="connsiteY8" fmla="*/ 244137 h 252976"/>
                <a:gd name="connsiteX9" fmla="*/ 352296 w 362175"/>
                <a:gd name="connsiteY9" fmla="*/ 252977 h 252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2175" h="252976">
                  <a:moveTo>
                    <a:pt x="352296" y="252977"/>
                  </a:moveTo>
                  <a:lnTo>
                    <a:pt x="8580" y="252977"/>
                  </a:lnTo>
                  <a:cubicBezTo>
                    <a:pt x="4420" y="252977"/>
                    <a:pt x="0" y="249857"/>
                    <a:pt x="0" y="244397"/>
                  </a:cubicBezTo>
                  <a:cubicBezTo>
                    <a:pt x="0" y="238937"/>
                    <a:pt x="3120" y="235817"/>
                    <a:pt x="8580" y="235817"/>
                  </a:cubicBezTo>
                  <a:lnTo>
                    <a:pt x="345016" y="235817"/>
                  </a:lnTo>
                  <a:lnTo>
                    <a:pt x="345016" y="8580"/>
                  </a:lnTo>
                  <a:cubicBezTo>
                    <a:pt x="345016" y="4420"/>
                    <a:pt x="348136" y="0"/>
                    <a:pt x="353596" y="0"/>
                  </a:cubicBezTo>
                  <a:cubicBezTo>
                    <a:pt x="359056" y="0"/>
                    <a:pt x="362176" y="3120"/>
                    <a:pt x="362176" y="8580"/>
                  </a:cubicBezTo>
                  <a:lnTo>
                    <a:pt x="362176" y="244137"/>
                  </a:lnTo>
                  <a:cubicBezTo>
                    <a:pt x="360876" y="249857"/>
                    <a:pt x="356716" y="252977"/>
                    <a:pt x="352296" y="252977"/>
                  </a:cubicBezTo>
                  <a:close/>
                </a:path>
              </a:pathLst>
            </a:custGeom>
            <a:solidFill>
              <a:srgbClr val="00005A"/>
            </a:solidFill>
            <a:ln w="2597" cap="flat">
              <a:noFill/>
              <a:prstDash val="solid"/>
              <a:miter/>
            </a:ln>
          </p:spPr>
          <p:txBody>
            <a:bodyPr rtlCol="0" anchor="ctr"/>
            <a:lstStyle/>
            <a:p>
              <a:endParaRPr lang="en-GB"/>
            </a:p>
          </p:txBody>
        </p:sp>
        <p:sp>
          <p:nvSpPr>
            <p:cNvPr id="81" name="Freeform: Shape 80">
              <a:extLst>
                <a:ext uri="{FF2B5EF4-FFF2-40B4-BE49-F238E27FC236}">
                  <a16:creationId xmlns:a16="http://schemas.microsoft.com/office/drawing/2014/main" id="{6D4CF2DE-F94B-0938-4F95-61474D5D98F2}"/>
                </a:ext>
              </a:extLst>
            </p:cNvPr>
            <p:cNvSpPr/>
            <p:nvPr/>
          </p:nvSpPr>
          <p:spPr>
            <a:xfrm>
              <a:off x="7655365" y="3685749"/>
              <a:ext cx="17160" cy="630492"/>
            </a:xfrm>
            <a:custGeom>
              <a:avLst/>
              <a:gdLst>
                <a:gd name="connsiteX0" fmla="*/ 8580 w 17160"/>
                <a:gd name="connsiteY0" fmla="*/ 630493 h 630492"/>
                <a:gd name="connsiteX1" fmla="*/ 0 w 17160"/>
                <a:gd name="connsiteY1" fmla="*/ 621913 h 630492"/>
                <a:gd name="connsiteX2" fmla="*/ 0 w 17160"/>
                <a:gd name="connsiteY2" fmla="*/ 8580 h 630492"/>
                <a:gd name="connsiteX3" fmla="*/ 8580 w 17160"/>
                <a:gd name="connsiteY3" fmla="*/ 0 h 630492"/>
                <a:gd name="connsiteX4" fmla="*/ 17160 w 17160"/>
                <a:gd name="connsiteY4" fmla="*/ 8580 h 630492"/>
                <a:gd name="connsiteX5" fmla="*/ 17160 w 17160"/>
                <a:gd name="connsiteY5" fmla="*/ 621913 h 630492"/>
                <a:gd name="connsiteX6" fmla="*/ 8580 w 17160"/>
                <a:gd name="connsiteY6" fmla="*/ 630493 h 630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60" h="630492">
                  <a:moveTo>
                    <a:pt x="8580" y="630493"/>
                  </a:moveTo>
                  <a:cubicBezTo>
                    <a:pt x="4420" y="630493"/>
                    <a:pt x="0" y="627373"/>
                    <a:pt x="0" y="621913"/>
                  </a:cubicBezTo>
                  <a:lnTo>
                    <a:pt x="0" y="8580"/>
                  </a:lnTo>
                  <a:cubicBezTo>
                    <a:pt x="0" y="4420"/>
                    <a:pt x="3120" y="0"/>
                    <a:pt x="8580" y="0"/>
                  </a:cubicBezTo>
                  <a:cubicBezTo>
                    <a:pt x="13780" y="0"/>
                    <a:pt x="17160" y="3120"/>
                    <a:pt x="17160" y="8580"/>
                  </a:cubicBezTo>
                  <a:lnTo>
                    <a:pt x="17160" y="621913"/>
                  </a:lnTo>
                  <a:cubicBezTo>
                    <a:pt x="16120" y="627373"/>
                    <a:pt x="13000" y="630493"/>
                    <a:pt x="8580" y="630493"/>
                  </a:cubicBezTo>
                  <a:close/>
                </a:path>
              </a:pathLst>
            </a:custGeom>
            <a:solidFill>
              <a:srgbClr val="00005A"/>
            </a:solidFill>
            <a:ln w="2597" cap="flat">
              <a:noFill/>
              <a:prstDash val="solid"/>
              <a:miter/>
            </a:ln>
          </p:spPr>
          <p:txBody>
            <a:bodyPr rtlCol="0" anchor="ctr"/>
            <a:lstStyle/>
            <a:p>
              <a:endParaRPr lang="en-GB"/>
            </a:p>
          </p:txBody>
        </p:sp>
      </p:grpSp>
      <p:sp>
        <p:nvSpPr>
          <p:cNvPr id="126" name="TextBox 125">
            <a:extLst>
              <a:ext uri="{FF2B5EF4-FFF2-40B4-BE49-F238E27FC236}">
                <a16:creationId xmlns:a16="http://schemas.microsoft.com/office/drawing/2014/main" id="{6CB965BA-E149-4EDA-6249-31FC18C93B33}"/>
              </a:ext>
            </a:extLst>
          </p:cNvPr>
          <p:cNvSpPr txBox="1"/>
          <p:nvPr/>
        </p:nvSpPr>
        <p:spPr>
          <a:xfrm>
            <a:off x="3203812" y="4331537"/>
            <a:ext cx="775302" cy="153888"/>
          </a:xfrm>
          <a:prstGeom prst="rect">
            <a:avLst/>
          </a:prstGeom>
          <a:noFill/>
        </p:spPr>
        <p:txBody>
          <a:bodyPr wrap="square" lIns="0" tIns="0" rIns="0" bIns="0" rtlCol="0" anchor="t">
            <a:spAutoFit/>
          </a:bodyPr>
          <a:lstStyle/>
          <a:p>
            <a:pPr algn="l"/>
            <a:r>
              <a:rPr lang="en-GB" sz="1000" spc="0" baseline="0">
                <a:ln/>
                <a:cs typeface="Arial"/>
                <a:sym typeface="Arial"/>
                <a:rtl val="0"/>
              </a:rPr>
              <a:t>Wärmenetze</a:t>
            </a:r>
          </a:p>
        </p:txBody>
      </p:sp>
      <p:grpSp>
        <p:nvGrpSpPr>
          <p:cNvPr id="156" name="Graphic 6">
            <a:extLst>
              <a:ext uri="{FF2B5EF4-FFF2-40B4-BE49-F238E27FC236}">
                <a16:creationId xmlns:a16="http://schemas.microsoft.com/office/drawing/2014/main" id="{C89E5D32-994F-FA50-8CA3-69B29634D599}"/>
              </a:ext>
            </a:extLst>
          </p:cNvPr>
          <p:cNvGrpSpPr/>
          <p:nvPr/>
        </p:nvGrpSpPr>
        <p:grpSpPr>
          <a:xfrm>
            <a:off x="3305594" y="3724692"/>
            <a:ext cx="302696" cy="349235"/>
            <a:chOff x="2506124" y="3671970"/>
            <a:chExt cx="607093" cy="700431"/>
          </a:xfrm>
        </p:grpSpPr>
        <p:grpSp>
          <p:nvGrpSpPr>
            <p:cNvPr id="157" name="Graphic 6">
              <a:extLst>
                <a:ext uri="{FF2B5EF4-FFF2-40B4-BE49-F238E27FC236}">
                  <a16:creationId xmlns:a16="http://schemas.microsoft.com/office/drawing/2014/main" id="{7B946BAA-4ECF-3CB9-46E6-6D58EE222749}"/>
                </a:ext>
              </a:extLst>
            </p:cNvPr>
            <p:cNvGrpSpPr/>
            <p:nvPr/>
          </p:nvGrpSpPr>
          <p:grpSpPr>
            <a:xfrm>
              <a:off x="2538104" y="3705249"/>
              <a:ext cx="575113" cy="667152"/>
              <a:chOff x="2538104" y="3705249"/>
              <a:chExt cx="575113" cy="667152"/>
            </a:xfrm>
            <a:solidFill>
              <a:srgbClr val="0069FF"/>
            </a:solidFill>
          </p:grpSpPr>
          <p:grpSp>
            <p:nvGrpSpPr>
              <p:cNvPr id="185" name="Graphic 6">
                <a:extLst>
                  <a:ext uri="{FF2B5EF4-FFF2-40B4-BE49-F238E27FC236}">
                    <a16:creationId xmlns:a16="http://schemas.microsoft.com/office/drawing/2014/main" id="{FB5D74C1-304E-71A1-8D81-3BBB4FCF5FE7}"/>
                  </a:ext>
                </a:extLst>
              </p:cNvPr>
              <p:cNvGrpSpPr/>
              <p:nvPr/>
            </p:nvGrpSpPr>
            <p:grpSpPr>
              <a:xfrm>
                <a:off x="2538104" y="3705249"/>
                <a:ext cx="575113" cy="618532"/>
                <a:chOff x="2538104" y="3705249"/>
                <a:chExt cx="575113" cy="618532"/>
              </a:xfrm>
              <a:solidFill>
                <a:srgbClr val="0069FF"/>
              </a:solidFill>
            </p:grpSpPr>
            <p:sp>
              <p:nvSpPr>
                <p:cNvPr id="192" name="Freeform: Shape 191">
                  <a:extLst>
                    <a:ext uri="{FF2B5EF4-FFF2-40B4-BE49-F238E27FC236}">
                      <a16:creationId xmlns:a16="http://schemas.microsoft.com/office/drawing/2014/main" id="{CE4ACB02-0A2F-5B1F-66A3-D51AE2D35DC1}"/>
                    </a:ext>
                  </a:extLst>
                </p:cNvPr>
                <p:cNvSpPr/>
                <p:nvPr/>
              </p:nvSpPr>
              <p:spPr>
                <a:xfrm>
                  <a:off x="2543304" y="3710189"/>
                  <a:ext cx="564713" cy="608133"/>
                </a:xfrm>
                <a:custGeom>
                  <a:avLst/>
                  <a:gdLst>
                    <a:gd name="connsiteX0" fmla="*/ 0 w 564713"/>
                    <a:gd name="connsiteY0" fmla="*/ 0 h 608133"/>
                    <a:gd name="connsiteX1" fmla="*/ 564714 w 564713"/>
                    <a:gd name="connsiteY1" fmla="*/ 0 h 608133"/>
                    <a:gd name="connsiteX2" fmla="*/ 564714 w 564713"/>
                    <a:gd name="connsiteY2" fmla="*/ 608133 h 608133"/>
                    <a:gd name="connsiteX3" fmla="*/ 0 w 564713"/>
                    <a:gd name="connsiteY3" fmla="*/ 608133 h 608133"/>
                  </a:gdLst>
                  <a:ahLst/>
                  <a:cxnLst>
                    <a:cxn ang="0">
                      <a:pos x="connsiteX0" y="connsiteY0"/>
                    </a:cxn>
                    <a:cxn ang="0">
                      <a:pos x="connsiteX1" y="connsiteY1"/>
                    </a:cxn>
                    <a:cxn ang="0">
                      <a:pos x="connsiteX2" y="connsiteY2"/>
                    </a:cxn>
                    <a:cxn ang="0">
                      <a:pos x="connsiteX3" y="connsiteY3"/>
                    </a:cxn>
                  </a:cxnLst>
                  <a:rect l="l" t="t" r="r" b="b"/>
                  <a:pathLst>
                    <a:path w="564713" h="608133">
                      <a:moveTo>
                        <a:pt x="0" y="0"/>
                      </a:moveTo>
                      <a:lnTo>
                        <a:pt x="564714" y="0"/>
                      </a:lnTo>
                      <a:lnTo>
                        <a:pt x="564714" y="608133"/>
                      </a:lnTo>
                      <a:lnTo>
                        <a:pt x="0" y="608133"/>
                      </a:lnTo>
                      <a:close/>
                    </a:path>
                  </a:pathLst>
                </a:custGeom>
                <a:solidFill>
                  <a:srgbClr val="0069FF"/>
                </a:solidFill>
                <a:ln w="2597" cap="flat">
                  <a:noFill/>
                  <a:prstDash val="solid"/>
                  <a:miter/>
                </a:ln>
              </p:spPr>
              <p:txBody>
                <a:bodyPr rtlCol="0" anchor="ctr"/>
                <a:lstStyle/>
                <a:p>
                  <a:endParaRPr lang="en-GB"/>
                </a:p>
              </p:txBody>
            </p:sp>
            <p:sp>
              <p:nvSpPr>
                <p:cNvPr id="193" name="Freeform: Shape 192">
                  <a:extLst>
                    <a:ext uri="{FF2B5EF4-FFF2-40B4-BE49-F238E27FC236}">
                      <a16:creationId xmlns:a16="http://schemas.microsoft.com/office/drawing/2014/main" id="{96300FFA-1F61-3899-2159-C3A08F945FCC}"/>
                    </a:ext>
                  </a:extLst>
                </p:cNvPr>
                <p:cNvSpPr/>
                <p:nvPr/>
              </p:nvSpPr>
              <p:spPr>
                <a:xfrm>
                  <a:off x="2538104" y="3705249"/>
                  <a:ext cx="575113" cy="618532"/>
                </a:xfrm>
                <a:custGeom>
                  <a:avLst/>
                  <a:gdLst>
                    <a:gd name="connsiteX0" fmla="*/ 569653 w 575113"/>
                    <a:gd name="connsiteY0" fmla="*/ 618533 h 618532"/>
                    <a:gd name="connsiteX1" fmla="*/ 5200 w 575113"/>
                    <a:gd name="connsiteY1" fmla="*/ 618533 h 618532"/>
                    <a:gd name="connsiteX2" fmla="*/ 0 w 575113"/>
                    <a:gd name="connsiteY2" fmla="*/ 613333 h 618532"/>
                    <a:gd name="connsiteX3" fmla="*/ 0 w 575113"/>
                    <a:gd name="connsiteY3" fmla="*/ 5200 h 618532"/>
                    <a:gd name="connsiteX4" fmla="*/ 5200 w 575113"/>
                    <a:gd name="connsiteY4" fmla="*/ 0 h 618532"/>
                    <a:gd name="connsiteX5" fmla="*/ 569913 w 575113"/>
                    <a:gd name="connsiteY5" fmla="*/ 0 h 618532"/>
                    <a:gd name="connsiteX6" fmla="*/ 575113 w 575113"/>
                    <a:gd name="connsiteY6" fmla="*/ 5200 h 618532"/>
                    <a:gd name="connsiteX7" fmla="*/ 575113 w 575113"/>
                    <a:gd name="connsiteY7" fmla="*/ 613073 h 618532"/>
                    <a:gd name="connsiteX8" fmla="*/ 569653 w 575113"/>
                    <a:gd name="connsiteY8" fmla="*/ 618533 h 618532"/>
                    <a:gd name="connsiteX9" fmla="*/ 10400 w 575113"/>
                    <a:gd name="connsiteY9" fmla="*/ 607873 h 618532"/>
                    <a:gd name="connsiteX10" fmla="*/ 564453 w 575113"/>
                    <a:gd name="connsiteY10" fmla="*/ 607873 h 618532"/>
                    <a:gd name="connsiteX11" fmla="*/ 564453 w 575113"/>
                    <a:gd name="connsiteY11" fmla="*/ 10400 h 618532"/>
                    <a:gd name="connsiteX12" fmla="*/ 10400 w 575113"/>
                    <a:gd name="connsiteY12" fmla="*/ 10400 h 618532"/>
                    <a:gd name="connsiteX13" fmla="*/ 10400 w 575113"/>
                    <a:gd name="connsiteY13" fmla="*/ 607873 h 618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5113" h="618532">
                      <a:moveTo>
                        <a:pt x="569653" y="618533"/>
                      </a:moveTo>
                      <a:lnTo>
                        <a:pt x="5200" y="618533"/>
                      </a:lnTo>
                      <a:cubicBezTo>
                        <a:pt x="2080" y="618533"/>
                        <a:pt x="0" y="616453"/>
                        <a:pt x="0" y="613333"/>
                      </a:cubicBezTo>
                      <a:lnTo>
                        <a:pt x="0" y="5200"/>
                      </a:lnTo>
                      <a:cubicBezTo>
                        <a:pt x="0" y="2080"/>
                        <a:pt x="2080" y="0"/>
                        <a:pt x="5200" y="0"/>
                      </a:cubicBezTo>
                      <a:lnTo>
                        <a:pt x="569913" y="0"/>
                      </a:lnTo>
                      <a:cubicBezTo>
                        <a:pt x="573033" y="0"/>
                        <a:pt x="575113" y="2080"/>
                        <a:pt x="575113" y="5200"/>
                      </a:cubicBezTo>
                      <a:lnTo>
                        <a:pt x="575113" y="613073"/>
                      </a:lnTo>
                      <a:cubicBezTo>
                        <a:pt x="575113" y="616193"/>
                        <a:pt x="573033" y="618533"/>
                        <a:pt x="569653" y="618533"/>
                      </a:cubicBezTo>
                      <a:close/>
                      <a:moveTo>
                        <a:pt x="10400" y="607873"/>
                      </a:moveTo>
                      <a:lnTo>
                        <a:pt x="564453" y="607873"/>
                      </a:lnTo>
                      <a:lnTo>
                        <a:pt x="564453" y="10400"/>
                      </a:lnTo>
                      <a:lnTo>
                        <a:pt x="10400" y="10400"/>
                      </a:lnTo>
                      <a:lnTo>
                        <a:pt x="10400" y="607873"/>
                      </a:lnTo>
                      <a:close/>
                    </a:path>
                  </a:pathLst>
                </a:custGeom>
                <a:solidFill>
                  <a:srgbClr val="0069FF"/>
                </a:solidFill>
                <a:ln w="2597" cap="flat">
                  <a:noFill/>
                  <a:prstDash val="solid"/>
                  <a:miter/>
                </a:ln>
              </p:spPr>
              <p:txBody>
                <a:bodyPr rtlCol="0" anchor="ctr"/>
                <a:lstStyle/>
                <a:p>
                  <a:endParaRPr lang="en-GB"/>
                </a:p>
              </p:txBody>
            </p:sp>
          </p:grpSp>
          <p:grpSp>
            <p:nvGrpSpPr>
              <p:cNvPr id="186" name="Graphic 6">
                <a:extLst>
                  <a:ext uri="{FF2B5EF4-FFF2-40B4-BE49-F238E27FC236}">
                    <a16:creationId xmlns:a16="http://schemas.microsoft.com/office/drawing/2014/main" id="{E56B02F7-03E9-8FA2-D0D7-7DBD4369D663}"/>
                  </a:ext>
                </a:extLst>
              </p:cNvPr>
              <p:cNvGrpSpPr/>
              <p:nvPr/>
            </p:nvGrpSpPr>
            <p:grpSpPr>
              <a:xfrm>
                <a:off x="2627283" y="4308962"/>
                <a:ext cx="104778" cy="63439"/>
                <a:chOff x="2627283" y="4308962"/>
                <a:chExt cx="104778" cy="63439"/>
              </a:xfrm>
              <a:solidFill>
                <a:srgbClr val="0069FF"/>
              </a:solidFill>
            </p:grpSpPr>
            <p:sp>
              <p:nvSpPr>
                <p:cNvPr id="190" name="Freeform: Shape 189">
                  <a:extLst>
                    <a:ext uri="{FF2B5EF4-FFF2-40B4-BE49-F238E27FC236}">
                      <a16:creationId xmlns:a16="http://schemas.microsoft.com/office/drawing/2014/main" id="{C35E779A-A80B-8DA6-2A14-6FA2CE2F9E3F}"/>
                    </a:ext>
                  </a:extLst>
                </p:cNvPr>
                <p:cNvSpPr/>
                <p:nvPr/>
              </p:nvSpPr>
              <p:spPr>
                <a:xfrm>
                  <a:off x="2632483" y="4314162"/>
                  <a:ext cx="94378" cy="53039"/>
                </a:xfrm>
                <a:custGeom>
                  <a:avLst/>
                  <a:gdLst>
                    <a:gd name="connsiteX0" fmla="*/ 0 w 94378"/>
                    <a:gd name="connsiteY0" fmla="*/ 0 h 53039"/>
                    <a:gd name="connsiteX1" fmla="*/ 94379 w 94378"/>
                    <a:gd name="connsiteY1" fmla="*/ 0 h 53039"/>
                    <a:gd name="connsiteX2" fmla="*/ 94379 w 94378"/>
                    <a:gd name="connsiteY2" fmla="*/ 53040 h 53039"/>
                    <a:gd name="connsiteX3" fmla="*/ 0 w 94378"/>
                    <a:gd name="connsiteY3" fmla="*/ 53040 h 53039"/>
                  </a:gdLst>
                  <a:ahLst/>
                  <a:cxnLst>
                    <a:cxn ang="0">
                      <a:pos x="connsiteX0" y="connsiteY0"/>
                    </a:cxn>
                    <a:cxn ang="0">
                      <a:pos x="connsiteX1" y="connsiteY1"/>
                    </a:cxn>
                    <a:cxn ang="0">
                      <a:pos x="connsiteX2" y="connsiteY2"/>
                    </a:cxn>
                    <a:cxn ang="0">
                      <a:pos x="connsiteX3" y="connsiteY3"/>
                    </a:cxn>
                  </a:cxnLst>
                  <a:rect l="l" t="t" r="r" b="b"/>
                  <a:pathLst>
                    <a:path w="94378" h="53039">
                      <a:moveTo>
                        <a:pt x="0" y="0"/>
                      </a:moveTo>
                      <a:lnTo>
                        <a:pt x="94379" y="0"/>
                      </a:lnTo>
                      <a:lnTo>
                        <a:pt x="94379" y="53040"/>
                      </a:lnTo>
                      <a:lnTo>
                        <a:pt x="0" y="53040"/>
                      </a:lnTo>
                      <a:close/>
                    </a:path>
                  </a:pathLst>
                </a:custGeom>
                <a:solidFill>
                  <a:srgbClr val="0069FF"/>
                </a:solidFill>
                <a:ln w="2597" cap="flat">
                  <a:noFill/>
                  <a:prstDash val="solid"/>
                  <a:miter/>
                </a:ln>
              </p:spPr>
              <p:txBody>
                <a:bodyPr rtlCol="0" anchor="ctr"/>
                <a:lstStyle/>
                <a:p>
                  <a:endParaRPr lang="en-GB"/>
                </a:p>
              </p:txBody>
            </p:sp>
            <p:sp>
              <p:nvSpPr>
                <p:cNvPr id="191" name="Freeform: Shape 190">
                  <a:extLst>
                    <a:ext uri="{FF2B5EF4-FFF2-40B4-BE49-F238E27FC236}">
                      <a16:creationId xmlns:a16="http://schemas.microsoft.com/office/drawing/2014/main" id="{0E905495-D07B-D84C-F26F-433B74392C9E}"/>
                    </a:ext>
                  </a:extLst>
                </p:cNvPr>
                <p:cNvSpPr/>
                <p:nvPr/>
              </p:nvSpPr>
              <p:spPr>
                <a:xfrm>
                  <a:off x="2627283" y="4308962"/>
                  <a:ext cx="104778" cy="63439"/>
                </a:xfrm>
                <a:custGeom>
                  <a:avLst/>
                  <a:gdLst>
                    <a:gd name="connsiteX0" fmla="*/ 99579 w 104778"/>
                    <a:gd name="connsiteY0" fmla="*/ 63439 h 63439"/>
                    <a:gd name="connsiteX1" fmla="*/ 5200 w 104778"/>
                    <a:gd name="connsiteY1" fmla="*/ 63439 h 63439"/>
                    <a:gd name="connsiteX2" fmla="*/ 0 w 104778"/>
                    <a:gd name="connsiteY2" fmla="*/ 58239 h 63439"/>
                    <a:gd name="connsiteX3" fmla="*/ 0 w 104778"/>
                    <a:gd name="connsiteY3" fmla="*/ 5200 h 63439"/>
                    <a:gd name="connsiteX4" fmla="*/ 5200 w 104778"/>
                    <a:gd name="connsiteY4" fmla="*/ 0 h 63439"/>
                    <a:gd name="connsiteX5" fmla="*/ 99579 w 104778"/>
                    <a:gd name="connsiteY5" fmla="*/ 0 h 63439"/>
                    <a:gd name="connsiteX6" fmla="*/ 104779 w 104778"/>
                    <a:gd name="connsiteY6" fmla="*/ 5200 h 63439"/>
                    <a:gd name="connsiteX7" fmla="*/ 104779 w 104778"/>
                    <a:gd name="connsiteY7" fmla="*/ 58239 h 63439"/>
                    <a:gd name="connsiteX8" fmla="*/ 99579 w 104778"/>
                    <a:gd name="connsiteY8" fmla="*/ 63439 h 63439"/>
                    <a:gd name="connsiteX9" fmla="*/ 10400 w 104778"/>
                    <a:gd name="connsiteY9" fmla="*/ 53039 h 63439"/>
                    <a:gd name="connsiteX10" fmla="*/ 94119 w 104778"/>
                    <a:gd name="connsiteY10" fmla="*/ 53039 h 63439"/>
                    <a:gd name="connsiteX11" fmla="*/ 94119 w 104778"/>
                    <a:gd name="connsiteY11" fmla="*/ 10660 h 63439"/>
                    <a:gd name="connsiteX12" fmla="*/ 10400 w 104778"/>
                    <a:gd name="connsiteY12" fmla="*/ 10660 h 63439"/>
                    <a:gd name="connsiteX13" fmla="*/ 10400 w 104778"/>
                    <a:gd name="connsiteY13" fmla="*/ 53039 h 6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778" h="63439">
                      <a:moveTo>
                        <a:pt x="99579" y="63439"/>
                      </a:moveTo>
                      <a:lnTo>
                        <a:pt x="5200" y="63439"/>
                      </a:lnTo>
                      <a:cubicBezTo>
                        <a:pt x="2080" y="63439"/>
                        <a:pt x="0" y="61359"/>
                        <a:pt x="0" y="58239"/>
                      </a:cubicBezTo>
                      <a:lnTo>
                        <a:pt x="0" y="5200"/>
                      </a:lnTo>
                      <a:cubicBezTo>
                        <a:pt x="0" y="2080"/>
                        <a:pt x="2080" y="0"/>
                        <a:pt x="5200" y="0"/>
                      </a:cubicBezTo>
                      <a:lnTo>
                        <a:pt x="99579" y="0"/>
                      </a:lnTo>
                      <a:cubicBezTo>
                        <a:pt x="102699" y="0"/>
                        <a:pt x="104779" y="2080"/>
                        <a:pt x="104779" y="5200"/>
                      </a:cubicBezTo>
                      <a:lnTo>
                        <a:pt x="104779" y="58239"/>
                      </a:lnTo>
                      <a:cubicBezTo>
                        <a:pt x="104779" y="61359"/>
                        <a:pt x="102699" y="63439"/>
                        <a:pt x="99579" y="63439"/>
                      </a:cubicBezTo>
                      <a:close/>
                      <a:moveTo>
                        <a:pt x="10400" y="53039"/>
                      </a:moveTo>
                      <a:lnTo>
                        <a:pt x="94119" y="53039"/>
                      </a:lnTo>
                      <a:lnTo>
                        <a:pt x="94119" y="10660"/>
                      </a:lnTo>
                      <a:lnTo>
                        <a:pt x="10400" y="10660"/>
                      </a:lnTo>
                      <a:lnTo>
                        <a:pt x="10400" y="53039"/>
                      </a:lnTo>
                      <a:close/>
                    </a:path>
                  </a:pathLst>
                </a:custGeom>
                <a:solidFill>
                  <a:srgbClr val="0069FF"/>
                </a:solidFill>
                <a:ln w="2597" cap="flat">
                  <a:noFill/>
                  <a:prstDash val="solid"/>
                  <a:miter/>
                </a:ln>
              </p:spPr>
              <p:txBody>
                <a:bodyPr rtlCol="0" anchor="ctr"/>
                <a:lstStyle/>
                <a:p>
                  <a:endParaRPr lang="en-GB"/>
                </a:p>
              </p:txBody>
            </p:sp>
          </p:grpSp>
          <p:grpSp>
            <p:nvGrpSpPr>
              <p:cNvPr id="187" name="Graphic 6">
                <a:extLst>
                  <a:ext uri="{FF2B5EF4-FFF2-40B4-BE49-F238E27FC236}">
                    <a16:creationId xmlns:a16="http://schemas.microsoft.com/office/drawing/2014/main" id="{A44857C6-FEAA-9E06-D968-789C977B414D}"/>
                  </a:ext>
                </a:extLst>
              </p:cNvPr>
              <p:cNvGrpSpPr/>
              <p:nvPr/>
            </p:nvGrpSpPr>
            <p:grpSpPr>
              <a:xfrm>
                <a:off x="2922379" y="4308962"/>
                <a:ext cx="104778" cy="63439"/>
                <a:chOff x="2922379" y="4308962"/>
                <a:chExt cx="104778" cy="63439"/>
              </a:xfrm>
              <a:solidFill>
                <a:srgbClr val="0069FF"/>
              </a:solidFill>
            </p:grpSpPr>
            <p:sp>
              <p:nvSpPr>
                <p:cNvPr id="188" name="Freeform: Shape 187">
                  <a:extLst>
                    <a:ext uri="{FF2B5EF4-FFF2-40B4-BE49-F238E27FC236}">
                      <a16:creationId xmlns:a16="http://schemas.microsoft.com/office/drawing/2014/main" id="{F0327348-BC16-94AB-396E-B87F24E5ADD1}"/>
                    </a:ext>
                  </a:extLst>
                </p:cNvPr>
                <p:cNvSpPr/>
                <p:nvPr/>
              </p:nvSpPr>
              <p:spPr>
                <a:xfrm>
                  <a:off x="2927319" y="4314162"/>
                  <a:ext cx="94378" cy="53039"/>
                </a:xfrm>
                <a:custGeom>
                  <a:avLst/>
                  <a:gdLst>
                    <a:gd name="connsiteX0" fmla="*/ 0 w 94378"/>
                    <a:gd name="connsiteY0" fmla="*/ 0 h 53039"/>
                    <a:gd name="connsiteX1" fmla="*/ 94379 w 94378"/>
                    <a:gd name="connsiteY1" fmla="*/ 0 h 53039"/>
                    <a:gd name="connsiteX2" fmla="*/ 94379 w 94378"/>
                    <a:gd name="connsiteY2" fmla="*/ 53040 h 53039"/>
                    <a:gd name="connsiteX3" fmla="*/ 0 w 94378"/>
                    <a:gd name="connsiteY3" fmla="*/ 53040 h 53039"/>
                  </a:gdLst>
                  <a:ahLst/>
                  <a:cxnLst>
                    <a:cxn ang="0">
                      <a:pos x="connsiteX0" y="connsiteY0"/>
                    </a:cxn>
                    <a:cxn ang="0">
                      <a:pos x="connsiteX1" y="connsiteY1"/>
                    </a:cxn>
                    <a:cxn ang="0">
                      <a:pos x="connsiteX2" y="connsiteY2"/>
                    </a:cxn>
                    <a:cxn ang="0">
                      <a:pos x="connsiteX3" y="connsiteY3"/>
                    </a:cxn>
                  </a:cxnLst>
                  <a:rect l="l" t="t" r="r" b="b"/>
                  <a:pathLst>
                    <a:path w="94378" h="53039">
                      <a:moveTo>
                        <a:pt x="0" y="0"/>
                      </a:moveTo>
                      <a:lnTo>
                        <a:pt x="94379" y="0"/>
                      </a:lnTo>
                      <a:lnTo>
                        <a:pt x="94379" y="53040"/>
                      </a:lnTo>
                      <a:lnTo>
                        <a:pt x="0" y="53040"/>
                      </a:lnTo>
                      <a:close/>
                    </a:path>
                  </a:pathLst>
                </a:custGeom>
                <a:solidFill>
                  <a:srgbClr val="0069FF"/>
                </a:solidFill>
                <a:ln w="2597" cap="flat">
                  <a:noFill/>
                  <a:prstDash val="solid"/>
                  <a:miter/>
                </a:ln>
              </p:spPr>
              <p:txBody>
                <a:bodyPr rtlCol="0" anchor="ctr"/>
                <a:lstStyle/>
                <a:p>
                  <a:endParaRPr lang="en-GB"/>
                </a:p>
              </p:txBody>
            </p:sp>
            <p:sp>
              <p:nvSpPr>
                <p:cNvPr id="189" name="Freeform: Shape 188">
                  <a:extLst>
                    <a:ext uri="{FF2B5EF4-FFF2-40B4-BE49-F238E27FC236}">
                      <a16:creationId xmlns:a16="http://schemas.microsoft.com/office/drawing/2014/main" id="{45AE34AD-DD9F-5F0F-3805-78350C30F659}"/>
                    </a:ext>
                  </a:extLst>
                </p:cNvPr>
                <p:cNvSpPr/>
                <p:nvPr/>
              </p:nvSpPr>
              <p:spPr>
                <a:xfrm>
                  <a:off x="2922379" y="4308962"/>
                  <a:ext cx="104778" cy="63439"/>
                </a:xfrm>
                <a:custGeom>
                  <a:avLst/>
                  <a:gdLst>
                    <a:gd name="connsiteX0" fmla="*/ 99579 w 104778"/>
                    <a:gd name="connsiteY0" fmla="*/ 63439 h 63439"/>
                    <a:gd name="connsiteX1" fmla="*/ 5200 w 104778"/>
                    <a:gd name="connsiteY1" fmla="*/ 63439 h 63439"/>
                    <a:gd name="connsiteX2" fmla="*/ 0 w 104778"/>
                    <a:gd name="connsiteY2" fmla="*/ 58239 h 63439"/>
                    <a:gd name="connsiteX3" fmla="*/ 0 w 104778"/>
                    <a:gd name="connsiteY3" fmla="*/ 5200 h 63439"/>
                    <a:gd name="connsiteX4" fmla="*/ 5200 w 104778"/>
                    <a:gd name="connsiteY4" fmla="*/ 0 h 63439"/>
                    <a:gd name="connsiteX5" fmla="*/ 99579 w 104778"/>
                    <a:gd name="connsiteY5" fmla="*/ 0 h 63439"/>
                    <a:gd name="connsiteX6" fmla="*/ 104779 w 104778"/>
                    <a:gd name="connsiteY6" fmla="*/ 5200 h 63439"/>
                    <a:gd name="connsiteX7" fmla="*/ 104779 w 104778"/>
                    <a:gd name="connsiteY7" fmla="*/ 58239 h 63439"/>
                    <a:gd name="connsiteX8" fmla="*/ 99579 w 104778"/>
                    <a:gd name="connsiteY8" fmla="*/ 63439 h 63439"/>
                    <a:gd name="connsiteX9" fmla="*/ 10400 w 104778"/>
                    <a:gd name="connsiteY9" fmla="*/ 53039 h 63439"/>
                    <a:gd name="connsiteX10" fmla="*/ 94119 w 104778"/>
                    <a:gd name="connsiteY10" fmla="*/ 53039 h 63439"/>
                    <a:gd name="connsiteX11" fmla="*/ 94119 w 104778"/>
                    <a:gd name="connsiteY11" fmla="*/ 10660 h 63439"/>
                    <a:gd name="connsiteX12" fmla="*/ 10400 w 104778"/>
                    <a:gd name="connsiteY12" fmla="*/ 10660 h 63439"/>
                    <a:gd name="connsiteX13" fmla="*/ 10400 w 104778"/>
                    <a:gd name="connsiteY13" fmla="*/ 53039 h 6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778" h="63439">
                      <a:moveTo>
                        <a:pt x="99579" y="63439"/>
                      </a:moveTo>
                      <a:lnTo>
                        <a:pt x="5200" y="63439"/>
                      </a:lnTo>
                      <a:cubicBezTo>
                        <a:pt x="2080" y="63439"/>
                        <a:pt x="0" y="61359"/>
                        <a:pt x="0" y="58239"/>
                      </a:cubicBezTo>
                      <a:lnTo>
                        <a:pt x="0" y="5200"/>
                      </a:lnTo>
                      <a:cubicBezTo>
                        <a:pt x="0" y="2080"/>
                        <a:pt x="2080" y="0"/>
                        <a:pt x="5200" y="0"/>
                      </a:cubicBezTo>
                      <a:lnTo>
                        <a:pt x="99579" y="0"/>
                      </a:lnTo>
                      <a:cubicBezTo>
                        <a:pt x="102699" y="0"/>
                        <a:pt x="104779" y="2080"/>
                        <a:pt x="104779" y="5200"/>
                      </a:cubicBezTo>
                      <a:lnTo>
                        <a:pt x="104779" y="58239"/>
                      </a:lnTo>
                      <a:cubicBezTo>
                        <a:pt x="104779" y="61359"/>
                        <a:pt x="102699" y="63439"/>
                        <a:pt x="99579" y="63439"/>
                      </a:cubicBezTo>
                      <a:close/>
                      <a:moveTo>
                        <a:pt x="10400" y="53039"/>
                      </a:moveTo>
                      <a:lnTo>
                        <a:pt x="94119" y="53039"/>
                      </a:lnTo>
                      <a:lnTo>
                        <a:pt x="94119" y="10660"/>
                      </a:lnTo>
                      <a:lnTo>
                        <a:pt x="10400" y="10660"/>
                      </a:lnTo>
                      <a:lnTo>
                        <a:pt x="10400" y="53039"/>
                      </a:lnTo>
                      <a:close/>
                    </a:path>
                  </a:pathLst>
                </a:custGeom>
                <a:solidFill>
                  <a:srgbClr val="0069FF"/>
                </a:solidFill>
                <a:ln w="2597" cap="flat">
                  <a:noFill/>
                  <a:prstDash val="solid"/>
                  <a:miter/>
                </a:ln>
              </p:spPr>
              <p:txBody>
                <a:bodyPr rtlCol="0" anchor="ctr"/>
                <a:lstStyle/>
                <a:p>
                  <a:endParaRPr lang="en-GB"/>
                </a:p>
              </p:txBody>
            </p:sp>
          </p:grpSp>
        </p:grpSp>
        <p:sp>
          <p:nvSpPr>
            <p:cNvPr id="158" name="Freeform: Shape 157">
              <a:extLst>
                <a:ext uri="{FF2B5EF4-FFF2-40B4-BE49-F238E27FC236}">
                  <a16:creationId xmlns:a16="http://schemas.microsoft.com/office/drawing/2014/main" id="{089EEBE6-45AB-DBF1-F5BB-DD637AB77361}"/>
                </a:ext>
              </a:extLst>
            </p:cNvPr>
            <p:cNvSpPr/>
            <p:nvPr/>
          </p:nvSpPr>
          <p:spPr>
            <a:xfrm>
              <a:off x="2506124" y="3671970"/>
              <a:ext cx="581873" cy="625292"/>
            </a:xfrm>
            <a:custGeom>
              <a:avLst/>
              <a:gdLst>
                <a:gd name="connsiteX0" fmla="*/ 573033 w 581873"/>
                <a:gd name="connsiteY0" fmla="*/ 625293 h 625292"/>
                <a:gd name="connsiteX1" fmla="*/ 8580 w 581873"/>
                <a:gd name="connsiteY1" fmla="*/ 625293 h 625292"/>
                <a:gd name="connsiteX2" fmla="*/ 0 w 581873"/>
                <a:gd name="connsiteY2" fmla="*/ 616713 h 625292"/>
                <a:gd name="connsiteX3" fmla="*/ 0 w 581873"/>
                <a:gd name="connsiteY3" fmla="*/ 8580 h 625292"/>
                <a:gd name="connsiteX4" fmla="*/ 8580 w 581873"/>
                <a:gd name="connsiteY4" fmla="*/ 0 h 625292"/>
                <a:gd name="connsiteX5" fmla="*/ 573293 w 581873"/>
                <a:gd name="connsiteY5" fmla="*/ 0 h 625292"/>
                <a:gd name="connsiteX6" fmla="*/ 581873 w 581873"/>
                <a:gd name="connsiteY6" fmla="*/ 8580 h 625292"/>
                <a:gd name="connsiteX7" fmla="*/ 581873 w 581873"/>
                <a:gd name="connsiteY7" fmla="*/ 616713 h 625292"/>
                <a:gd name="connsiteX8" fmla="*/ 573033 w 581873"/>
                <a:gd name="connsiteY8" fmla="*/ 625293 h 625292"/>
                <a:gd name="connsiteX9" fmla="*/ 15860 w 581873"/>
                <a:gd name="connsiteY9" fmla="*/ 609173 h 625292"/>
                <a:gd name="connsiteX10" fmla="*/ 564453 w 581873"/>
                <a:gd name="connsiteY10" fmla="*/ 609173 h 625292"/>
                <a:gd name="connsiteX11" fmla="*/ 564453 w 581873"/>
                <a:gd name="connsiteY11" fmla="*/ 17160 h 625292"/>
                <a:gd name="connsiteX12" fmla="*/ 15860 w 581873"/>
                <a:gd name="connsiteY12" fmla="*/ 17160 h 625292"/>
                <a:gd name="connsiteX13" fmla="*/ 15860 w 581873"/>
                <a:gd name="connsiteY13" fmla="*/ 609173 h 62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1873" h="625292">
                  <a:moveTo>
                    <a:pt x="573033" y="625293"/>
                  </a:moveTo>
                  <a:lnTo>
                    <a:pt x="8580" y="625293"/>
                  </a:lnTo>
                  <a:cubicBezTo>
                    <a:pt x="4420" y="625293"/>
                    <a:pt x="0" y="622173"/>
                    <a:pt x="0" y="616713"/>
                  </a:cubicBezTo>
                  <a:lnTo>
                    <a:pt x="0" y="8580"/>
                  </a:lnTo>
                  <a:cubicBezTo>
                    <a:pt x="0" y="4420"/>
                    <a:pt x="3120" y="0"/>
                    <a:pt x="8580" y="0"/>
                  </a:cubicBezTo>
                  <a:lnTo>
                    <a:pt x="573293" y="0"/>
                  </a:lnTo>
                  <a:cubicBezTo>
                    <a:pt x="577453" y="0"/>
                    <a:pt x="581873" y="3120"/>
                    <a:pt x="581873" y="8580"/>
                  </a:cubicBezTo>
                  <a:lnTo>
                    <a:pt x="581873" y="616713"/>
                  </a:lnTo>
                  <a:cubicBezTo>
                    <a:pt x="581613" y="621913"/>
                    <a:pt x="577453" y="625293"/>
                    <a:pt x="573033" y="625293"/>
                  </a:cubicBezTo>
                  <a:close/>
                  <a:moveTo>
                    <a:pt x="15860" y="609173"/>
                  </a:moveTo>
                  <a:lnTo>
                    <a:pt x="564453" y="609173"/>
                  </a:lnTo>
                  <a:lnTo>
                    <a:pt x="564453" y="17160"/>
                  </a:lnTo>
                  <a:lnTo>
                    <a:pt x="15860" y="17160"/>
                  </a:lnTo>
                  <a:lnTo>
                    <a:pt x="15860" y="609173"/>
                  </a:lnTo>
                  <a:close/>
                </a:path>
              </a:pathLst>
            </a:custGeom>
            <a:solidFill>
              <a:srgbClr val="00005A"/>
            </a:solidFill>
            <a:ln w="2597" cap="flat">
              <a:noFill/>
              <a:prstDash val="solid"/>
              <a:miter/>
            </a:ln>
          </p:spPr>
          <p:txBody>
            <a:bodyPr rtlCol="0" anchor="ctr"/>
            <a:lstStyle/>
            <a:p>
              <a:endParaRPr lang="en-GB"/>
            </a:p>
          </p:txBody>
        </p:sp>
        <p:grpSp>
          <p:nvGrpSpPr>
            <p:cNvPr id="159" name="Graphic 6">
              <a:extLst>
                <a:ext uri="{FF2B5EF4-FFF2-40B4-BE49-F238E27FC236}">
                  <a16:creationId xmlns:a16="http://schemas.microsoft.com/office/drawing/2014/main" id="{A9FE0ABD-791C-2C50-1720-A78E17CE7060}"/>
                </a:ext>
              </a:extLst>
            </p:cNvPr>
            <p:cNvGrpSpPr/>
            <p:nvPr/>
          </p:nvGrpSpPr>
          <p:grpSpPr>
            <a:xfrm>
              <a:off x="2875320" y="3794948"/>
              <a:ext cx="124278" cy="406635"/>
              <a:chOff x="2875320" y="3794948"/>
              <a:chExt cx="124278" cy="406635"/>
            </a:xfrm>
            <a:solidFill>
              <a:srgbClr val="FFFFFF"/>
            </a:solidFill>
          </p:grpSpPr>
          <p:sp>
            <p:nvSpPr>
              <p:cNvPr id="178" name="Freeform: Shape 177">
                <a:extLst>
                  <a:ext uri="{FF2B5EF4-FFF2-40B4-BE49-F238E27FC236}">
                    <a16:creationId xmlns:a16="http://schemas.microsoft.com/office/drawing/2014/main" id="{84456CB1-59E6-4AA0-0D27-60E306A116DC}"/>
                  </a:ext>
                </a:extLst>
              </p:cNvPr>
              <p:cNvSpPr/>
              <p:nvPr/>
            </p:nvSpPr>
            <p:spPr>
              <a:xfrm>
                <a:off x="2875320" y="3794948"/>
                <a:ext cx="124278" cy="17160"/>
              </a:xfrm>
              <a:custGeom>
                <a:avLst/>
                <a:gdLst>
                  <a:gd name="connsiteX0" fmla="*/ 115699 w 124278"/>
                  <a:gd name="connsiteY0" fmla="*/ 17160 h 17160"/>
                  <a:gd name="connsiteX1" fmla="*/ 8580 w 124278"/>
                  <a:gd name="connsiteY1" fmla="*/ 17160 h 17160"/>
                  <a:gd name="connsiteX2" fmla="*/ 0 w 124278"/>
                  <a:gd name="connsiteY2" fmla="*/ 8580 h 17160"/>
                  <a:gd name="connsiteX3" fmla="*/ 8580 w 124278"/>
                  <a:gd name="connsiteY3" fmla="*/ 0 h 17160"/>
                  <a:gd name="connsiteX4" fmla="*/ 115699 w 124278"/>
                  <a:gd name="connsiteY4" fmla="*/ 0 h 17160"/>
                  <a:gd name="connsiteX5" fmla="*/ 124279 w 124278"/>
                  <a:gd name="connsiteY5" fmla="*/ 8580 h 17160"/>
                  <a:gd name="connsiteX6" fmla="*/ 115699 w 124278"/>
                  <a:gd name="connsiteY6" fmla="*/ 17160 h 1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278" h="17160">
                    <a:moveTo>
                      <a:pt x="115699" y="17160"/>
                    </a:moveTo>
                    <a:lnTo>
                      <a:pt x="8580" y="17160"/>
                    </a:lnTo>
                    <a:cubicBezTo>
                      <a:pt x="4420" y="17160"/>
                      <a:pt x="0" y="14040"/>
                      <a:pt x="0" y="8580"/>
                    </a:cubicBezTo>
                    <a:cubicBezTo>
                      <a:pt x="0" y="3120"/>
                      <a:pt x="3120" y="0"/>
                      <a:pt x="8580" y="0"/>
                    </a:cubicBezTo>
                    <a:lnTo>
                      <a:pt x="115699" y="0"/>
                    </a:lnTo>
                    <a:cubicBezTo>
                      <a:pt x="119859" y="0"/>
                      <a:pt x="124279" y="3120"/>
                      <a:pt x="124279" y="8580"/>
                    </a:cubicBezTo>
                    <a:cubicBezTo>
                      <a:pt x="124279" y="14040"/>
                      <a:pt x="120119" y="17160"/>
                      <a:pt x="115699" y="17160"/>
                    </a:cubicBezTo>
                    <a:close/>
                  </a:path>
                </a:pathLst>
              </a:custGeom>
              <a:solidFill>
                <a:srgbClr val="FFFFFF"/>
              </a:solidFill>
              <a:ln w="2597" cap="flat">
                <a:noFill/>
                <a:prstDash val="solid"/>
                <a:miter/>
              </a:ln>
            </p:spPr>
            <p:txBody>
              <a:bodyPr rtlCol="0" anchor="ctr"/>
              <a:lstStyle/>
              <a:p>
                <a:endParaRPr lang="en-GB"/>
              </a:p>
            </p:txBody>
          </p:sp>
          <p:sp>
            <p:nvSpPr>
              <p:cNvPr id="179" name="Freeform: Shape 178">
                <a:extLst>
                  <a:ext uri="{FF2B5EF4-FFF2-40B4-BE49-F238E27FC236}">
                    <a16:creationId xmlns:a16="http://schemas.microsoft.com/office/drawing/2014/main" id="{041AF6D1-172C-DF9F-2186-29B7696F3DA7}"/>
                  </a:ext>
                </a:extLst>
              </p:cNvPr>
              <p:cNvSpPr/>
              <p:nvPr/>
            </p:nvSpPr>
            <p:spPr>
              <a:xfrm>
                <a:off x="2875320" y="3860727"/>
                <a:ext cx="124278" cy="17159"/>
              </a:xfrm>
              <a:custGeom>
                <a:avLst/>
                <a:gdLst>
                  <a:gd name="connsiteX0" fmla="*/ 115699 w 124278"/>
                  <a:gd name="connsiteY0" fmla="*/ 17160 h 17159"/>
                  <a:gd name="connsiteX1" fmla="*/ 8580 w 124278"/>
                  <a:gd name="connsiteY1" fmla="*/ 17160 h 17159"/>
                  <a:gd name="connsiteX2" fmla="*/ 0 w 124278"/>
                  <a:gd name="connsiteY2" fmla="*/ 8580 h 17159"/>
                  <a:gd name="connsiteX3" fmla="*/ 8580 w 124278"/>
                  <a:gd name="connsiteY3" fmla="*/ 0 h 17159"/>
                  <a:gd name="connsiteX4" fmla="*/ 115699 w 124278"/>
                  <a:gd name="connsiteY4" fmla="*/ 0 h 17159"/>
                  <a:gd name="connsiteX5" fmla="*/ 124279 w 124278"/>
                  <a:gd name="connsiteY5" fmla="*/ 8580 h 17159"/>
                  <a:gd name="connsiteX6" fmla="*/ 115699 w 12427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278" h="17159">
                    <a:moveTo>
                      <a:pt x="115699" y="17160"/>
                    </a:moveTo>
                    <a:lnTo>
                      <a:pt x="8580" y="17160"/>
                    </a:lnTo>
                    <a:cubicBezTo>
                      <a:pt x="4420" y="17160"/>
                      <a:pt x="0" y="14040"/>
                      <a:pt x="0" y="8580"/>
                    </a:cubicBezTo>
                    <a:cubicBezTo>
                      <a:pt x="0" y="3120"/>
                      <a:pt x="3120" y="0"/>
                      <a:pt x="8580" y="0"/>
                    </a:cubicBezTo>
                    <a:lnTo>
                      <a:pt x="115699" y="0"/>
                    </a:lnTo>
                    <a:cubicBezTo>
                      <a:pt x="119859" y="0"/>
                      <a:pt x="124279" y="3120"/>
                      <a:pt x="124279" y="8580"/>
                    </a:cubicBezTo>
                    <a:cubicBezTo>
                      <a:pt x="124279" y="14040"/>
                      <a:pt x="120119" y="17160"/>
                      <a:pt x="115699" y="17160"/>
                    </a:cubicBezTo>
                    <a:close/>
                  </a:path>
                </a:pathLst>
              </a:custGeom>
              <a:solidFill>
                <a:srgbClr val="FFFFFF"/>
              </a:solidFill>
              <a:ln w="2597" cap="flat">
                <a:noFill/>
                <a:prstDash val="solid"/>
                <a:miter/>
              </a:ln>
            </p:spPr>
            <p:txBody>
              <a:bodyPr rtlCol="0" anchor="ctr"/>
              <a:lstStyle/>
              <a:p>
                <a:endParaRPr lang="en-GB"/>
              </a:p>
            </p:txBody>
          </p:sp>
          <p:sp>
            <p:nvSpPr>
              <p:cNvPr id="180" name="Freeform: Shape 179">
                <a:extLst>
                  <a:ext uri="{FF2B5EF4-FFF2-40B4-BE49-F238E27FC236}">
                    <a16:creationId xmlns:a16="http://schemas.microsoft.com/office/drawing/2014/main" id="{674BAEB3-4825-1E65-BA3C-72713B76C70B}"/>
                  </a:ext>
                </a:extLst>
              </p:cNvPr>
              <p:cNvSpPr/>
              <p:nvPr/>
            </p:nvSpPr>
            <p:spPr>
              <a:xfrm>
                <a:off x="2875320" y="3924427"/>
                <a:ext cx="124278" cy="17159"/>
              </a:xfrm>
              <a:custGeom>
                <a:avLst/>
                <a:gdLst>
                  <a:gd name="connsiteX0" fmla="*/ 115699 w 124278"/>
                  <a:gd name="connsiteY0" fmla="*/ 17160 h 17159"/>
                  <a:gd name="connsiteX1" fmla="*/ 8580 w 124278"/>
                  <a:gd name="connsiteY1" fmla="*/ 17160 h 17159"/>
                  <a:gd name="connsiteX2" fmla="*/ 0 w 124278"/>
                  <a:gd name="connsiteY2" fmla="*/ 8580 h 17159"/>
                  <a:gd name="connsiteX3" fmla="*/ 8580 w 124278"/>
                  <a:gd name="connsiteY3" fmla="*/ 0 h 17159"/>
                  <a:gd name="connsiteX4" fmla="*/ 115699 w 124278"/>
                  <a:gd name="connsiteY4" fmla="*/ 0 h 17159"/>
                  <a:gd name="connsiteX5" fmla="*/ 124279 w 124278"/>
                  <a:gd name="connsiteY5" fmla="*/ 8580 h 17159"/>
                  <a:gd name="connsiteX6" fmla="*/ 115699 w 12427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278" h="17159">
                    <a:moveTo>
                      <a:pt x="115699" y="17160"/>
                    </a:moveTo>
                    <a:lnTo>
                      <a:pt x="8580" y="17160"/>
                    </a:lnTo>
                    <a:cubicBezTo>
                      <a:pt x="4420" y="17160"/>
                      <a:pt x="0" y="14040"/>
                      <a:pt x="0" y="8580"/>
                    </a:cubicBezTo>
                    <a:cubicBezTo>
                      <a:pt x="0" y="3120"/>
                      <a:pt x="3120" y="0"/>
                      <a:pt x="8580" y="0"/>
                    </a:cubicBezTo>
                    <a:lnTo>
                      <a:pt x="115699" y="0"/>
                    </a:lnTo>
                    <a:cubicBezTo>
                      <a:pt x="119859" y="0"/>
                      <a:pt x="124279" y="3120"/>
                      <a:pt x="124279" y="8580"/>
                    </a:cubicBezTo>
                    <a:cubicBezTo>
                      <a:pt x="124279" y="14040"/>
                      <a:pt x="120119" y="17160"/>
                      <a:pt x="115699" y="17160"/>
                    </a:cubicBezTo>
                    <a:close/>
                  </a:path>
                </a:pathLst>
              </a:custGeom>
              <a:solidFill>
                <a:srgbClr val="FFFFFF"/>
              </a:solidFill>
              <a:ln w="2597" cap="flat">
                <a:noFill/>
                <a:prstDash val="solid"/>
                <a:miter/>
              </a:ln>
            </p:spPr>
            <p:txBody>
              <a:bodyPr rtlCol="0" anchor="ctr"/>
              <a:lstStyle/>
              <a:p>
                <a:endParaRPr lang="en-GB"/>
              </a:p>
            </p:txBody>
          </p:sp>
          <p:sp>
            <p:nvSpPr>
              <p:cNvPr id="181" name="Freeform: Shape 180">
                <a:extLst>
                  <a:ext uri="{FF2B5EF4-FFF2-40B4-BE49-F238E27FC236}">
                    <a16:creationId xmlns:a16="http://schemas.microsoft.com/office/drawing/2014/main" id="{9646BFE0-CA05-1047-9480-573BF7B93746}"/>
                  </a:ext>
                </a:extLst>
              </p:cNvPr>
              <p:cNvSpPr/>
              <p:nvPr/>
            </p:nvSpPr>
            <p:spPr>
              <a:xfrm>
                <a:off x="2875320" y="3990206"/>
                <a:ext cx="124278" cy="17159"/>
              </a:xfrm>
              <a:custGeom>
                <a:avLst/>
                <a:gdLst>
                  <a:gd name="connsiteX0" fmla="*/ 115699 w 124278"/>
                  <a:gd name="connsiteY0" fmla="*/ 17160 h 17159"/>
                  <a:gd name="connsiteX1" fmla="*/ 8580 w 124278"/>
                  <a:gd name="connsiteY1" fmla="*/ 17160 h 17159"/>
                  <a:gd name="connsiteX2" fmla="*/ 0 w 124278"/>
                  <a:gd name="connsiteY2" fmla="*/ 8580 h 17159"/>
                  <a:gd name="connsiteX3" fmla="*/ 8580 w 124278"/>
                  <a:gd name="connsiteY3" fmla="*/ 0 h 17159"/>
                  <a:gd name="connsiteX4" fmla="*/ 115699 w 124278"/>
                  <a:gd name="connsiteY4" fmla="*/ 0 h 17159"/>
                  <a:gd name="connsiteX5" fmla="*/ 124279 w 124278"/>
                  <a:gd name="connsiteY5" fmla="*/ 8580 h 17159"/>
                  <a:gd name="connsiteX6" fmla="*/ 115699 w 12427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278" h="17159">
                    <a:moveTo>
                      <a:pt x="115699" y="17160"/>
                    </a:moveTo>
                    <a:lnTo>
                      <a:pt x="8580" y="17160"/>
                    </a:lnTo>
                    <a:cubicBezTo>
                      <a:pt x="4420" y="17160"/>
                      <a:pt x="0" y="14040"/>
                      <a:pt x="0" y="8580"/>
                    </a:cubicBezTo>
                    <a:cubicBezTo>
                      <a:pt x="0" y="3380"/>
                      <a:pt x="3120" y="0"/>
                      <a:pt x="8580" y="0"/>
                    </a:cubicBezTo>
                    <a:lnTo>
                      <a:pt x="115699" y="0"/>
                    </a:lnTo>
                    <a:cubicBezTo>
                      <a:pt x="119859" y="0"/>
                      <a:pt x="124279" y="3120"/>
                      <a:pt x="124279" y="8580"/>
                    </a:cubicBezTo>
                    <a:cubicBezTo>
                      <a:pt x="124279" y="14040"/>
                      <a:pt x="120119" y="17160"/>
                      <a:pt x="115699" y="17160"/>
                    </a:cubicBezTo>
                    <a:close/>
                  </a:path>
                </a:pathLst>
              </a:custGeom>
              <a:solidFill>
                <a:srgbClr val="FFFFFF"/>
              </a:solidFill>
              <a:ln w="2597" cap="flat">
                <a:noFill/>
                <a:prstDash val="solid"/>
                <a:miter/>
              </a:ln>
            </p:spPr>
            <p:txBody>
              <a:bodyPr rtlCol="0" anchor="ctr"/>
              <a:lstStyle/>
              <a:p>
                <a:endParaRPr lang="en-GB"/>
              </a:p>
            </p:txBody>
          </p:sp>
          <p:sp>
            <p:nvSpPr>
              <p:cNvPr id="182" name="Freeform: Shape 181">
                <a:extLst>
                  <a:ext uri="{FF2B5EF4-FFF2-40B4-BE49-F238E27FC236}">
                    <a16:creationId xmlns:a16="http://schemas.microsoft.com/office/drawing/2014/main" id="{93F3FBA3-1013-D48E-A96E-3AF3A406B4E7}"/>
                  </a:ext>
                </a:extLst>
              </p:cNvPr>
              <p:cNvSpPr/>
              <p:nvPr/>
            </p:nvSpPr>
            <p:spPr>
              <a:xfrm>
                <a:off x="2875320" y="4053905"/>
                <a:ext cx="124278" cy="17159"/>
              </a:xfrm>
              <a:custGeom>
                <a:avLst/>
                <a:gdLst>
                  <a:gd name="connsiteX0" fmla="*/ 115699 w 124278"/>
                  <a:gd name="connsiteY0" fmla="*/ 17160 h 17159"/>
                  <a:gd name="connsiteX1" fmla="*/ 8580 w 124278"/>
                  <a:gd name="connsiteY1" fmla="*/ 17160 h 17159"/>
                  <a:gd name="connsiteX2" fmla="*/ 0 w 124278"/>
                  <a:gd name="connsiteY2" fmla="*/ 8580 h 17159"/>
                  <a:gd name="connsiteX3" fmla="*/ 8580 w 124278"/>
                  <a:gd name="connsiteY3" fmla="*/ 0 h 17159"/>
                  <a:gd name="connsiteX4" fmla="*/ 115699 w 124278"/>
                  <a:gd name="connsiteY4" fmla="*/ 0 h 17159"/>
                  <a:gd name="connsiteX5" fmla="*/ 124279 w 124278"/>
                  <a:gd name="connsiteY5" fmla="*/ 8580 h 17159"/>
                  <a:gd name="connsiteX6" fmla="*/ 115699 w 12427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278" h="17159">
                    <a:moveTo>
                      <a:pt x="115699" y="17160"/>
                    </a:moveTo>
                    <a:lnTo>
                      <a:pt x="8580" y="17160"/>
                    </a:lnTo>
                    <a:cubicBezTo>
                      <a:pt x="4420" y="17160"/>
                      <a:pt x="0" y="14040"/>
                      <a:pt x="0" y="8580"/>
                    </a:cubicBezTo>
                    <a:cubicBezTo>
                      <a:pt x="0" y="3380"/>
                      <a:pt x="3120" y="0"/>
                      <a:pt x="8580" y="0"/>
                    </a:cubicBezTo>
                    <a:lnTo>
                      <a:pt x="115699" y="0"/>
                    </a:lnTo>
                    <a:cubicBezTo>
                      <a:pt x="119859" y="0"/>
                      <a:pt x="124279" y="3120"/>
                      <a:pt x="124279" y="8580"/>
                    </a:cubicBezTo>
                    <a:cubicBezTo>
                      <a:pt x="124279" y="14040"/>
                      <a:pt x="120119" y="17160"/>
                      <a:pt x="115699" y="17160"/>
                    </a:cubicBezTo>
                    <a:close/>
                  </a:path>
                </a:pathLst>
              </a:custGeom>
              <a:solidFill>
                <a:srgbClr val="FFFFFF"/>
              </a:solidFill>
              <a:ln w="2597" cap="flat">
                <a:noFill/>
                <a:prstDash val="solid"/>
                <a:miter/>
              </a:ln>
            </p:spPr>
            <p:txBody>
              <a:bodyPr rtlCol="0" anchor="ctr"/>
              <a:lstStyle/>
              <a:p>
                <a:endParaRPr lang="en-GB"/>
              </a:p>
            </p:txBody>
          </p:sp>
          <p:sp>
            <p:nvSpPr>
              <p:cNvPr id="183" name="Freeform: Shape 182">
                <a:extLst>
                  <a:ext uri="{FF2B5EF4-FFF2-40B4-BE49-F238E27FC236}">
                    <a16:creationId xmlns:a16="http://schemas.microsoft.com/office/drawing/2014/main" id="{E2992137-5B7B-B206-F317-EED2DFA94D55}"/>
                  </a:ext>
                </a:extLst>
              </p:cNvPr>
              <p:cNvSpPr/>
              <p:nvPr/>
            </p:nvSpPr>
            <p:spPr>
              <a:xfrm>
                <a:off x="2875320" y="4118644"/>
                <a:ext cx="124278" cy="17160"/>
              </a:xfrm>
              <a:custGeom>
                <a:avLst/>
                <a:gdLst>
                  <a:gd name="connsiteX0" fmla="*/ 115699 w 124278"/>
                  <a:gd name="connsiteY0" fmla="*/ 17160 h 17160"/>
                  <a:gd name="connsiteX1" fmla="*/ 8580 w 124278"/>
                  <a:gd name="connsiteY1" fmla="*/ 17160 h 17160"/>
                  <a:gd name="connsiteX2" fmla="*/ 0 w 124278"/>
                  <a:gd name="connsiteY2" fmla="*/ 8580 h 17160"/>
                  <a:gd name="connsiteX3" fmla="*/ 8580 w 124278"/>
                  <a:gd name="connsiteY3" fmla="*/ 0 h 17160"/>
                  <a:gd name="connsiteX4" fmla="*/ 115699 w 124278"/>
                  <a:gd name="connsiteY4" fmla="*/ 0 h 17160"/>
                  <a:gd name="connsiteX5" fmla="*/ 124279 w 124278"/>
                  <a:gd name="connsiteY5" fmla="*/ 8580 h 17160"/>
                  <a:gd name="connsiteX6" fmla="*/ 115699 w 124278"/>
                  <a:gd name="connsiteY6" fmla="*/ 17160 h 1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278" h="17160">
                    <a:moveTo>
                      <a:pt x="115699" y="17160"/>
                    </a:moveTo>
                    <a:lnTo>
                      <a:pt x="8580" y="17160"/>
                    </a:lnTo>
                    <a:cubicBezTo>
                      <a:pt x="4420" y="17160"/>
                      <a:pt x="0" y="14040"/>
                      <a:pt x="0" y="8580"/>
                    </a:cubicBezTo>
                    <a:cubicBezTo>
                      <a:pt x="0" y="3380"/>
                      <a:pt x="3120" y="0"/>
                      <a:pt x="8580" y="0"/>
                    </a:cubicBezTo>
                    <a:lnTo>
                      <a:pt x="115699" y="0"/>
                    </a:lnTo>
                    <a:cubicBezTo>
                      <a:pt x="119859" y="0"/>
                      <a:pt x="124279" y="3120"/>
                      <a:pt x="124279" y="8580"/>
                    </a:cubicBezTo>
                    <a:cubicBezTo>
                      <a:pt x="124279" y="14040"/>
                      <a:pt x="120119" y="17160"/>
                      <a:pt x="115699" y="17160"/>
                    </a:cubicBezTo>
                    <a:close/>
                  </a:path>
                </a:pathLst>
              </a:custGeom>
              <a:solidFill>
                <a:srgbClr val="FFFFFF"/>
              </a:solidFill>
              <a:ln w="2597" cap="flat">
                <a:noFill/>
                <a:prstDash val="solid"/>
                <a:miter/>
              </a:ln>
            </p:spPr>
            <p:txBody>
              <a:bodyPr rtlCol="0" anchor="ctr"/>
              <a:lstStyle/>
              <a:p>
                <a:endParaRPr lang="en-GB"/>
              </a:p>
            </p:txBody>
          </p:sp>
          <p:sp>
            <p:nvSpPr>
              <p:cNvPr id="184" name="Freeform: Shape 183">
                <a:extLst>
                  <a:ext uri="{FF2B5EF4-FFF2-40B4-BE49-F238E27FC236}">
                    <a16:creationId xmlns:a16="http://schemas.microsoft.com/office/drawing/2014/main" id="{B852039D-127F-7113-5A0B-D3B6C9710A06}"/>
                  </a:ext>
                </a:extLst>
              </p:cNvPr>
              <p:cNvSpPr/>
              <p:nvPr/>
            </p:nvSpPr>
            <p:spPr>
              <a:xfrm>
                <a:off x="2875320" y="4184424"/>
                <a:ext cx="124278" cy="17159"/>
              </a:xfrm>
              <a:custGeom>
                <a:avLst/>
                <a:gdLst>
                  <a:gd name="connsiteX0" fmla="*/ 115699 w 124278"/>
                  <a:gd name="connsiteY0" fmla="*/ 17160 h 17159"/>
                  <a:gd name="connsiteX1" fmla="*/ 8580 w 124278"/>
                  <a:gd name="connsiteY1" fmla="*/ 17160 h 17159"/>
                  <a:gd name="connsiteX2" fmla="*/ 0 w 124278"/>
                  <a:gd name="connsiteY2" fmla="*/ 8580 h 17159"/>
                  <a:gd name="connsiteX3" fmla="*/ 8580 w 124278"/>
                  <a:gd name="connsiteY3" fmla="*/ 0 h 17159"/>
                  <a:gd name="connsiteX4" fmla="*/ 115699 w 124278"/>
                  <a:gd name="connsiteY4" fmla="*/ 0 h 17159"/>
                  <a:gd name="connsiteX5" fmla="*/ 124279 w 124278"/>
                  <a:gd name="connsiteY5" fmla="*/ 8580 h 17159"/>
                  <a:gd name="connsiteX6" fmla="*/ 115699 w 12427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278" h="17159">
                    <a:moveTo>
                      <a:pt x="115699" y="17160"/>
                    </a:moveTo>
                    <a:lnTo>
                      <a:pt x="8580" y="17160"/>
                    </a:lnTo>
                    <a:cubicBezTo>
                      <a:pt x="4420" y="17160"/>
                      <a:pt x="0" y="14040"/>
                      <a:pt x="0" y="8580"/>
                    </a:cubicBezTo>
                    <a:cubicBezTo>
                      <a:pt x="0" y="3120"/>
                      <a:pt x="3120" y="0"/>
                      <a:pt x="8580" y="0"/>
                    </a:cubicBezTo>
                    <a:lnTo>
                      <a:pt x="115699" y="0"/>
                    </a:lnTo>
                    <a:cubicBezTo>
                      <a:pt x="119859" y="0"/>
                      <a:pt x="124279" y="3120"/>
                      <a:pt x="124279" y="8580"/>
                    </a:cubicBezTo>
                    <a:cubicBezTo>
                      <a:pt x="124279" y="14040"/>
                      <a:pt x="120119" y="17160"/>
                      <a:pt x="115699" y="17160"/>
                    </a:cubicBezTo>
                    <a:close/>
                  </a:path>
                </a:pathLst>
              </a:custGeom>
              <a:solidFill>
                <a:srgbClr val="FFFFFF"/>
              </a:solidFill>
              <a:ln w="2597" cap="flat">
                <a:noFill/>
                <a:prstDash val="solid"/>
                <a:miter/>
              </a:ln>
            </p:spPr>
            <p:txBody>
              <a:bodyPr rtlCol="0" anchor="ctr"/>
              <a:lstStyle/>
              <a:p>
                <a:endParaRPr lang="en-GB"/>
              </a:p>
            </p:txBody>
          </p:sp>
        </p:grpSp>
        <p:grpSp>
          <p:nvGrpSpPr>
            <p:cNvPr id="160" name="Graphic 6">
              <a:extLst>
                <a:ext uri="{FF2B5EF4-FFF2-40B4-BE49-F238E27FC236}">
                  <a16:creationId xmlns:a16="http://schemas.microsoft.com/office/drawing/2014/main" id="{380BF103-B9F7-9413-BAFC-571E5B5F66B3}"/>
                </a:ext>
              </a:extLst>
            </p:cNvPr>
            <p:cNvGrpSpPr/>
            <p:nvPr/>
          </p:nvGrpSpPr>
          <p:grpSpPr>
            <a:xfrm>
              <a:off x="2619743" y="3795208"/>
              <a:ext cx="186677" cy="186677"/>
              <a:chOff x="2619743" y="3795208"/>
              <a:chExt cx="186677" cy="186677"/>
            </a:xfrm>
          </p:grpSpPr>
          <p:grpSp>
            <p:nvGrpSpPr>
              <p:cNvPr id="171" name="Graphic 6">
                <a:extLst>
                  <a:ext uri="{FF2B5EF4-FFF2-40B4-BE49-F238E27FC236}">
                    <a16:creationId xmlns:a16="http://schemas.microsoft.com/office/drawing/2014/main" id="{8FF84E35-94AC-86C5-58B8-1F7EA10358FC}"/>
                  </a:ext>
                </a:extLst>
              </p:cNvPr>
              <p:cNvGrpSpPr/>
              <p:nvPr/>
            </p:nvGrpSpPr>
            <p:grpSpPr>
              <a:xfrm>
                <a:off x="2619743" y="3795208"/>
                <a:ext cx="186677" cy="186677"/>
                <a:chOff x="2619743" y="3795208"/>
                <a:chExt cx="186677" cy="186677"/>
              </a:xfrm>
              <a:solidFill>
                <a:srgbClr val="FFFFFF"/>
              </a:solidFill>
            </p:grpSpPr>
            <p:sp>
              <p:nvSpPr>
                <p:cNvPr id="175" name="Freeform: Shape 174">
                  <a:extLst>
                    <a:ext uri="{FF2B5EF4-FFF2-40B4-BE49-F238E27FC236}">
                      <a16:creationId xmlns:a16="http://schemas.microsoft.com/office/drawing/2014/main" id="{A08FC8DB-13BD-F4A4-754D-86B08A722458}"/>
                    </a:ext>
                  </a:extLst>
                </p:cNvPr>
                <p:cNvSpPr/>
                <p:nvPr/>
              </p:nvSpPr>
              <p:spPr>
                <a:xfrm>
                  <a:off x="2619743" y="3795208"/>
                  <a:ext cx="186677" cy="186677"/>
                </a:xfrm>
                <a:custGeom>
                  <a:avLst/>
                  <a:gdLst>
                    <a:gd name="connsiteX0" fmla="*/ 93339 w 186677"/>
                    <a:gd name="connsiteY0" fmla="*/ 186678 h 186677"/>
                    <a:gd name="connsiteX1" fmla="*/ 0 w 186677"/>
                    <a:gd name="connsiteY1" fmla="*/ 93339 h 186677"/>
                    <a:gd name="connsiteX2" fmla="*/ 93339 w 186677"/>
                    <a:gd name="connsiteY2" fmla="*/ 0 h 186677"/>
                    <a:gd name="connsiteX3" fmla="*/ 186678 w 186677"/>
                    <a:gd name="connsiteY3" fmla="*/ 93339 h 186677"/>
                    <a:gd name="connsiteX4" fmla="*/ 93339 w 186677"/>
                    <a:gd name="connsiteY4" fmla="*/ 186678 h 186677"/>
                    <a:gd name="connsiteX5" fmla="*/ 93339 w 186677"/>
                    <a:gd name="connsiteY5" fmla="*/ 16900 h 186677"/>
                    <a:gd name="connsiteX6" fmla="*/ 16900 w 186677"/>
                    <a:gd name="connsiteY6" fmla="*/ 93339 h 186677"/>
                    <a:gd name="connsiteX7" fmla="*/ 93339 w 186677"/>
                    <a:gd name="connsiteY7" fmla="*/ 169778 h 186677"/>
                    <a:gd name="connsiteX8" fmla="*/ 169778 w 186677"/>
                    <a:gd name="connsiteY8" fmla="*/ 93339 h 186677"/>
                    <a:gd name="connsiteX9" fmla="*/ 93339 w 186677"/>
                    <a:gd name="connsiteY9" fmla="*/ 16900 h 186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677" h="186677">
                      <a:moveTo>
                        <a:pt x="93339" y="186678"/>
                      </a:moveTo>
                      <a:cubicBezTo>
                        <a:pt x="42379" y="186678"/>
                        <a:pt x="0" y="145338"/>
                        <a:pt x="0" y="93339"/>
                      </a:cubicBezTo>
                      <a:cubicBezTo>
                        <a:pt x="0" y="41339"/>
                        <a:pt x="41339" y="0"/>
                        <a:pt x="93339" y="0"/>
                      </a:cubicBezTo>
                      <a:cubicBezTo>
                        <a:pt x="145338" y="0"/>
                        <a:pt x="186678" y="41339"/>
                        <a:pt x="186678" y="93339"/>
                      </a:cubicBezTo>
                      <a:cubicBezTo>
                        <a:pt x="186678" y="145338"/>
                        <a:pt x="144298" y="186678"/>
                        <a:pt x="93339" y="186678"/>
                      </a:cubicBezTo>
                      <a:close/>
                      <a:moveTo>
                        <a:pt x="93339" y="16900"/>
                      </a:moveTo>
                      <a:cubicBezTo>
                        <a:pt x="50959" y="16900"/>
                        <a:pt x="16900" y="51999"/>
                        <a:pt x="16900" y="93339"/>
                      </a:cubicBezTo>
                      <a:cubicBezTo>
                        <a:pt x="16900" y="134678"/>
                        <a:pt x="51999" y="169778"/>
                        <a:pt x="93339" y="169778"/>
                      </a:cubicBezTo>
                      <a:cubicBezTo>
                        <a:pt x="134678" y="169778"/>
                        <a:pt x="169778" y="134678"/>
                        <a:pt x="169778" y="93339"/>
                      </a:cubicBezTo>
                      <a:cubicBezTo>
                        <a:pt x="169778" y="51999"/>
                        <a:pt x="135718" y="16900"/>
                        <a:pt x="93339" y="16900"/>
                      </a:cubicBezTo>
                      <a:close/>
                    </a:path>
                  </a:pathLst>
                </a:custGeom>
                <a:solidFill>
                  <a:srgbClr val="FFFFFF"/>
                </a:solidFill>
                <a:ln w="2597" cap="flat">
                  <a:noFill/>
                  <a:prstDash val="solid"/>
                  <a:miter/>
                </a:ln>
              </p:spPr>
              <p:txBody>
                <a:bodyPr rtlCol="0" anchor="ctr"/>
                <a:lstStyle/>
                <a:p>
                  <a:endParaRPr lang="en-GB"/>
                </a:p>
              </p:txBody>
            </p:sp>
            <p:sp>
              <p:nvSpPr>
                <p:cNvPr id="176" name="Freeform: Shape 175">
                  <a:extLst>
                    <a:ext uri="{FF2B5EF4-FFF2-40B4-BE49-F238E27FC236}">
                      <a16:creationId xmlns:a16="http://schemas.microsoft.com/office/drawing/2014/main" id="{E411FFBC-C0C9-650C-91DA-131AC72C8FE0}"/>
                    </a:ext>
                  </a:extLst>
                </p:cNvPr>
                <p:cNvSpPr/>
                <p:nvPr/>
              </p:nvSpPr>
              <p:spPr>
                <a:xfrm>
                  <a:off x="2649383" y="3825628"/>
                  <a:ext cx="126878" cy="126618"/>
                </a:xfrm>
                <a:custGeom>
                  <a:avLst/>
                  <a:gdLst>
                    <a:gd name="connsiteX0" fmla="*/ 7540 w 126878"/>
                    <a:gd name="connsiteY0" fmla="*/ 126619 h 126618"/>
                    <a:gd name="connsiteX1" fmla="*/ 2340 w 126878"/>
                    <a:gd name="connsiteY1" fmla="*/ 124539 h 126618"/>
                    <a:gd name="connsiteX2" fmla="*/ 2340 w 126878"/>
                    <a:gd name="connsiteY2" fmla="*/ 112839 h 126618"/>
                    <a:gd name="connsiteX3" fmla="*/ 112839 w 126878"/>
                    <a:gd name="connsiteY3" fmla="*/ 2340 h 126618"/>
                    <a:gd name="connsiteX4" fmla="*/ 124539 w 126878"/>
                    <a:gd name="connsiteY4" fmla="*/ 2340 h 126618"/>
                    <a:gd name="connsiteX5" fmla="*/ 124539 w 126878"/>
                    <a:gd name="connsiteY5" fmla="*/ 14040 h 126618"/>
                    <a:gd name="connsiteX6" fmla="*/ 14040 w 126878"/>
                    <a:gd name="connsiteY6" fmla="*/ 124539 h 126618"/>
                    <a:gd name="connsiteX7" fmla="*/ 7540 w 126878"/>
                    <a:gd name="connsiteY7" fmla="*/ 126619 h 126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78" h="126618">
                      <a:moveTo>
                        <a:pt x="7540" y="126619"/>
                      </a:moveTo>
                      <a:cubicBezTo>
                        <a:pt x="5460" y="126619"/>
                        <a:pt x="3380" y="125579"/>
                        <a:pt x="2340" y="124539"/>
                      </a:cubicBezTo>
                      <a:cubicBezTo>
                        <a:pt x="-780" y="121419"/>
                        <a:pt x="-780" y="115959"/>
                        <a:pt x="2340" y="112839"/>
                      </a:cubicBezTo>
                      <a:lnTo>
                        <a:pt x="112839" y="2340"/>
                      </a:lnTo>
                      <a:cubicBezTo>
                        <a:pt x="115959" y="-780"/>
                        <a:pt x="121419" y="-780"/>
                        <a:pt x="124539" y="2340"/>
                      </a:cubicBezTo>
                      <a:cubicBezTo>
                        <a:pt x="127659" y="5460"/>
                        <a:pt x="127659" y="10920"/>
                        <a:pt x="124539" y="14040"/>
                      </a:cubicBezTo>
                      <a:lnTo>
                        <a:pt x="14040" y="124539"/>
                      </a:lnTo>
                      <a:cubicBezTo>
                        <a:pt x="11700" y="126619"/>
                        <a:pt x="9620" y="126619"/>
                        <a:pt x="7540" y="126619"/>
                      </a:cubicBezTo>
                      <a:close/>
                    </a:path>
                  </a:pathLst>
                </a:custGeom>
                <a:solidFill>
                  <a:srgbClr val="FFFFFF"/>
                </a:solidFill>
                <a:ln w="2597" cap="flat">
                  <a:noFill/>
                  <a:prstDash val="solid"/>
                  <a:miter/>
                </a:ln>
              </p:spPr>
              <p:txBody>
                <a:bodyPr rtlCol="0" anchor="ctr"/>
                <a:lstStyle/>
                <a:p>
                  <a:endParaRPr lang="en-GB"/>
                </a:p>
              </p:txBody>
            </p:sp>
            <p:sp>
              <p:nvSpPr>
                <p:cNvPr id="177" name="Freeform: Shape 176">
                  <a:extLst>
                    <a:ext uri="{FF2B5EF4-FFF2-40B4-BE49-F238E27FC236}">
                      <a16:creationId xmlns:a16="http://schemas.microsoft.com/office/drawing/2014/main" id="{B3A88387-2E1F-317C-B396-DE886ADEDE44}"/>
                    </a:ext>
                  </a:extLst>
                </p:cNvPr>
                <p:cNvSpPr/>
                <p:nvPr/>
              </p:nvSpPr>
              <p:spPr>
                <a:xfrm>
                  <a:off x="2653543" y="3829788"/>
                  <a:ext cx="127918" cy="127658"/>
                </a:xfrm>
                <a:custGeom>
                  <a:avLst/>
                  <a:gdLst>
                    <a:gd name="connsiteX0" fmla="*/ 119079 w 127918"/>
                    <a:gd name="connsiteY0" fmla="*/ 127658 h 127658"/>
                    <a:gd name="connsiteX1" fmla="*/ 113879 w 127918"/>
                    <a:gd name="connsiteY1" fmla="*/ 125579 h 127658"/>
                    <a:gd name="connsiteX2" fmla="*/ 2340 w 127918"/>
                    <a:gd name="connsiteY2" fmla="*/ 14040 h 127658"/>
                    <a:gd name="connsiteX3" fmla="*/ 2340 w 127918"/>
                    <a:gd name="connsiteY3" fmla="*/ 2340 h 127658"/>
                    <a:gd name="connsiteX4" fmla="*/ 14040 w 127918"/>
                    <a:gd name="connsiteY4" fmla="*/ 2340 h 127658"/>
                    <a:gd name="connsiteX5" fmla="*/ 125579 w 127918"/>
                    <a:gd name="connsiteY5" fmla="*/ 113879 h 127658"/>
                    <a:gd name="connsiteX6" fmla="*/ 125579 w 127918"/>
                    <a:gd name="connsiteY6" fmla="*/ 125579 h 127658"/>
                    <a:gd name="connsiteX7" fmla="*/ 119079 w 127918"/>
                    <a:gd name="connsiteY7" fmla="*/ 127658 h 127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918" h="127658">
                      <a:moveTo>
                        <a:pt x="119079" y="127658"/>
                      </a:moveTo>
                      <a:cubicBezTo>
                        <a:pt x="116999" y="127658"/>
                        <a:pt x="114919" y="126619"/>
                        <a:pt x="113879" y="125579"/>
                      </a:cubicBezTo>
                      <a:lnTo>
                        <a:pt x="2340" y="14040"/>
                      </a:lnTo>
                      <a:cubicBezTo>
                        <a:pt x="-780" y="10920"/>
                        <a:pt x="-780" y="5460"/>
                        <a:pt x="2340" y="2340"/>
                      </a:cubicBezTo>
                      <a:cubicBezTo>
                        <a:pt x="5460" y="-780"/>
                        <a:pt x="10920" y="-780"/>
                        <a:pt x="14040" y="2340"/>
                      </a:cubicBezTo>
                      <a:lnTo>
                        <a:pt x="125579" y="113879"/>
                      </a:lnTo>
                      <a:cubicBezTo>
                        <a:pt x="128699" y="116999"/>
                        <a:pt x="128699" y="122458"/>
                        <a:pt x="125579" y="125579"/>
                      </a:cubicBezTo>
                      <a:cubicBezTo>
                        <a:pt x="123239" y="126619"/>
                        <a:pt x="121159" y="127658"/>
                        <a:pt x="119079" y="127658"/>
                      </a:cubicBezTo>
                      <a:close/>
                    </a:path>
                  </a:pathLst>
                </a:custGeom>
                <a:solidFill>
                  <a:srgbClr val="FFFFFF"/>
                </a:solidFill>
                <a:ln w="2597" cap="flat">
                  <a:noFill/>
                  <a:prstDash val="solid"/>
                  <a:miter/>
                </a:ln>
              </p:spPr>
              <p:txBody>
                <a:bodyPr rtlCol="0" anchor="ctr"/>
                <a:lstStyle/>
                <a:p>
                  <a:endParaRPr lang="en-GB"/>
                </a:p>
              </p:txBody>
            </p:sp>
          </p:grpSp>
          <p:grpSp>
            <p:nvGrpSpPr>
              <p:cNvPr id="172" name="Graphic 6">
                <a:extLst>
                  <a:ext uri="{FF2B5EF4-FFF2-40B4-BE49-F238E27FC236}">
                    <a16:creationId xmlns:a16="http://schemas.microsoft.com/office/drawing/2014/main" id="{8FFC689C-52AD-5666-5460-00DBEBCB276B}"/>
                  </a:ext>
                </a:extLst>
              </p:cNvPr>
              <p:cNvGrpSpPr/>
              <p:nvPr/>
            </p:nvGrpSpPr>
            <p:grpSpPr>
              <a:xfrm>
                <a:off x="2682402" y="3857867"/>
                <a:ext cx="62399" cy="62399"/>
                <a:chOff x="2682402" y="3857867"/>
                <a:chExt cx="62399" cy="62399"/>
              </a:xfrm>
            </p:grpSpPr>
            <p:sp>
              <p:nvSpPr>
                <p:cNvPr id="173" name="Freeform: Shape 172">
                  <a:extLst>
                    <a:ext uri="{FF2B5EF4-FFF2-40B4-BE49-F238E27FC236}">
                      <a16:creationId xmlns:a16="http://schemas.microsoft.com/office/drawing/2014/main" id="{397CD83B-3F93-1C08-4716-8519D70F13E0}"/>
                    </a:ext>
                  </a:extLst>
                </p:cNvPr>
                <p:cNvSpPr/>
                <p:nvPr/>
              </p:nvSpPr>
              <p:spPr>
                <a:xfrm>
                  <a:off x="2690722" y="3866187"/>
                  <a:ext cx="46799" cy="46799"/>
                </a:xfrm>
                <a:custGeom>
                  <a:avLst/>
                  <a:gdLst>
                    <a:gd name="connsiteX0" fmla="*/ 46799 w 46799"/>
                    <a:gd name="connsiteY0" fmla="*/ 23400 h 46799"/>
                    <a:gd name="connsiteX1" fmla="*/ 23400 w 46799"/>
                    <a:gd name="connsiteY1" fmla="*/ 46799 h 46799"/>
                    <a:gd name="connsiteX2" fmla="*/ 0 w 46799"/>
                    <a:gd name="connsiteY2" fmla="*/ 23400 h 46799"/>
                    <a:gd name="connsiteX3" fmla="*/ 23400 w 46799"/>
                    <a:gd name="connsiteY3" fmla="*/ 0 h 46799"/>
                    <a:gd name="connsiteX4" fmla="*/ 46799 w 46799"/>
                    <a:gd name="connsiteY4" fmla="*/ 23400 h 46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99" h="46799">
                      <a:moveTo>
                        <a:pt x="46799" y="23400"/>
                      </a:moveTo>
                      <a:cubicBezTo>
                        <a:pt x="46799" y="36323"/>
                        <a:pt x="36323" y="46799"/>
                        <a:pt x="23400" y="46799"/>
                      </a:cubicBezTo>
                      <a:cubicBezTo>
                        <a:pt x="10476" y="46799"/>
                        <a:pt x="0" y="36323"/>
                        <a:pt x="0" y="23400"/>
                      </a:cubicBezTo>
                      <a:cubicBezTo>
                        <a:pt x="0" y="10476"/>
                        <a:pt x="10476" y="0"/>
                        <a:pt x="23400" y="0"/>
                      </a:cubicBezTo>
                      <a:cubicBezTo>
                        <a:pt x="36323" y="0"/>
                        <a:pt x="46799" y="10476"/>
                        <a:pt x="46799" y="23400"/>
                      </a:cubicBezTo>
                      <a:close/>
                    </a:path>
                  </a:pathLst>
                </a:custGeom>
                <a:solidFill>
                  <a:srgbClr val="0069FF"/>
                </a:solidFill>
                <a:ln w="2597" cap="flat">
                  <a:noFill/>
                  <a:prstDash val="solid"/>
                  <a:miter/>
                </a:ln>
              </p:spPr>
              <p:txBody>
                <a:bodyPr rtlCol="0" anchor="ctr"/>
                <a:lstStyle/>
                <a:p>
                  <a:endParaRPr lang="en-GB"/>
                </a:p>
              </p:txBody>
            </p:sp>
            <p:sp>
              <p:nvSpPr>
                <p:cNvPr id="174" name="Freeform: Shape 173">
                  <a:extLst>
                    <a:ext uri="{FF2B5EF4-FFF2-40B4-BE49-F238E27FC236}">
                      <a16:creationId xmlns:a16="http://schemas.microsoft.com/office/drawing/2014/main" id="{AAFF1E4B-FF62-C33D-6F0E-03E2BB3540B1}"/>
                    </a:ext>
                  </a:extLst>
                </p:cNvPr>
                <p:cNvSpPr/>
                <p:nvPr/>
              </p:nvSpPr>
              <p:spPr>
                <a:xfrm>
                  <a:off x="2682402" y="3857867"/>
                  <a:ext cx="62399" cy="62399"/>
                </a:xfrm>
                <a:custGeom>
                  <a:avLst/>
                  <a:gdLst>
                    <a:gd name="connsiteX0" fmla="*/ 31720 w 62399"/>
                    <a:gd name="connsiteY0" fmla="*/ 62399 h 62399"/>
                    <a:gd name="connsiteX1" fmla="*/ 0 w 62399"/>
                    <a:gd name="connsiteY1" fmla="*/ 30679 h 62399"/>
                    <a:gd name="connsiteX2" fmla="*/ 31720 w 62399"/>
                    <a:gd name="connsiteY2" fmla="*/ 0 h 62399"/>
                    <a:gd name="connsiteX3" fmla="*/ 62399 w 62399"/>
                    <a:gd name="connsiteY3" fmla="*/ 30679 h 62399"/>
                    <a:gd name="connsiteX4" fmla="*/ 31720 w 62399"/>
                    <a:gd name="connsiteY4" fmla="*/ 62399 h 62399"/>
                    <a:gd name="connsiteX5" fmla="*/ 31720 w 62399"/>
                    <a:gd name="connsiteY5" fmla="*/ 16900 h 62399"/>
                    <a:gd name="connsiteX6" fmla="*/ 15860 w 62399"/>
                    <a:gd name="connsiteY6" fmla="*/ 31720 h 62399"/>
                    <a:gd name="connsiteX7" fmla="*/ 31720 w 62399"/>
                    <a:gd name="connsiteY7" fmla="*/ 47579 h 62399"/>
                    <a:gd name="connsiteX8" fmla="*/ 46540 w 62399"/>
                    <a:gd name="connsiteY8" fmla="*/ 31720 h 62399"/>
                    <a:gd name="connsiteX9" fmla="*/ 31720 w 62399"/>
                    <a:gd name="connsiteY9" fmla="*/ 16900 h 62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99" h="62399">
                      <a:moveTo>
                        <a:pt x="31720" y="62399"/>
                      </a:moveTo>
                      <a:cubicBezTo>
                        <a:pt x="14820" y="62399"/>
                        <a:pt x="0" y="48619"/>
                        <a:pt x="0" y="30679"/>
                      </a:cubicBezTo>
                      <a:cubicBezTo>
                        <a:pt x="0" y="13780"/>
                        <a:pt x="13780" y="0"/>
                        <a:pt x="31720" y="0"/>
                      </a:cubicBezTo>
                      <a:cubicBezTo>
                        <a:pt x="48619" y="0"/>
                        <a:pt x="62399" y="13780"/>
                        <a:pt x="62399" y="30679"/>
                      </a:cubicBezTo>
                      <a:cubicBezTo>
                        <a:pt x="62399" y="48619"/>
                        <a:pt x="48619" y="62399"/>
                        <a:pt x="31720" y="62399"/>
                      </a:cubicBezTo>
                      <a:close/>
                      <a:moveTo>
                        <a:pt x="31720" y="16900"/>
                      </a:moveTo>
                      <a:cubicBezTo>
                        <a:pt x="23140" y="16900"/>
                        <a:pt x="15860" y="24440"/>
                        <a:pt x="15860" y="31720"/>
                      </a:cubicBezTo>
                      <a:cubicBezTo>
                        <a:pt x="15860" y="40300"/>
                        <a:pt x="23400" y="47579"/>
                        <a:pt x="31720" y="47579"/>
                      </a:cubicBezTo>
                      <a:cubicBezTo>
                        <a:pt x="40300" y="47579"/>
                        <a:pt x="46540" y="40040"/>
                        <a:pt x="46540" y="31720"/>
                      </a:cubicBezTo>
                      <a:cubicBezTo>
                        <a:pt x="46540" y="23400"/>
                        <a:pt x="40300" y="16900"/>
                        <a:pt x="31720" y="16900"/>
                      </a:cubicBezTo>
                      <a:close/>
                    </a:path>
                  </a:pathLst>
                </a:custGeom>
                <a:solidFill>
                  <a:srgbClr val="FFFFFF"/>
                </a:solidFill>
                <a:ln w="2597" cap="flat">
                  <a:noFill/>
                  <a:prstDash val="solid"/>
                  <a:miter/>
                </a:ln>
              </p:spPr>
              <p:txBody>
                <a:bodyPr rtlCol="0" anchor="ctr"/>
                <a:lstStyle/>
                <a:p>
                  <a:endParaRPr lang="en-GB"/>
                </a:p>
              </p:txBody>
            </p:sp>
          </p:grpSp>
        </p:grpSp>
        <p:grpSp>
          <p:nvGrpSpPr>
            <p:cNvPr id="161" name="Graphic 6">
              <a:extLst>
                <a:ext uri="{FF2B5EF4-FFF2-40B4-BE49-F238E27FC236}">
                  <a16:creationId xmlns:a16="http://schemas.microsoft.com/office/drawing/2014/main" id="{53F50697-85AE-69A8-259D-A4E634AC9F38}"/>
                </a:ext>
              </a:extLst>
            </p:cNvPr>
            <p:cNvGrpSpPr/>
            <p:nvPr/>
          </p:nvGrpSpPr>
          <p:grpSpPr>
            <a:xfrm>
              <a:off x="2620783" y="4014906"/>
              <a:ext cx="186677" cy="186677"/>
              <a:chOff x="2620783" y="4014906"/>
              <a:chExt cx="186677" cy="186677"/>
            </a:xfrm>
          </p:grpSpPr>
          <p:grpSp>
            <p:nvGrpSpPr>
              <p:cNvPr id="164" name="Graphic 6">
                <a:extLst>
                  <a:ext uri="{FF2B5EF4-FFF2-40B4-BE49-F238E27FC236}">
                    <a16:creationId xmlns:a16="http://schemas.microsoft.com/office/drawing/2014/main" id="{F631D4A0-235D-A505-4DD8-4359671F9163}"/>
                  </a:ext>
                </a:extLst>
              </p:cNvPr>
              <p:cNvGrpSpPr/>
              <p:nvPr/>
            </p:nvGrpSpPr>
            <p:grpSpPr>
              <a:xfrm>
                <a:off x="2620783" y="4014906"/>
                <a:ext cx="186677" cy="186677"/>
                <a:chOff x="2620783" y="4014906"/>
                <a:chExt cx="186677" cy="186677"/>
              </a:xfrm>
              <a:solidFill>
                <a:srgbClr val="FFFFFF"/>
              </a:solidFill>
            </p:grpSpPr>
            <p:sp>
              <p:nvSpPr>
                <p:cNvPr id="168" name="Freeform: Shape 167">
                  <a:extLst>
                    <a:ext uri="{FF2B5EF4-FFF2-40B4-BE49-F238E27FC236}">
                      <a16:creationId xmlns:a16="http://schemas.microsoft.com/office/drawing/2014/main" id="{CCF6B450-AC74-D1D6-C1A6-74C45D0B2036}"/>
                    </a:ext>
                  </a:extLst>
                </p:cNvPr>
                <p:cNvSpPr/>
                <p:nvPr/>
              </p:nvSpPr>
              <p:spPr>
                <a:xfrm>
                  <a:off x="2620783" y="4014906"/>
                  <a:ext cx="186677" cy="186677"/>
                </a:xfrm>
                <a:custGeom>
                  <a:avLst/>
                  <a:gdLst>
                    <a:gd name="connsiteX0" fmla="*/ 93339 w 186677"/>
                    <a:gd name="connsiteY0" fmla="*/ 186678 h 186677"/>
                    <a:gd name="connsiteX1" fmla="*/ 0 w 186677"/>
                    <a:gd name="connsiteY1" fmla="*/ 93339 h 186677"/>
                    <a:gd name="connsiteX2" fmla="*/ 93339 w 186677"/>
                    <a:gd name="connsiteY2" fmla="*/ 0 h 186677"/>
                    <a:gd name="connsiteX3" fmla="*/ 186678 w 186677"/>
                    <a:gd name="connsiteY3" fmla="*/ 93339 h 186677"/>
                    <a:gd name="connsiteX4" fmla="*/ 93339 w 186677"/>
                    <a:gd name="connsiteY4" fmla="*/ 186678 h 186677"/>
                    <a:gd name="connsiteX5" fmla="*/ 93339 w 186677"/>
                    <a:gd name="connsiteY5" fmla="*/ 16900 h 186677"/>
                    <a:gd name="connsiteX6" fmla="*/ 16900 w 186677"/>
                    <a:gd name="connsiteY6" fmla="*/ 93339 h 186677"/>
                    <a:gd name="connsiteX7" fmla="*/ 93339 w 186677"/>
                    <a:gd name="connsiteY7" fmla="*/ 169778 h 186677"/>
                    <a:gd name="connsiteX8" fmla="*/ 169778 w 186677"/>
                    <a:gd name="connsiteY8" fmla="*/ 93339 h 186677"/>
                    <a:gd name="connsiteX9" fmla="*/ 93339 w 186677"/>
                    <a:gd name="connsiteY9" fmla="*/ 16900 h 186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677" h="186677">
                      <a:moveTo>
                        <a:pt x="93339" y="186678"/>
                      </a:moveTo>
                      <a:cubicBezTo>
                        <a:pt x="42379" y="186678"/>
                        <a:pt x="0" y="145338"/>
                        <a:pt x="0" y="93339"/>
                      </a:cubicBezTo>
                      <a:cubicBezTo>
                        <a:pt x="0" y="41339"/>
                        <a:pt x="41340" y="0"/>
                        <a:pt x="93339" y="0"/>
                      </a:cubicBezTo>
                      <a:cubicBezTo>
                        <a:pt x="145338" y="0"/>
                        <a:pt x="186678" y="41339"/>
                        <a:pt x="186678" y="93339"/>
                      </a:cubicBezTo>
                      <a:cubicBezTo>
                        <a:pt x="186678" y="145338"/>
                        <a:pt x="144298" y="186678"/>
                        <a:pt x="93339" y="186678"/>
                      </a:cubicBezTo>
                      <a:close/>
                      <a:moveTo>
                        <a:pt x="93339" y="16900"/>
                      </a:moveTo>
                      <a:cubicBezTo>
                        <a:pt x="50960" y="16900"/>
                        <a:pt x="16900" y="51999"/>
                        <a:pt x="16900" y="93339"/>
                      </a:cubicBezTo>
                      <a:cubicBezTo>
                        <a:pt x="16900" y="134678"/>
                        <a:pt x="51999" y="169778"/>
                        <a:pt x="93339" y="169778"/>
                      </a:cubicBezTo>
                      <a:cubicBezTo>
                        <a:pt x="134678" y="169778"/>
                        <a:pt x="169778" y="134678"/>
                        <a:pt x="169778" y="93339"/>
                      </a:cubicBezTo>
                      <a:cubicBezTo>
                        <a:pt x="169778" y="51999"/>
                        <a:pt x="135718" y="16900"/>
                        <a:pt x="93339" y="16900"/>
                      </a:cubicBezTo>
                      <a:close/>
                    </a:path>
                  </a:pathLst>
                </a:custGeom>
                <a:solidFill>
                  <a:srgbClr val="FFFFFF"/>
                </a:solidFill>
                <a:ln w="2597" cap="flat">
                  <a:noFill/>
                  <a:prstDash val="solid"/>
                  <a:miter/>
                </a:ln>
              </p:spPr>
              <p:txBody>
                <a:bodyPr rtlCol="0" anchor="ctr"/>
                <a:lstStyle/>
                <a:p>
                  <a:endParaRPr lang="en-GB"/>
                </a:p>
              </p:txBody>
            </p:sp>
            <p:sp>
              <p:nvSpPr>
                <p:cNvPr id="169" name="Freeform: Shape 168">
                  <a:extLst>
                    <a:ext uri="{FF2B5EF4-FFF2-40B4-BE49-F238E27FC236}">
                      <a16:creationId xmlns:a16="http://schemas.microsoft.com/office/drawing/2014/main" id="{5DA00997-F453-6888-F0B2-8D5B78DE0534}"/>
                    </a:ext>
                  </a:extLst>
                </p:cNvPr>
                <p:cNvSpPr/>
                <p:nvPr/>
              </p:nvSpPr>
              <p:spPr>
                <a:xfrm>
                  <a:off x="2649383" y="4045325"/>
                  <a:ext cx="126878" cy="127658"/>
                </a:xfrm>
                <a:custGeom>
                  <a:avLst/>
                  <a:gdLst>
                    <a:gd name="connsiteX0" fmla="*/ 7540 w 126878"/>
                    <a:gd name="connsiteY0" fmla="*/ 127659 h 127658"/>
                    <a:gd name="connsiteX1" fmla="*/ 2340 w 126878"/>
                    <a:gd name="connsiteY1" fmla="*/ 125579 h 127658"/>
                    <a:gd name="connsiteX2" fmla="*/ 2340 w 126878"/>
                    <a:gd name="connsiteY2" fmla="*/ 113879 h 127658"/>
                    <a:gd name="connsiteX3" fmla="*/ 112839 w 126878"/>
                    <a:gd name="connsiteY3" fmla="*/ 2340 h 127658"/>
                    <a:gd name="connsiteX4" fmla="*/ 124539 w 126878"/>
                    <a:gd name="connsiteY4" fmla="*/ 2340 h 127658"/>
                    <a:gd name="connsiteX5" fmla="*/ 124539 w 126878"/>
                    <a:gd name="connsiteY5" fmla="*/ 14040 h 127658"/>
                    <a:gd name="connsiteX6" fmla="*/ 14040 w 126878"/>
                    <a:gd name="connsiteY6" fmla="*/ 125579 h 127658"/>
                    <a:gd name="connsiteX7" fmla="*/ 7540 w 126878"/>
                    <a:gd name="connsiteY7" fmla="*/ 127659 h 127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78" h="127658">
                      <a:moveTo>
                        <a:pt x="7540" y="127659"/>
                      </a:moveTo>
                      <a:cubicBezTo>
                        <a:pt x="5460" y="127659"/>
                        <a:pt x="3380" y="126619"/>
                        <a:pt x="2340" y="125579"/>
                      </a:cubicBezTo>
                      <a:cubicBezTo>
                        <a:pt x="-780" y="122459"/>
                        <a:pt x="-780" y="116999"/>
                        <a:pt x="2340" y="113879"/>
                      </a:cubicBezTo>
                      <a:lnTo>
                        <a:pt x="112839" y="2340"/>
                      </a:lnTo>
                      <a:cubicBezTo>
                        <a:pt x="115959" y="-780"/>
                        <a:pt x="121419" y="-780"/>
                        <a:pt x="124539" y="2340"/>
                      </a:cubicBezTo>
                      <a:cubicBezTo>
                        <a:pt x="127659" y="5460"/>
                        <a:pt x="127659" y="10920"/>
                        <a:pt x="124539" y="14040"/>
                      </a:cubicBezTo>
                      <a:lnTo>
                        <a:pt x="14040" y="125579"/>
                      </a:lnTo>
                      <a:cubicBezTo>
                        <a:pt x="11700" y="127659"/>
                        <a:pt x="9620" y="127659"/>
                        <a:pt x="7540" y="127659"/>
                      </a:cubicBezTo>
                      <a:close/>
                    </a:path>
                  </a:pathLst>
                </a:custGeom>
                <a:solidFill>
                  <a:srgbClr val="FFFFFF"/>
                </a:solidFill>
                <a:ln w="2597" cap="flat">
                  <a:noFill/>
                  <a:prstDash val="solid"/>
                  <a:miter/>
                </a:ln>
              </p:spPr>
              <p:txBody>
                <a:bodyPr rtlCol="0" anchor="ctr"/>
                <a:lstStyle/>
                <a:p>
                  <a:endParaRPr lang="en-GB"/>
                </a:p>
              </p:txBody>
            </p:sp>
            <p:sp>
              <p:nvSpPr>
                <p:cNvPr id="170" name="Freeform: Shape 169">
                  <a:extLst>
                    <a:ext uri="{FF2B5EF4-FFF2-40B4-BE49-F238E27FC236}">
                      <a16:creationId xmlns:a16="http://schemas.microsoft.com/office/drawing/2014/main" id="{FDFFCF5F-FFAF-C31C-F394-25FD02033C97}"/>
                    </a:ext>
                  </a:extLst>
                </p:cNvPr>
                <p:cNvSpPr/>
                <p:nvPr/>
              </p:nvSpPr>
              <p:spPr>
                <a:xfrm>
                  <a:off x="2653543" y="4048445"/>
                  <a:ext cx="127918" cy="126618"/>
                </a:xfrm>
                <a:custGeom>
                  <a:avLst/>
                  <a:gdLst>
                    <a:gd name="connsiteX0" fmla="*/ 119079 w 127918"/>
                    <a:gd name="connsiteY0" fmla="*/ 126619 h 126618"/>
                    <a:gd name="connsiteX1" fmla="*/ 113879 w 127918"/>
                    <a:gd name="connsiteY1" fmla="*/ 124538 h 126618"/>
                    <a:gd name="connsiteX2" fmla="*/ 2340 w 127918"/>
                    <a:gd name="connsiteY2" fmla="*/ 14040 h 126618"/>
                    <a:gd name="connsiteX3" fmla="*/ 2340 w 127918"/>
                    <a:gd name="connsiteY3" fmla="*/ 2340 h 126618"/>
                    <a:gd name="connsiteX4" fmla="*/ 14040 w 127918"/>
                    <a:gd name="connsiteY4" fmla="*/ 2340 h 126618"/>
                    <a:gd name="connsiteX5" fmla="*/ 125579 w 127918"/>
                    <a:gd name="connsiteY5" fmla="*/ 112839 h 126618"/>
                    <a:gd name="connsiteX6" fmla="*/ 125579 w 127918"/>
                    <a:gd name="connsiteY6" fmla="*/ 124538 h 126618"/>
                    <a:gd name="connsiteX7" fmla="*/ 119079 w 127918"/>
                    <a:gd name="connsiteY7" fmla="*/ 126619 h 126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918" h="126618">
                      <a:moveTo>
                        <a:pt x="119079" y="126619"/>
                      </a:moveTo>
                      <a:cubicBezTo>
                        <a:pt x="116999" y="126619"/>
                        <a:pt x="114919" y="125579"/>
                        <a:pt x="113879" y="124538"/>
                      </a:cubicBezTo>
                      <a:lnTo>
                        <a:pt x="2340" y="14040"/>
                      </a:lnTo>
                      <a:cubicBezTo>
                        <a:pt x="-780" y="10920"/>
                        <a:pt x="-780" y="5460"/>
                        <a:pt x="2340" y="2340"/>
                      </a:cubicBezTo>
                      <a:cubicBezTo>
                        <a:pt x="5460" y="-780"/>
                        <a:pt x="10920" y="-780"/>
                        <a:pt x="14040" y="2340"/>
                      </a:cubicBezTo>
                      <a:lnTo>
                        <a:pt x="125579" y="112839"/>
                      </a:lnTo>
                      <a:cubicBezTo>
                        <a:pt x="128699" y="115959"/>
                        <a:pt x="128699" y="121419"/>
                        <a:pt x="125579" y="124538"/>
                      </a:cubicBezTo>
                      <a:cubicBezTo>
                        <a:pt x="123239" y="126619"/>
                        <a:pt x="121159" y="126619"/>
                        <a:pt x="119079" y="126619"/>
                      </a:cubicBezTo>
                      <a:close/>
                    </a:path>
                  </a:pathLst>
                </a:custGeom>
                <a:solidFill>
                  <a:srgbClr val="FFFFFF"/>
                </a:solidFill>
                <a:ln w="2597" cap="flat">
                  <a:noFill/>
                  <a:prstDash val="solid"/>
                  <a:miter/>
                </a:ln>
              </p:spPr>
              <p:txBody>
                <a:bodyPr rtlCol="0" anchor="ctr"/>
                <a:lstStyle/>
                <a:p>
                  <a:endParaRPr lang="en-GB"/>
                </a:p>
              </p:txBody>
            </p:sp>
          </p:grpSp>
          <p:grpSp>
            <p:nvGrpSpPr>
              <p:cNvPr id="165" name="Graphic 6">
                <a:extLst>
                  <a:ext uri="{FF2B5EF4-FFF2-40B4-BE49-F238E27FC236}">
                    <a16:creationId xmlns:a16="http://schemas.microsoft.com/office/drawing/2014/main" id="{CB6F7A9D-40BA-ABE4-A830-8EE6C95EEA2C}"/>
                  </a:ext>
                </a:extLst>
              </p:cNvPr>
              <p:cNvGrpSpPr/>
              <p:nvPr/>
            </p:nvGrpSpPr>
            <p:grpSpPr>
              <a:xfrm>
                <a:off x="2682402" y="4077825"/>
                <a:ext cx="62399" cy="63439"/>
                <a:chOff x="2682402" y="4077825"/>
                <a:chExt cx="62399" cy="63439"/>
              </a:xfrm>
            </p:grpSpPr>
            <p:sp>
              <p:nvSpPr>
                <p:cNvPr id="166" name="Freeform: Shape 165">
                  <a:extLst>
                    <a:ext uri="{FF2B5EF4-FFF2-40B4-BE49-F238E27FC236}">
                      <a16:creationId xmlns:a16="http://schemas.microsoft.com/office/drawing/2014/main" id="{3529A72D-355D-AA78-6EA5-7CAAC6EAEA10}"/>
                    </a:ext>
                  </a:extLst>
                </p:cNvPr>
                <p:cNvSpPr/>
                <p:nvPr/>
              </p:nvSpPr>
              <p:spPr>
                <a:xfrm>
                  <a:off x="2690722" y="4085885"/>
                  <a:ext cx="46799" cy="46799"/>
                </a:xfrm>
                <a:custGeom>
                  <a:avLst/>
                  <a:gdLst>
                    <a:gd name="connsiteX0" fmla="*/ 46799 w 46799"/>
                    <a:gd name="connsiteY0" fmla="*/ 23400 h 46799"/>
                    <a:gd name="connsiteX1" fmla="*/ 23400 w 46799"/>
                    <a:gd name="connsiteY1" fmla="*/ 46799 h 46799"/>
                    <a:gd name="connsiteX2" fmla="*/ 0 w 46799"/>
                    <a:gd name="connsiteY2" fmla="*/ 23400 h 46799"/>
                    <a:gd name="connsiteX3" fmla="*/ 23400 w 46799"/>
                    <a:gd name="connsiteY3" fmla="*/ 0 h 46799"/>
                    <a:gd name="connsiteX4" fmla="*/ 46799 w 46799"/>
                    <a:gd name="connsiteY4" fmla="*/ 23400 h 46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99" h="46799">
                      <a:moveTo>
                        <a:pt x="46799" y="23400"/>
                      </a:moveTo>
                      <a:cubicBezTo>
                        <a:pt x="46799" y="36323"/>
                        <a:pt x="36323" y="46799"/>
                        <a:pt x="23400" y="46799"/>
                      </a:cubicBezTo>
                      <a:cubicBezTo>
                        <a:pt x="10476" y="46799"/>
                        <a:pt x="0" y="36323"/>
                        <a:pt x="0" y="23400"/>
                      </a:cubicBezTo>
                      <a:cubicBezTo>
                        <a:pt x="0" y="10476"/>
                        <a:pt x="10476" y="0"/>
                        <a:pt x="23400" y="0"/>
                      </a:cubicBezTo>
                      <a:cubicBezTo>
                        <a:pt x="36323" y="0"/>
                        <a:pt x="46799" y="10476"/>
                        <a:pt x="46799" y="23400"/>
                      </a:cubicBezTo>
                      <a:close/>
                    </a:path>
                  </a:pathLst>
                </a:custGeom>
                <a:solidFill>
                  <a:srgbClr val="0069FF"/>
                </a:solidFill>
                <a:ln w="2597" cap="flat">
                  <a:noFill/>
                  <a:prstDash val="solid"/>
                  <a:miter/>
                </a:ln>
              </p:spPr>
              <p:txBody>
                <a:bodyPr rtlCol="0" anchor="ctr"/>
                <a:lstStyle/>
                <a:p>
                  <a:endParaRPr lang="en-GB"/>
                </a:p>
              </p:txBody>
            </p:sp>
            <p:sp>
              <p:nvSpPr>
                <p:cNvPr id="167" name="Freeform: Shape 166">
                  <a:extLst>
                    <a:ext uri="{FF2B5EF4-FFF2-40B4-BE49-F238E27FC236}">
                      <a16:creationId xmlns:a16="http://schemas.microsoft.com/office/drawing/2014/main" id="{FBCD7E7B-7D04-8DDB-8BA6-954CE809B92E}"/>
                    </a:ext>
                  </a:extLst>
                </p:cNvPr>
                <p:cNvSpPr/>
                <p:nvPr/>
              </p:nvSpPr>
              <p:spPr>
                <a:xfrm>
                  <a:off x="2682402" y="4077825"/>
                  <a:ext cx="62399" cy="63439"/>
                </a:xfrm>
                <a:custGeom>
                  <a:avLst/>
                  <a:gdLst>
                    <a:gd name="connsiteX0" fmla="*/ 31720 w 62399"/>
                    <a:gd name="connsiteY0" fmla="*/ 63439 h 63439"/>
                    <a:gd name="connsiteX1" fmla="*/ 0 w 62399"/>
                    <a:gd name="connsiteY1" fmla="*/ 31720 h 63439"/>
                    <a:gd name="connsiteX2" fmla="*/ 31720 w 62399"/>
                    <a:gd name="connsiteY2" fmla="*/ 0 h 63439"/>
                    <a:gd name="connsiteX3" fmla="*/ 62399 w 62399"/>
                    <a:gd name="connsiteY3" fmla="*/ 31720 h 63439"/>
                    <a:gd name="connsiteX4" fmla="*/ 31720 w 62399"/>
                    <a:gd name="connsiteY4" fmla="*/ 63439 h 63439"/>
                    <a:gd name="connsiteX5" fmla="*/ 31720 w 62399"/>
                    <a:gd name="connsiteY5" fmla="*/ 15600 h 63439"/>
                    <a:gd name="connsiteX6" fmla="*/ 15860 w 62399"/>
                    <a:gd name="connsiteY6" fmla="*/ 31460 h 63439"/>
                    <a:gd name="connsiteX7" fmla="*/ 31720 w 62399"/>
                    <a:gd name="connsiteY7" fmla="*/ 47319 h 63439"/>
                    <a:gd name="connsiteX8" fmla="*/ 46540 w 62399"/>
                    <a:gd name="connsiteY8" fmla="*/ 31460 h 63439"/>
                    <a:gd name="connsiteX9" fmla="*/ 31720 w 62399"/>
                    <a:gd name="connsiteY9" fmla="*/ 15600 h 6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99" h="63439">
                      <a:moveTo>
                        <a:pt x="31720" y="63439"/>
                      </a:moveTo>
                      <a:cubicBezTo>
                        <a:pt x="14820" y="63439"/>
                        <a:pt x="0" y="49659"/>
                        <a:pt x="0" y="31720"/>
                      </a:cubicBezTo>
                      <a:cubicBezTo>
                        <a:pt x="0" y="13780"/>
                        <a:pt x="13780" y="0"/>
                        <a:pt x="31720" y="0"/>
                      </a:cubicBezTo>
                      <a:cubicBezTo>
                        <a:pt x="48619" y="0"/>
                        <a:pt x="62399" y="13780"/>
                        <a:pt x="62399" y="31720"/>
                      </a:cubicBezTo>
                      <a:cubicBezTo>
                        <a:pt x="62399" y="49659"/>
                        <a:pt x="48619" y="63439"/>
                        <a:pt x="31720" y="63439"/>
                      </a:cubicBezTo>
                      <a:close/>
                      <a:moveTo>
                        <a:pt x="31720" y="15600"/>
                      </a:moveTo>
                      <a:cubicBezTo>
                        <a:pt x="23140" y="15600"/>
                        <a:pt x="15860" y="23140"/>
                        <a:pt x="15860" y="31460"/>
                      </a:cubicBezTo>
                      <a:cubicBezTo>
                        <a:pt x="15860" y="40040"/>
                        <a:pt x="23400" y="47319"/>
                        <a:pt x="31720" y="47319"/>
                      </a:cubicBezTo>
                      <a:cubicBezTo>
                        <a:pt x="40300" y="47319"/>
                        <a:pt x="46540" y="39780"/>
                        <a:pt x="46540" y="31460"/>
                      </a:cubicBezTo>
                      <a:cubicBezTo>
                        <a:pt x="46540" y="22880"/>
                        <a:pt x="40300" y="15600"/>
                        <a:pt x="31720" y="15600"/>
                      </a:cubicBezTo>
                      <a:close/>
                    </a:path>
                  </a:pathLst>
                </a:custGeom>
                <a:solidFill>
                  <a:srgbClr val="FFFFFF"/>
                </a:solidFill>
                <a:ln w="2597" cap="flat">
                  <a:noFill/>
                  <a:prstDash val="solid"/>
                  <a:miter/>
                </a:ln>
              </p:spPr>
              <p:txBody>
                <a:bodyPr rtlCol="0" anchor="ctr"/>
                <a:lstStyle/>
                <a:p>
                  <a:endParaRPr lang="en-GB"/>
                </a:p>
              </p:txBody>
            </p:sp>
          </p:grpSp>
        </p:grpSp>
        <p:sp>
          <p:nvSpPr>
            <p:cNvPr id="162" name="Freeform: Shape 161">
              <a:extLst>
                <a:ext uri="{FF2B5EF4-FFF2-40B4-BE49-F238E27FC236}">
                  <a16:creationId xmlns:a16="http://schemas.microsoft.com/office/drawing/2014/main" id="{6A65DBF1-C3D8-7594-76E7-E3CE0C317497}"/>
                </a:ext>
              </a:extLst>
            </p:cNvPr>
            <p:cNvSpPr/>
            <p:nvPr/>
          </p:nvSpPr>
          <p:spPr>
            <a:xfrm>
              <a:off x="2595303" y="4280103"/>
              <a:ext cx="111538" cy="70199"/>
            </a:xfrm>
            <a:custGeom>
              <a:avLst/>
              <a:gdLst>
                <a:gd name="connsiteX0" fmla="*/ 102959 w 111538"/>
                <a:gd name="connsiteY0" fmla="*/ 70199 h 70199"/>
                <a:gd name="connsiteX1" fmla="*/ 8580 w 111538"/>
                <a:gd name="connsiteY1" fmla="*/ 70199 h 70199"/>
                <a:gd name="connsiteX2" fmla="*/ 0 w 111538"/>
                <a:gd name="connsiteY2" fmla="*/ 61619 h 70199"/>
                <a:gd name="connsiteX3" fmla="*/ 0 w 111538"/>
                <a:gd name="connsiteY3" fmla="*/ 8580 h 70199"/>
                <a:gd name="connsiteX4" fmla="*/ 8580 w 111538"/>
                <a:gd name="connsiteY4" fmla="*/ 0 h 70199"/>
                <a:gd name="connsiteX5" fmla="*/ 102959 w 111538"/>
                <a:gd name="connsiteY5" fmla="*/ 0 h 70199"/>
                <a:gd name="connsiteX6" fmla="*/ 111539 w 111538"/>
                <a:gd name="connsiteY6" fmla="*/ 8580 h 70199"/>
                <a:gd name="connsiteX7" fmla="*/ 111539 w 111538"/>
                <a:gd name="connsiteY7" fmla="*/ 61619 h 70199"/>
                <a:gd name="connsiteX8" fmla="*/ 102959 w 111538"/>
                <a:gd name="connsiteY8" fmla="*/ 70199 h 70199"/>
                <a:gd name="connsiteX9" fmla="*/ 15860 w 111538"/>
                <a:gd name="connsiteY9" fmla="*/ 54079 h 70199"/>
                <a:gd name="connsiteX10" fmla="*/ 95419 w 111538"/>
                <a:gd name="connsiteY10" fmla="*/ 54079 h 70199"/>
                <a:gd name="connsiteX11" fmla="*/ 95419 w 111538"/>
                <a:gd name="connsiteY11" fmla="*/ 16900 h 70199"/>
                <a:gd name="connsiteX12" fmla="*/ 16900 w 111538"/>
                <a:gd name="connsiteY12" fmla="*/ 16900 h 70199"/>
                <a:gd name="connsiteX13" fmla="*/ 16900 w 111538"/>
                <a:gd name="connsiteY13" fmla="*/ 54079 h 70199"/>
                <a:gd name="connsiteX14" fmla="*/ 15860 w 111538"/>
                <a:gd name="connsiteY14" fmla="*/ 54079 h 7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1538" h="70199">
                  <a:moveTo>
                    <a:pt x="102959" y="70199"/>
                  </a:moveTo>
                  <a:lnTo>
                    <a:pt x="8580" y="70199"/>
                  </a:lnTo>
                  <a:cubicBezTo>
                    <a:pt x="4420" y="70199"/>
                    <a:pt x="0" y="67079"/>
                    <a:pt x="0" y="61619"/>
                  </a:cubicBezTo>
                  <a:lnTo>
                    <a:pt x="0" y="8580"/>
                  </a:lnTo>
                  <a:cubicBezTo>
                    <a:pt x="0" y="4420"/>
                    <a:pt x="3120" y="0"/>
                    <a:pt x="8580" y="0"/>
                  </a:cubicBezTo>
                  <a:lnTo>
                    <a:pt x="102959" y="0"/>
                  </a:lnTo>
                  <a:cubicBezTo>
                    <a:pt x="107119" y="0"/>
                    <a:pt x="111539" y="3120"/>
                    <a:pt x="111539" y="8580"/>
                  </a:cubicBezTo>
                  <a:lnTo>
                    <a:pt x="111539" y="61619"/>
                  </a:lnTo>
                  <a:cubicBezTo>
                    <a:pt x="111279" y="65779"/>
                    <a:pt x="107119" y="70199"/>
                    <a:pt x="102959" y="70199"/>
                  </a:cubicBezTo>
                  <a:close/>
                  <a:moveTo>
                    <a:pt x="15860" y="54079"/>
                  </a:moveTo>
                  <a:lnTo>
                    <a:pt x="95419" y="54079"/>
                  </a:lnTo>
                  <a:lnTo>
                    <a:pt x="95419" y="16900"/>
                  </a:lnTo>
                  <a:lnTo>
                    <a:pt x="16900" y="16900"/>
                  </a:lnTo>
                  <a:lnTo>
                    <a:pt x="16900" y="54079"/>
                  </a:lnTo>
                  <a:lnTo>
                    <a:pt x="15860" y="54079"/>
                  </a:lnTo>
                  <a:close/>
                </a:path>
              </a:pathLst>
            </a:custGeom>
            <a:solidFill>
              <a:srgbClr val="00005A"/>
            </a:solidFill>
            <a:ln w="2597" cap="flat">
              <a:noFill/>
              <a:prstDash val="solid"/>
              <a:miter/>
            </a:ln>
          </p:spPr>
          <p:txBody>
            <a:bodyPr rtlCol="0" anchor="ctr"/>
            <a:lstStyle/>
            <a:p>
              <a:endParaRPr lang="en-GB"/>
            </a:p>
          </p:txBody>
        </p:sp>
        <p:sp>
          <p:nvSpPr>
            <p:cNvPr id="163" name="Freeform: Shape 162">
              <a:extLst>
                <a:ext uri="{FF2B5EF4-FFF2-40B4-BE49-F238E27FC236}">
                  <a16:creationId xmlns:a16="http://schemas.microsoft.com/office/drawing/2014/main" id="{B3D8357A-3DB2-5469-AEC7-B135B0D9D66E}"/>
                </a:ext>
              </a:extLst>
            </p:cNvPr>
            <p:cNvSpPr/>
            <p:nvPr/>
          </p:nvSpPr>
          <p:spPr>
            <a:xfrm>
              <a:off x="2890400" y="4280103"/>
              <a:ext cx="111538" cy="70199"/>
            </a:xfrm>
            <a:custGeom>
              <a:avLst/>
              <a:gdLst>
                <a:gd name="connsiteX0" fmla="*/ 102959 w 111538"/>
                <a:gd name="connsiteY0" fmla="*/ 70199 h 70199"/>
                <a:gd name="connsiteX1" fmla="*/ 8580 w 111538"/>
                <a:gd name="connsiteY1" fmla="*/ 70199 h 70199"/>
                <a:gd name="connsiteX2" fmla="*/ 0 w 111538"/>
                <a:gd name="connsiteY2" fmla="*/ 61619 h 70199"/>
                <a:gd name="connsiteX3" fmla="*/ 0 w 111538"/>
                <a:gd name="connsiteY3" fmla="*/ 8580 h 70199"/>
                <a:gd name="connsiteX4" fmla="*/ 8580 w 111538"/>
                <a:gd name="connsiteY4" fmla="*/ 0 h 70199"/>
                <a:gd name="connsiteX5" fmla="*/ 102959 w 111538"/>
                <a:gd name="connsiteY5" fmla="*/ 0 h 70199"/>
                <a:gd name="connsiteX6" fmla="*/ 111539 w 111538"/>
                <a:gd name="connsiteY6" fmla="*/ 8580 h 70199"/>
                <a:gd name="connsiteX7" fmla="*/ 111539 w 111538"/>
                <a:gd name="connsiteY7" fmla="*/ 61619 h 70199"/>
                <a:gd name="connsiteX8" fmla="*/ 102959 w 111538"/>
                <a:gd name="connsiteY8" fmla="*/ 70199 h 70199"/>
                <a:gd name="connsiteX9" fmla="*/ 16900 w 111538"/>
                <a:gd name="connsiteY9" fmla="*/ 54079 h 70199"/>
                <a:gd name="connsiteX10" fmla="*/ 95419 w 111538"/>
                <a:gd name="connsiteY10" fmla="*/ 54079 h 70199"/>
                <a:gd name="connsiteX11" fmla="*/ 95419 w 111538"/>
                <a:gd name="connsiteY11" fmla="*/ 16900 h 70199"/>
                <a:gd name="connsiteX12" fmla="*/ 16900 w 111538"/>
                <a:gd name="connsiteY12" fmla="*/ 16900 h 70199"/>
                <a:gd name="connsiteX13" fmla="*/ 16900 w 111538"/>
                <a:gd name="connsiteY13" fmla="*/ 54079 h 7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38" h="70199">
                  <a:moveTo>
                    <a:pt x="102959" y="70199"/>
                  </a:moveTo>
                  <a:lnTo>
                    <a:pt x="8580" y="70199"/>
                  </a:lnTo>
                  <a:cubicBezTo>
                    <a:pt x="4420" y="70199"/>
                    <a:pt x="0" y="67079"/>
                    <a:pt x="0" y="61619"/>
                  </a:cubicBezTo>
                  <a:lnTo>
                    <a:pt x="0" y="8580"/>
                  </a:lnTo>
                  <a:cubicBezTo>
                    <a:pt x="0" y="4420"/>
                    <a:pt x="3120" y="0"/>
                    <a:pt x="8580" y="0"/>
                  </a:cubicBezTo>
                  <a:lnTo>
                    <a:pt x="102959" y="0"/>
                  </a:lnTo>
                  <a:cubicBezTo>
                    <a:pt x="107119" y="0"/>
                    <a:pt x="111539" y="3120"/>
                    <a:pt x="111539" y="8580"/>
                  </a:cubicBezTo>
                  <a:lnTo>
                    <a:pt x="111539" y="61619"/>
                  </a:lnTo>
                  <a:cubicBezTo>
                    <a:pt x="110239" y="65779"/>
                    <a:pt x="107119" y="70199"/>
                    <a:pt x="102959" y="70199"/>
                  </a:cubicBezTo>
                  <a:close/>
                  <a:moveTo>
                    <a:pt x="16900" y="54079"/>
                  </a:moveTo>
                  <a:lnTo>
                    <a:pt x="95419" y="54079"/>
                  </a:lnTo>
                  <a:lnTo>
                    <a:pt x="95419" y="16900"/>
                  </a:lnTo>
                  <a:lnTo>
                    <a:pt x="16900" y="16900"/>
                  </a:lnTo>
                  <a:lnTo>
                    <a:pt x="16900" y="54079"/>
                  </a:lnTo>
                  <a:close/>
                </a:path>
              </a:pathLst>
            </a:custGeom>
            <a:solidFill>
              <a:srgbClr val="00005A"/>
            </a:solidFill>
            <a:ln w="2597" cap="flat">
              <a:noFill/>
              <a:prstDash val="solid"/>
              <a:miter/>
            </a:ln>
          </p:spPr>
          <p:txBody>
            <a:bodyPr rtlCol="0" anchor="ctr"/>
            <a:lstStyle/>
            <a:p>
              <a:endParaRPr lang="en-GB"/>
            </a:p>
          </p:txBody>
        </p:sp>
      </p:grpSp>
      <p:grpSp>
        <p:nvGrpSpPr>
          <p:cNvPr id="194" name="Graphic 6">
            <a:extLst>
              <a:ext uri="{FF2B5EF4-FFF2-40B4-BE49-F238E27FC236}">
                <a16:creationId xmlns:a16="http://schemas.microsoft.com/office/drawing/2014/main" id="{369ED0B1-E18C-988E-40F4-3298601E7F63}"/>
              </a:ext>
            </a:extLst>
          </p:cNvPr>
          <p:cNvGrpSpPr/>
          <p:nvPr/>
        </p:nvGrpSpPr>
        <p:grpSpPr>
          <a:xfrm>
            <a:off x="2331019" y="4836762"/>
            <a:ext cx="443738" cy="351438"/>
            <a:chOff x="6019984" y="4698178"/>
            <a:chExt cx="889969" cy="704851"/>
          </a:xfrm>
        </p:grpSpPr>
        <p:grpSp>
          <p:nvGrpSpPr>
            <p:cNvPr id="195" name="Graphic 6">
              <a:extLst>
                <a:ext uri="{FF2B5EF4-FFF2-40B4-BE49-F238E27FC236}">
                  <a16:creationId xmlns:a16="http://schemas.microsoft.com/office/drawing/2014/main" id="{00FC059D-CD2A-25E9-AC6F-3779E84E34E2}"/>
                </a:ext>
              </a:extLst>
            </p:cNvPr>
            <p:cNvGrpSpPr/>
            <p:nvPr/>
          </p:nvGrpSpPr>
          <p:grpSpPr>
            <a:xfrm>
              <a:off x="6050403" y="4731457"/>
              <a:ext cx="859550" cy="671572"/>
              <a:chOff x="6050403" y="4731457"/>
              <a:chExt cx="859550" cy="671572"/>
            </a:xfrm>
            <a:solidFill>
              <a:srgbClr val="0069FF"/>
            </a:solidFill>
          </p:grpSpPr>
          <p:grpSp>
            <p:nvGrpSpPr>
              <p:cNvPr id="217" name="Graphic 6">
                <a:extLst>
                  <a:ext uri="{FF2B5EF4-FFF2-40B4-BE49-F238E27FC236}">
                    <a16:creationId xmlns:a16="http://schemas.microsoft.com/office/drawing/2014/main" id="{DEFD84BF-A30B-B2F1-3447-148377DA9FF6}"/>
                  </a:ext>
                </a:extLst>
              </p:cNvPr>
              <p:cNvGrpSpPr/>
              <p:nvPr/>
            </p:nvGrpSpPr>
            <p:grpSpPr>
              <a:xfrm>
                <a:off x="6050403" y="4731457"/>
                <a:ext cx="448754" cy="671572"/>
                <a:chOff x="6050403" y="4731457"/>
                <a:chExt cx="448754" cy="671572"/>
              </a:xfrm>
              <a:solidFill>
                <a:srgbClr val="0069FF"/>
              </a:solidFill>
            </p:grpSpPr>
            <p:sp>
              <p:nvSpPr>
                <p:cNvPr id="221" name="Freeform: Shape 220">
                  <a:extLst>
                    <a:ext uri="{FF2B5EF4-FFF2-40B4-BE49-F238E27FC236}">
                      <a16:creationId xmlns:a16="http://schemas.microsoft.com/office/drawing/2014/main" id="{C202F0E9-78B6-7D01-D820-A9769DB45B41}"/>
                    </a:ext>
                  </a:extLst>
                </p:cNvPr>
                <p:cNvSpPr/>
                <p:nvPr/>
              </p:nvSpPr>
              <p:spPr>
                <a:xfrm>
                  <a:off x="6055083" y="4736657"/>
                  <a:ext cx="438355" cy="661172"/>
                </a:xfrm>
                <a:custGeom>
                  <a:avLst/>
                  <a:gdLst>
                    <a:gd name="connsiteX0" fmla="*/ 0 w 438355"/>
                    <a:gd name="connsiteY0" fmla="*/ 607873 h 661172"/>
                    <a:gd name="connsiteX1" fmla="*/ 65779 w 438355"/>
                    <a:gd name="connsiteY1" fmla="*/ 607873 h 661172"/>
                    <a:gd name="connsiteX2" fmla="*/ 65779 w 438355"/>
                    <a:gd name="connsiteY2" fmla="*/ 661172 h 661172"/>
                    <a:gd name="connsiteX3" fmla="*/ 161458 w 438355"/>
                    <a:gd name="connsiteY3" fmla="*/ 661172 h 661172"/>
                    <a:gd name="connsiteX4" fmla="*/ 161458 w 438355"/>
                    <a:gd name="connsiteY4" fmla="*/ 607873 h 661172"/>
                    <a:gd name="connsiteX5" fmla="*/ 275857 w 438355"/>
                    <a:gd name="connsiteY5" fmla="*/ 607873 h 661172"/>
                    <a:gd name="connsiteX6" fmla="*/ 275857 w 438355"/>
                    <a:gd name="connsiteY6" fmla="*/ 661172 h 661172"/>
                    <a:gd name="connsiteX7" fmla="*/ 371536 w 438355"/>
                    <a:gd name="connsiteY7" fmla="*/ 661172 h 661172"/>
                    <a:gd name="connsiteX8" fmla="*/ 371536 w 438355"/>
                    <a:gd name="connsiteY8" fmla="*/ 607873 h 661172"/>
                    <a:gd name="connsiteX9" fmla="*/ 438355 w 438355"/>
                    <a:gd name="connsiteY9" fmla="*/ 607873 h 661172"/>
                    <a:gd name="connsiteX10" fmla="*/ 438355 w 438355"/>
                    <a:gd name="connsiteY10" fmla="*/ 0 h 661172"/>
                    <a:gd name="connsiteX11" fmla="*/ 0 w 438355"/>
                    <a:gd name="connsiteY11" fmla="*/ 0 h 66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8355" h="661172">
                      <a:moveTo>
                        <a:pt x="0" y="607873"/>
                      </a:moveTo>
                      <a:lnTo>
                        <a:pt x="65779" y="607873"/>
                      </a:lnTo>
                      <a:lnTo>
                        <a:pt x="65779" y="661172"/>
                      </a:lnTo>
                      <a:lnTo>
                        <a:pt x="161458" y="661172"/>
                      </a:lnTo>
                      <a:lnTo>
                        <a:pt x="161458" y="607873"/>
                      </a:lnTo>
                      <a:lnTo>
                        <a:pt x="275857" y="607873"/>
                      </a:lnTo>
                      <a:lnTo>
                        <a:pt x="275857" y="661172"/>
                      </a:lnTo>
                      <a:lnTo>
                        <a:pt x="371536" y="661172"/>
                      </a:lnTo>
                      <a:lnTo>
                        <a:pt x="371536" y="607873"/>
                      </a:lnTo>
                      <a:lnTo>
                        <a:pt x="438355" y="607873"/>
                      </a:lnTo>
                      <a:lnTo>
                        <a:pt x="438355" y="0"/>
                      </a:lnTo>
                      <a:lnTo>
                        <a:pt x="0" y="0"/>
                      </a:lnTo>
                      <a:close/>
                    </a:path>
                  </a:pathLst>
                </a:custGeom>
                <a:solidFill>
                  <a:srgbClr val="0069FF"/>
                </a:solidFill>
                <a:ln w="2597" cap="flat">
                  <a:noFill/>
                  <a:prstDash val="solid"/>
                  <a:miter/>
                </a:ln>
              </p:spPr>
              <p:txBody>
                <a:bodyPr rtlCol="0" anchor="ctr"/>
                <a:lstStyle/>
                <a:p>
                  <a:endParaRPr lang="en-GB"/>
                </a:p>
              </p:txBody>
            </p:sp>
            <p:sp>
              <p:nvSpPr>
                <p:cNvPr id="222" name="Freeform: Shape 221">
                  <a:extLst>
                    <a:ext uri="{FF2B5EF4-FFF2-40B4-BE49-F238E27FC236}">
                      <a16:creationId xmlns:a16="http://schemas.microsoft.com/office/drawing/2014/main" id="{6CEAC3F7-DF99-BB98-91BB-5513E15F30BC}"/>
                    </a:ext>
                  </a:extLst>
                </p:cNvPr>
                <p:cNvSpPr/>
                <p:nvPr/>
              </p:nvSpPr>
              <p:spPr>
                <a:xfrm>
                  <a:off x="6050403" y="4731457"/>
                  <a:ext cx="448754" cy="671572"/>
                </a:xfrm>
                <a:custGeom>
                  <a:avLst/>
                  <a:gdLst>
                    <a:gd name="connsiteX0" fmla="*/ 376216 w 448754"/>
                    <a:gd name="connsiteY0" fmla="*/ 671572 h 671572"/>
                    <a:gd name="connsiteX1" fmla="*/ 280796 w 448754"/>
                    <a:gd name="connsiteY1" fmla="*/ 671572 h 671572"/>
                    <a:gd name="connsiteX2" fmla="*/ 275597 w 448754"/>
                    <a:gd name="connsiteY2" fmla="*/ 666372 h 671572"/>
                    <a:gd name="connsiteX3" fmla="*/ 275597 w 448754"/>
                    <a:gd name="connsiteY3" fmla="*/ 618533 h 671572"/>
                    <a:gd name="connsiteX4" fmla="*/ 171598 w 448754"/>
                    <a:gd name="connsiteY4" fmla="*/ 618533 h 671572"/>
                    <a:gd name="connsiteX5" fmla="*/ 171598 w 448754"/>
                    <a:gd name="connsiteY5" fmla="*/ 666372 h 671572"/>
                    <a:gd name="connsiteX6" fmla="*/ 166398 w 448754"/>
                    <a:gd name="connsiteY6" fmla="*/ 671572 h 671572"/>
                    <a:gd name="connsiteX7" fmla="*/ 70979 w 448754"/>
                    <a:gd name="connsiteY7" fmla="*/ 671572 h 671572"/>
                    <a:gd name="connsiteX8" fmla="*/ 65779 w 448754"/>
                    <a:gd name="connsiteY8" fmla="*/ 666372 h 671572"/>
                    <a:gd name="connsiteX9" fmla="*/ 65779 w 448754"/>
                    <a:gd name="connsiteY9" fmla="*/ 618533 h 671572"/>
                    <a:gd name="connsiteX10" fmla="*/ 5200 w 448754"/>
                    <a:gd name="connsiteY10" fmla="*/ 618533 h 671572"/>
                    <a:gd name="connsiteX11" fmla="*/ 0 w 448754"/>
                    <a:gd name="connsiteY11" fmla="*/ 613333 h 671572"/>
                    <a:gd name="connsiteX12" fmla="*/ 0 w 448754"/>
                    <a:gd name="connsiteY12" fmla="*/ 5200 h 671572"/>
                    <a:gd name="connsiteX13" fmla="*/ 5200 w 448754"/>
                    <a:gd name="connsiteY13" fmla="*/ 0 h 671572"/>
                    <a:gd name="connsiteX14" fmla="*/ 443555 w 448754"/>
                    <a:gd name="connsiteY14" fmla="*/ 0 h 671572"/>
                    <a:gd name="connsiteX15" fmla="*/ 448755 w 448754"/>
                    <a:gd name="connsiteY15" fmla="*/ 5200 h 671572"/>
                    <a:gd name="connsiteX16" fmla="*/ 448755 w 448754"/>
                    <a:gd name="connsiteY16" fmla="*/ 613333 h 671572"/>
                    <a:gd name="connsiteX17" fmla="*/ 443555 w 448754"/>
                    <a:gd name="connsiteY17" fmla="*/ 618533 h 671572"/>
                    <a:gd name="connsiteX18" fmla="*/ 381936 w 448754"/>
                    <a:gd name="connsiteY18" fmla="*/ 618533 h 671572"/>
                    <a:gd name="connsiteX19" fmla="*/ 381936 w 448754"/>
                    <a:gd name="connsiteY19" fmla="*/ 666372 h 671572"/>
                    <a:gd name="connsiteX20" fmla="*/ 376216 w 448754"/>
                    <a:gd name="connsiteY20" fmla="*/ 671572 h 671572"/>
                    <a:gd name="connsiteX21" fmla="*/ 285996 w 448754"/>
                    <a:gd name="connsiteY21" fmla="*/ 660912 h 671572"/>
                    <a:gd name="connsiteX22" fmla="*/ 371016 w 448754"/>
                    <a:gd name="connsiteY22" fmla="*/ 660912 h 671572"/>
                    <a:gd name="connsiteX23" fmla="*/ 371016 w 448754"/>
                    <a:gd name="connsiteY23" fmla="*/ 613073 h 671572"/>
                    <a:gd name="connsiteX24" fmla="*/ 376216 w 448754"/>
                    <a:gd name="connsiteY24" fmla="*/ 607873 h 671572"/>
                    <a:gd name="connsiteX25" fmla="*/ 437835 w 448754"/>
                    <a:gd name="connsiteY25" fmla="*/ 607873 h 671572"/>
                    <a:gd name="connsiteX26" fmla="*/ 437835 w 448754"/>
                    <a:gd name="connsiteY26" fmla="*/ 10400 h 671572"/>
                    <a:gd name="connsiteX27" fmla="*/ 10140 w 448754"/>
                    <a:gd name="connsiteY27" fmla="*/ 10400 h 671572"/>
                    <a:gd name="connsiteX28" fmla="*/ 10140 w 448754"/>
                    <a:gd name="connsiteY28" fmla="*/ 607873 h 671572"/>
                    <a:gd name="connsiteX29" fmla="*/ 70719 w 448754"/>
                    <a:gd name="connsiteY29" fmla="*/ 607873 h 671572"/>
                    <a:gd name="connsiteX30" fmla="*/ 75919 w 448754"/>
                    <a:gd name="connsiteY30" fmla="*/ 613073 h 671572"/>
                    <a:gd name="connsiteX31" fmla="*/ 75919 w 448754"/>
                    <a:gd name="connsiteY31" fmla="*/ 660912 h 671572"/>
                    <a:gd name="connsiteX32" fmla="*/ 160938 w 448754"/>
                    <a:gd name="connsiteY32" fmla="*/ 660912 h 671572"/>
                    <a:gd name="connsiteX33" fmla="*/ 160938 w 448754"/>
                    <a:gd name="connsiteY33" fmla="*/ 613073 h 671572"/>
                    <a:gd name="connsiteX34" fmla="*/ 166138 w 448754"/>
                    <a:gd name="connsiteY34" fmla="*/ 607873 h 671572"/>
                    <a:gd name="connsiteX35" fmla="*/ 280796 w 448754"/>
                    <a:gd name="connsiteY35" fmla="*/ 607873 h 671572"/>
                    <a:gd name="connsiteX36" fmla="*/ 285996 w 448754"/>
                    <a:gd name="connsiteY36" fmla="*/ 613073 h 671572"/>
                    <a:gd name="connsiteX37" fmla="*/ 285996 w 448754"/>
                    <a:gd name="connsiteY37" fmla="*/ 660912 h 671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48754" h="671572">
                      <a:moveTo>
                        <a:pt x="376216" y="671572"/>
                      </a:moveTo>
                      <a:lnTo>
                        <a:pt x="280796" y="671572"/>
                      </a:lnTo>
                      <a:cubicBezTo>
                        <a:pt x="277677" y="671572"/>
                        <a:pt x="275597" y="669492"/>
                        <a:pt x="275597" y="666372"/>
                      </a:cubicBezTo>
                      <a:lnTo>
                        <a:pt x="275597" y="618533"/>
                      </a:lnTo>
                      <a:lnTo>
                        <a:pt x="171598" y="618533"/>
                      </a:lnTo>
                      <a:lnTo>
                        <a:pt x="171598" y="666372"/>
                      </a:lnTo>
                      <a:cubicBezTo>
                        <a:pt x="171598" y="669492"/>
                        <a:pt x="169518" y="671572"/>
                        <a:pt x="166398" y="671572"/>
                      </a:cubicBezTo>
                      <a:lnTo>
                        <a:pt x="70979" y="671572"/>
                      </a:lnTo>
                      <a:cubicBezTo>
                        <a:pt x="67859" y="671572"/>
                        <a:pt x="65779" y="669492"/>
                        <a:pt x="65779" y="666372"/>
                      </a:cubicBezTo>
                      <a:lnTo>
                        <a:pt x="65779" y="618533"/>
                      </a:lnTo>
                      <a:lnTo>
                        <a:pt x="5200" y="618533"/>
                      </a:lnTo>
                      <a:cubicBezTo>
                        <a:pt x="2080" y="618533"/>
                        <a:pt x="0" y="616453"/>
                        <a:pt x="0" y="613333"/>
                      </a:cubicBezTo>
                      <a:lnTo>
                        <a:pt x="0" y="5200"/>
                      </a:lnTo>
                      <a:cubicBezTo>
                        <a:pt x="0" y="2080"/>
                        <a:pt x="2080" y="0"/>
                        <a:pt x="5200" y="0"/>
                      </a:cubicBezTo>
                      <a:lnTo>
                        <a:pt x="443555" y="0"/>
                      </a:lnTo>
                      <a:cubicBezTo>
                        <a:pt x="446675" y="0"/>
                        <a:pt x="448755" y="2080"/>
                        <a:pt x="448755" y="5200"/>
                      </a:cubicBezTo>
                      <a:lnTo>
                        <a:pt x="448755" y="613333"/>
                      </a:lnTo>
                      <a:cubicBezTo>
                        <a:pt x="448755" y="616453"/>
                        <a:pt x="446675" y="618533"/>
                        <a:pt x="443555" y="618533"/>
                      </a:cubicBezTo>
                      <a:lnTo>
                        <a:pt x="381936" y="618533"/>
                      </a:lnTo>
                      <a:lnTo>
                        <a:pt x="381936" y="666372"/>
                      </a:lnTo>
                      <a:cubicBezTo>
                        <a:pt x="381416" y="669492"/>
                        <a:pt x="379336" y="671572"/>
                        <a:pt x="376216" y="671572"/>
                      </a:cubicBezTo>
                      <a:close/>
                      <a:moveTo>
                        <a:pt x="285996" y="660912"/>
                      </a:moveTo>
                      <a:lnTo>
                        <a:pt x="371016" y="660912"/>
                      </a:lnTo>
                      <a:lnTo>
                        <a:pt x="371016" y="613073"/>
                      </a:lnTo>
                      <a:cubicBezTo>
                        <a:pt x="371016" y="609953"/>
                        <a:pt x="373095" y="607873"/>
                        <a:pt x="376216" y="607873"/>
                      </a:cubicBezTo>
                      <a:lnTo>
                        <a:pt x="437835" y="607873"/>
                      </a:lnTo>
                      <a:lnTo>
                        <a:pt x="437835" y="10400"/>
                      </a:lnTo>
                      <a:lnTo>
                        <a:pt x="10140" y="10400"/>
                      </a:lnTo>
                      <a:lnTo>
                        <a:pt x="10140" y="607873"/>
                      </a:lnTo>
                      <a:lnTo>
                        <a:pt x="70719" y="607873"/>
                      </a:lnTo>
                      <a:cubicBezTo>
                        <a:pt x="73839" y="607873"/>
                        <a:pt x="75919" y="609953"/>
                        <a:pt x="75919" y="613073"/>
                      </a:cubicBezTo>
                      <a:lnTo>
                        <a:pt x="75919" y="660912"/>
                      </a:lnTo>
                      <a:lnTo>
                        <a:pt x="160938" y="660912"/>
                      </a:lnTo>
                      <a:lnTo>
                        <a:pt x="160938" y="613073"/>
                      </a:lnTo>
                      <a:cubicBezTo>
                        <a:pt x="160938" y="609953"/>
                        <a:pt x="163018" y="607873"/>
                        <a:pt x="166138" y="607873"/>
                      </a:cubicBezTo>
                      <a:lnTo>
                        <a:pt x="280796" y="607873"/>
                      </a:lnTo>
                      <a:cubicBezTo>
                        <a:pt x="283917" y="607873"/>
                        <a:pt x="285996" y="609953"/>
                        <a:pt x="285996" y="613073"/>
                      </a:cubicBezTo>
                      <a:lnTo>
                        <a:pt x="285996" y="660912"/>
                      </a:lnTo>
                      <a:close/>
                    </a:path>
                  </a:pathLst>
                </a:custGeom>
                <a:solidFill>
                  <a:srgbClr val="0069FF"/>
                </a:solidFill>
                <a:ln w="2597" cap="flat">
                  <a:noFill/>
                  <a:prstDash val="solid"/>
                  <a:miter/>
                </a:ln>
              </p:spPr>
              <p:txBody>
                <a:bodyPr rtlCol="0" anchor="ctr"/>
                <a:lstStyle/>
                <a:p>
                  <a:endParaRPr lang="en-GB"/>
                </a:p>
              </p:txBody>
            </p:sp>
          </p:grpSp>
          <p:grpSp>
            <p:nvGrpSpPr>
              <p:cNvPr id="218" name="Graphic 6">
                <a:extLst>
                  <a:ext uri="{FF2B5EF4-FFF2-40B4-BE49-F238E27FC236}">
                    <a16:creationId xmlns:a16="http://schemas.microsoft.com/office/drawing/2014/main" id="{BC359C0C-486A-CBB9-925F-575BC561317E}"/>
                  </a:ext>
                </a:extLst>
              </p:cNvPr>
              <p:cNvGrpSpPr/>
              <p:nvPr/>
            </p:nvGrpSpPr>
            <p:grpSpPr>
              <a:xfrm>
                <a:off x="6485119" y="4863536"/>
                <a:ext cx="424834" cy="468514"/>
                <a:chOff x="6485119" y="4863536"/>
                <a:chExt cx="424834" cy="468514"/>
              </a:xfrm>
              <a:solidFill>
                <a:srgbClr val="0069FF"/>
              </a:solidFill>
            </p:grpSpPr>
            <p:sp>
              <p:nvSpPr>
                <p:cNvPr id="219" name="Freeform: Shape 218">
                  <a:extLst>
                    <a:ext uri="{FF2B5EF4-FFF2-40B4-BE49-F238E27FC236}">
                      <a16:creationId xmlns:a16="http://schemas.microsoft.com/office/drawing/2014/main" id="{1CF6C8B4-681D-C5BC-9C56-7E63DE138969}"/>
                    </a:ext>
                  </a:extLst>
                </p:cNvPr>
                <p:cNvSpPr/>
                <p:nvPr/>
              </p:nvSpPr>
              <p:spPr>
                <a:xfrm>
                  <a:off x="6490319" y="4868216"/>
                  <a:ext cx="413915" cy="458374"/>
                </a:xfrm>
                <a:custGeom>
                  <a:avLst/>
                  <a:gdLst>
                    <a:gd name="connsiteX0" fmla="*/ 339556 w 413915"/>
                    <a:gd name="connsiteY0" fmla="*/ 360876 h 458374"/>
                    <a:gd name="connsiteX1" fmla="*/ 394675 w 413915"/>
                    <a:gd name="connsiteY1" fmla="*/ 225937 h 458374"/>
                    <a:gd name="connsiteX2" fmla="*/ 392595 w 413915"/>
                    <a:gd name="connsiteY2" fmla="*/ 0 h 458374"/>
                    <a:gd name="connsiteX3" fmla="*/ 88139 w 413915"/>
                    <a:gd name="connsiteY3" fmla="*/ 0 h 458374"/>
                    <a:gd name="connsiteX4" fmla="*/ 88139 w 413915"/>
                    <a:gd name="connsiteY4" fmla="*/ 225937 h 458374"/>
                    <a:gd name="connsiteX5" fmla="*/ 143258 w 413915"/>
                    <a:gd name="connsiteY5" fmla="*/ 360876 h 458374"/>
                    <a:gd name="connsiteX6" fmla="*/ 70979 w 413915"/>
                    <a:gd name="connsiteY6" fmla="*/ 360876 h 458374"/>
                    <a:gd name="connsiteX7" fmla="*/ 70979 w 413915"/>
                    <a:gd name="connsiteY7" fmla="*/ 419115 h 458374"/>
                    <a:gd name="connsiteX8" fmla="*/ 0 w 413915"/>
                    <a:gd name="connsiteY8" fmla="*/ 419115 h 458374"/>
                    <a:gd name="connsiteX9" fmla="*/ 0 w 413915"/>
                    <a:gd name="connsiteY9" fmla="*/ 458375 h 458374"/>
                    <a:gd name="connsiteX10" fmla="*/ 70979 w 413915"/>
                    <a:gd name="connsiteY10" fmla="*/ 458375 h 458374"/>
                    <a:gd name="connsiteX11" fmla="*/ 413915 w 413915"/>
                    <a:gd name="connsiteY11" fmla="*/ 458375 h 458374"/>
                    <a:gd name="connsiteX12" fmla="*/ 413915 w 413915"/>
                    <a:gd name="connsiteY12" fmla="*/ 360876 h 458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915" h="458374">
                      <a:moveTo>
                        <a:pt x="339556" y="360876"/>
                      </a:moveTo>
                      <a:lnTo>
                        <a:pt x="394675" y="225937"/>
                      </a:lnTo>
                      <a:lnTo>
                        <a:pt x="392595" y="0"/>
                      </a:lnTo>
                      <a:lnTo>
                        <a:pt x="88139" y="0"/>
                      </a:lnTo>
                      <a:lnTo>
                        <a:pt x="88139" y="225937"/>
                      </a:lnTo>
                      <a:lnTo>
                        <a:pt x="143258" y="360876"/>
                      </a:lnTo>
                      <a:lnTo>
                        <a:pt x="70979" y="360876"/>
                      </a:lnTo>
                      <a:lnTo>
                        <a:pt x="70979" y="419115"/>
                      </a:lnTo>
                      <a:lnTo>
                        <a:pt x="0" y="419115"/>
                      </a:lnTo>
                      <a:lnTo>
                        <a:pt x="0" y="458375"/>
                      </a:lnTo>
                      <a:lnTo>
                        <a:pt x="70979" y="458375"/>
                      </a:lnTo>
                      <a:lnTo>
                        <a:pt x="413915" y="458375"/>
                      </a:lnTo>
                      <a:lnTo>
                        <a:pt x="413915" y="360876"/>
                      </a:lnTo>
                      <a:close/>
                    </a:path>
                  </a:pathLst>
                </a:custGeom>
                <a:solidFill>
                  <a:srgbClr val="0069FF"/>
                </a:solidFill>
                <a:ln w="2597" cap="flat">
                  <a:noFill/>
                  <a:prstDash val="solid"/>
                  <a:miter/>
                </a:ln>
              </p:spPr>
              <p:txBody>
                <a:bodyPr rtlCol="0" anchor="ctr"/>
                <a:lstStyle/>
                <a:p>
                  <a:endParaRPr lang="en-GB"/>
                </a:p>
              </p:txBody>
            </p:sp>
            <p:sp>
              <p:nvSpPr>
                <p:cNvPr id="220" name="Freeform: Shape 219">
                  <a:extLst>
                    <a:ext uri="{FF2B5EF4-FFF2-40B4-BE49-F238E27FC236}">
                      <a16:creationId xmlns:a16="http://schemas.microsoft.com/office/drawing/2014/main" id="{857FEDCF-EE63-FD1D-53E6-9BBB258806C8}"/>
                    </a:ext>
                  </a:extLst>
                </p:cNvPr>
                <p:cNvSpPr/>
                <p:nvPr/>
              </p:nvSpPr>
              <p:spPr>
                <a:xfrm>
                  <a:off x="6485119" y="4863536"/>
                  <a:ext cx="424834" cy="468514"/>
                </a:xfrm>
                <a:custGeom>
                  <a:avLst/>
                  <a:gdLst>
                    <a:gd name="connsiteX0" fmla="*/ 419115 w 424834"/>
                    <a:gd name="connsiteY0" fmla="*/ 468515 h 468514"/>
                    <a:gd name="connsiteX1" fmla="*/ 5200 w 424834"/>
                    <a:gd name="connsiteY1" fmla="*/ 468515 h 468514"/>
                    <a:gd name="connsiteX2" fmla="*/ 0 w 424834"/>
                    <a:gd name="connsiteY2" fmla="*/ 463315 h 468514"/>
                    <a:gd name="connsiteX3" fmla="*/ 0 w 424834"/>
                    <a:gd name="connsiteY3" fmla="*/ 424055 h 468514"/>
                    <a:gd name="connsiteX4" fmla="*/ 5200 w 424834"/>
                    <a:gd name="connsiteY4" fmla="*/ 418855 h 468514"/>
                    <a:gd name="connsiteX5" fmla="*/ 70979 w 424834"/>
                    <a:gd name="connsiteY5" fmla="*/ 418855 h 468514"/>
                    <a:gd name="connsiteX6" fmla="*/ 70979 w 424834"/>
                    <a:gd name="connsiteY6" fmla="*/ 365816 h 468514"/>
                    <a:gd name="connsiteX7" fmla="*/ 76179 w 424834"/>
                    <a:gd name="connsiteY7" fmla="*/ 360616 h 468514"/>
                    <a:gd name="connsiteX8" fmla="*/ 140918 w 424834"/>
                    <a:gd name="connsiteY8" fmla="*/ 360616 h 468514"/>
                    <a:gd name="connsiteX9" fmla="*/ 88919 w 424834"/>
                    <a:gd name="connsiteY9" fmla="*/ 233218 h 468514"/>
                    <a:gd name="connsiteX10" fmla="*/ 88919 w 424834"/>
                    <a:gd name="connsiteY10" fmla="*/ 231137 h 468514"/>
                    <a:gd name="connsiteX11" fmla="*/ 88919 w 424834"/>
                    <a:gd name="connsiteY11" fmla="*/ 5200 h 468514"/>
                    <a:gd name="connsiteX12" fmla="*/ 94119 w 424834"/>
                    <a:gd name="connsiteY12" fmla="*/ 0 h 468514"/>
                    <a:gd name="connsiteX13" fmla="*/ 397535 w 424834"/>
                    <a:gd name="connsiteY13" fmla="*/ 0 h 468514"/>
                    <a:gd name="connsiteX14" fmla="*/ 402735 w 424834"/>
                    <a:gd name="connsiteY14" fmla="*/ 5200 h 468514"/>
                    <a:gd name="connsiteX15" fmla="*/ 404815 w 424834"/>
                    <a:gd name="connsiteY15" fmla="*/ 231137 h 468514"/>
                    <a:gd name="connsiteX16" fmla="*/ 404815 w 424834"/>
                    <a:gd name="connsiteY16" fmla="*/ 233218 h 468514"/>
                    <a:gd name="connsiteX17" fmla="*/ 352816 w 424834"/>
                    <a:gd name="connsiteY17" fmla="*/ 360616 h 468514"/>
                    <a:gd name="connsiteX18" fmla="*/ 419635 w 424834"/>
                    <a:gd name="connsiteY18" fmla="*/ 360616 h 468514"/>
                    <a:gd name="connsiteX19" fmla="*/ 424835 w 424834"/>
                    <a:gd name="connsiteY19" fmla="*/ 365816 h 468514"/>
                    <a:gd name="connsiteX20" fmla="*/ 424835 w 424834"/>
                    <a:gd name="connsiteY20" fmla="*/ 463575 h 468514"/>
                    <a:gd name="connsiteX21" fmla="*/ 419115 w 424834"/>
                    <a:gd name="connsiteY21" fmla="*/ 468515 h 468514"/>
                    <a:gd name="connsiteX22" fmla="*/ 10400 w 424834"/>
                    <a:gd name="connsiteY22" fmla="*/ 457855 h 468514"/>
                    <a:gd name="connsiteX23" fmla="*/ 413655 w 424834"/>
                    <a:gd name="connsiteY23" fmla="*/ 457855 h 468514"/>
                    <a:gd name="connsiteX24" fmla="*/ 413655 w 424834"/>
                    <a:gd name="connsiteY24" fmla="*/ 370756 h 468514"/>
                    <a:gd name="connsiteX25" fmla="*/ 344756 w 424834"/>
                    <a:gd name="connsiteY25" fmla="*/ 370756 h 468514"/>
                    <a:gd name="connsiteX26" fmla="*/ 340596 w 424834"/>
                    <a:gd name="connsiteY26" fmla="*/ 368676 h 468514"/>
                    <a:gd name="connsiteX27" fmla="*/ 340596 w 424834"/>
                    <a:gd name="connsiteY27" fmla="*/ 363476 h 468514"/>
                    <a:gd name="connsiteX28" fmla="*/ 395715 w 424834"/>
                    <a:gd name="connsiteY28" fmla="*/ 229837 h 468514"/>
                    <a:gd name="connsiteX29" fmla="*/ 393635 w 424834"/>
                    <a:gd name="connsiteY29" fmla="*/ 10140 h 468514"/>
                    <a:gd name="connsiteX30" fmla="*/ 99578 w 424834"/>
                    <a:gd name="connsiteY30" fmla="*/ 10140 h 468514"/>
                    <a:gd name="connsiteX31" fmla="*/ 99578 w 424834"/>
                    <a:gd name="connsiteY31" fmla="*/ 229837 h 468514"/>
                    <a:gd name="connsiteX32" fmla="*/ 154698 w 424834"/>
                    <a:gd name="connsiteY32" fmla="*/ 363476 h 468514"/>
                    <a:gd name="connsiteX33" fmla="*/ 154698 w 424834"/>
                    <a:gd name="connsiteY33" fmla="*/ 368676 h 468514"/>
                    <a:gd name="connsiteX34" fmla="*/ 150538 w 424834"/>
                    <a:gd name="connsiteY34" fmla="*/ 370756 h 468514"/>
                    <a:gd name="connsiteX35" fmla="*/ 83719 w 424834"/>
                    <a:gd name="connsiteY35" fmla="*/ 370756 h 468514"/>
                    <a:gd name="connsiteX36" fmla="*/ 83719 w 424834"/>
                    <a:gd name="connsiteY36" fmla="*/ 423795 h 468514"/>
                    <a:gd name="connsiteX37" fmla="*/ 78519 w 424834"/>
                    <a:gd name="connsiteY37" fmla="*/ 428995 h 468514"/>
                    <a:gd name="connsiteX38" fmla="*/ 12740 w 424834"/>
                    <a:gd name="connsiteY38" fmla="*/ 428995 h 468514"/>
                    <a:gd name="connsiteX39" fmla="*/ 12740 w 424834"/>
                    <a:gd name="connsiteY39" fmla="*/ 457595 h 468514"/>
                    <a:gd name="connsiteX40" fmla="*/ 10400 w 424834"/>
                    <a:gd name="connsiteY40" fmla="*/ 457855 h 468514"/>
                    <a:gd name="connsiteX41" fmla="*/ 10400 w 424834"/>
                    <a:gd name="connsiteY41" fmla="*/ 457855 h 468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24834" h="468514">
                      <a:moveTo>
                        <a:pt x="419115" y="468515"/>
                      </a:moveTo>
                      <a:lnTo>
                        <a:pt x="5200" y="468515"/>
                      </a:lnTo>
                      <a:cubicBezTo>
                        <a:pt x="2079" y="468515"/>
                        <a:pt x="0" y="466435"/>
                        <a:pt x="0" y="463315"/>
                      </a:cubicBezTo>
                      <a:lnTo>
                        <a:pt x="0" y="424055"/>
                      </a:lnTo>
                      <a:cubicBezTo>
                        <a:pt x="0" y="420935"/>
                        <a:pt x="2079" y="418855"/>
                        <a:pt x="5200" y="418855"/>
                      </a:cubicBezTo>
                      <a:lnTo>
                        <a:pt x="70979" y="418855"/>
                      </a:lnTo>
                      <a:lnTo>
                        <a:pt x="70979" y="365816"/>
                      </a:lnTo>
                      <a:cubicBezTo>
                        <a:pt x="70979" y="362696"/>
                        <a:pt x="73059" y="360616"/>
                        <a:pt x="76179" y="360616"/>
                      </a:cubicBezTo>
                      <a:lnTo>
                        <a:pt x="140918" y="360616"/>
                      </a:lnTo>
                      <a:lnTo>
                        <a:pt x="88919" y="233218"/>
                      </a:lnTo>
                      <a:cubicBezTo>
                        <a:pt x="88919" y="232177"/>
                        <a:pt x="88919" y="232177"/>
                        <a:pt x="88919" y="231137"/>
                      </a:cubicBezTo>
                      <a:lnTo>
                        <a:pt x="88919" y="5200"/>
                      </a:lnTo>
                      <a:cubicBezTo>
                        <a:pt x="88919" y="2080"/>
                        <a:pt x="90999" y="0"/>
                        <a:pt x="94119" y="0"/>
                      </a:cubicBezTo>
                      <a:lnTo>
                        <a:pt x="397535" y="0"/>
                      </a:lnTo>
                      <a:cubicBezTo>
                        <a:pt x="400655" y="0"/>
                        <a:pt x="402735" y="2080"/>
                        <a:pt x="402735" y="5200"/>
                      </a:cubicBezTo>
                      <a:lnTo>
                        <a:pt x="404815" y="231137"/>
                      </a:lnTo>
                      <a:cubicBezTo>
                        <a:pt x="404815" y="232177"/>
                        <a:pt x="404815" y="232177"/>
                        <a:pt x="404815" y="233218"/>
                      </a:cubicBezTo>
                      <a:lnTo>
                        <a:pt x="352816" y="360616"/>
                      </a:lnTo>
                      <a:lnTo>
                        <a:pt x="419635" y="360616"/>
                      </a:lnTo>
                      <a:cubicBezTo>
                        <a:pt x="422755" y="360616"/>
                        <a:pt x="424835" y="362696"/>
                        <a:pt x="424835" y="365816"/>
                      </a:cubicBezTo>
                      <a:lnTo>
                        <a:pt x="424835" y="463575"/>
                      </a:lnTo>
                      <a:cubicBezTo>
                        <a:pt x="424315" y="466175"/>
                        <a:pt x="422235" y="468515"/>
                        <a:pt x="419115" y="468515"/>
                      </a:cubicBezTo>
                      <a:close/>
                      <a:moveTo>
                        <a:pt x="10400" y="457855"/>
                      </a:moveTo>
                      <a:lnTo>
                        <a:pt x="413655" y="457855"/>
                      </a:lnTo>
                      <a:lnTo>
                        <a:pt x="413655" y="370756"/>
                      </a:lnTo>
                      <a:lnTo>
                        <a:pt x="344756" y="370756"/>
                      </a:lnTo>
                      <a:cubicBezTo>
                        <a:pt x="342676" y="370756"/>
                        <a:pt x="341636" y="369716"/>
                        <a:pt x="340596" y="368676"/>
                      </a:cubicBezTo>
                      <a:cubicBezTo>
                        <a:pt x="339556" y="367636"/>
                        <a:pt x="339556" y="365556"/>
                        <a:pt x="340596" y="363476"/>
                      </a:cubicBezTo>
                      <a:lnTo>
                        <a:pt x="395715" y="229837"/>
                      </a:lnTo>
                      <a:lnTo>
                        <a:pt x="393635" y="10140"/>
                      </a:lnTo>
                      <a:lnTo>
                        <a:pt x="99578" y="10140"/>
                      </a:lnTo>
                      <a:lnTo>
                        <a:pt x="99578" y="229837"/>
                      </a:lnTo>
                      <a:lnTo>
                        <a:pt x="154698" y="363476"/>
                      </a:lnTo>
                      <a:cubicBezTo>
                        <a:pt x="155738" y="365556"/>
                        <a:pt x="154698" y="366596"/>
                        <a:pt x="154698" y="368676"/>
                      </a:cubicBezTo>
                      <a:cubicBezTo>
                        <a:pt x="153658" y="369716"/>
                        <a:pt x="152618" y="370756"/>
                        <a:pt x="150538" y="370756"/>
                      </a:cubicBezTo>
                      <a:lnTo>
                        <a:pt x="83719" y="370756"/>
                      </a:lnTo>
                      <a:lnTo>
                        <a:pt x="83719" y="423795"/>
                      </a:lnTo>
                      <a:cubicBezTo>
                        <a:pt x="83719" y="426915"/>
                        <a:pt x="81639" y="428995"/>
                        <a:pt x="78519" y="428995"/>
                      </a:cubicBezTo>
                      <a:lnTo>
                        <a:pt x="12740" y="428995"/>
                      </a:lnTo>
                      <a:lnTo>
                        <a:pt x="12740" y="457595"/>
                      </a:lnTo>
                      <a:lnTo>
                        <a:pt x="10400" y="457855"/>
                      </a:lnTo>
                      <a:lnTo>
                        <a:pt x="10400" y="457855"/>
                      </a:lnTo>
                      <a:close/>
                    </a:path>
                  </a:pathLst>
                </a:custGeom>
                <a:solidFill>
                  <a:srgbClr val="0069FF"/>
                </a:solidFill>
                <a:ln w="2597" cap="flat">
                  <a:noFill/>
                  <a:prstDash val="solid"/>
                  <a:miter/>
                </a:ln>
              </p:spPr>
              <p:txBody>
                <a:bodyPr rtlCol="0" anchor="ctr"/>
                <a:lstStyle/>
                <a:p>
                  <a:endParaRPr lang="en-GB"/>
                </a:p>
              </p:txBody>
            </p:sp>
          </p:grpSp>
        </p:grpSp>
        <p:grpSp>
          <p:nvGrpSpPr>
            <p:cNvPr id="196" name="Graphic 6">
              <a:extLst>
                <a:ext uri="{FF2B5EF4-FFF2-40B4-BE49-F238E27FC236}">
                  <a16:creationId xmlns:a16="http://schemas.microsoft.com/office/drawing/2014/main" id="{7AC04C55-EBBF-925C-FD78-55FE3FB4A703}"/>
                </a:ext>
              </a:extLst>
            </p:cNvPr>
            <p:cNvGrpSpPr/>
            <p:nvPr/>
          </p:nvGrpSpPr>
          <p:grpSpPr>
            <a:xfrm>
              <a:off x="6019984" y="4698178"/>
              <a:ext cx="871509" cy="678332"/>
              <a:chOff x="6019984" y="4698178"/>
              <a:chExt cx="871509" cy="678332"/>
            </a:xfrm>
          </p:grpSpPr>
          <p:sp>
            <p:nvSpPr>
              <p:cNvPr id="197" name="Freeform: Shape 196">
                <a:extLst>
                  <a:ext uri="{FF2B5EF4-FFF2-40B4-BE49-F238E27FC236}">
                    <a16:creationId xmlns:a16="http://schemas.microsoft.com/office/drawing/2014/main" id="{D55F2B79-4171-CE66-5554-59B102A98A4F}"/>
                  </a:ext>
                </a:extLst>
              </p:cNvPr>
              <p:cNvSpPr/>
              <p:nvPr/>
            </p:nvSpPr>
            <p:spPr>
              <a:xfrm>
                <a:off x="6019984" y="4698178"/>
                <a:ext cx="456554" cy="625292"/>
              </a:xfrm>
              <a:custGeom>
                <a:avLst/>
                <a:gdLst>
                  <a:gd name="connsiteX0" fmla="*/ 447975 w 456554"/>
                  <a:gd name="connsiteY0" fmla="*/ 625293 h 625292"/>
                  <a:gd name="connsiteX1" fmla="*/ 8580 w 456554"/>
                  <a:gd name="connsiteY1" fmla="*/ 625293 h 625292"/>
                  <a:gd name="connsiteX2" fmla="*/ 0 w 456554"/>
                  <a:gd name="connsiteY2" fmla="*/ 616713 h 625292"/>
                  <a:gd name="connsiteX3" fmla="*/ 0 w 456554"/>
                  <a:gd name="connsiteY3" fmla="*/ 8580 h 625292"/>
                  <a:gd name="connsiteX4" fmla="*/ 8580 w 456554"/>
                  <a:gd name="connsiteY4" fmla="*/ 0 h 625292"/>
                  <a:gd name="connsiteX5" fmla="*/ 447975 w 456554"/>
                  <a:gd name="connsiteY5" fmla="*/ 0 h 625292"/>
                  <a:gd name="connsiteX6" fmla="*/ 456555 w 456554"/>
                  <a:gd name="connsiteY6" fmla="*/ 8580 h 625292"/>
                  <a:gd name="connsiteX7" fmla="*/ 456555 w 456554"/>
                  <a:gd name="connsiteY7" fmla="*/ 616713 h 625292"/>
                  <a:gd name="connsiteX8" fmla="*/ 447975 w 456554"/>
                  <a:gd name="connsiteY8" fmla="*/ 625293 h 625292"/>
                  <a:gd name="connsiteX9" fmla="*/ 16120 w 456554"/>
                  <a:gd name="connsiteY9" fmla="*/ 610473 h 625292"/>
                  <a:gd name="connsiteX10" fmla="*/ 439655 w 456554"/>
                  <a:gd name="connsiteY10" fmla="*/ 610473 h 625292"/>
                  <a:gd name="connsiteX11" fmla="*/ 439655 w 456554"/>
                  <a:gd name="connsiteY11" fmla="*/ 18200 h 625292"/>
                  <a:gd name="connsiteX12" fmla="*/ 16120 w 456554"/>
                  <a:gd name="connsiteY12" fmla="*/ 18200 h 625292"/>
                  <a:gd name="connsiteX13" fmla="*/ 16120 w 456554"/>
                  <a:gd name="connsiteY13" fmla="*/ 610473 h 62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6554" h="625292">
                    <a:moveTo>
                      <a:pt x="447975" y="625293"/>
                    </a:moveTo>
                    <a:lnTo>
                      <a:pt x="8580" y="625293"/>
                    </a:lnTo>
                    <a:cubicBezTo>
                      <a:pt x="4420" y="625293"/>
                      <a:pt x="0" y="622173"/>
                      <a:pt x="0" y="616713"/>
                    </a:cubicBezTo>
                    <a:lnTo>
                      <a:pt x="0" y="8580"/>
                    </a:lnTo>
                    <a:cubicBezTo>
                      <a:pt x="0" y="4420"/>
                      <a:pt x="3120" y="0"/>
                      <a:pt x="8580" y="0"/>
                    </a:cubicBezTo>
                    <a:lnTo>
                      <a:pt x="447975" y="0"/>
                    </a:lnTo>
                    <a:cubicBezTo>
                      <a:pt x="452135" y="0"/>
                      <a:pt x="456555" y="3120"/>
                      <a:pt x="456555" y="8580"/>
                    </a:cubicBezTo>
                    <a:lnTo>
                      <a:pt x="456555" y="616713"/>
                    </a:lnTo>
                    <a:cubicBezTo>
                      <a:pt x="456555" y="622173"/>
                      <a:pt x="452135" y="625293"/>
                      <a:pt x="447975" y="625293"/>
                    </a:cubicBezTo>
                    <a:close/>
                    <a:moveTo>
                      <a:pt x="16120" y="610473"/>
                    </a:moveTo>
                    <a:lnTo>
                      <a:pt x="439655" y="610473"/>
                    </a:lnTo>
                    <a:lnTo>
                      <a:pt x="439655" y="18200"/>
                    </a:lnTo>
                    <a:lnTo>
                      <a:pt x="16120" y="18200"/>
                    </a:lnTo>
                    <a:lnTo>
                      <a:pt x="16120" y="610473"/>
                    </a:lnTo>
                    <a:close/>
                  </a:path>
                </a:pathLst>
              </a:custGeom>
              <a:solidFill>
                <a:srgbClr val="00005A"/>
              </a:solidFill>
              <a:ln w="2597" cap="flat">
                <a:noFill/>
                <a:prstDash val="solid"/>
                <a:miter/>
              </a:ln>
            </p:spPr>
            <p:txBody>
              <a:bodyPr rtlCol="0" anchor="ctr"/>
              <a:lstStyle/>
              <a:p>
                <a:endParaRPr lang="en-GB"/>
              </a:p>
            </p:txBody>
          </p:sp>
          <p:grpSp>
            <p:nvGrpSpPr>
              <p:cNvPr id="198" name="Graphic 6">
                <a:extLst>
                  <a:ext uri="{FF2B5EF4-FFF2-40B4-BE49-F238E27FC236}">
                    <a16:creationId xmlns:a16="http://schemas.microsoft.com/office/drawing/2014/main" id="{563034A5-2BF5-28D1-37C9-7E077A1A0702}"/>
                  </a:ext>
                </a:extLst>
              </p:cNvPr>
              <p:cNvGrpSpPr/>
              <p:nvPr/>
            </p:nvGrpSpPr>
            <p:grpSpPr>
              <a:xfrm>
                <a:off x="6087063" y="5306311"/>
                <a:ext cx="323696" cy="70199"/>
                <a:chOff x="6087063" y="5306311"/>
                <a:chExt cx="323696" cy="70199"/>
              </a:xfrm>
              <a:solidFill>
                <a:srgbClr val="00005A"/>
              </a:solidFill>
            </p:grpSpPr>
            <p:sp>
              <p:nvSpPr>
                <p:cNvPr id="215" name="Freeform: Shape 214">
                  <a:extLst>
                    <a:ext uri="{FF2B5EF4-FFF2-40B4-BE49-F238E27FC236}">
                      <a16:creationId xmlns:a16="http://schemas.microsoft.com/office/drawing/2014/main" id="{E8C1523A-FE1C-CA1F-E48F-5EBA6BC0CF9B}"/>
                    </a:ext>
                  </a:extLst>
                </p:cNvPr>
                <p:cNvSpPr/>
                <p:nvPr/>
              </p:nvSpPr>
              <p:spPr>
                <a:xfrm>
                  <a:off x="6298180" y="5306311"/>
                  <a:ext cx="112578" cy="70199"/>
                </a:xfrm>
                <a:custGeom>
                  <a:avLst/>
                  <a:gdLst>
                    <a:gd name="connsiteX0" fmla="*/ 103999 w 112578"/>
                    <a:gd name="connsiteY0" fmla="*/ 70199 h 70199"/>
                    <a:gd name="connsiteX1" fmla="*/ 8580 w 112578"/>
                    <a:gd name="connsiteY1" fmla="*/ 70199 h 70199"/>
                    <a:gd name="connsiteX2" fmla="*/ 0 w 112578"/>
                    <a:gd name="connsiteY2" fmla="*/ 61619 h 70199"/>
                    <a:gd name="connsiteX3" fmla="*/ 0 w 112578"/>
                    <a:gd name="connsiteY3" fmla="*/ 8580 h 70199"/>
                    <a:gd name="connsiteX4" fmla="*/ 8580 w 112578"/>
                    <a:gd name="connsiteY4" fmla="*/ 0 h 70199"/>
                    <a:gd name="connsiteX5" fmla="*/ 103999 w 112578"/>
                    <a:gd name="connsiteY5" fmla="*/ 0 h 70199"/>
                    <a:gd name="connsiteX6" fmla="*/ 112579 w 112578"/>
                    <a:gd name="connsiteY6" fmla="*/ 8580 h 70199"/>
                    <a:gd name="connsiteX7" fmla="*/ 112579 w 112578"/>
                    <a:gd name="connsiteY7" fmla="*/ 61619 h 70199"/>
                    <a:gd name="connsiteX8" fmla="*/ 103999 w 112578"/>
                    <a:gd name="connsiteY8" fmla="*/ 70199 h 70199"/>
                    <a:gd name="connsiteX9" fmla="*/ 16900 w 112578"/>
                    <a:gd name="connsiteY9" fmla="*/ 55379 h 70199"/>
                    <a:gd name="connsiteX10" fmla="*/ 96459 w 112578"/>
                    <a:gd name="connsiteY10" fmla="*/ 55379 h 70199"/>
                    <a:gd name="connsiteX11" fmla="*/ 96459 w 112578"/>
                    <a:gd name="connsiteY11" fmla="*/ 18200 h 70199"/>
                    <a:gd name="connsiteX12" fmla="*/ 16900 w 112578"/>
                    <a:gd name="connsiteY12" fmla="*/ 18200 h 70199"/>
                    <a:gd name="connsiteX13" fmla="*/ 16900 w 112578"/>
                    <a:gd name="connsiteY13" fmla="*/ 55379 h 7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578" h="70199">
                      <a:moveTo>
                        <a:pt x="103999" y="70199"/>
                      </a:moveTo>
                      <a:lnTo>
                        <a:pt x="8580" y="70199"/>
                      </a:lnTo>
                      <a:cubicBezTo>
                        <a:pt x="4420" y="70199"/>
                        <a:pt x="0" y="67079"/>
                        <a:pt x="0" y="61619"/>
                      </a:cubicBezTo>
                      <a:lnTo>
                        <a:pt x="0" y="8580"/>
                      </a:lnTo>
                      <a:cubicBezTo>
                        <a:pt x="0" y="4420"/>
                        <a:pt x="3120" y="0"/>
                        <a:pt x="8580" y="0"/>
                      </a:cubicBezTo>
                      <a:lnTo>
                        <a:pt x="103999" y="0"/>
                      </a:lnTo>
                      <a:cubicBezTo>
                        <a:pt x="108159" y="0"/>
                        <a:pt x="112579" y="3120"/>
                        <a:pt x="112579" y="8580"/>
                      </a:cubicBezTo>
                      <a:lnTo>
                        <a:pt x="112579" y="61619"/>
                      </a:lnTo>
                      <a:cubicBezTo>
                        <a:pt x="112579" y="67079"/>
                        <a:pt x="108159" y="70199"/>
                        <a:pt x="103999" y="70199"/>
                      </a:cubicBezTo>
                      <a:close/>
                      <a:moveTo>
                        <a:pt x="16900" y="55379"/>
                      </a:moveTo>
                      <a:lnTo>
                        <a:pt x="96459" y="55379"/>
                      </a:lnTo>
                      <a:lnTo>
                        <a:pt x="96459" y="18200"/>
                      </a:lnTo>
                      <a:lnTo>
                        <a:pt x="16900" y="18200"/>
                      </a:lnTo>
                      <a:lnTo>
                        <a:pt x="16900" y="55379"/>
                      </a:lnTo>
                      <a:close/>
                    </a:path>
                  </a:pathLst>
                </a:custGeom>
                <a:solidFill>
                  <a:srgbClr val="00005A"/>
                </a:solidFill>
                <a:ln w="2597" cap="flat">
                  <a:noFill/>
                  <a:prstDash val="solid"/>
                  <a:miter/>
                </a:ln>
              </p:spPr>
              <p:txBody>
                <a:bodyPr rtlCol="0" anchor="ctr"/>
                <a:lstStyle/>
                <a:p>
                  <a:endParaRPr lang="en-GB"/>
                </a:p>
              </p:txBody>
            </p:sp>
            <p:sp>
              <p:nvSpPr>
                <p:cNvPr id="216" name="Freeform: Shape 215">
                  <a:extLst>
                    <a:ext uri="{FF2B5EF4-FFF2-40B4-BE49-F238E27FC236}">
                      <a16:creationId xmlns:a16="http://schemas.microsoft.com/office/drawing/2014/main" id="{3A360518-7AEF-6128-FEFF-7D0EEADB8C6B}"/>
                    </a:ext>
                  </a:extLst>
                </p:cNvPr>
                <p:cNvSpPr/>
                <p:nvPr/>
              </p:nvSpPr>
              <p:spPr>
                <a:xfrm>
                  <a:off x="6087063" y="5306311"/>
                  <a:ext cx="112578" cy="70199"/>
                </a:xfrm>
                <a:custGeom>
                  <a:avLst/>
                  <a:gdLst>
                    <a:gd name="connsiteX0" fmla="*/ 103999 w 112578"/>
                    <a:gd name="connsiteY0" fmla="*/ 70199 h 70199"/>
                    <a:gd name="connsiteX1" fmla="*/ 8580 w 112578"/>
                    <a:gd name="connsiteY1" fmla="*/ 70199 h 70199"/>
                    <a:gd name="connsiteX2" fmla="*/ 0 w 112578"/>
                    <a:gd name="connsiteY2" fmla="*/ 61619 h 70199"/>
                    <a:gd name="connsiteX3" fmla="*/ 0 w 112578"/>
                    <a:gd name="connsiteY3" fmla="*/ 8580 h 70199"/>
                    <a:gd name="connsiteX4" fmla="*/ 8580 w 112578"/>
                    <a:gd name="connsiteY4" fmla="*/ 0 h 70199"/>
                    <a:gd name="connsiteX5" fmla="*/ 103999 w 112578"/>
                    <a:gd name="connsiteY5" fmla="*/ 0 h 70199"/>
                    <a:gd name="connsiteX6" fmla="*/ 112579 w 112578"/>
                    <a:gd name="connsiteY6" fmla="*/ 8580 h 70199"/>
                    <a:gd name="connsiteX7" fmla="*/ 112579 w 112578"/>
                    <a:gd name="connsiteY7" fmla="*/ 61619 h 70199"/>
                    <a:gd name="connsiteX8" fmla="*/ 103999 w 112578"/>
                    <a:gd name="connsiteY8" fmla="*/ 70199 h 70199"/>
                    <a:gd name="connsiteX9" fmla="*/ 15860 w 112578"/>
                    <a:gd name="connsiteY9" fmla="*/ 55379 h 70199"/>
                    <a:gd name="connsiteX10" fmla="*/ 95419 w 112578"/>
                    <a:gd name="connsiteY10" fmla="*/ 55379 h 70199"/>
                    <a:gd name="connsiteX11" fmla="*/ 95419 w 112578"/>
                    <a:gd name="connsiteY11" fmla="*/ 18200 h 70199"/>
                    <a:gd name="connsiteX12" fmla="*/ 15860 w 112578"/>
                    <a:gd name="connsiteY12" fmla="*/ 18200 h 70199"/>
                    <a:gd name="connsiteX13" fmla="*/ 15860 w 112578"/>
                    <a:gd name="connsiteY13" fmla="*/ 55379 h 7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578" h="70199">
                      <a:moveTo>
                        <a:pt x="103999" y="70199"/>
                      </a:moveTo>
                      <a:lnTo>
                        <a:pt x="8580" y="70199"/>
                      </a:lnTo>
                      <a:cubicBezTo>
                        <a:pt x="4420" y="70199"/>
                        <a:pt x="0" y="67079"/>
                        <a:pt x="0" y="61619"/>
                      </a:cubicBezTo>
                      <a:lnTo>
                        <a:pt x="0" y="8580"/>
                      </a:lnTo>
                      <a:cubicBezTo>
                        <a:pt x="0" y="4420"/>
                        <a:pt x="3120" y="0"/>
                        <a:pt x="8580" y="0"/>
                      </a:cubicBezTo>
                      <a:lnTo>
                        <a:pt x="103999" y="0"/>
                      </a:lnTo>
                      <a:cubicBezTo>
                        <a:pt x="108159" y="0"/>
                        <a:pt x="112579" y="3120"/>
                        <a:pt x="112579" y="8580"/>
                      </a:cubicBezTo>
                      <a:lnTo>
                        <a:pt x="112579" y="61619"/>
                      </a:lnTo>
                      <a:cubicBezTo>
                        <a:pt x="111279" y="67079"/>
                        <a:pt x="108159" y="70199"/>
                        <a:pt x="103999" y="70199"/>
                      </a:cubicBezTo>
                      <a:close/>
                      <a:moveTo>
                        <a:pt x="15860" y="55379"/>
                      </a:moveTo>
                      <a:lnTo>
                        <a:pt x="95419" y="55379"/>
                      </a:lnTo>
                      <a:lnTo>
                        <a:pt x="95419" y="18200"/>
                      </a:lnTo>
                      <a:lnTo>
                        <a:pt x="15860" y="18200"/>
                      </a:lnTo>
                      <a:lnTo>
                        <a:pt x="15860" y="55379"/>
                      </a:lnTo>
                      <a:close/>
                    </a:path>
                  </a:pathLst>
                </a:custGeom>
                <a:solidFill>
                  <a:srgbClr val="00005A"/>
                </a:solidFill>
                <a:ln w="2597" cap="flat">
                  <a:noFill/>
                  <a:prstDash val="solid"/>
                  <a:miter/>
                </a:ln>
              </p:spPr>
              <p:txBody>
                <a:bodyPr rtlCol="0" anchor="ctr"/>
                <a:lstStyle/>
                <a:p>
                  <a:endParaRPr lang="en-GB"/>
                </a:p>
              </p:txBody>
            </p:sp>
          </p:grpSp>
          <p:sp>
            <p:nvSpPr>
              <p:cNvPr id="199" name="Freeform: Shape 198">
                <a:extLst>
                  <a:ext uri="{FF2B5EF4-FFF2-40B4-BE49-F238E27FC236}">
                    <a16:creationId xmlns:a16="http://schemas.microsoft.com/office/drawing/2014/main" id="{55A0E87E-774F-BC67-6E2F-BF1E4CD833C0}"/>
                  </a:ext>
                </a:extLst>
              </p:cNvPr>
              <p:cNvSpPr/>
              <p:nvPr/>
            </p:nvSpPr>
            <p:spPr>
              <a:xfrm>
                <a:off x="6460678" y="5254311"/>
                <a:ext cx="88139" cy="56419"/>
              </a:xfrm>
              <a:custGeom>
                <a:avLst/>
                <a:gdLst>
                  <a:gd name="connsiteX0" fmla="*/ 79559 w 88139"/>
                  <a:gd name="connsiteY0" fmla="*/ 56419 h 56419"/>
                  <a:gd name="connsiteX1" fmla="*/ 8580 w 88139"/>
                  <a:gd name="connsiteY1" fmla="*/ 56419 h 56419"/>
                  <a:gd name="connsiteX2" fmla="*/ 0 w 88139"/>
                  <a:gd name="connsiteY2" fmla="*/ 47840 h 56419"/>
                  <a:gd name="connsiteX3" fmla="*/ 0 w 88139"/>
                  <a:gd name="connsiteY3" fmla="*/ 8580 h 56419"/>
                  <a:gd name="connsiteX4" fmla="*/ 8580 w 88139"/>
                  <a:gd name="connsiteY4" fmla="*/ 0 h 56419"/>
                  <a:gd name="connsiteX5" fmla="*/ 79559 w 88139"/>
                  <a:gd name="connsiteY5" fmla="*/ 0 h 56419"/>
                  <a:gd name="connsiteX6" fmla="*/ 88139 w 88139"/>
                  <a:gd name="connsiteY6" fmla="*/ 8580 h 56419"/>
                  <a:gd name="connsiteX7" fmla="*/ 88139 w 88139"/>
                  <a:gd name="connsiteY7" fmla="*/ 47840 h 56419"/>
                  <a:gd name="connsiteX8" fmla="*/ 79559 w 88139"/>
                  <a:gd name="connsiteY8" fmla="*/ 56419 h 56419"/>
                  <a:gd name="connsiteX9" fmla="*/ 16900 w 88139"/>
                  <a:gd name="connsiteY9" fmla="*/ 40559 h 56419"/>
                  <a:gd name="connsiteX10" fmla="*/ 72019 w 88139"/>
                  <a:gd name="connsiteY10" fmla="*/ 40559 h 56419"/>
                  <a:gd name="connsiteX11" fmla="*/ 72019 w 88139"/>
                  <a:gd name="connsiteY11" fmla="*/ 17160 h 56419"/>
                  <a:gd name="connsiteX12" fmla="*/ 16900 w 88139"/>
                  <a:gd name="connsiteY12" fmla="*/ 17160 h 56419"/>
                  <a:gd name="connsiteX13" fmla="*/ 16900 w 88139"/>
                  <a:gd name="connsiteY13" fmla="*/ 40559 h 56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139" h="56419">
                    <a:moveTo>
                      <a:pt x="79559" y="56419"/>
                    </a:moveTo>
                    <a:lnTo>
                      <a:pt x="8580" y="56419"/>
                    </a:lnTo>
                    <a:cubicBezTo>
                      <a:pt x="4420" y="56419"/>
                      <a:pt x="0" y="53299"/>
                      <a:pt x="0" y="47840"/>
                    </a:cubicBezTo>
                    <a:lnTo>
                      <a:pt x="0" y="8580"/>
                    </a:lnTo>
                    <a:cubicBezTo>
                      <a:pt x="0" y="4420"/>
                      <a:pt x="3120" y="0"/>
                      <a:pt x="8580" y="0"/>
                    </a:cubicBezTo>
                    <a:lnTo>
                      <a:pt x="79559" y="0"/>
                    </a:lnTo>
                    <a:cubicBezTo>
                      <a:pt x="83719" y="0"/>
                      <a:pt x="88139" y="3120"/>
                      <a:pt x="88139" y="8580"/>
                    </a:cubicBezTo>
                    <a:lnTo>
                      <a:pt x="88139" y="47840"/>
                    </a:lnTo>
                    <a:cubicBezTo>
                      <a:pt x="87879" y="53299"/>
                      <a:pt x="83719" y="56419"/>
                      <a:pt x="79559" y="56419"/>
                    </a:cubicBezTo>
                    <a:close/>
                    <a:moveTo>
                      <a:pt x="16900" y="40559"/>
                    </a:moveTo>
                    <a:lnTo>
                      <a:pt x="72019" y="40559"/>
                    </a:lnTo>
                    <a:lnTo>
                      <a:pt x="72019" y="17160"/>
                    </a:lnTo>
                    <a:lnTo>
                      <a:pt x="16900" y="17160"/>
                    </a:lnTo>
                    <a:lnTo>
                      <a:pt x="16900" y="40559"/>
                    </a:lnTo>
                    <a:close/>
                  </a:path>
                </a:pathLst>
              </a:custGeom>
              <a:solidFill>
                <a:srgbClr val="00005A"/>
              </a:solidFill>
              <a:ln w="2597" cap="flat">
                <a:noFill/>
                <a:prstDash val="solid"/>
                <a:miter/>
              </a:ln>
            </p:spPr>
            <p:txBody>
              <a:bodyPr rtlCol="0" anchor="ctr"/>
              <a:lstStyle/>
              <a:p>
                <a:endParaRPr lang="en-GB"/>
              </a:p>
            </p:txBody>
          </p:sp>
          <p:sp>
            <p:nvSpPr>
              <p:cNvPr id="200" name="Freeform: Shape 199">
                <a:extLst>
                  <a:ext uri="{FF2B5EF4-FFF2-40B4-BE49-F238E27FC236}">
                    <a16:creationId xmlns:a16="http://schemas.microsoft.com/office/drawing/2014/main" id="{489EB959-BE5C-57CD-65F3-252243914262}"/>
                  </a:ext>
                </a:extLst>
              </p:cNvPr>
              <p:cNvSpPr/>
              <p:nvPr/>
            </p:nvSpPr>
            <p:spPr>
              <a:xfrm>
                <a:off x="6531658" y="5195812"/>
                <a:ext cx="359835" cy="114918"/>
              </a:xfrm>
              <a:custGeom>
                <a:avLst/>
                <a:gdLst>
                  <a:gd name="connsiteX0" fmla="*/ 351256 w 359835"/>
                  <a:gd name="connsiteY0" fmla="*/ 114919 h 114918"/>
                  <a:gd name="connsiteX1" fmla="*/ 8580 w 359835"/>
                  <a:gd name="connsiteY1" fmla="*/ 114919 h 114918"/>
                  <a:gd name="connsiteX2" fmla="*/ 0 w 359835"/>
                  <a:gd name="connsiteY2" fmla="*/ 106339 h 114918"/>
                  <a:gd name="connsiteX3" fmla="*/ 0 w 359835"/>
                  <a:gd name="connsiteY3" fmla="*/ 8580 h 114918"/>
                  <a:gd name="connsiteX4" fmla="*/ 8580 w 359835"/>
                  <a:gd name="connsiteY4" fmla="*/ 0 h 114918"/>
                  <a:gd name="connsiteX5" fmla="*/ 351256 w 359835"/>
                  <a:gd name="connsiteY5" fmla="*/ 0 h 114918"/>
                  <a:gd name="connsiteX6" fmla="*/ 359836 w 359835"/>
                  <a:gd name="connsiteY6" fmla="*/ 8580 h 114918"/>
                  <a:gd name="connsiteX7" fmla="*/ 359836 w 359835"/>
                  <a:gd name="connsiteY7" fmla="*/ 106339 h 114918"/>
                  <a:gd name="connsiteX8" fmla="*/ 351256 w 359835"/>
                  <a:gd name="connsiteY8" fmla="*/ 114919 h 114918"/>
                  <a:gd name="connsiteX9" fmla="*/ 16900 w 359835"/>
                  <a:gd name="connsiteY9" fmla="*/ 99059 h 114918"/>
                  <a:gd name="connsiteX10" fmla="*/ 343716 w 359835"/>
                  <a:gd name="connsiteY10" fmla="*/ 99059 h 114918"/>
                  <a:gd name="connsiteX11" fmla="*/ 343716 w 359835"/>
                  <a:gd name="connsiteY11" fmla="*/ 17420 h 114918"/>
                  <a:gd name="connsiteX12" fmla="*/ 16900 w 359835"/>
                  <a:gd name="connsiteY12" fmla="*/ 17420 h 114918"/>
                  <a:gd name="connsiteX13" fmla="*/ 16900 w 359835"/>
                  <a:gd name="connsiteY13" fmla="*/ 99059 h 11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35" h="114918">
                    <a:moveTo>
                      <a:pt x="351256" y="114919"/>
                    </a:moveTo>
                    <a:lnTo>
                      <a:pt x="8580" y="114919"/>
                    </a:lnTo>
                    <a:cubicBezTo>
                      <a:pt x="4420" y="114919"/>
                      <a:pt x="0" y="111799"/>
                      <a:pt x="0" y="106339"/>
                    </a:cubicBezTo>
                    <a:lnTo>
                      <a:pt x="0" y="8580"/>
                    </a:lnTo>
                    <a:cubicBezTo>
                      <a:pt x="0" y="4420"/>
                      <a:pt x="3120" y="0"/>
                      <a:pt x="8580" y="0"/>
                    </a:cubicBezTo>
                    <a:lnTo>
                      <a:pt x="351256" y="0"/>
                    </a:lnTo>
                    <a:cubicBezTo>
                      <a:pt x="355416" y="0"/>
                      <a:pt x="359836" y="3120"/>
                      <a:pt x="359836" y="8580"/>
                    </a:cubicBezTo>
                    <a:lnTo>
                      <a:pt x="359836" y="106339"/>
                    </a:lnTo>
                    <a:cubicBezTo>
                      <a:pt x="359836" y="111799"/>
                      <a:pt x="355416" y="114919"/>
                      <a:pt x="351256" y="114919"/>
                    </a:cubicBezTo>
                    <a:close/>
                    <a:moveTo>
                      <a:pt x="16900" y="99059"/>
                    </a:moveTo>
                    <a:lnTo>
                      <a:pt x="343716" y="99059"/>
                    </a:lnTo>
                    <a:lnTo>
                      <a:pt x="343716" y="17420"/>
                    </a:lnTo>
                    <a:lnTo>
                      <a:pt x="16900" y="17420"/>
                    </a:lnTo>
                    <a:lnTo>
                      <a:pt x="16900" y="99059"/>
                    </a:lnTo>
                    <a:close/>
                  </a:path>
                </a:pathLst>
              </a:custGeom>
              <a:solidFill>
                <a:srgbClr val="00005A"/>
              </a:solidFill>
              <a:ln w="2597" cap="flat">
                <a:noFill/>
                <a:prstDash val="solid"/>
                <a:miter/>
              </a:ln>
            </p:spPr>
            <p:txBody>
              <a:bodyPr rtlCol="0" anchor="ctr"/>
              <a:lstStyle/>
              <a:p>
                <a:endParaRPr lang="en-GB"/>
              </a:p>
            </p:txBody>
          </p:sp>
          <p:sp>
            <p:nvSpPr>
              <p:cNvPr id="201" name="Freeform: Shape 200">
                <a:extLst>
                  <a:ext uri="{FF2B5EF4-FFF2-40B4-BE49-F238E27FC236}">
                    <a16:creationId xmlns:a16="http://schemas.microsoft.com/office/drawing/2014/main" id="{5359E4F3-367A-F60B-AD54-06C36850FF6F}"/>
                  </a:ext>
                </a:extLst>
              </p:cNvPr>
              <p:cNvSpPr/>
              <p:nvPr/>
            </p:nvSpPr>
            <p:spPr>
              <a:xfrm>
                <a:off x="6548558" y="4833116"/>
                <a:ext cx="323956" cy="379855"/>
              </a:xfrm>
              <a:custGeom>
                <a:avLst/>
                <a:gdLst>
                  <a:gd name="connsiteX0" fmla="*/ 259997 w 323956"/>
                  <a:gd name="connsiteY0" fmla="*/ 379856 h 379855"/>
                  <a:gd name="connsiteX1" fmla="*/ 63699 w 323956"/>
                  <a:gd name="connsiteY1" fmla="*/ 379856 h 379855"/>
                  <a:gd name="connsiteX2" fmla="*/ 56160 w 323956"/>
                  <a:gd name="connsiteY2" fmla="*/ 374656 h 379855"/>
                  <a:gd name="connsiteX3" fmla="*/ 1040 w 323956"/>
                  <a:gd name="connsiteY3" fmla="*/ 239977 h 379855"/>
                  <a:gd name="connsiteX4" fmla="*/ 0 w 323956"/>
                  <a:gd name="connsiteY4" fmla="*/ 236857 h 379855"/>
                  <a:gd name="connsiteX5" fmla="*/ 0 w 323956"/>
                  <a:gd name="connsiteY5" fmla="*/ 8580 h 379855"/>
                  <a:gd name="connsiteX6" fmla="*/ 8580 w 323956"/>
                  <a:gd name="connsiteY6" fmla="*/ 0 h 379855"/>
                  <a:gd name="connsiteX7" fmla="*/ 313296 w 323956"/>
                  <a:gd name="connsiteY7" fmla="*/ 0 h 379855"/>
                  <a:gd name="connsiteX8" fmla="*/ 321876 w 323956"/>
                  <a:gd name="connsiteY8" fmla="*/ 7540 h 379855"/>
                  <a:gd name="connsiteX9" fmla="*/ 323957 w 323956"/>
                  <a:gd name="connsiteY9" fmla="*/ 235817 h 379855"/>
                  <a:gd name="connsiteX10" fmla="*/ 322916 w 323956"/>
                  <a:gd name="connsiteY10" fmla="*/ 238937 h 379855"/>
                  <a:gd name="connsiteX11" fmla="*/ 267797 w 323956"/>
                  <a:gd name="connsiteY11" fmla="*/ 373616 h 379855"/>
                  <a:gd name="connsiteX12" fmla="*/ 259997 w 323956"/>
                  <a:gd name="connsiteY12" fmla="*/ 379856 h 379855"/>
                  <a:gd name="connsiteX13" fmla="*/ 69159 w 323956"/>
                  <a:gd name="connsiteY13" fmla="*/ 363996 h 379855"/>
                  <a:gd name="connsiteX14" fmla="*/ 254797 w 323956"/>
                  <a:gd name="connsiteY14" fmla="*/ 363996 h 379855"/>
                  <a:gd name="connsiteX15" fmla="*/ 307836 w 323956"/>
                  <a:gd name="connsiteY15" fmla="*/ 235557 h 379855"/>
                  <a:gd name="connsiteX16" fmla="*/ 305757 w 323956"/>
                  <a:gd name="connsiteY16" fmla="*/ 16900 h 379855"/>
                  <a:gd name="connsiteX17" fmla="*/ 16120 w 323956"/>
                  <a:gd name="connsiteY17" fmla="*/ 16900 h 379855"/>
                  <a:gd name="connsiteX18" fmla="*/ 16120 w 323956"/>
                  <a:gd name="connsiteY18" fmla="*/ 235557 h 379855"/>
                  <a:gd name="connsiteX19" fmla="*/ 69159 w 323956"/>
                  <a:gd name="connsiteY19" fmla="*/ 363996 h 37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3956" h="379855">
                    <a:moveTo>
                      <a:pt x="259997" y="379856"/>
                    </a:moveTo>
                    <a:lnTo>
                      <a:pt x="63699" y="379856"/>
                    </a:lnTo>
                    <a:cubicBezTo>
                      <a:pt x="60579" y="379856"/>
                      <a:pt x="57460" y="377776"/>
                      <a:pt x="56160" y="374656"/>
                    </a:cubicBezTo>
                    <a:lnTo>
                      <a:pt x="1040" y="239977"/>
                    </a:lnTo>
                    <a:cubicBezTo>
                      <a:pt x="1040" y="238937"/>
                      <a:pt x="0" y="237897"/>
                      <a:pt x="0" y="236857"/>
                    </a:cubicBezTo>
                    <a:lnTo>
                      <a:pt x="0" y="8580"/>
                    </a:lnTo>
                    <a:cubicBezTo>
                      <a:pt x="0" y="4420"/>
                      <a:pt x="3120" y="0"/>
                      <a:pt x="8580" y="0"/>
                    </a:cubicBezTo>
                    <a:lnTo>
                      <a:pt x="313296" y="0"/>
                    </a:lnTo>
                    <a:cubicBezTo>
                      <a:pt x="317457" y="0"/>
                      <a:pt x="320836" y="3120"/>
                      <a:pt x="321876" y="7540"/>
                    </a:cubicBezTo>
                    <a:lnTo>
                      <a:pt x="323957" y="235817"/>
                    </a:lnTo>
                    <a:cubicBezTo>
                      <a:pt x="323957" y="236857"/>
                      <a:pt x="323957" y="237897"/>
                      <a:pt x="322916" y="238937"/>
                    </a:cubicBezTo>
                    <a:lnTo>
                      <a:pt x="267797" y="373616"/>
                    </a:lnTo>
                    <a:cubicBezTo>
                      <a:pt x="266497" y="378816"/>
                      <a:pt x="263377" y="379856"/>
                      <a:pt x="259997" y="379856"/>
                    </a:cubicBezTo>
                    <a:close/>
                    <a:moveTo>
                      <a:pt x="69159" y="363996"/>
                    </a:moveTo>
                    <a:lnTo>
                      <a:pt x="254797" y="363996"/>
                    </a:lnTo>
                    <a:lnTo>
                      <a:pt x="307836" y="235557"/>
                    </a:lnTo>
                    <a:lnTo>
                      <a:pt x="305757" y="16900"/>
                    </a:lnTo>
                    <a:lnTo>
                      <a:pt x="16120" y="16900"/>
                    </a:lnTo>
                    <a:lnTo>
                      <a:pt x="16120" y="235557"/>
                    </a:lnTo>
                    <a:lnTo>
                      <a:pt x="69159" y="363996"/>
                    </a:lnTo>
                    <a:close/>
                  </a:path>
                </a:pathLst>
              </a:custGeom>
              <a:solidFill>
                <a:srgbClr val="00005A"/>
              </a:solidFill>
              <a:ln w="2597" cap="flat">
                <a:noFill/>
                <a:prstDash val="solid"/>
                <a:miter/>
              </a:ln>
            </p:spPr>
            <p:txBody>
              <a:bodyPr rtlCol="0" anchor="ctr"/>
              <a:lstStyle/>
              <a:p>
                <a:endParaRPr lang="en-GB"/>
              </a:p>
            </p:txBody>
          </p:sp>
          <p:grpSp>
            <p:nvGrpSpPr>
              <p:cNvPr id="202" name="Graphic 6">
                <a:extLst>
                  <a:ext uri="{FF2B5EF4-FFF2-40B4-BE49-F238E27FC236}">
                    <a16:creationId xmlns:a16="http://schemas.microsoft.com/office/drawing/2014/main" id="{5FC4852F-EECC-13B0-C377-8FAE388D85F1}"/>
                  </a:ext>
                </a:extLst>
              </p:cNvPr>
              <p:cNvGrpSpPr/>
              <p:nvPr/>
            </p:nvGrpSpPr>
            <p:grpSpPr>
              <a:xfrm>
                <a:off x="6081603" y="4905135"/>
                <a:ext cx="335395" cy="223077"/>
                <a:chOff x="6081603" y="4905135"/>
                <a:chExt cx="335395" cy="223077"/>
              </a:xfrm>
              <a:solidFill>
                <a:srgbClr val="FFFFFF"/>
              </a:solidFill>
            </p:grpSpPr>
            <p:sp>
              <p:nvSpPr>
                <p:cNvPr id="210" name="Freeform: Shape 209">
                  <a:extLst>
                    <a:ext uri="{FF2B5EF4-FFF2-40B4-BE49-F238E27FC236}">
                      <a16:creationId xmlns:a16="http://schemas.microsoft.com/office/drawing/2014/main" id="{8698DFD2-AF0A-1B83-DCA6-5D28268AA4F1}"/>
                    </a:ext>
                  </a:extLst>
                </p:cNvPr>
                <p:cNvSpPr/>
                <p:nvPr/>
              </p:nvSpPr>
              <p:spPr>
                <a:xfrm>
                  <a:off x="6200678" y="4960091"/>
                  <a:ext cx="83982" cy="117161"/>
                </a:xfrm>
                <a:custGeom>
                  <a:avLst/>
                  <a:gdLst>
                    <a:gd name="connsiteX0" fmla="*/ 43423 w 83982"/>
                    <a:gd name="connsiteY0" fmla="*/ 117162 h 117161"/>
                    <a:gd name="connsiteX1" fmla="*/ 27563 w 83982"/>
                    <a:gd name="connsiteY1" fmla="*/ 115082 h 117161"/>
                    <a:gd name="connsiteX2" fmla="*/ 16903 w 83982"/>
                    <a:gd name="connsiteY2" fmla="*/ 108842 h 117161"/>
                    <a:gd name="connsiteX3" fmla="*/ 13783 w 83982"/>
                    <a:gd name="connsiteY3" fmla="*/ 106762 h 117161"/>
                    <a:gd name="connsiteX4" fmla="*/ 12743 w 83982"/>
                    <a:gd name="connsiteY4" fmla="*/ 105722 h 117161"/>
                    <a:gd name="connsiteX5" fmla="*/ 3123 w 83982"/>
                    <a:gd name="connsiteY5" fmla="*/ 91942 h 117161"/>
                    <a:gd name="connsiteX6" fmla="*/ 10663 w 83982"/>
                    <a:gd name="connsiteY6" fmla="*/ 39943 h 117161"/>
                    <a:gd name="connsiteX7" fmla="*/ 11703 w 83982"/>
                    <a:gd name="connsiteY7" fmla="*/ 38903 h 117161"/>
                    <a:gd name="connsiteX8" fmla="*/ 19243 w 83982"/>
                    <a:gd name="connsiteY8" fmla="*/ 36823 h 117161"/>
                    <a:gd name="connsiteX9" fmla="*/ 21323 w 83982"/>
                    <a:gd name="connsiteY9" fmla="*/ 37863 h 117161"/>
                    <a:gd name="connsiteX10" fmla="*/ 47843 w 83982"/>
                    <a:gd name="connsiteY10" fmla="*/ 1723 h 117161"/>
                    <a:gd name="connsiteX11" fmla="*/ 49923 w 83982"/>
                    <a:gd name="connsiteY11" fmla="*/ 683 h 117161"/>
                    <a:gd name="connsiteX12" fmla="*/ 58502 w 83982"/>
                    <a:gd name="connsiteY12" fmla="*/ 1723 h 117161"/>
                    <a:gd name="connsiteX13" fmla="*/ 61622 w 83982"/>
                    <a:gd name="connsiteY13" fmla="*/ 14463 h 117161"/>
                    <a:gd name="connsiteX14" fmla="*/ 72282 w 83982"/>
                    <a:gd name="connsiteY14" fmla="*/ 46183 h 117161"/>
                    <a:gd name="connsiteX15" fmla="*/ 81902 w 83982"/>
                    <a:gd name="connsiteY15" fmla="*/ 59963 h 117161"/>
                    <a:gd name="connsiteX16" fmla="*/ 83982 w 83982"/>
                    <a:gd name="connsiteY16" fmla="*/ 75822 h 117161"/>
                    <a:gd name="connsiteX17" fmla="*/ 81902 w 83982"/>
                    <a:gd name="connsiteY17" fmla="*/ 91682 h 117161"/>
                    <a:gd name="connsiteX18" fmla="*/ 75662 w 83982"/>
                    <a:gd name="connsiteY18" fmla="*/ 101302 h 117161"/>
                    <a:gd name="connsiteX19" fmla="*/ 73582 w 83982"/>
                    <a:gd name="connsiteY19" fmla="*/ 104422 h 117161"/>
                    <a:gd name="connsiteX20" fmla="*/ 58763 w 83982"/>
                    <a:gd name="connsiteY20" fmla="*/ 115082 h 117161"/>
                    <a:gd name="connsiteX21" fmla="*/ 43423 w 83982"/>
                    <a:gd name="connsiteY21" fmla="*/ 117162 h 117161"/>
                    <a:gd name="connsiteX22" fmla="*/ 24183 w 83982"/>
                    <a:gd name="connsiteY22" fmla="*/ 92722 h 117161"/>
                    <a:gd name="connsiteX23" fmla="*/ 27303 w 83982"/>
                    <a:gd name="connsiteY23" fmla="*/ 95842 h 117161"/>
                    <a:gd name="connsiteX24" fmla="*/ 31463 w 83982"/>
                    <a:gd name="connsiteY24" fmla="*/ 98962 h 117161"/>
                    <a:gd name="connsiteX25" fmla="*/ 43163 w 83982"/>
                    <a:gd name="connsiteY25" fmla="*/ 101042 h 117161"/>
                    <a:gd name="connsiteX26" fmla="*/ 54863 w 83982"/>
                    <a:gd name="connsiteY26" fmla="*/ 98962 h 117161"/>
                    <a:gd name="connsiteX27" fmla="*/ 61102 w 83982"/>
                    <a:gd name="connsiteY27" fmla="*/ 94802 h 117161"/>
                    <a:gd name="connsiteX28" fmla="*/ 64222 w 83982"/>
                    <a:gd name="connsiteY28" fmla="*/ 90642 h 117161"/>
                    <a:gd name="connsiteX29" fmla="*/ 67343 w 83982"/>
                    <a:gd name="connsiteY29" fmla="*/ 86482 h 117161"/>
                    <a:gd name="connsiteX30" fmla="*/ 69422 w 83982"/>
                    <a:gd name="connsiteY30" fmla="*/ 74782 h 117161"/>
                    <a:gd name="connsiteX31" fmla="*/ 67343 w 83982"/>
                    <a:gd name="connsiteY31" fmla="*/ 63082 h 117161"/>
                    <a:gd name="connsiteX32" fmla="*/ 62143 w 83982"/>
                    <a:gd name="connsiteY32" fmla="*/ 55542 h 117161"/>
                    <a:gd name="connsiteX33" fmla="*/ 46283 w 83982"/>
                    <a:gd name="connsiteY33" fmla="*/ 22523 h 117161"/>
                    <a:gd name="connsiteX34" fmla="*/ 41083 w 83982"/>
                    <a:gd name="connsiteY34" fmla="*/ 60742 h 117161"/>
                    <a:gd name="connsiteX35" fmla="*/ 42123 w 83982"/>
                    <a:gd name="connsiteY35" fmla="*/ 71403 h 117161"/>
                    <a:gd name="connsiteX36" fmla="*/ 34583 w 83982"/>
                    <a:gd name="connsiteY36" fmla="*/ 75562 h 117161"/>
                    <a:gd name="connsiteX37" fmla="*/ 21843 w 83982"/>
                    <a:gd name="connsiteY37" fmla="*/ 62823 h 117161"/>
                    <a:gd name="connsiteX38" fmla="*/ 18723 w 83982"/>
                    <a:gd name="connsiteY38" fmla="*/ 57623 h 117161"/>
                    <a:gd name="connsiteX39" fmla="*/ 17683 w 83982"/>
                    <a:gd name="connsiteY39" fmla="*/ 86222 h 117161"/>
                    <a:gd name="connsiteX40" fmla="*/ 24183 w 83982"/>
                    <a:gd name="connsiteY40" fmla="*/ 92722 h 11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3982" h="117161">
                      <a:moveTo>
                        <a:pt x="43423" y="117162"/>
                      </a:moveTo>
                      <a:cubicBezTo>
                        <a:pt x="37183" y="117162"/>
                        <a:pt x="31723" y="116122"/>
                        <a:pt x="27563" y="115082"/>
                      </a:cubicBezTo>
                      <a:cubicBezTo>
                        <a:pt x="23403" y="114042"/>
                        <a:pt x="20023" y="110922"/>
                        <a:pt x="16903" y="108842"/>
                      </a:cubicBezTo>
                      <a:cubicBezTo>
                        <a:pt x="15863" y="107802"/>
                        <a:pt x="14823" y="106762"/>
                        <a:pt x="13783" y="106762"/>
                      </a:cubicBezTo>
                      <a:lnTo>
                        <a:pt x="12743" y="105722"/>
                      </a:lnTo>
                      <a:cubicBezTo>
                        <a:pt x="10663" y="103642"/>
                        <a:pt x="5203" y="98182"/>
                        <a:pt x="3123" y="91942"/>
                      </a:cubicBezTo>
                      <a:cubicBezTo>
                        <a:pt x="-4417" y="70622"/>
                        <a:pt x="3123" y="51643"/>
                        <a:pt x="10663" y="39943"/>
                      </a:cubicBezTo>
                      <a:cubicBezTo>
                        <a:pt x="10663" y="38903"/>
                        <a:pt x="11703" y="38903"/>
                        <a:pt x="11703" y="38903"/>
                      </a:cubicBezTo>
                      <a:cubicBezTo>
                        <a:pt x="13783" y="36823"/>
                        <a:pt x="16903" y="35783"/>
                        <a:pt x="19243" y="36823"/>
                      </a:cubicBezTo>
                      <a:cubicBezTo>
                        <a:pt x="20283" y="36823"/>
                        <a:pt x="20283" y="36823"/>
                        <a:pt x="21323" y="37863"/>
                      </a:cubicBezTo>
                      <a:cubicBezTo>
                        <a:pt x="24443" y="25123"/>
                        <a:pt x="33023" y="13423"/>
                        <a:pt x="47843" y="1723"/>
                      </a:cubicBezTo>
                      <a:cubicBezTo>
                        <a:pt x="48883" y="683"/>
                        <a:pt x="48883" y="683"/>
                        <a:pt x="49923" y="683"/>
                      </a:cubicBezTo>
                      <a:cubicBezTo>
                        <a:pt x="53042" y="-357"/>
                        <a:pt x="56163" y="-357"/>
                        <a:pt x="58502" y="1723"/>
                      </a:cubicBezTo>
                      <a:cubicBezTo>
                        <a:pt x="62663" y="4843"/>
                        <a:pt x="62663" y="10303"/>
                        <a:pt x="61622" y="14463"/>
                      </a:cubicBezTo>
                      <a:cubicBezTo>
                        <a:pt x="60582" y="23043"/>
                        <a:pt x="60582" y="35783"/>
                        <a:pt x="72282" y="46183"/>
                      </a:cubicBezTo>
                      <a:cubicBezTo>
                        <a:pt x="74362" y="48263"/>
                        <a:pt x="79822" y="53723"/>
                        <a:pt x="81902" y="59963"/>
                      </a:cubicBezTo>
                      <a:cubicBezTo>
                        <a:pt x="82942" y="63082"/>
                        <a:pt x="83982" y="69582"/>
                        <a:pt x="83982" y="75822"/>
                      </a:cubicBezTo>
                      <a:cubicBezTo>
                        <a:pt x="83982" y="82062"/>
                        <a:pt x="82942" y="87522"/>
                        <a:pt x="81902" y="91682"/>
                      </a:cubicBezTo>
                      <a:cubicBezTo>
                        <a:pt x="80862" y="95842"/>
                        <a:pt x="77742" y="99222"/>
                        <a:pt x="75662" y="101302"/>
                      </a:cubicBezTo>
                      <a:cubicBezTo>
                        <a:pt x="74622" y="102342"/>
                        <a:pt x="73582" y="103382"/>
                        <a:pt x="73582" y="104422"/>
                      </a:cubicBezTo>
                      <a:cubicBezTo>
                        <a:pt x="70462" y="109622"/>
                        <a:pt x="62922" y="114042"/>
                        <a:pt x="58763" y="115082"/>
                      </a:cubicBezTo>
                      <a:cubicBezTo>
                        <a:pt x="56163" y="115082"/>
                        <a:pt x="49663" y="117162"/>
                        <a:pt x="43423" y="117162"/>
                      </a:cubicBezTo>
                      <a:close/>
                      <a:moveTo>
                        <a:pt x="24183" y="92722"/>
                      </a:moveTo>
                      <a:cubicBezTo>
                        <a:pt x="25223" y="93762"/>
                        <a:pt x="26263" y="94802"/>
                        <a:pt x="27303" y="95842"/>
                      </a:cubicBezTo>
                      <a:cubicBezTo>
                        <a:pt x="28343" y="96882"/>
                        <a:pt x="30423" y="98962"/>
                        <a:pt x="31463" y="98962"/>
                      </a:cubicBezTo>
                      <a:cubicBezTo>
                        <a:pt x="34583" y="100002"/>
                        <a:pt x="39003" y="101042"/>
                        <a:pt x="43163" y="101042"/>
                      </a:cubicBezTo>
                      <a:cubicBezTo>
                        <a:pt x="47323" y="101042"/>
                        <a:pt x="51742" y="100002"/>
                        <a:pt x="54863" y="98962"/>
                      </a:cubicBezTo>
                      <a:cubicBezTo>
                        <a:pt x="56943" y="97922"/>
                        <a:pt x="60063" y="95842"/>
                        <a:pt x="61102" y="94802"/>
                      </a:cubicBezTo>
                      <a:cubicBezTo>
                        <a:pt x="62143" y="93762"/>
                        <a:pt x="63182" y="91682"/>
                        <a:pt x="64222" y="90642"/>
                      </a:cubicBezTo>
                      <a:cubicBezTo>
                        <a:pt x="65263" y="89602"/>
                        <a:pt x="67343" y="87522"/>
                        <a:pt x="67343" y="86482"/>
                      </a:cubicBezTo>
                      <a:cubicBezTo>
                        <a:pt x="68382" y="83362"/>
                        <a:pt x="69422" y="80242"/>
                        <a:pt x="69422" y="74782"/>
                      </a:cubicBezTo>
                      <a:cubicBezTo>
                        <a:pt x="69422" y="70622"/>
                        <a:pt x="68382" y="66203"/>
                        <a:pt x="67343" y="63082"/>
                      </a:cubicBezTo>
                      <a:cubicBezTo>
                        <a:pt x="67343" y="62042"/>
                        <a:pt x="65263" y="58923"/>
                        <a:pt x="62143" y="55542"/>
                      </a:cubicBezTo>
                      <a:cubicBezTo>
                        <a:pt x="50442" y="44883"/>
                        <a:pt x="47323" y="32143"/>
                        <a:pt x="46283" y="22523"/>
                      </a:cubicBezTo>
                      <a:cubicBezTo>
                        <a:pt x="30423" y="40463"/>
                        <a:pt x="37703" y="54242"/>
                        <a:pt x="41083" y="60742"/>
                      </a:cubicBezTo>
                      <a:cubicBezTo>
                        <a:pt x="42123" y="62823"/>
                        <a:pt x="44202" y="66982"/>
                        <a:pt x="42123" y="71403"/>
                      </a:cubicBezTo>
                      <a:cubicBezTo>
                        <a:pt x="41083" y="74522"/>
                        <a:pt x="37963" y="75562"/>
                        <a:pt x="34583" y="75562"/>
                      </a:cubicBezTo>
                      <a:cubicBezTo>
                        <a:pt x="29383" y="75562"/>
                        <a:pt x="27043" y="72442"/>
                        <a:pt x="21843" y="62823"/>
                      </a:cubicBezTo>
                      <a:cubicBezTo>
                        <a:pt x="20803" y="61782"/>
                        <a:pt x="19763" y="59703"/>
                        <a:pt x="18723" y="57623"/>
                      </a:cubicBezTo>
                      <a:cubicBezTo>
                        <a:pt x="15603" y="66203"/>
                        <a:pt x="14563" y="75562"/>
                        <a:pt x="17683" y="86222"/>
                      </a:cubicBezTo>
                      <a:cubicBezTo>
                        <a:pt x="20023" y="87522"/>
                        <a:pt x="21063" y="90642"/>
                        <a:pt x="24183" y="92722"/>
                      </a:cubicBezTo>
                      <a:close/>
                    </a:path>
                  </a:pathLst>
                </a:custGeom>
                <a:solidFill>
                  <a:srgbClr val="FFFFFF"/>
                </a:solidFill>
                <a:ln w="2597" cap="flat">
                  <a:noFill/>
                  <a:prstDash val="solid"/>
                  <a:miter/>
                </a:ln>
              </p:spPr>
              <p:txBody>
                <a:bodyPr rtlCol="0" anchor="ctr"/>
                <a:lstStyle/>
                <a:p>
                  <a:endParaRPr lang="en-GB"/>
                </a:p>
              </p:txBody>
            </p:sp>
            <p:sp>
              <p:nvSpPr>
                <p:cNvPr id="211" name="Freeform: Shape 210">
                  <a:extLst>
                    <a:ext uri="{FF2B5EF4-FFF2-40B4-BE49-F238E27FC236}">
                      <a16:creationId xmlns:a16="http://schemas.microsoft.com/office/drawing/2014/main" id="{30E8AF45-2A63-7066-9B27-DAE68457BDE8}"/>
                    </a:ext>
                  </a:extLst>
                </p:cNvPr>
                <p:cNvSpPr/>
                <p:nvPr/>
              </p:nvSpPr>
              <p:spPr>
                <a:xfrm>
                  <a:off x="6120603" y="4905135"/>
                  <a:ext cx="296396" cy="223077"/>
                </a:xfrm>
                <a:custGeom>
                  <a:avLst/>
                  <a:gdLst>
                    <a:gd name="connsiteX0" fmla="*/ 287817 w 296396"/>
                    <a:gd name="connsiteY0" fmla="*/ 223078 h 223077"/>
                    <a:gd name="connsiteX1" fmla="*/ 8580 w 296396"/>
                    <a:gd name="connsiteY1" fmla="*/ 223078 h 223077"/>
                    <a:gd name="connsiteX2" fmla="*/ 0 w 296396"/>
                    <a:gd name="connsiteY2" fmla="*/ 214498 h 223077"/>
                    <a:gd name="connsiteX3" fmla="*/ 0 w 296396"/>
                    <a:gd name="connsiteY3" fmla="*/ 8580 h 223077"/>
                    <a:gd name="connsiteX4" fmla="*/ 8580 w 296396"/>
                    <a:gd name="connsiteY4" fmla="*/ 0 h 223077"/>
                    <a:gd name="connsiteX5" fmla="*/ 287817 w 296396"/>
                    <a:gd name="connsiteY5" fmla="*/ 0 h 223077"/>
                    <a:gd name="connsiteX6" fmla="*/ 296396 w 296396"/>
                    <a:gd name="connsiteY6" fmla="*/ 8580 h 223077"/>
                    <a:gd name="connsiteX7" fmla="*/ 296396 w 296396"/>
                    <a:gd name="connsiteY7" fmla="*/ 214498 h 223077"/>
                    <a:gd name="connsiteX8" fmla="*/ 287817 w 296396"/>
                    <a:gd name="connsiteY8" fmla="*/ 223078 h 223077"/>
                    <a:gd name="connsiteX9" fmla="*/ 17420 w 296396"/>
                    <a:gd name="connsiteY9" fmla="*/ 205918 h 223077"/>
                    <a:gd name="connsiteX10" fmla="*/ 280537 w 296396"/>
                    <a:gd name="connsiteY10" fmla="*/ 205918 h 223077"/>
                    <a:gd name="connsiteX11" fmla="*/ 280537 w 296396"/>
                    <a:gd name="connsiteY11" fmla="*/ 15860 h 223077"/>
                    <a:gd name="connsiteX12" fmla="*/ 17420 w 296396"/>
                    <a:gd name="connsiteY12" fmla="*/ 15860 h 223077"/>
                    <a:gd name="connsiteX13" fmla="*/ 17420 w 296396"/>
                    <a:gd name="connsiteY13" fmla="*/ 205918 h 223077"/>
                    <a:gd name="connsiteX14" fmla="*/ 17420 w 296396"/>
                    <a:gd name="connsiteY14" fmla="*/ 205918 h 223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6396" h="223077">
                      <a:moveTo>
                        <a:pt x="287817" y="223078"/>
                      </a:moveTo>
                      <a:lnTo>
                        <a:pt x="8580" y="223078"/>
                      </a:lnTo>
                      <a:cubicBezTo>
                        <a:pt x="4420" y="223078"/>
                        <a:pt x="0" y="219958"/>
                        <a:pt x="0" y="214498"/>
                      </a:cubicBezTo>
                      <a:lnTo>
                        <a:pt x="0" y="8580"/>
                      </a:lnTo>
                      <a:cubicBezTo>
                        <a:pt x="0" y="4420"/>
                        <a:pt x="3120" y="0"/>
                        <a:pt x="8580" y="0"/>
                      </a:cubicBezTo>
                      <a:lnTo>
                        <a:pt x="287817" y="0"/>
                      </a:lnTo>
                      <a:cubicBezTo>
                        <a:pt x="291976" y="0"/>
                        <a:pt x="296396" y="3120"/>
                        <a:pt x="296396" y="8580"/>
                      </a:cubicBezTo>
                      <a:lnTo>
                        <a:pt x="296396" y="214498"/>
                      </a:lnTo>
                      <a:cubicBezTo>
                        <a:pt x="295357" y="218658"/>
                        <a:pt x="292237" y="223078"/>
                        <a:pt x="287817" y="223078"/>
                      </a:cubicBezTo>
                      <a:close/>
                      <a:moveTo>
                        <a:pt x="17420" y="205918"/>
                      </a:moveTo>
                      <a:lnTo>
                        <a:pt x="280537" y="205918"/>
                      </a:lnTo>
                      <a:lnTo>
                        <a:pt x="280537" y="15860"/>
                      </a:lnTo>
                      <a:lnTo>
                        <a:pt x="17420" y="15860"/>
                      </a:lnTo>
                      <a:lnTo>
                        <a:pt x="17420" y="205918"/>
                      </a:lnTo>
                      <a:lnTo>
                        <a:pt x="17420" y="205918"/>
                      </a:lnTo>
                      <a:close/>
                    </a:path>
                  </a:pathLst>
                </a:custGeom>
                <a:solidFill>
                  <a:srgbClr val="FFFFFF"/>
                </a:solidFill>
                <a:ln w="2597" cap="flat">
                  <a:noFill/>
                  <a:prstDash val="solid"/>
                  <a:miter/>
                </a:ln>
              </p:spPr>
              <p:txBody>
                <a:bodyPr rtlCol="0" anchor="ctr"/>
                <a:lstStyle/>
                <a:p>
                  <a:endParaRPr lang="en-GB"/>
                </a:p>
              </p:txBody>
            </p:sp>
            <p:grpSp>
              <p:nvGrpSpPr>
                <p:cNvPr id="212" name="Graphic 6">
                  <a:extLst>
                    <a:ext uri="{FF2B5EF4-FFF2-40B4-BE49-F238E27FC236}">
                      <a16:creationId xmlns:a16="http://schemas.microsoft.com/office/drawing/2014/main" id="{BBC72420-26CE-02D2-35ED-880E9B2ED0FF}"/>
                    </a:ext>
                  </a:extLst>
                </p:cNvPr>
                <p:cNvGrpSpPr/>
                <p:nvPr/>
              </p:nvGrpSpPr>
              <p:grpSpPr>
                <a:xfrm>
                  <a:off x="6081603" y="4993274"/>
                  <a:ext cx="56419" cy="48879"/>
                  <a:chOff x="6081603" y="4993274"/>
                  <a:chExt cx="56419" cy="48879"/>
                </a:xfrm>
                <a:solidFill>
                  <a:srgbClr val="FFFFFF"/>
                </a:solidFill>
              </p:grpSpPr>
              <p:sp>
                <p:nvSpPr>
                  <p:cNvPr id="213" name="Freeform: Shape 212">
                    <a:extLst>
                      <a:ext uri="{FF2B5EF4-FFF2-40B4-BE49-F238E27FC236}">
                        <a16:creationId xmlns:a16="http://schemas.microsoft.com/office/drawing/2014/main" id="{00CB73D3-E804-027D-C33C-32305C709B7D}"/>
                      </a:ext>
                    </a:extLst>
                  </p:cNvPr>
                  <p:cNvSpPr/>
                  <p:nvPr/>
                </p:nvSpPr>
                <p:spPr>
                  <a:xfrm>
                    <a:off x="6081603" y="4993274"/>
                    <a:ext cx="56419" cy="17159"/>
                  </a:xfrm>
                  <a:custGeom>
                    <a:avLst/>
                    <a:gdLst>
                      <a:gd name="connsiteX0" fmla="*/ 47840 w 56419"/>
                      <a:gd name="connsiteY0" fmla="*/ 17160 h 17159"/>
                      <a:gd name="connsiteX1" fmla="*/ 8580 w 56419"/>
                      <a:gd name="connsiteY1" fmla="*/ 17160 h 17159"/>
                      <a:gd name="connsiteX2" fmla="*/ 0 w 56419"/>
                      <a:gd name="connsiteY2" fmla="*/ 8580 h 17159"/>
                      <a:gd name="connsiteX3" fmla="*/ 8580 w 56419"/>
                      <a:gd name="connsiteY3" fmla="*/ 0 h 17159"/>
                      <a:gd name="connsiteX4" fmla="*/ 47840 w 56419"/>
                      <a:gd name="connsiteY4" fmla="*/ 0 h 17159"/>
                      <a:gd name="connsiteX5" fmla="*/ 56419 w 56419"/>
                      <a:gd name="connsiteY5" fmla="*/ 8580 h 17159"/>
                      <a:gd name="connsiteX6" fmla="*/ 47840 w 56419"/>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419" h="17159">
                        <a:moveTo>
                          <a:pt x="47840" y="17160"/>
                        </a:moveTo>
                        <a:lnTo>
                          <a:pt x="8580" y="17160"/>
                        </a:lnTo>
                        <a:cubicBezTo>
                          <a:pt x="4420" y="17160"/>
                          <a:pt x="0" y="14040"/>
                          <a:pt x="0" y="8580"/>
                        </a:cubicBezTo>
                        <a:cubicBezTo>
                          <a:pt x="0" y="3380"/>
                          <a:pt x="3120" y="0"/>
                          <a:pt x="8580" y="0"/>
                        </a:cubicBezTo>
                        <a:lnTo>
                          <a:pt x="47840" y="0"/>
                        </a:lnTo>
                        <a:cubicBezTo>
                          <a:pt x="51999" y="0"/>
                          <a:pt x="56419" y="3120"/>
                          <a:pt x="56419" y="8580"/>
                        </a:cubicBezTo>
                        <a:cubicBezTo>
                          <a:pt x="56419" y="13780"/>
                          <a:pt x="51999" y="17160"/>
                          <a:pt x="47840" y="17160"/>
                        </a:cubicBezTo>
                        <a:close/>
                      </a:path>
                    </a:pathLst>
                  </a:custGeom>
                  <a:solidFill>
                    <a:srgbClr val="FFFFFF"/>
                  </a:solidFill>
                  <a:ln w="2597" cap="flat">
                    <a:noFill/>
                    <a:prstDash val="solid"/>
                    <a:miter/>
                  </a:ln>
                </p:spPr>
                <p:txBody>
                  <a:bodyPr rtlCol="0" anchor="ctr"/>
                  <a:lstStyle/>
                  <a:p>
                    <a:endParaRPr lang="en-GB"/>
                  </a:p>
                </p:txBody>
              </p:sp>
              <p:sp>
                <p:nvSpPr>
                  <p:cNvPr id="214" name="Freeform: Shape 213">
                    <a:extLst>
                      <a:ext uri="{FF2B5EF4-FFF2-40B4-BE49-F238E27FC236}">
                        <a16:creationId xmlns:a16="http://schemas.microsoft.com/office/drawing/2014/main" id="{BD90AA97-DE05-5D3C-EF59-E2960BF08927}"/>
                      </a:ext>
                    </a:extLst>
                  </p:cNvPr>
                  <p:cNvSpPr/>
                  <p:nvPr/>
                </p:nvSpPr>
                <p:spPr>
                  <a:xfrm>
                    <a:off x="6081603" y="5024994"/>
                    <a:ext cx="56419" cy="17159"/>
                  </a:xfrm>
                  <a:custGeom>
                    <a:avLst/>
                    <a:gdLst>
                      <a:gd name="connsiteX0" fmla="*/ 47840 w 56419"/>
                      <a:gd name="connsiteY0" fmla="*/ 17160 h 17159"/>
                      <a:gd name="connsiteX1" fmla="*/ 8580 w 56419"/>
                      <a:gd name="connsiteY1" fmla="*/ 17160 h 17159"/>
                      <a:gd name="connsiteX2" fmla="*/ 0 w 56419"/>
                      <a:gd name="connsiteY2" fmla="*/ 8580 h 17159"/>
                      <a:gd name="connsiteX3" fmla="*/ 8580 w 56419"/>
                      <a:gd name="connsiteY3" fmla="*/ 0 h 17159"/>
                      <a:gd name="connsiteX4" fmla="*/ 47840 w 56419"/>
                      <a:gd name="connsiteY4" fmla="*/ 0 h 17159"/>
                      <a:gd name="connsiteX5" fmla="*/ 56419 w 56419"/>
                      <a:gd name="connsiteY5" fmla="*/ 8580 h 17159"/>
                      <a:gd name="connsiteX6" fmla="*/ 47840 w 56419"/>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419" h="17159">
                        <a:moveTo>
                          <a:pt x="47840" y="17160"/>
                        </a:moveTo>
                        <a:lnTo>
                          <a:pt x="8580" y="17160"/>
                        </a:lnTo>
                        <a:cubicBezTo>
                          <a:pt x="4420" y="17160"/>
                          <a:pt x="0" y="14040"/>
                          <a:pt x="0" y="8580"/>
                        </a:cubicBezTo>
                        <a:cubicBezTo>
                          <a:pt x="0" y="3380"/>
                          <a:pt x="3120" y="0"/>
                          <a:pt x="8580" y="0"/>
                        </a:cubicBezTo>
                        <a:lnTo>
                          <a:pt x="47840" y="0"/>
                        </a:lnTo>
                        <a:cubicBezTo>
                          <a:pt x="51999" y="0"/>
                          <a:pt x="56419" y="3120"/>
                          <a:pt x="56419" y="8580"/>
                        </a:cubicBezTo>
                        <a:cubicBezTo>
                          <a:pt x="56419" y="14040"/>
                          <a:pt x="51999" y="17160"/>
                          <a:pt x="47840" y="17160"/>
                        </a:cubicBezTo>
                        <a:close/>
                      </a:path>
                    </a:pathLst>
                  </a:custGeom>
                  <a:solidFill>
                    <a:srgbClr val="FFFFFF"/>
                  </a:solidFill>
                  <a:ln w="2597" cap="flat">
                    <a:noFill/>
                    <a:prstDash val="solid"/>
                    <a:miter/>
                  </a:ln>
                </p:spPr>
                <p:txBody>
                  <a:bodyPr rtlCol="0" anchor="ctr"/>
                  <a:lstStyle/>
                  <a:p>
                    <a:endParaRPr lang="en-GB"/>
                  </a:p>
                </p:txBody>
              </p:sp>
            </p:grpSp>
          </p:grpSp>
          <p:sp>
            <p:nvSpPr>
              <p:cNvPr id="203" name="Freeform: Shape 202">
                <a:extLst>
                  <a:ext uri="{FF2B5EF4-FFF2-40B4-BE49-F238E27FC236}">
                    <a16:creationId xmlns:a16="http://schemas.microsoft.com/office/drawing/2014/main" id="{5186EA4F-F8F9-4F22-1DDF-6B0B684B3836}"/>
                  </a:ext>
                </a:extLst>
              </p:cNvPr>
              <p:cNvSpPr/>
              <p:nvPr/>
            </p:nvSpPr>
            <p:spPr>
              <a:xfrm>
                <a:off x="6368120" y="4939195"/>
                <a:ext cx="17159" cy="150798"/>
              </a:xfrm>
              <a:custGeom>
                <a:avLst/>
                <a:gdLst>
                  <a:gd name="connsiteX0" fmla="*/ 8579 w 17159"/>
                  <a:gd name="connsiteY0" fmla="*/ 150798 h 150798"/>
                  <a:gd name="connsiteX1" fmla="*/ 0 w 17159"/>
                  <a:gd name="connsiteY1" fmla="*/ 142218 h 150798"/>
                  <a:gd name="connsiteX2" fmla="*/ 0 w 17159"/>
                  <a:gd name="connsiteY2" fmla="*/ 8580 h 150798"/>
                  <a:gd name="connsiteX3" fmla="*/ 8579 w 17159"/>
                  <a:gd name="connsiteY3" fmla="*/ 0 h 150798"/>
                  <a:gd name="connsiteX4" fmla="*/ 17159 w 17159"/>
                  <a:gd name="connsiteY4" fmla="*/ 8580 h 150798"/>
                  <a:gd name="connsiteX5" fmla="*/ 17159 w 17159"/>
                  <a:gd name="connsiteY5" fmla="*/ 142218 h 150798"/>
                  <a:gd name="connsiteX6" fmla="*/ 8579 w 17159"/>
                  <a:gd name="connsiteY6" fmla="*/ 150798 h 15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59" h="150798">
                    <a:moveTo>
                      <a:pt x="8579" y="150798"/>
                    </a:moveTo>
                    <a:cubicBezTo>
                      <a:pt x="4420" y="150798"/>
                      <a:pt x="0" y="147678"/>
                      <a:pt x="0" y="142218"/>
                    </a:cubicBezTo>
                    <a:lnTo>
                      <a:pt x="0" y="8580"/>
                    </a:lnTo>
                    <a:cubicBezTo>
                      <a:pt x="0" y="4420"/>
                      <a:pt x="3120" y="0"/>
                      <a:pt x="8579" y="0"/>
                    </a:cubicBezTo>
                    <a:cubicBezTo>
                      <a:pt x="14040" y="0"/>
                      <a:pt x="17159" y="3120"/>
                      <a:pt x="17159" y="8580"/>
                    </a:cubicBezTo>
                    <a:lnTo>
                      <a:pt x="17159" y="142218"/>
                    </a:lnTo>
                    <a:cubicBezTo>
                      <a:pt x="16120" y="146378"/>
                      <a:pt x="12740" y="150798"/>
                      <a:pt x="8579" y="150798"/>
                    </a:cubicBezTo>
                    <a:close/>
                  </a:path>
                </a:pathLst>
              </a:custGeom>
              <a:solidFill>
                <a:srgbClr val="FFFFFF"/>
              </a:solidFill>
              <a:ln w="2597" cap="flat">
                <a:noFill/>
                <a:prstDash val="solid"/>
                <a:miter/>
              </a:ln>
            </p:spPr>
            <p:txBody>
              <a:bodyPr rtlCol="0" anchor="ctr"/>
              <a:lstStyle/>
              <a:p>
                <a:endParaRPr lang="en-GB"/>
              </a:p>
            </p:txBody>
          </p:sp>
          <p:sp>
            <p:nvSpPr>
              <p:cNvPr id="204" name="Freeform: Shape 203">
                <a:extLst>
                  <a:ext uri="{FF2B5EF4-FFF2-40B4-BE49-F238E27FC236}">
                    <a16:creationId xmlns:a16="http://schemas.microsoft.com/office/drawing/2014/main" id="{CF26F936-F0EB-28CF-DAC6-036D4C3E7C1B}"/>
                  </a:ext>
                </a:extLst>
              </p:cNvPr>
              <p:cNvSpPr/>
              <p:nvPr/>
            </p:nvSpPr>
            <p:spPr>
              <a:xfrm>
                <a:off x="6628377" y="4912675"/>
                <a:ext cx="53039" cy="76439"/>
              </a:xfrm>
              <a:custGeom>
                <a:avLst/>
                <a:gdLst>
                  <a:gd name="connsiteX0" fmla="*/ 29640 w 53039"/>
                  <a:gd name="connsiteY0" fmla="*/ 76439 h 76439"/>
                  <a:gd name="connsiteX1" fmla="*/ 25480 w 53039"/>
                  <a:gd name="connsiteY1" fmla="*/ 76439 h 76439"/>
                  <a:gd name="connsiteX2" fmla="*/ 0 w 53039"/>
                  <a:gd name="connsiteY2" fmla="*/ 50959 h 76439"/>
                  <a:gd name="connsiteX3" fmla="*/ 0 w 53039"/>
                  <a:gd name="connsiteY3" fmla="*/ 24440 h 76439"/>
                  <a:gd name="connsiteX4" fmla="*/ 25480 w 53039"/>
                  <a:gd name="connsiteY4" fmla="*/ 0 h 76439"/>
                  <a:gd name="connsiteX5" fmla="*/ 28600 w 53039"/>
                  <a:gd name="connsiteY5" fmla="*/ 0 h 76439"/>
                  <a:gd name="connsiteX6" fmla="*/ 53040 w 53039"/>
                  <a:gd name="connsiteY6" fmla="*/ 24440 h 76439"/>
                  <a:gd name="connsiteX7" fmla="*/ 53040 w 53039"/>
                  <a:gd name="connsiteY7" fmla="*/ 50959 h 76439"/>
                  <a:gd name="connsiteX8" fmla="*/ 29640 w 53039"/>
                  <a:gd name="connsiteY8" fmla="*/ 76439 h 76439"/>
                  <a:gd name="connsiteX9" fmla="*/ 25220 w 53039"/>
                  <a:gd name="connsiteY9" fmla="*/ 15860 h 76439"/>
                  <a:gd name="connsiteX10" fmla="*/ 15600 w 53039"/>
                  <a:gd name="connsiteY10" fmla="*/ 24440 h 76439"/>
                  <a:gd name="connsiteX11" fmla="*/ 15600 w 53039"/>
                  <a:gd name="connsiteY11" fmla="*/ 50959 h 76439"/>
                  <a:gd name="connsiteX12" fmla="*/ 25220 w 53039"/>
                  <a:gd name="connsiteY12" fmla="*/ 60579 h 76439"/>
                  <a:gd name="connsiteX13" fmla="*/ 29380 w 53039"/>
                  <a:gd name="connsiteY13" fmla="*/ 60579 h 76439"/>
                  <a:gd name="connsiteX14" fmla="*/ 37960 w 53039"/>
                  <a:gd name="connsiteY14" fmla="*/ 50959 h 76439"/>
                  <a:gd name="connsiteX15" fmla="*/ 37960 w 53039"/>
                  <a:gd name="connsiteY15" fmla="*/ 25480 h 76439"/>
                  <a:gd name="connsiteX16" fmla="*/ 29380 w 53039"/>
                  <a:gd name="connsiteY16" fmla="*/ 16900 h 76439"/>
                  <a:gd name="connsiteX17" fmla="*/ 25220 w 53039"/>
                  <a:gd name="connsiteY17" fmla="*/ 16900 h 76439"/>
                  <a:gd name="connsiteX18" fmla="*/ 25220 w 53039"/>
                  <a:gd name="connsiteY18" fmla="*/ 15860 h 7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3039" h="76439">
                    <a:moveTo>
                      <a:pt x="29640" y="76439"/>
                    </a:moveTo>
                    <a:lnTo>
                      <a:pt x="25480" y="76439"/>
                    </a:lnTo>
                    <a:cubicBezTo>
                      <a:pt x="11700" y="76439"/>
                      <a:pt x="0" y="64739"/>
                      <a:pt x="0" y="50959"/>
                    </a:cubicBezTo>
                    <a:lnTo>
                      <a:pt x="0" y="24440"/>
                    </a:lnTo>
                    <a:cubicBezTo>
                      <a:pt x="0" y="10660"/>
                      <a:pt x="11700" y="0"/>
                      <a:pt x="25480" y="0"/>
                    </a:cubicBezTo>
                    <a:lnTo>
                      <a:pt x="28600" y="0"/>
                    </a:lnTo>
                    <a:cubicBezTo>
                      <a:pt x="42380" y="0"/>
                      <a:pt x="53040" y="11700"/>
                      <a:pt x="53040" y="24440"/>
                    </a:cubicBezTo>
                    <a:lnTo>
                      <a:pt x="53040" y="50959"/>
                    </a:lnTo>
                    <a:cubicBezTo>
                      <a:pt x="51740" y="65779"/>
                      <a:pt x="42380" y="76439"/>
                      <a:pt x="29640" y="76439"/>
                    </a:cubicBezTo>
                    <a:close/>
                    <a:moveTo>
                      <a:pt x="25220" y="15860"/>
                    </a:moveTo>
                    <a:cubicBezTo>
                      <a:pt x="20020" y="15860"/>
                      <a:pt x="15600" y="21060"/>
                      <a:pt x="15600" y="24440"/>
                    </a:cubicBezTo>
                    <a:lnTo>
                      <a:pt x="15600" y="50959"/>
                    </a:lnTo>
                    <a:cubicBezTo>
                      <a:pt x="15600" y="56159"/>
                      <a:pt x="20800" y="60579"/>
                      <a:pt x="25220" y="60579"/>
                    </a:cubicBezTo>
                    <a:lnTo>
                      <a:pt x="29380" y="60579"/>
                    </a:lnTo>
                    <a:cubicBezTo>
                      <a:pt x="32500" y="60579"/>
                      <a:pt x="36919" y="57459"/>
                      <a:pt x="37960" y="50959"/>
                    </a:cubicBezTo>
                    <a:lnTo>
                      <a:pt x="37960" y="25480"/>
                    </a:lnTo>
                    <a:cubicBezTo>
                      <a:pt x="37960" y="20280"/>
                      <a:pt x="32760" y="16900"/>
                      <a:pt x="29380" y="16900"/>
                    </a:cubicBezTo>
                    <a:lnTo>
                      <a:pt x="25220" y="16900"/>
                    </a:lnTo>
                    <a:lnTo>
                      <a:pt x="25220" y="15860"/>
                    </a:lnTo>
                    <a:close/>
                  </a:path>
                </a:pathLst>
              </a:custGeom>
              <a:solidFill>
                <a:srgbClr val="FFFFFF"/>
              </a:solidFill>
              <a:ln w="2597" cap="flat">
                <a:noFill/>
                <a:prstDash val="solid"/>
                <a:miter/>
              </a:ln>
            </p:spPr>
            <p:txBody>
              <a:bodyPr rtlCol="0" anchor="ctr"/>
              <a:lstStyle/>
              <a:p>
                <a:endParaRPr lang="en-GB"/>
              </a:p>
            </p:txBody>
          </p:sp>
          <p:sp>
            <p:nvSpPr>
              <p:cNvPr id="205" name="Freeform: Shape 204">
                <a:extLst>
                  <a:ext uri="{FF2B5EF4-FFF2-40B4-BE49-F238E27FC236}">
                    <a16:creationId xmlns:a16="http://schemas.microsoft.com/office/drawing/2014/main" id="{3E307670-5B13-AE68-2EB9-AA66DA2A26CB}"/>
                  </a:ext>
                </a:extLst>
              </p:cNvPr>
              <p:cNvSpPr/>
              <p:nvPr/>
            </p:nvSpPr>
            <p:spPr>
              <a:xfrm>
                <a:off x="6628377" y="5000814"/>
                <a:ext cx="53039" cy="76439"/>
              </a:xfrm>
              <a:custGeom>
                <a:avLst/>
                <a:gdLst>
                  <a:gd name="connsiteX0" fmla="*/ 29640 w 53039"/>
                  <a:gd name="connsiteY0" fmla="*/ 76439 h 76439"/>
                  <a:gd name="connsiteX1" fmla="*/ 25480 w 53039"/>
                  <a:gd name="connsiteY1" fmla="*/ 76439 h 76439"/>
                  <a:gd name="connsiteX2" fmla="*/ 0 w 53039"/>
                  <a:gd name="connsiteY2" fmla="*/ 51999 h 76439"/>
                  <a:gd name="connsiteX3" fmla="*/ 0 w 53039"/>
                  <a:gd name="connsiteY3" fmla="*/ 25480 h 76439"/>
                  <a:gd name="connsiteX4" fmla="*/ 25480 w 53039"/>
                  <a:gd name="connsiteY4" fmla="*/ 0 h 76439"/>
                  <a:gd name="connsiteX5" fmla="*/ 28600 w 53039"/>
                  <a:gd name="connsiteY5" fmla="*/ 0 h 76439"/>
                  <a:gd name="connsiteX6" fmla="*/ 53040 w 53039"/>
                  <a:gd name="connsiteY6" fmla="*/ 25480 h 76439"/>
                  <a:gd name="connsiteX7" fmla="*/ 53040 w 53039"/>
                  <a:gd name="connsiteY7" fmla="*/ 51999 h 76439"/>
                  <a:gd name="connsiteX8" fmla="*/ 29640 w 53039"/>
                  <a:gd name="connsiteY8" fmla="*/ 76439 h 76439"/>
                  <a:gd name="connsiteX9" fmla="*/ 25220 w 53039"/>
                  <a:gd name="connsiteY9" fmla="*/ 15860 h 76439"/>
                  <a:gd name="connsiteX10" fmla="*/ 15600 w 53039"/>
                  <a:gd name="connsiteY10" fmla="*/ 25480 h 76439"/>
                  <a:gd name="connsiteX11" fmla="*/ 15600 w 53039"/>
                  <a:gd name="connsiteY11" fmla="*/ 51999 h 76439"/>
                  <a:gd name="connsiteX12" fmla="*/ 25220 w 53039"/>
                  <a:gd name="connsiteY12" fmla="*/ 60579 h 76439"/>
                  <a:gd name="connsiteX13" fmla="*/ 29380 w 53039"/>
                  <a:gd name="connsiteY13" fmla="*/ 60579 h 76439"/>
                  <a:gd name="connsiteX14" fmla="*/ 37960 w 53039"/>
                  <a:gd name="connsiteY14" fmla="*/ 50959 h 76439"/>
                  <a:gd name="connsiteX15" fmla="*/ 37960 w 53039"/>
                  <a:gd name="connsiteY15" fmla="*/ 25480 h 76439"/>
                  <a:gd name="connsiteX16" fmla="*/ 29380 w 53039"/>
                  <a:gd name="connsiteY16" fmla="*/ 15860 h 76439"/>
                  <a:gd name="connsiteX17" fmla="*/ 25220 w 53039"/>
                  <a:gd name="connsiteY17" fmla="*/ 15860 h 7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3039" h="76439">
                    <a:moveTo>
                      <a:pt x="29640" y="76439"/>
                    </a:moveTo>
                    <a:lnTo>
                      <a:pt x="25480" y="76439"/>
                    </a:lnTo>
                    <a:cubicBezTo>
                      <a:pt x="11700" y="76439"/>
                      <a:pt x="0" y="64739"/>
                      <a:pt x="0" y="51999"/>
                    </a:cubicBezTo>
                    <a:lnTo>
                      <a:pt x="0" y="25480"/>
                    </a:lnTo>
                    <a:cubicBezTo>
                      <a:pt x="0" y="11700"/>
                      <a:pt x="11700" y="0"/>
                      <a:pt x="25480" y="0"/>
                    </a:cubicBezTo>
                    <a:lnTo>
                      <a:pt x="28600" y="0"/>
                    </a:lnTo>
                    <a:cubicBezTo>
                      <a:pt x="42380" y="0"/>
                      <a:pt x="53040" y="11700"/>
                      <a:pt x="53040" y="25480"/>
                    </a:cubicBezTo>
                    <a:lnTo>
                      <a:pt x="53040" y="51999"/>
                    </a:lnTo>
                    <a:cubicBezTo>
                      <a:pt x="51740" y="65779"/>
                      <a:pt x="41340" y="76439"/>
                      <a:pt x="29640" y="76439"/>
                    </a:cubicBezTo>
                    <a:close/>
                    <a:moveTo>
                      <a:pt x="25220" y="15860"/>
                    </a:moveTo>
                    <a:cubicBezTo>
                      <a:pt x="20020" y="15860"/>
                      <a:pt x="15600" y="21060"/>
                      <a:pt x="15600" y="25480"/>
                    </a:cubicBezTo>
                    <a:lnTo>
                      <a:pt x="15600" y="51999"/>
                    </a:lnTo>
                    <a:cubicBezTo>
                      <a:pt x="15600" y="57199"/>
                      <a:pt x="20800" y="60579"/>
                      <a:pt x="25220" y="60579"/>
                    </a:cubicBezTo>
                    <a:lnTo>
                      <a:pt x="29380" y="60579"/>
                    </a:lnTo>
                    <a:cubicBezTo>
                      <a:pt x="32500" y="60579"/>
                      <a:pt x="36919" y="56419"/>
                      <a:pt x="37960" y="50959"/>
                    </a:cubicBezTo>
                    <a:lnTo>
                      <a:pt x="37960" y="25480"/>
                    </a:lnTo>
                    <a:cubicBezTo>
                      <a:pt x="37960" y="20280"/>
                      <a:pt x="32760" y="15860"/>
                      <a:pt x="29380" y="15860"/>
                    </a:cubicBezTo>
                    <a:lnTo>
                      <a:pt x="25220" y="15860"/>
                    </a:lnTo>
                    <a:close/>
                  </a:path>
                </a:pathLst>
              </a:custGeom>
              <a:solidFill>
                <a:srgbClr val="FFFFFF"/>
              </a:solidFill>
              <a:ln w="2597" cap="flat">
                <a:noFill/>
                <a:prstDash val="solid"/>
                <a:miter/>
              </a:ln>
            </p:spPr>
            <p:txBody>
              <a:bodyPr rtlCol="0" anchor="ctr"/>
              <a:lstStyle/>
              <a:p>
                <a:endParaRPr lang="en-GB"/>
              </a:p>
            </p:txBody>
          </p:sp>
          <p:sp>
            <p:nvSpPr>
              <p:cNvPr id="206" name="Freeform: Shape 205">
                <a:extLst>
                  <a:ext uri="{FF2B5EF4-FFF2-40B4-BE49-F238E27FC236}">
                    <a16:creationId xmlns:a16="http://schemas.microsoft.com/office/drawing/2014/main" id="{36FB122C-CDA9-BDBA-808C-8FCEAFE2801A}"/>
                  </a:ext>
                </a:extLst>
              </p:cNvPr>
              <p:cNvSpPr/>
              <p:nvPr/>
            </p:nvSpPr>
            <p:spPr>
              <a:xfrm>
                <a:off x="6769555" y="4912675"/>
                <a:ext cx="53414" cy="76439"/>
              </a:xfrm>
              <a:custGeom>
                <a:avLst/>
                <a:gdLst>
                  <a:gd name="connsiteX0" fmla="*/ 28600 w 53414"/>
                  <a:gd name="connsiteY0" fmla="*/ 76439 h 76439"/>
                  <a:gd name="connsiteX1" fmla="*/ 25480 w 53414"/>
                  <a:gd name="connsiteY1" fmla="*/ 76439 h 76439"/>
                  <a:gd name="connsiteX2" fmla="*/ 0 w 53414"/>
                  <a:gd name="connsiteY2" fmla="*/ 50959 h 76439"/>
                  <a:gd name="connsiteX3" fmla="*/ 0 w 53414"/>
                  <a:gd name="connsiteY3" fmla="*/ 24440 h 76439"/>
                  <a:gd name="connsiteX4" fmla="*/ 25480 w 53414"/>
                  <a:gd name="connsiteY4" fmla="*/ 0 h 76439"/>
                  <a:gd name="connsiteX5" fmla="*/ 28600 w 53414"/>
                  <a:gd name="connsiteY5" fmla="*/ 0 h 76439"/>
                  <a:gd name="connsiteX6" fmla="*/ 53039 w 53414"/>
                  <a:gd name="connsiteY6" fmla="*/ 24440 h 76439"/>
                  <a:gd name="connsiteX7" fmla="*/ 53039 w 53414"/>
                  <a:gd name="connsiteY7" fmla="*/ 49920 h 76439"/>
                  <a:gd name="connsiteX8" fmla="*/ 48880 w 53414"/>
                  <a:gd name="connsiteY8" fmla="*/ 66819 h 76439"/>
                  <a:gd name="connsiteX9" fmla="*/ 28600 w 53414"/>
                  <a:gd name="connsiteY9" fmla="*/ 76439 h 76439"/>
                  <a:gd name="connsiteX10" fmla="*/ 25220 w 53414"/>
                  <a:gd name="connsiteY10" fmla="*/ 15860 h 76439"/>
                  <a:gd name="connsiteX11" fmla="*/ 15600 w 53414"/>
                  <a:gd name="connsiteY11" fmla="*/ 24440 h 76439"/>
                  <a:gd name="connsiteX12" fmla="*/ 15600 w 53414"/>
                  <a:gd name="connsiteY12" fmla="*/ 50959 h 76439"/>
                  <a:gd name="connsiteX13" fmla="*/ 25220 w 53414"/>
                  <a:gd name="connsiteY13" fmla="*/ 60579 h 76439"/>
                  <a:gd name="connsiteX14" fmla="*/ 28339 w 53414"/>
                  <a:gd name="connsiteY14" fmla="*/ 60579 h 76439"/>
                  <a:gd name="connsiteX15" fmla="*/ 36919 w 53414"/>
                  <a:gd name="connsiteY15" fmla="*/ 57459 h 76439"/>
                  <a:gd name="connsiteX16" fmla="*/ 37960 w 53414"/>
                  <a:gd name="connsiteY16" fmla="*/ 53299 h 76439"/>
                  <a:gd name="connsiteX17" fmla="*/ 37960 w 53414"/>
                  <a:gd name="connsiteY17" fmla="*/ 52259 h 76439"/>
                  <a:gd name="connsiteX18" fmla="*/ 37960 w 53414"/>
                  <a:gd name="connsiteY18" fmla="*/ 25740 h 76439"/>
                  <a:gd name="connsiteX19" fmla="*/ 29380 w 53414"/>
                  <a:gd name="connsiteY19" fmla="*/ 17160 h 76439"/>
                  <a:gd name="connsiteX20" fmla="*/ 25220 w 53414"/>
                  <a:gd name="connsiteY20" fmla="*/ 17160 h 76439"/>
                  <a:gd name="connsiteX21" fmla="*/ 25220 w 53414"/>
                  <a:gd name="connsiteY21" fmla="*/ 15860 h 76439"/>
                  <a:gd name="connsiteX22" fmla="*/ 25220 w 53414"/>
                  <a:gd name="connsiteY22" fmla="*/ 15860 h 7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3414" h="76439">
                    <a:moveTo>
                      <a:pt x="28600" y="76439"/>
                    </a:moveTo>
                    <a:lnTo>
                      <a:pt x="25480" y="76439"/>
                    </a:lnTo>
                    <a:cubicBezTo>
                      <a:pt x="11700" y="76439"/>
                      <a:pt x="0" y="64739"/>
                      <a:pt x="0" y="50959"/>
                    </a:cubicBezTo>
                    <a:lnTo>
                      <a:pt x="0" y="24440"/>
                    </a:lnTo>
                    <a:cubicBezTo>
                      <a:pt x="0" y="10660"/>
                      <a:pt x="11700" y="0"/>
                      <a:pt x="25480" y="0"/>
                    </a:cubicBezTo>
                    <a:lnTo>
                      <a:pt x="28600" y="0"/>
                    </a:lnTo>
                    <a:cubicBezTo>
                      <a:pt x="42380" y="0"/>
                      <a:pt x="53039" y="11700"/>
                      <a:pt x="53039" y="24440"/>
                    </a:cubicBezTo>
                    <a:lnTo>
                      <a:pt x="53039" y="49920"/>
                    </a:lnTo>
                    <a:cubicBezTo>
                      <a:pt x="54080" y="56159"/>
                      <a:pt x="53039" y="62659"/>
                      <a:pt x="48880" y="66819"/>
                    </a:cubicBezTo>
                    <a:cubicBezTo>
                      <a:pt x="44460" y="72279"/>
                      <a:pt x="36919" y="76439"/>
                      <a:pt x="28600" y="76439"/>
                    </a:cubicBezTo>
                    <a:close/>
                    <a:moveTo>
                      <a:pt x="25220" y="15860"/>
                    </a:moveTo>
                    <a:cubicBezTo>
                      <a:pt x="20020" y="15860"/>
                      <a:pt x="15600" y="21060"/>
                      <a:pt x="15600" y="24440"/>
                    </a:cubicBezTo>
                    <a:lnTo>
                      <a:pt x="15600" y="50959"/>
                    </a:lnTo>
                    <a:cubicBezTo>
                      <a:pt x="15600" y="56159"/>
                      <a:pt x="20800" y="60579"/>
                      <a:pt x="25220" y="60579"/>
                    </a:cubicBezTo>
                    <a:lnTo>
                      <a:pt x="28339" y="60579"/>
                    </a:lnTo>
                    <a:cubicBezTo>
                      <a:pt x="31460" y="60579"/>
                      <a:pt x="34580" y="59539"/>
                      <a:pt x="36919" y="57459"/>
                    </a:cubicBezTo>
                    <a:cubicBezTo>
                      <a:pt x="37960" y="56420"/>
                      <a:pt x="37960" y="55379"/>
                      <a:pt x="37960" y="53299"/>
                    </a:cubicBezTo>
                    <a:lnTo>
                      <a:pt x="37960" y="52259"/>
                    </a:lnTo>
                    <a:lnTo>
                      <a:pt x="37960" y="25740"/>
                    </a:lnTo>
                    <a:cubicBezTo>
                      <a:pt x="37960" y="20540"/>
                      <a:pt x="32760" y="17160"/>
                      <a:pt x="29380" y="17160"/>
                    </a:cubicBezTo>
                    <a:lnTo>
                      <a:pt x="25220" y="17160"/>
                    </a:lnTo>
                    <a:lnTo>
                      <a:pt x="25220" y="15860"/>
                    </a:lnTo>
                    <a:lnTo>
                      <a:pt x="25220" y="15860"/>
                    </a:lnTo>
                    <a:close/>
                  </a:path>
                </a:pathLst>
              </a:custGeom>
              <a:solidFill>
                <a:srgbClr val="FFFFFF"/>
              </a:solidFill>
              <a:ln w="2597" cap="flat">
                <a:noFill/>
                <a:prstDash val="solid"/>
                <a:miter/>
              </a:ln>
            </p:spPr>
            <p:txBody>
              <a:bodyPr rtlCol="0" anchor="ctr"/>
              <a:lstStyle/>
              <a:p>
                <a:endParaRPr lang="en-GB"/>
              </a:p>
            </p:txBody>
          </p:sp>
          <p:sp>
            <p:nvSpPr>
              <p:cNvPr id="207" name="Freeform: Shape 206">
                <a:extLst>
                  <a:ext uri="{FF2B5EF4-FFF2-40B4-BE49-F238E27FC236}">
                    <a16:creationId xmlns:a16="http://schemas.microsoft.com/office/drawing/2014/main" id="{73BA5664-B9C2-78D4-E089-7A3DA02037B1}"/>
                  </a:ext>
                </a:extLst>
              </p:cNvPr>
              <p:cNvSpPr/>
              <p:nvPr/>
            </p:nvSpPr>
            <p:spPr>
              <a:xfrm>
                <a:off x="6769555" y="5000814"/>
                <a:ext cx="53414" cy="76439"/>
              </a:xfrm>
              <a:custGeom>
                <a:avLst/>
                <a:gdLst>
                  <a:gd name="connsiteX0" fmla="*/ 28600 w 53414"/>
                  <a:gd name="connsiteY0" fmla="*/ 76439 h 76439"/>
                  <a:gd name="connsiteX1" fmla="*/ 25480 w 53414"/>
                  <a:gd name="connsiteY1" fmla="*/ 76439 h 76439"/>
                  <a:gd name="connsiteX2" fmla="*/ 0 w 53414"/>
                  <a:gd name="connsiteY2" fmla="*/ 51999 h 76439"/>
                  <a:gd name="connsiteX3" fmla="*/ 0 w 53414"/>
                  <a:gd name="connsiteY3" fmla="*/ 25480 h 76439"/>
                  <a:gd name="connsiteX4" fmla="*/ 25480 w 53414"/>
                  <a:gd name="connsiteY4" fmla="*/ 0 h 76439"/>
                  <a:gd name="connsiteX5" fmla="*/ 28600 w 53414"/>
                  <a:gd name="connsiteY5" fmla="*/ 0 h 76439"/>
                  <a:gd name="connsiteX6" fmla="*/ 53039 w 53414"/>
                  <a:gd name="connsiteY6" fmla="*/ 25480 h 76439"/>
                  <a:gd name="connsiteX7" fmla="*/ 53039 w 53414"/>
                  <a:gd name="connsiteY7" fmla="*/ 50959 h 76439"/>
                  <a:gd name="connsiteX8" fmla="*/ 48880 w 53414"/>
                  <a:gd name="connsiteY8" fmla="*/ 66819 h 76439"/>
                  <a:gd name="connsiteX9" fmla="*/ 28600 w 53414"/>
                  <a:gd name="connsiteY9" fmla="*/ 76439 h 76439"/>
                  <a:gd name="connsiteX10" fmla="*/ 25220 w 53414"/>
                  <a:gd name="connsiteY10" fmla="*/ 15860 h 76439"/>
                  <a:gd name="connsiteX11" fmla="*/ 15600 w 53414"/>
                  <a:gd name="connsiteY11" fmla="*/ 25480 h 76439"/>
                  <a:gd name="connsiteX12" fmla="*/ 15600 w 53414"/>
                  <a:gd name="connsiteY12" fmla="*/ 51999 h 76439"/>
                  <a:gd name="connsiteX13" fmla="*/ 25220 w 53414"/>
                  <a:gd name="connsiteY13" fmla="*/ 60579 h 76439"/>
                  <a:gd name="connsiteX14" fmla="*/ 28339 w 53414"/>
                  <a:gd name="connsiteY14" fmla="*/ 60579 h 76439"/>
                  <a:gd name="connsiteX15" fmla="*/ 36919 w 53414"/>
                  <a:gd name="connsiteY15" fmla="*/ 57459 h 76439"/>
                  <a:gd name="connsiteX16" fmla="*/ 37960 w 53414"/>
                  <a:gd name="connsiteY16" fmla="*/ 53299 h 76439"/>
                  <a:gd name="connsiteX17" fmla="*/ 37960 w 53414"/>
                  <a:gd name="connsiteY17" fmla="*/ 51219 h 76439"/>
                  <a:gd name="connsiteX18" fmla="*/ 37960 w 53414"/>
                  <a:gd name="connsiteY18" fmla="*/ 24700 h 76439"/>
                  <a:gd name="connsiteX19" fmla="*/ 29380 w 53414"/>
                  <a:gd name="connsiteY19" fmla="*/ 15080 h 76439"/>
                  <a:gd name="connsiteX20" fmla="*/ 25220 w 53414"/>
                  <a:gd name="connsiteY20" fmla="*/ 15080 h 76439"/>
                  <a:gd name="connsiteX21" fmla="*/ 25220 w 53414"/>
                  <a:gd name="connsiteY21" fmla="*/ 15860 h 76439"/>
                  <a:gd name="connsiteX22" fmla="*/ 25220 w 53414"/>
                  <a:gd name="connsiteY22" fmla="*/ 15860 h 7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3414" h="76439">
                    <a:moveTo>
                      <a:pt x="28600" y="76439"/>
                    </a:moveTo>
                    <a:lnTo>
                      <a:pt x="25480" y="76439"/>
                    </a:lnTo>
                    <a:cubicBezTo>
                      <a:pt x="11700" y="76439"/>
                      <a:pt x="0" y="64739"/>
                      <a:pt x="0" y="51999"/>
                    </a:cubicBezTo>
                    <a:lnTo>
                      <a:pt x="0" y="25480"/>
                    </a:lnTo>
                    <a:cubicBezTo>
                      <a:pt x="0" y="11700"/>
                      <a:pt x="11700" y="0"/>
                      <a:pt x="25480" y="0"/>
                    </a:cubicBezTo>
                    <a:lnTo>
                      <a:pt x="28600" y="0"/>
                    </a:lnTo>
                    <a:cubicBezTo>
                      <a:pt x="42380" y="0"/>
                      <a:pt x="53039" y="11700"/>
                      <a:pt x="53039" y="25480"/>
                    </a:cubicBezTo>
                    <a:lnTo>
                      <a:pt x="53039" y="50959"/>
                    </a:lnTo>
                    <a:cubicBezTo>
                      <a:pt x="54080" y="57199"/>
                      <a:pt x="53039" y="62659"/>
                      <a:pt x="48880" y="66819"/>
                    </a:cubicBezTo>
                    <a:cubicBezTo>
                      <a:pt x="44460" y="73319"/>
                      <a:pt x="36919" y="76439"/>
                      <a:pt x="28600" y="76439"/>
                    </a:cubicBezTo>
                    <a:close/>
                    <a:moveTo>
                      <a:pt x="25220" y="15860"/>
                    </a:moveTo>
                    <a:cubicBezTo>
                      <a:pt x="20020" y="15860"/>
                      <a:pt x="15600" y="21060"/>
                      <a:pt x="15600" y="25480"/>
                    </a:cubicBezTo>
                    <a:lnTo>
                      <a:pt x="15600" y="51999"/>
                    </a:lnTo>
                    <a:cubicBezTo>
                      <a:pt x="15600" y="57199"/>
                      <a:pt x="20800" y="60579"/>
                      <a:pt x="25220" y="60579"/>
                    </a:cubicBezTo>
                    <a:lnTo>
                      <a:pt x="28339" y="60579"/>
                    </a:lnTo>
                    <a:cubicBezTo>
                      <a:pt x="31460" y="60579"/>
                      <a:pt x="34580" y="59539"/>
                      <a:pt x="36919" y="57459"/>
                    </a:cubicBezTo>
                    <a:cubicBezTo>
                      <a:pt x="37960" y="56419"/>
                      <a:pt x="37960" y="55379"/>
                      <a:pt x="37960" y="53299"/>
                    </a:cubicBezTo>
                    <a:cubicBezTo>
                      <a:pt x="37960" y="52259"/>
                      <a:pt x="37960" y="52259"/>
                      <a:pt x="37960" y="51219"/>
                    </a:cubicBezTo>
                    <a:lnTo>
                      <a:pt x="37960" y="24700"/>
                    </a:lnTo>
                    <a:cubicBezTo>
                      <a:pt x="37960" y="19500"/>
                      <a:pt x="32760" y="15080"/>
                      <a:pt x="29380" y="15080"/>
                    </a:cubicBezTo>
                    <a:lnTo>
                      <a:pt x="25220" y="15080"/>
                    </a:lnTo>
                    <a:lnTo>
                      <a:pt x="25220" y="15860"/>
                    </a:lnTo>
                    <a:lnTo>
                      <a:pt x="25220" y="15860"/>
                    </a:lnTo>
                    <a:close/>
                  </a:path>
                </a:pathLst>
              </a:custGeom>
              <a:solidFill>
                <a:srgbClr val="FFFFFF"/>
              </a:solidFill>
              <a:ln w="2597" cap="flat">
                <a:noFill/>
                <a:prstDash val="solid"/>
                <a:miter/>
              </a:ln>
            </p:spPr>
            <p:txBody>
              <a:bodyPr rtlCol="0" anchor="ctr"/>
              <a:lstStyle/>
              <a:p>
                <a:endParaRPr lang="en-GB"/>
              </a:p>
            </p:txBody>
          </p:sp>
          <p:sp>
            <p:nvSpPr>
              <p:cNvPr id="208" name="Freeform: Shape 207">
                <a:extLst>
                  <a:ext uri="{FF2B5EF4-FFF2-40B4-BE49-F238E27FC236}">
                    <a16:creationId xmlns:a16="http://schemas.microsoft.com/office/drawing/2014/main" id="{7DAC6050-AE70-765C-0D5B-855305FF6638}"/>
                  </a:ext>
                </a:extLst>
              </p:cNvPr>
              <p:cNvSpPr/>
              <p:nvPr/>
            </p:nvSpPr>
            <p:spPr>
              <a:xfrm>
                <a:off x="6700396" y="4963635"/>
                <a:ext cx="53039" cy="76439"/>
              </a:xfrm>
              <a:custGeom>
                <a:avLst/>
                <a:gdLst>
                  <a:gd name="connsiteX0" fmla="*/ 28600 w 53039"/>
                  <a:gd name="connsiteY0" fmla="*/ 76439 h 76439"/>
                  <a:gd name="connsiteX1" fmla="*/ 25480 w 53039"/>
                  <a:gd name="connsiteY1" fmla="*/ 76439 h 76439"/>
                  <a:gd name="connsiteX2" fmla="*/ 0 w 53039"/>
                  <a:gd name="connsiteY2" fmla="*/ 50960 h 76439"/>
                  <a:gd name="connsiteX3" fmla="*/ 0 w 53039"/>
                  <a:gd name="connsiteY3" fmla="*/ 24440 h 76439"/>
                  <a:gd name="connsiteX4" fmla="*/ 25480 w 53039"/>
                  <a:gd name="connsiteY4" fmla="*/ 0 h 76439"/>
                  <a:gd name="connsiteX5" fmla="*/ 28600 w 53039"/>
                  <a:gd name="connsiteY5" fmla="*/ 0 h 76439"/>
                  <a:gd name="connsiteX6" fmla="*/ 53040 w 53039"/>
                  <a:gd name="connsiteY6" fmla="*/ 24440 h 76439"/>
                  <a:gd name="connsiteX7" fmla="*/ 53040 w 53039"/>
                  <a:gd name="connsiteY7" fmla="*/ 50960 h 76439"/>
                  <a:gd name="connsiteX8" fmla="*/ 28600 w 53039"/>
                  <a:gd name="connsiteY8" fmla="*/ 76439 h 76439"/>
                  <a:gd name="connsiteX9" fmla="*/ 25480 w 53039"/>
                  <a:gd name="connsiteY9" fmla="*/ 15860 h 76439"/>
                  <a:gd name="connsiteX10" fmla="*/ 15860 w 53039"/>
                  <a:gd name="connsiteY10" fmla="*/ 24440 h 76439"/>
                  <a:gd name="connsiteX11" fmla="*/ 15860 w 53039"/>
                  <a:gd name="connsiteY11" fmla="*/ 50960 h 76439"/>
                  <a:gd name="connsiteX12" fmla="*/ 25480 w 53039"/>
                  <a:gd name="connsiteY12" fmla="*/ 60579 h 76439"/>
                  <a:gd name="connsiteX13" fmla="*/ 28600 w 53039"/>
                  <a:gd name="connsiteY13" fmla="*/ 60579 h 76439"/>
                  <a:gd name="connsiteX14" fmla="*/ 38220 w 53039"/>
                  <a:gd name="connsiteY14" fmla="*/ 50960 h 76439"/>
                  <a:gd name="connsiteX15" fmla="*/ 38220 w 53039"/>
                  <a:gd name="connsiteY15" fmla="*/ 25480 h 76439"/>
                  <a:gd name="connsiteX16" fmla="*/ 29640 w 53039"/>
                  <a:gd name="connsiteY16" fmla="*/ 16900 h 76439"/>
                  <a:gd name="connsiteX17" fmla="*/ 25480 w 53039"/>
                  <a:gd name="connsiteY17" fmla="*/ 16900 h 76439"/>
                  <a:gd name="connsiteX18" fmla="*/ 25480 w 53039"/>
                  <a:gd name="connsiteY18" fmla="*/ 15860 h 76439"/>
                  <a:gd name="connsiteX19" fmla="*/ 25480 w 53039"/>
                  <a:gd name="connsiteY19" fmla="*/ 15860 h 7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039" h="76439">
                    <a:moveTo>
                      <a:pt x="28600" y="76439"/>
                    </a:moveTo>
                    <a:lnTo>
                      <a:pt x="25480" y="76439"/>
                    </a:lnTo>
                    <a:cubicBezTo>
                      <a:pt x="11700" y="76439"/>
                      <a:pt x="0" y="64739"/>
                      <a:pt x="0" y="50960"/>
                    </a:cubicBezTo>
                    <a:lnTo>
                      <a:pt x="0" y="24440"/>
                    </a:lnTo>
                    <a:cubicBezTo>
                      <a:pt x="0" y="10660"/>
                      <a:pt x="11700" y="0"/>
                      <a:pt x="25480" y="0"/>
                    </a:cubicBezTo>
                    <a:lnTo>
                      <a:pt x="28600" y="0"/>
                    </a:lnTo>
                    <a:cubicBezTo>
                      <a:pt x="42380" y="0"/>
                      <a:pt x="53040" y="11700"/>
                      <a:pt x="53040" y="24440"/>
                    </a:cubicBezTo>
                    <a:lnTo>
                      <a:pt x="53040" y="50960"/>
                    </a:lnTo>
                    <a:cubicBezTo>
                      <a:pt x="51999" y="65779"/>
                      <a:pt x="41340" y="76439"/>
                      <a:pt x="28600" y="76439"/>
                    </a:cubicBezTo>
                    <a:close/>
                    <a:moveTo>
                      <a:pt x="25480" y="15860"/>
                    </a:moveTo>
                    <a:cubicBezTo>
                      <a:pt x="20280" y="15860"/>
                      <a:pt x="15860" y="21060"/>
                      <a:pt x="15860" y="24440"/>
                    </a:cubicBezTo>
                    <a:lnTo>
                      <a:pt x="15860" y="50960"/>
                    </a:lnTo>
                    <a:cubicBezTo>
                      <a:pt x="15860" y="56160"/>
                      <a:pt x="21060" y="60579"/>
                      <a:pt x="25480" y="60579"/>
                    </a:cubicBezTo>
                    <a:lnTo>
                      <a:pt x="28600" y="60579"/>
                    </a:lnTo>
                    <a:cubicBezTo>
                      <a:pt x="32760" y="60579"/>
                      <a:pt x="37180" y="56420"/>
                      <a:pt x="38220" y="50960"/>
                    </a:cubicBezTo>
                    <a:lnTo>
                      <a:pt x="38220" y="25480"/>
                    </a:lnTo>
                    <a:cubicBezTo>
                      <a:pt x="38220" y="20280"/>
                      <a:pt x="33020" y="16900"/>
                      <a:pt x="29640" y="16900"/>
                    </a:cubicBezTo>
                    <a:lnTo>
                      <a:pt x="25480" y="16900"/>
                    </a:lnTo>
                    <a:lnTo>
                      <a:pt x="25480" y="15860"/>
                    </a:lnTo>
                    <a:lnTo>
                      <a:pt x="25480" y="15860"/>
                    </a:lnTo>
                    <a:close/>
                  </a:path>
                </a:pathLst>
              </a:custGeom>
              <a:solidFill>
                <a:srgbClr val="FFFFFF"/>
              </a:solidFill>
              <a:ln w="2597" cap="flat">
                <a:noFill/>
                <a:prstDash val="solid"/>
                <a:miter/>
              </a:ln>
            </p:spPr>
            <p:txBody>
              <a:bodyPr rtlCol="0" anchor="ctr"/>
              <a:lstStyle/>
              <a:p>
                <a:endParaRPr lang="en-GB"/>
              </a:p>
            </p:txBody>
          </p:sp>
          <p:sp>
            <p:nvSpPr>
              <p:cNvPr id="209" name="Freeform: Shape 208">
                <a:extLst>
                  <a:ext uri="{FF2B5EF4-FFF2-40B4-BE49-F238E27FC236}">
                    <a16:creationId xmlns:a16="http://schemas.microsoft.com/office/drawing/2014/main" id="{7973CBE5-1271-3721-E394-E8AF752E8BBF}"/>
                  </a:ext>
                </a:extLst>
              </p:cNvPr>
              <p:cNvSpPr/>
              <p:nvPr/>
            </p:nvSpPr>
            <p:spPr>
              <a:xfrm>
                <a:off x="6700396" y="5051774"/>
                <a:ext cx="53039" cy="76439"/>
              </a:xfrm>
              <a:custGeom>
                <a:avLst/>
                <a:gdLst>
                  <a:gd name="connsiteX0" fmla="*/ 28600 w 53039"/>
                  <a:gd name="connsiteY0" fmla="*/ 76439 h 76439"/>
                  <a:gd name="connsiteX1" fmla="*/ 25480 w 53039"/>
                  <a:gd name="connsiteY1" fmla="*/ 76439 h 76439"/>
                  <a:gd name="connsiteX2" fmla="*/ 0 w 53039"/>
                  <a:gd name="connsiteY2" fmla="*/ 51999 h 76439"/>
                  <a:gd name="connsiteX3" fmla="*/ 0 w 53039"/>
                  <a:gd name="connsiteY3" fmla="*/ 25480 h 76439"/>
                  <a:gd name="connsiteX4" fmla="*/ 25480 w 53039"/>
                  <a:gd name="connsiteY4" fmla="*/ 0 h 76439"/>
                  <a:gd name="connsiteX5" fmla="*/ 28600 w 53039"/>
                  <a:gd name="connsiteY5" fmla="*/ 0 h 76439"/>
                  <a:gd name="connsiteX6" fmla="*/ 53040 w 53039"/>
                  <a:gd name="connsiteY6" fmla="*/ 25480 h 76439"/>
                  <a:gd name="connsiteX7" fmla="*/ 53040 w 53039"/>
                  <a:gd name="connsiteY7" fmla="*/ 51999 h 76439"/>
                  <a:gd name="connsiteX8" fmla="*/ 28600 w 53039"/>
                  <a:gd name="connsiteY8" fmla="*/ 76439 h 76439"/>
                  <a:gd name="connsiteX9" fmla="*/ 25480 w 53039"/>
                  <a:gd name="connsiteY9" fmla="*/ 14820 h 76439"/>
                  <a:gd name="connsiteX10" fmla="*/ 15860 w 53039"/>
                  <a:gd name="connsiteY10" fmla="*/ 24440 h 76439"/>
                  <a:gd name="connsiteX11" fmla="*/ 15860 w 53039"/>
                  <a:gd name="connsiteY11" fmla="*/ 50959 h 76439"/>
                  <a:gd name="connsiteX12" fmla="*/ 25480 w 53039"/>
                  <a:gd name="connsiteY12" fmla="*/ 59539 h 76439"/>
                  <a:gd name="connsiteX13" fmla="*/ 28600 w 53039"/>
                  <a:gd name="connsiteY13" fmla="*/ 59539 h 76439"/>
                  <a:gd name="connsiteX14" fmla="*/ 38220 w 53039"/>
                  <a:gd name="connsiteY14" fmla="*/ 49920 h 76439"/>
                  <a:gd name="connsiteX15" fmla="*/ 38220 w 53039"/>
                  <a:gd name="connsiteY15" fmla="*/ 24440 h 76439"/>
                  <a:gd name="connsiteX16" fmla="*/ 29640 w 53039"/>
                  <a:gd name="connsiteY16" fmla="*/ 14820 h 76439"/>
                  <a:gd name="connsiteX17" fmla="*/ 25480 w 53039"/>
                  <a:gd name="connsiteY17" fmla="*/ 14820 h 7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3039" h="76439">
                    <a:moveTo>
                      <a:pt x="28600" y="76439"/>
                    </a:moveTo>
                    <a:lnTo>
                      <a:pt x="25480" y="76439"/>
                    </a:lnTo>
                    <a:cubicBezTo>
                      <a:pt x="11700" y="76439"/>
                      <a:pt x="0" y="64739"/>
                      <a:pt x="0" y="51999"/>
                    </a:cubicBezTo>
                    <a:lnTo>
                      <a:pt x="0" y="25480"/>
                    </a:lnTo>
                    <a:cubicBezTo>
                      <a:pt x="0" y="11700"/>
                      <a:pt x="11700" y="0"/>
                      <a:pt x="25480" y="0"/>
                    </a:cubicBezTo>
                    <a:lnTo>
                      <a:pt x="28600" y="0"/>
                    </a:lnTo>
                    <a:cubicBezTo>
                      <a:pt x="42380" y="0"/>
                      <a:pt x="53040" y="11700"/>
                      <a:pt x="53040" y="25480"/>
                    </a:cubicBezTo>
                    <a:lnTo>
                      <a:pt x="53040" y="51999"/>
                    </a:lnTo>
                    <a:cubicBezTo>
                      <a:pt x="51999" y="65779"/>
                      <a:pt x="41340" y="76439"/>
                      <a:pt x="28600" y="76439"/>
                    </a:cubicBezTo>
                    <a:close/>
                    <a:moveTo>
                      <a:pt x="25480" y="14820"/>
                    </a:moveTo>
                    <a:cubicBezTo>
                      <a:pt x="20280" y="14820"/>
                      <a:pt x="15860" y="20020"/>
                      <a:pt x="15860" y="24440"/>
                    </a:cubicBezTo>
                    <a:lnTo>
                      <a:pt x="15860" y="50959"/>
                    </a:lnTo>
                    <a:cubicBezTo>
                      <a:pt x="15860" y="56159"/>
                      <a:pt x="21060" y="59539"/>
                      <a:pt x="25480" y="59539"/>
                    </a:cubicBezTo>
                    <a:lnTo>
                      <a:pt x="28600" y="59539"/>
                    </a:lnTo>
                    <a:cubicBezTo>
                      <a:pt x="32760" y="59539"/>
                      <a:pt x="37180" y="55379"/>
                      <a:pt x="38220" y="49920"/>
                    </a:cubicBezTo>
                    <a:lnTo>
                      <a:pt x="38220" y="24440"/>
                    </a:lnTo>
                    <a:cubicBezTo>
                      <a:pt x="38220" y="19240"/>
                      <a:pt x="33020" y="14820"/>
                      <a:pt x="29640" y="14820"/>
                    </a:cubicBezTo>
                    <a:lnTo>
                      <a:pt x="25480" y="14820"/>
                    </a:lnTo>
                    <a:close/>
                  </a:path>
                </a:pathLst>
              </a:custGeom>
              <a:solidFill>
                <a:srgbClr val="FFFFFF"/>
              </a:solidFill>
              <a:ln w="2597" cap="flat">
                <a:noFill/>
                <a:prstDash val="solid"/>
                <a:miter/>
              </a:ln>
            </p:spPr>
            <p:txBody>
              <a:bodyPr rtlCol="0" anchor="ctr"/>
              <a:lstStyle/>
              <a:p>
                <a:endParaRPr lang="en-GB"/>
              </a:p>
            </p:txBody>
          </p:sp>
        </p:grpSp>
      </p:grpSp>
      <p:grpSp>
        <p:nvGrpSpPr>
          <p:cNvPr id="223" name="Graphic 6">
            <a:extLst>
              <a:ext uri="{FF2B5EF4-FFF2-40B4-BE49-F238E27FC236}">
                <a16:creationId xmlns:a16="http://schemas.microsoft.com/office/drawing/2014/main" id="{68CCEB5E-1229-C4A7-E6B3-539C9C1273AD}"/>
              </a:ext>
            </a:extLst>
          </p:cNvPr>
          <p:cNvGrpSpPr/>
          <p:nvPr/>
        </p:nvGrpSpPr>
        <p:grpSpPr>
          <a:xfrm>
            <a:off x="1716138" y="4224267"/>
            <a:ext cx="365308" cy="349363"/>
            <a:chOff x="3683131" y="2521483"/>
            <a:chExt cx="732671" cy="700691"/>
          </a:xfrm>
        </p:grpSpPr>
        <p:grpSp>
          <p:nvGrpSpPr>
            <p:cNvPr id="224" name="Graphic 6">
              <a:extLst>
                <a:ext uri="{FF2B5EF4-FFF2-40B4-BE49-F238E27FC236}">
                  <a16:creationId xmlns:a16="http://schemas.microsoft.com/office/drawing/2014/main" id="{6BFA356B-9EF3-FF6F-E112-EB3BA79D5779}"/>
                </a:ext>
              </a:extLst>
            </p:cNvPr>
            <p:cNvGrpSpPr/>
            <p:nvPr/>
          </p:nvGrpSpPr>
          <p:grpSpPr>
            <a:xfrm>
              <a:off x="3888008" y="2553722"/>
              <a:ext cx="217357" cy="668452"/>
              <a:chOff x="3888008" y="2553722"/>
              <a:chExt cx="217357" cy="668452"/>
            </a:xfrm>
            <a:solidFill>
              <a:srgbClr val="0069FF"/>
            </a:solidFill>
          </p:grpSpPr>
          <p:sp>
            <p:nvSpPr>
              <p:cNvPr id="261" name="Freeform: Shape 260">
                <a:extLst>
                  <a:ext uri="{FF2B5EF4-FFF2-40B4-BE49-F238E27FC236}">
                    <a16:creationId xmlns:a16="http://schemas.microsoft.com/office/drawing/2014/main" id="{85B564A0-9E74-FDAF-1279-BFED4A4E0E2D}"/>
                  </a:ext>
                </a:extLst>
              </p:cNvPr>
              <p:cNvSpPr/>
              <p:nvPr/>
            </p:nvSpPr>
            <p:spPr>
              <a:xfrm>
                <a:off x="3893208" y="2558662"/>
                <a:ext cx="206957" cy="658052"/>
              </a:xfrm>
              <a:custGeom>
                <a:avLst/>
                <a:gdLst>
                  <a:gd name="connsiteX0" fmla="*/ 206958 w 206957"/>
                  <a:gd name="connsiteY0" fmla="*/ 658052 h 658052"/>
                  <a:gd name="connsiteX1" fmla="*/ 0 w 206957"/>
                  <a:gd name="connsiteY1" fmla="*/ 615673 h 658052"/>
                  <a:gd name="connsiteX2" fmla="*/ 0 w 206957"/>
                  <a:gd name="connsiteY2" fmla="*/ 102959 h 658052"/>
                  <a:gd name="connsiteX3" fmla="*/ 0 w 206957"/>
                  <a:gd name="connsiteY3" fmla="*/ 42639 h 658052"/>
                  <a:gd name="connsiteX4" fmla="*/ 206958 w 206957"/>
                  <a:gd name="connsiteY4" fmla="*/ 0 h 658052"/>
                  <a:gd name="connsiteX5" fmla="*/ 206958 w 206957"/>
                  <a:gd name="connsiteY5" fmla="*/ 54079 h 65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957" h="658052">
                    <a:moveTo>
                      <a:pt x="206958" y="658052"/>
                    </a:moveTo>
                    <a:lnTo>
                      <a:pt x="0" y="615673"/>
                    </a:lnTo>
                    <a:lnTo>
                      <a:pt x="0" y="102959"/>
                    </a:lnTo>
                    <a:lnTo>
                      <a:pt x="0" y="42639"/>
                    </a:lnTo>
                    <a:lnTo>
                      <a:pt x="206958" y="0"/>
                    </a:lnTo>
                    <a:lnTo>
                      <a:pt x="206958" y="54079"/>
                    </a:lnTo>
                    <a:close/>
                  </a:path>
                </a:pathLst>
              </a:custGeom>
              <a:solidFill>
                <a:srgbClr val="0069FF"/>
              </a:solidFill>
              <a:ln w="2597" cap="flat">
                <a:noFill/>
                <a:prstDash val="solid"/>
                <a:miter/>
              </a:ln>
            </p:spPr>
            <p:txBody>
              <a:bodyPr rtlCol="0" anchor="ctr"/>
              <a:lstStyle/>
              <a:p>
                <a:endParaRPr lang="en-GB"/>
              </a:p>
            </p:txBody>
          </p:sp>
          <p:sp>
            <p:nvSpPr>
              <p:cNvPr id="262" name="Freeform: Shape 261">
                <a:extLst>
                  <a:ext uri="{FF2B5EF4-FFF2-40B4-BE49-F238E27FC236}">
                    <a16:creationId xmlns:a16="http://schemas.microsoft.com/office/drawing/2014/main" id="{A07FFC92-21EA-61A6-AD83-7229E870E044}"/>
                  </a:ext>
                </a:extLst>
              </p:cNvPr>
              <p:cNvSpPr/>
              <p:nvPr/>
            </p:nvSpPr>
            <p:spPr>
              <a:xfrm>
                <a:off x="3888008" y="2553722"/>
                <a:ext cx="217357" cy="668452"/>
              </a:xfrm>
              <a:custGeom>
                <a:avLst/>
                <a:gdLst>
                  <a:gd name="connsiteX0" fmla="*/ 212158 w 217357"/>
                  <a:gd name="connsiteY0" fmla="*/ 668452 h 668452"/>
                  <a:gd name="connsiteX1" fmla="*/ 211118 w 217357"/>
                  <a:gd name="connsiteY1" fmla="*/ 668452 h 668452"/>
                  <a:gd name="connsiteX2" fmla="*/ 4160 w 217357"/>
                  <a:gd name="connsiteY2" fmla="*/ 626073 h 668452"/>
                  <a:gd name="connsiteX3" fmla="*/ 0 w 217357"/>
                  <a:gd name="connsiteY3" fmla="*/ 620873 h 668452"/>
                  <a:gd name="connsiteX4" fmla="*/ 0 w 217357"/>
                  <a:gd name="connsiteY4" fmla="*/ 47579 h 668452"/>
                  <a:gd name="connsiteX5" fmla="*/ 4160 w 217357"/>
                  <a:gd name="connsiteY5" fmla="*/ 42379 h 668452"/>
                  <a:gd name="connsiteX6" fmla="*/ 211118 w 217357"/>
                  <a:gd name="connsiteY6" fmla="*/ 0 h 668452"/>
                  <a:gd name="connsiteX7" fmla="*/ 215278 w 217357"/>
                  <a:gd name="connsiteY7" fmla="*/ 1040 h 668452"/>
                  <a:gd name="connsiteX8" fmla="*/ 217358 w 217357"/>
                  <a:gd name="connsiteY8" fmla="*/ 5200 h 668452"/>
                  <a:gd name="connsiteX9" fmla="*/ 217358 w 217357"/>
                  <a:gd name="connsiteY9" fmla="*/ 663253 h 668452"/>
                  <a:gd name="connsiteX10" fmla="*/ 215278 w 217357"/>
                  <a:gd name="connsiteY10" fmla="*/ 667412 h 668452"/>
                  <a:gd name="connsiteX11" fmla="*/ 212158 w 217357"/>
                  <a:gd name="connsiteY11" fmla="*/ 668452 h 668452"/>
                  <a:gd name="connsiteX12" fmla="*/ 10660 w 217357"/>
                  <a:gd name="connsiteY12" fmla="*/ 616453 h 668452"/>
                  <a:gd name="connsiteX13" fmla="*/ 206958 w 217357"/>
                  <a:gd name="connsiteY13" fmla="*/ 656753 h 668452"/>
                  <a:gd name="connsiteX14" fmla="*/ 206958 w 217357"/>
                  <a:gd name="connsiteY14" fmla="*/ 11440 h 668452"/>
                  <a:gd name="connsiteX15" fmla="*/ 10660 w 217357"/>
                  <a:gd name="connsiteY15" fmla="*/ 51739 h 668452"/>
                  <a:gd name="connsiteX16" fmla="*/ 10660 w 217357"/>
                  <a:gd name="connsiteY16" fmla="*/ 616453 h 66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7357" h="668452">
                    <a:moveTo>
                      <a:pt x="212158" y="668452"/>
                    </a:moveTo>
                    <a:lnTo>
                      <a:pt x="211118" y="668452"/>
                    </a:lnTo>
                    <a:lnTo>
                      <a:pt x="4160" y="626073"/>
                    </a:lnTo>
                    <a:cubicBezTo>
                      <a:pt x="2080" y="626073"/>
                      <a:pt x="0" y="622953"/>
                      <a:pt x="0" y="620873"/>
                    </a:cubicBezTo>
                    <a:lnTo>
                      <a:pt x="0" y="47579"/>
                    </a:lnTo>
                    <a:cubicBezTo>
                      <a:pt x="0" y="45499"/>
                      <a:pt x="2080" y="43420"/>
                      <a:pt x="4160" y="42379"/>
                    </a:cubicBezTo>
                    <a:lnTo>
                      <a:pt x="211118" y="0"/>
                    </a:lnTo>
                    <a:cubicBezTo>
                      <a:pt x="212158" y="0"/>
                      <a:pt x="214238" y="0"/>
                      <a:pt x="215278" y="1040"/>
                    </a:cubicBezTo>
                    <a:cubicBezTo>
                      <a:pt x="216318" y="2080"/>
                      <a:pt x="217358" y="3120"/>
                      <a:pt x="217358" y="5200"/>
                    </a:cubicBezTo>
                    <a:lnTo>
                      <a:pt x="217358" y="663253"/>
                    </a:lnTo>
                    <a:cubicBezTo>
                      <a:pt x="217358" y="665332"/>
                      <a:pt x="216318" y="666372"/>
                      <a:pt x="215278" y="667412"/>
                    </a:cubicBezTo>
                    <a:cubicBezTo>
                      <a:pt x="214238" y="668452"/>
                      <a:pt x="213198" y="668452"/>
                      <a:pt x="212158" y="668452"/>
                    </a:cubicBezTo>
                    <a:close/>
                    <a:moveTo>
                      <a:pt x="10660" y="616453"/>
                    </a:moveTo>
                    <a:lnTo>
                      <a:pt x="206958" y="656753"/>
                    </a:lnTo>
                    <a:lnTo>
                      <a:pt x="206958" y="11440"/>
                    </a:lnTo>
                    <a:lnTo>
                      <a:pt x="10660" y="51739"/>
                    </a:lnTo>
                    <a:lnTo>
                      <a:pt x="10660" y="616453"/>
                    </a:lnTo>
                    <a:close/>
                  </a:path>
                </a:pathLst>
              </a:custGeom>
              <a:solidFill>
                <a:srgbClr val="0069FF"/>
              </a:solidFill>
              <a:ln w="2597" cap="flat">
                <a:noFill/>
                <a:prstDash val="solid"/>
                <a:miter/>
              </a:ln>
            </p:spPr>
            <p:txBody>
              <a:bodyPr rtlCol="0" anchor="ctr"/>
              <a:lstStyle/>
              <a:p>
                <a:endParaRPr lang="en-GB"/>
              </a:p>
            </p:txBody>
          </p:sp>
        </p:grpSp>
        <p:sp>
          <p:nvSpPr>
            <p:cNvPr id="225" name="Freeform: Shape 224">
              <a:extLst>
                <a:ext uri="{FF2B5EF4-FFF2-40B4-BE49-F238E27FC236}">
                  <a16:creationId xmlns:a16="http://schemas.microsoft.com/office/drawing/2014/main" id="{576426A3-5F39-B303-43C4-D6EA76776365}"/>
                </a:ext>
              </a:extLst>
            </p:cNvPr>
            <p:cNvSpPr/>
            <p:nvPr/>
          </p:nvSpPr>
          <p:spPr>
            <a:xfrm>
              <a:off x="3860449" y="2521483"/>
              <a:ext cx="221517" cy="671832"/>
            </a:xfrm>
            <a:custGeom>
              <a:avLst/>
              <a:gdLst>
                <a:gd name="connsiteX0" fmla="*/ 213198 w 221517"/>
                <a:gd name="connsiteY0" fmla="*/ 671832 h 671832"/>
                <a:gd name="connsiteX1" fmla="*/ 212157 w 221517"/>
                <a:gd name="connsiteY1" fmla="*/ 671832 h 671832"/>
                <a:gd name="connsiteX2" fmla="*/ 6240 w 221517"/>
                <a:gd name="connsiteY2" fmla="*/ 630493 h 671832"/>
                <a:gd name="connsiteX3" fmla="*/ 0 w 221517"/>
                <a:gd name="connsiteY3" fmla="*/ 622953 h 671832"/>
                <a:gd name="connsiteX4" fmla="*/ 0 w 221517"/>
                <a:gd name="connsiteY4" fmla="*/ 48879 h 671832"/>
                <a:gd name="connsiteX5" fmla="*/ 6240 w 221517"/>
                <a:gd name="connsiteY5" fmla="*/ 41339 h 671832"/>
                <a:gd name="connsiteX6" fmla="*/ 212157 w 221517"/>
                <a:gd name="connsiteY6" fmla="*/ 0 h 671832"/>
                <a:gd name="connsiteX7" fmla="*/ 218397 w 221517"/>
                <a:gd name="connsiteY7" fmla="*/ 2080 h 671832"/>
                <a:gd name="connsiteX8" fmla="*/ 221518 w 221517"/>
                <a:gd name="connsiteY8" fmla="*/ 8320 h 671832"/>
                <a:gd name="connsiteX9" fmla="*/ 221518 w 221517"/>
                <a:gd name="connsiteY9" fmla="*/ 665332 h 671832"/>
                <a:gd name="connsiteX10" fmla="*/ 218397 w 221517"/>
                <a:gd name="connsiteY10" fmla="*/ 671572 h 671832"/>
                <a:gd name="connsiteX11" fmla="*/ 213198 w 221517"/>
                <a:gd name="connsiteY11" fmla="*/ 671832 h 671832"/>
                <a:gd name="connsiteX12" fmla="*/ 14820 w 221517"/>
                <a:gd name="connsiteY12" fmla="*/ 616713 h 671832"/>
                <a:gd name="connsiteX13" fmla="*/ 204878 w 221517"/>
                <a:gd name="connsiteY13" fmla="*/ 654932 h 671832"/>
                <a:gd name="connsiteX14" fmla="*/ 204878 w 221517"/>
                <a:gd name="connsiteY14" fmla="*/ 17160 h 671832"/>
                <a:gd name="connsiteX15" fmla="*/ 14820 w 221517"/>
                <a:gd name="connsiteY15" fmla="*/ 55379 h 671832"/>
                <a:gd name="connsiteX16" fmla="*/ 14820 w 221517"/>
                <a:gd name="connsiteY16" fmla="*/ 616713 h 67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1517" h="671832">
                  <a:moveTo>
                    <a:pt x="213198" y="671832"/>
                  </a:moveTo>
                  <a:lnTo>
                    <a:pt x="212157" y="671832"/>
                  </a:lnTo>
                  <a:lnTo>
                    <a:pt x="6240" y="630493"/>
                  </a:lnTo>
                  <a:cubicBezTo>
                    <a:pt x="2080" y="629453"/>
                    <a:pt x="0" y="626333"/>
                    <a:pt x="0" y="622953"/>
                  </a:cubicBezTo>
                  <a:lnTo>
                    <a:pt x="0" y="48879"/>
                  </a:lnTo>
                  <a:cubicBezTo>
                    <a:pt x="0" y="44719"/>
                    <a:pt x="3120" y="41339"/>
                    <a:pt x="6240" y="41339"/>
                  </a:cubicBezTo>
                  <a:lnTo>
                    <a:pt x="212157" y="0"/>
                  </a:lnTo>
                  <a:cubicBezTo>
                    <a:pt x="214238" y="0"/>
                    <a:pt x="216318" y="0"/>
                    <a:pt x="218397" y="2080"/>
                  </a:cubicBezTo>
                  <a:cubicBezTo>
                    <a:pt x="220478" y="4160"/>
                    <a:pt x="221518" y="6240"/>
                    <a:pt x="221518" y="8320"/>
                  </a:cubicBezTo>
                  <a:lnTo>
                    <a:pt x="221518" y="665332"/>
                  </a:lnTo>
                  <a:cubicBezTo>
                    <a:pt x="221518" y="667412"/>
                    <a:pt x="220478" y="669492"/>
                    <a:pt x="218397" y="671572"/>
                  </a:cubicBezTo>
                  <a:cubicBezTo>
                    <a:pt x="216318" y="671832"/>
                    <a:pt x="215278" y="671832"/>
                    <a:pt x="213198" y="671832"/>
                  </a:cubicBezTo>
                  <a:close/>
                  <a:moveTo>
                    <a:pt x="14820" y="616713"/>
                  </a:moveTo>
                  <a:lnTo>
                    <a:pt x="204878" y="654932"/>
                  </a:lnTo>
                  <a:lnTo>
                    <a:pt x="204878" y="17160"/>
                  </a:lnTo>
                  <a:lnTo>
                    <a:pt x="14820" y="55379"/>
                  </a:lnTo>
                  <a:lnTo>
                    <a:pt x="14820" y="616713"/>
                  </a:lnTo>
                  <a:close/>
                </a:path>
              </a:pathLst>
            </a:custGeom>
            <a:solidFill>
              <a:srgbClr val="00005A"/>
            </a:solidFill>
            <a:ln w="2597" cap="flat">
              <a:noFill/>
              <a:prstDash val="solid"/>
              <a:miter/>
            </a:ln>
          </p:spPr>
          <p:txBody>
            <a:bodyPr rtlCol="0" anchor="ctr"/>
            <a:lstStyle/>
            <a:p>
              <a:endParaRPr lang="en-GB"/>
            </a:p>
          </p:txBody>
        </p:sp>
        <p:sp>
          <p:nvSpPr>
            <p:cNvPr id="226" name="Freeform: Shape 225">
              <a:extLst>
                <a:ext uri="{FF2B5EF4-FFF2-40B4-BE49-F238E27FC236}">
                  <a16:creationId xmlns:a16="http://schemas.microsoft.com/office/drawing/2014/main" id="{AD4BBBDE-04D7-2B98-D47C-E003FCD0E0C3}"/>
                </a:ext>
              </a:extLst>
            </p:cNvPr>
            <p:cNvSpPr/>
            <p:nvPr/>
          </p:nvSpPr>
          <p:spPr>
            <a:xfrm>
              <a:off x="3869607" y="2554301"/>
              <a:ext cx="212560" cy="52200"/>
            </a:xfrm>
            <a:custGeom>
              <a:avLst/>
              <a:gdLst>
                <a:gd name="connsiteX0" fmla="*/ 7741 w 212560"/>
                <a:gd name="connsiteY0" fmla="*/ 52201 h 52200"/>
                <a:gd name="connsiteX1" fmla="*/ 201 w 212560"/>
                <a:gd name="connsiteY1" fmla="*/ 45961 h 52200"/>
                <a:gd name="connsiteX2" fmla="*/ 6441 w 212560"/>
                <a:gd name="connsiteY2" fmla="*/ 36341 h 52200"/>
                <a:gd name="connsiteX3" fmla="*/ 202739 w 212560"/>
                <a:gd name="connsiteY3" fmla="*/ 202 h 52200"/>
                <a:gd name="connsiteX4" fmla="*/ 212359 w 212560"/>
                <a:gd name="connsiteY4" fmla="*/ 6442 h 52200"/>
                <a:gd name="connsiteX5" fmla="*/ 206119 w 212560"/>
                <a:gd name="connsiteY5" fmla="*/ 16061 h 52200"/>
                <a:gd name="connsiteX6" fmla="*/ 9822 w 212560"/>
                <a:gd name="connsiteY6" fmla="*/ 52201 h 52200"/>
                <a:gd name="connsiteX7" fmla="*/ 7741 w 212560"/>
                <a:gd name="connsiteY7" fmla="*/ 52201 h 5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560" h="52200">
                  <a:moveTo>
                    <a:pt x="7741" y="52201"/>
                  </a:moveTo>
                  <a:cubicBezTo>
                    <a:pt x="3582" y="52201"/>
                    <a:pt x="201" y="49081"/>
                    <a:pt x="201" y="45961"/>
                  </a:cubicBezTo>
                  <a:cubicBezTo>
                    <a:pt x="-838" y="41801"/>
                    <a:pt x="2282" y="37381"/>
                    <a:pt x="6441" y="36341"/>
                  </a:cubicBezTo>
                  <a:lnTo>
                    <a:pt x="202739" y="202"/>
                  </a:lnTo>
                  <a:cubicBezTo>
                    <a:pt x="206899" y="-838"/>
                    <a:pt x="211319" y="2282"/>
                    <a:pt x="212359" y="6442"/>
                  </a:cubicBezTo>
                  <a:cubicBezTo>
                    <a:pt x="213399" y="10601"/>
                    <a:pt x="210279" y="15021"/>
                    <a:pt x="206119" y="16061"/>
                  </a:cubicBezTo>
                  <a:lnTo>
                    <a:pt x="9822" y="52201"/>
                  </a:lnTo>
                  <a:cubicBezTo>
                    <a:pt x="8782" y="52201"/>
                    <a:pt x="7741" y="52201"/>
                    <a:pt x="7741" y="52201"/>
                  </a:cubicBezTo>
                  <a:close/>
                </a:path>
              </a:pathLst>
            </a:custGeom>
            <a:solidFill>
              <a:srgbClr val="00005A"/>
            </a:solidFill>
            <a:ln w="2597" cap="flat">
              <a:noFill/>
              <a:prstDash val="solid"/>
              <a:miter/>
            </a:ln>
          </p:spPr>
          <p:txBody>
            <a:bodyPr rtlCol="0" anchor="ctr"/>
            <a:lstStyle/>
            <a:p>
              <a:endParaRPr lang="en-GB"/>
            </a:p>
          </p:txBody>
        </p:sp>
        <p:sp>
          <p:nvSpPr>
            <p:cNvPr id="227" name="Freeform: Shape 226">
              <a:extLst>
                <a:ext uri="{FF2B5EF4-FFF2-40B4-BE49-F238E27FC236}">
                  <a16:creationId xmlns:a16="http://schemas.microsoft.com/office/drawing/2014/main" id="{B99BF2FD-9655-A8EE-99E8-A81AB8D0838B}"/>
                </a:ext>
              </a:extLst>
            </p:cNvPr>
            <p:cNvSpPr/>
            <p:nvPr/>
          </p:nvSpPr>
          <p:spPr>
            <a:xfrm>
              <a:off x="3859990" y="2743061"/>
              <a:ext cx="222434" cy="41798"/>
            </a:xfrm>
            <a:custGeom>
              <a:avLst/>
              <a:gdLst>
                <a:gd name="connsiteX0" fmla="*/ 7739 w 222434"/>
                <a:gd name="connsiteY0" fmla="*/ 41798 h 41798"/>
                <a:gd name="connsiteX1" fmla="*/ 199 w 222434"/>
                <a:gd name="connsiteY1" fmla="*/ 34258 h 41798"/>
                <a:gd name="connsiteX2" fmla="*/ 7739 w 222434"/>
                <a:gd name="connsiteY2" fmla="*/ 25678 h 41798"/>
                <a:gd name="connsiteX3" fmla="*/ 213656 w 222434"/>
                <a:gd name="connsiteY3" fmla="*/ 199 h 41798"/>
                <a:gd name="connsiteX4" fmla="*/ 222236 w 222434"/>
                <a:gd name="connsiteY4" fmla="*/ 7739 h 41798"/>
                <a:gd name="connsiteX5" fmla="*/ 214696 w 222434"/>
                <a:gd name="connsiteY5" fmla="*/ 16319 h 41798"/>
                <a:gd name="connsiteX6" fmla="*/ 7739 w 222434"/>
                <a:gd name="connsiteY6" fmla="*/ 41798 h 41798"/>
                <a:gd name="connsiteX7" fmla="*/ 7739 w 222434"/>
                <a:gd name="connsiteY7" fmla="*/ 41798 h 41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434" h="41798">
                  <a:moveTo>
                    <a:pt x="7739" y="41798"/>
                  </a:moveTo>
                  <a:cubicBezTo>
                    <a:pt x="3579" y="41798"/>
                    <a:pt x="199" y="38678"/>
                    <a:pt x="199" y="34258"/>
                  </a:cubicBezTo>
                  <a:cubicBezTo>
                    <a:pt x="-841" y="30098"/>
                    <a:pt x="2279" y="25678"/>
                    <a:pt x="7739" y="25678"/>
                  </a:cubicBezTo>
                  <a:lnTo>
                    <a:pt x="213656" y="199"/>
                  </a:lnTo>
                  <a:cubicBezTo>
                    <a:pt x="217816" y="-841"/>
                    <a:pt x="222236" y="2279"/>
                    <a:pt x="222236" y="7739"/>
                  </a:cubicBezTo>
                  <a:cubicBezTo>
                    <a:pt x="223276" y="11899"/>
                    <a:pt x="220156" y="16319"/>
                    <a:pt x="214696" y="16319"/>
                  </a:cubicBezTo>
                  <a:lnTo>
                    <a:pt x="7739" y="41798"/>
                  </a:lnTo>
                  <a:cubicBezTo>
                    <a:pt x="8779" y="40758"/>
                    <a:pt x="7739" y="41798"/>
                    <a:pt x="7739" y="41798"/>
                  </a:cubicBezTo>
                  <a:close/>
                </a:path>
              </a:pathLst>
            </a:custGeom>
            <a:solidFill>
              <a:srgbClr val="00005A"/>
            </a:solidFill>
            <a:ln w="2597" cap="flat">
              <a:noFill/>
              <a:prstDash val="solid"/>
              <a:miter/>
            </a:ln>
          </p:spPr>
          <p:txBody>
            <a:bodyPr rtlCol="0" anchor="ctr"/>
            <a:lstStyle/>
            <a:p>
              <a:endParaRPr lang="en-GB"/>
            </a:p>
          </p:txBody>
        </p:sp>
        <p:sp>
          <p:nvSpPr>
            <p:cNvPr id="228" name="Freeform: Shape 227">
              <a:extLst>
                <a:ext uri="{FF2B5EF4-FFF2-40B4-BE49-F238E27FC236}">
                  <a16:creationId xmlns:a16="http://schemas.microsoft.com/office/drawing/2014/main" id="{97CB8037-E09C-FD41-644D-48E981DDA69E}"/>
                </a:ext>
              </a:extLst>
            </p:cNvPr>
            <p:cNvSpPr/>
            <p:nvPr/>
          </p:nvSpPr>
          <p:spPr>
            <a:xfrm>
              <a:off x="3860166" y="2965015"/>
              <a:ext cx="221302" cy="44741"/>
            </a:xfrm>
            <a:custGeom>
              <a:avLst/>
              <a:gdLst>
                <a:gd name="connsiteX0" fmla="*/ 213480 w 221302"/>
                <a:gd name="connsiteY0" fmla="*/ 44742 h 44741"/>
                <a:gd name="connsiteX1" fmla="*/ 212440 w 221302"/>
                <a:gd name="connsiteY1" fmla="*/ 44742 h 44741"/>
                <a:gd name="connsiteX2" fmla="*/ 6522 w 221302"/>
                <a:gd name="connsiteY2" fmla="*/ 15102 h 44741"/>
                <a:gd name="connsiteX3" fmla="*/ 282 w 221302"/>
                <a:gd name="connsiteY3" fmla="*/ 6522 h 44741"/>
                <a:gd name="connsiteX4" fmla="*/ 8862 w 221302"/>
                <a:gd name="connsiteY4" fmla="*/ 282 h 44741"/>
                <a:gd name="connsiteX5" fmla="*/ 214780 w 221302"/>
                <a:gd name="connsiteY5" fmla="*/ 29922 h 44741"/>
                <a:gd name="connsiteX6" fmla="*/ 221020 w 221302"/>
                <a:gd name="connsiteY6" fmla="*/ 38502 h 44741"/>
                <a:gd name="connsiteX7" fmla="*/ 213480 w 221302"/>
                <a:gd name="connsiteY7" fmla="*/ 44742 h 44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1302" h="44741">
                  <a:moveTo>
                    <a:pt x="213480" y="44742"/>
                  </a:moveTo>
                  <a:lnTo>
                    <a:pt x="212440" y="44742"/>
                  </a:lnTo>
                  <a:lnTo>
                    <a:pt x="6522" y="15102"/>
                  </a:lnTo>
                  <a:cubicBezTo>
                    <a:pt x="2362" y="14062"/>
                    <a:pt x="-1018" y="10942"/>
                    <a:pt x="282" y="6522"/>
                  </a:cubicBezTo>
                  <a:cubicBezTo>
                    <a:pt x="1322" y="2362"/>
                    <a:pt x="4442" y="-1018"/>
                    <a:pt x="8862" y="282"/>
                  </a:cubicBezTo>
                  <a:lnTo>
                    <a:pt x="214780" y="29922"/>
                  </a:lnTo>
                  <a:cubicBezTo>
                    <a:pt x="218940" y="30962"/>
                    <a:pt x="222320" y="34082"/>
                    <a:pt x="221020" y="38502"/>
                  </a:cubicBezTo>
                  <a:cubicBezTo>
                    <a:pt x="221020" y="42662"/>
                    <a:pt x="217640" y="44742"/>
                    <a:pt x="213480" y="44742"/>
                  </a:cubicBezTo>
                  <a:close/>
                </a:path>
              </a:pathLst>
            </a:custGeom>
            <a:solidFill>
              <a:srgbClr val="00005A"/>
            </a:solidFill>
            <a:ln w="2597" cap="flat">
              <a:noFill/>
              <a:prstDash val="solid"/>
              <a:miter/>
            </a:ln>
          </p:spPr>
          <p:txBody>
            <a:bodyPr rtlCol="0" anchor="ctr"/>
            <a:lstStyle/>
            <a:p>
              <a:endParaRPr lang="en-GB"/>
            </a:p>
          </p:txBody>
        </p:sp>
        <p:sp>
          <p:nvSpPr>
            <p:cNvPr id="229" name="Freeform: Shape 228">
              <a:extLst>
                <a:ext uri="{FF2B5EF4-FFF2-40B4-BE49-F238E27FC236}">
                  <a16:creationId xmlns:a16="http://schemas.microsoft.com/office/drawing/2014/main" id="{1ED68935-29F5-391E-0CF3-37348CFAEB9E}"/>
                </a:ext>
              </a:extLst>
            </p:cNvPr>
            <p:cNvSpPr/>
            <p:nvPr/>
          </p:nvSpPr>
          <p:spPr>
            <a:xfrm>
              <a:off x="3931428" y="2579982"/>
              <a:ext cx="17159" cy="585773"/>
            </a:xfrm>
            <a:custGeom>
              <a:avLst/>
              <a:gdLst>
                <a:gd name="connsiteX0" fmla="*/ 8580 w 17159"/>
                <a:gd name="connsiteY0" fmla="*/ 585773 h 585773"/>
                <a:gd name="connsiteX1" fmla="*/ 0 w 17159"/>
                <a:gd name="connsiteY1" fmla="*/ 577193 h 585773"/>
                <a:gd name="connsiteX2" fmla="*/ 0 w 17159"/>
                <a:gd name="connsiteY2" fmla="*/ 8580 h 585773"/>
                <a:gd name="connsiteX3" fmla="*/ 8580 w 17159"/>
                <a:gd name="connsiteY3" fmla="*/ 0 h 585773"/>
                <a:gd name="connsiteX4" fmla="*/ 17160 w 17159"/>
                <a:gd name="connsiteY4" fmla="*/ 8580 h 585773"/>
                <a:gd name="connsiteX5" fmla="*/ 17160 w 17159"/>
                <a:gd name="connsiteY5" fmla="*/ 577453 h 585773"/>
                <a:gd name="connsiteX6" fmla="*/ 8580 w 17159"/>
                <a:gd name="connsiteY6" fmla="*/ 585773 h 585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59" h="585773">
                  <a:moveTo>
                    <a:pt x="8580" y="585773"/>
                  </a:moveTo>
                  <a:cubicBezTo>
                    <a:pt x="4420" y="585773"/>
                    <a:pt x="0" y="582653"/>
                    <a:pt x="0" y="577193"/>
                  </a:cubicBezTo>
                  <a:lnTo>
                    <a:pt x="0" y="8580"/>
                  </a:lnTo>
                  <a:cubicBezTo>
                    <a:pt x="0" y="4420"/>
                    <a:pt x="3120" y="0"/>
                    <a:pt x="8580" y="0"/>
                  </a:cubicBezTo>
                  <a:cubicBezTo>
                    <a:pt x="13780" y="0"/>
                    <a:pt x="17160" y="3120"/>
                    <a:pt x="17160" y="8580"/>
                  </a:cubicBezTo>
                  <a:lnTo>
                    <a:pt x="17160" y="577453"/>
                  </a:lnTo>
                  <a:cubicBezTo>
                    <a:pt x="16900" y="581613"/>
                    <a:pt x="12740" y="585773"/>
                    <a:pt x="8580" y="585773"/>
                  </a:cubicBezTo>
                  <a:close/>
                </a:path>
              </a:pathLst>
            </a:custGeom>
            <a:solidFill>
              <a:srgbClr val="00005A"/>
            </a:solidFill>
            <a:ln w="2597" cap="flat">
              <a:noFill/>
              <a:prstDash val="solid"/>
              <a:miter/>
            </a:ln>
          </p:spPr>
          <p:txBody>
            <a:bodyPr rtlCol="0" anchor="ctr"/>
            <a:lstStyle/>
            <a:p>
              <a:endParaRPr lang="en-GB"/>
            </a:p>
          </p:txBody>
        </p:sp>
        <p:sp>
          <p:nvSpPr>
            <p:cNvPr id="230" name="Freeform: Shape 229">
              <a:extLst>
                <a:ext uri="{FF2B5EF4-FFF2-40B4-BE49-F238E27FC236}">
                  <a16:creationId xmlns:a16="http://schemas.microsoft.com/office/drawing/2014/main" id="{908FF631-8306-8D6A-2899-09985F71542B}"/>
                </a:ext>
              </a:extLst>
            </p:cNvPr>
            <p:cNvSpPr/>
            <p:nvPr/>
          </p:nvSpPr>
          <p:spPr>
            <a:xfrm>
              <a:off x="3998247" y="2571402"/>
              <a:ext cx="17159" cy="608133"/>
            </a:xfrm>
            <a:custGeom>
              <a:avLst/>
              <a:gdLst>
                <a:gd name="connsiteX0" fmla="*/ 8580 w 17159"/>
                <a:gd name="connsiteY0" fmla="*/ 608133 h 608133"/>
                <a:gd name="connsiteX1" fmla="*/ 0 w 17159"/>
                <a:gd name="connsiteY1" fmla="*/ 599553 h 608133"/>
                <a:gd name="connsiteX2" fmla="*/ 0 w 17159"/>
                <a:gd name="connsiteY2" fmla="*/ 8580 h 608133"/>
                <a:gd name="connsiteX3" fmla="*/ 8580 w 17159"/>
                <a:gd name="connsiteY3" fmla="*/ 0 h 608133"/>
                <a:gd name="connsiteX4" fmla="*/ 17160 w 17159"/>
                <a:gd name="connsiteY4" fmla="*/ 8580 h 608133"/>
                <a:gd name="connsiteX5" fmla="*/ 17160 w 17159"/>
                <a:gd name="connsiteY5" fmla="*/ 599813 h 608133"/>
                <a:gd name="connsiteX6" fmla="*/ 8580 w 17159"/>
                <a:gd name="connsiteY6" fmla="*/ 608133 h 60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59" h="608133">
                  <a:moveTo>
                    <a:pt x="8580" y="608133"/>
                  </a:moveTo>
                  <a:cubicBezTo>
                    <a:pt x="4420" y="608133"/>
                    <a:pt x="0" y="605013"/>
                    <a:pt x="0" y="599553"/>
                  </a:cubicBezTo>
                  <a:lnTo>
                    <a:pt x="0" y="8580"/>
                  </a:lnTo>
                  <a:cubicBezTo>
                    <a:pt x="0" y="4420"/>
                    <a:pt x="3120" y="0"/>
                    <a:pt x="8580" y="0"/>
                  </a:cubicBezTo>
                  <a:cubicBezTo>
                    <a:pt x="13780" y="0"/>
                    <a:pt x="17160" y="3120"/>
                    <a:pt x="17160" y="8580"/>
                  </a:cubicBezTo>
                  <a:lnTo>
                    <a:pt x="17160" y="599813"/>
                  </a:lnTo>
                  <a:cubicBezTo>
                    <a:pt x="17160" y="605013"/>
                    <a:pt x="12740" y="608133"/>
                    <a:pt x="8580" y="608133"/>
                  </a:cubicBezTo>
                  <a:close/>
                </a:path>
              </a:pathLst>
            </a:custGeom>
            <a:solidFill>
              <a:srgbClr val="00005A"/>
            </a:solidFill>
            <a:ln w="2597" cap="flat">
              <a:noFill/>
              <a:prstDash val="solid"/>
              <a:miter/>
            </a:ln>
          </p:spPr>
          <p:txBody>
            <a:bodyPr rtlCol="0" anchor="ctr"/>
            <a:lstStyle/>
            <a:p>
              <a:endParaRPr lang="en-GB"/>
            </a:p>
          </p:txBody>
        </p:sp>
        <p:sp>
          <p:nvSpPr>
            <p:cNvPr id="231" name="Freeform: Shape 230">
              <a:extLst>
                <a:ext uri="{FF2B5EF4-FFF2-40B4-BE49-F238E27FC236}">
                  <a16:creationId xmlns:a16="http://schemas.microsoft.com/office/drawing/2014/main" id="{0837345E-7357-B358-BF91-9949FC76C58F}"/>
                </a:ext>
              </a:extLst>
            </p:cNvPr>
            <p:cNvSpPr/>
            <p:nvPr/>
          </p:nvSpPr>
          <p:spPr>
            <a:xfrm>
              <a:off x="3683131" y="2707121"/>
              <a:ext cx="20279" cy="20279"/>
            </a:xfrm>
            <a:custGeom>
              <a:avLst/>
              <a:gdLst>
                <a:gd name="connsiteX0" fmla="*/ 9620 w 20279"/>
                <a:gd name="connsiteY0" fmla="*/ 20280 h 20279"/>
                <a:gd name="connsiteX1" fmla="*/ 0 w 20279"/>
                <a:gd name="connsiteY1" fmla="*/ 10660 h 20279"/>
                <a:gd name="connsiteX2" fmla="*/ 9620 w 20279"/>
                <a:gd name="connsiteY2" fmla="*/ 0 h 20279"/>
                <a:gd name="connsiteX3" fmla="*/ 20280 w 20279"/>
                <a:gd name="connsiteY3" fmla="*/ 10660 h 20279"/>
                <a:gd name="connsiteX4" fmla="*/ 9620 w 20279"/>
                <a:gd name="connsiteY4" fmla="*/ 20280 h 20279"/>
                <a:gd name="connsiteX5" fmla="*/ 9620 w 20279"/>
                <a:gd name="connsiteY5" fmla="*/ 4420 h 20279"/>
                <a:gd name="connsiteX6" fmla="*/ 4420 w 20279"/>
                <a:gd name="connsiteY6" fmla="*/ 10660 h 20279"/>
                <a:gd name="connsiteX7" fmla="*/ 9620 w 20279"/>
                <a:gd name="connsiteY7" fmla="*/ 15860 h 20279"/>
                <a:gd name="connsiteX8" fmla="*/ 15860 w 20279"/>
                <a:gd name="connsiteY8" fmla="*/ 10660 h 20279"/>
                <a:gd name="connsiteX9" fmla="*/ 9620 w 20279"/>
                <a:gd name="connsiteY9" fmla="*/ 442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9620" y="20280"/>
                  </a:moveTo>
                  <a:cubicBezTo>
                    <a:pt x="4420" y="20280"/>
                    <a:pt x="0" y="16120"/>
                    <a:pt x="0" y="10660"/>
                  </a:cubicBezTo>
                  <a:cubicBezTo>
                    <a:pt x="0" y="5460"/>
                    <a:pt x="4160" y="0"/>
                    <a:pt x="9620" y="0"/>
                  </a:cubicBezTo>
                  <a:cubicBezTo>
                    <a:pt x="14820" y="0"/>
                    <a:pt x="20280" y="4160"/>
                    <a:pt x="20280" y="10660"/>
                  </a:cubicBezTo>
                  <a:cubicBezTo>
                    <a:pt x="20020" y="16120"/>
                    <a:pt x="14820" y="20280"/>
                    <a:pt x="9620" y="20280"/>
                  </a:cubicBezTo>
                  <a:close/>
                  <a:moveTo>
                    <a:pt x="9620" y="4420"/>
                  </a:moveTo>
                  <a:cubicBezTo>
                    <a:pt x="6500" y="4420"/>
                    <a:pt x="4420" y="6500"/>
                    <a:pt x="4420" y="10660"/>
                  </a:cubicBezTo>
                  <a:cubicBezTo>
                    <a:pt x="4420" y="14820"/>
                    <a:pt x="6500" y="15860"/>
                    <a:pt x="9620" y="15860"/>
                  </a:cubicBezTo>
                  <a:cubicBezTo>
                    <a:pt x="12740" y="15860"/>
                    <a:pt x="15860" y="13780"/>
                    <a:pt x="15860" y="10660"/>
                  </a:cubicBezTo>
                  <a:cubicBezTo>
                    <a:pt x="15860" y="7540"/>
                    <a:pt x="12740" y="4420"/>
                    <a:pt x="9620" y="4420"/>
                  </a:cubicBezTo>
                  <a:close/>
                </a:path>
              </a:pathLst>
            </a:custGeom>
            <a:solidFill>
              <a:srgbClr val="00005A"/>
            </a:solidFill>
            <a:ln w="2597" cap="flat">
              <a:noFill/>
              <a:prstDash val="solid"/>
              <a:miter/>
            </a:ln>
          </p:spPr>
          <p:txBody>
            <a:bodyPr rtlCol="0" anchor="ctr"/>
            <a:lstStyle/>
            <a:p>
              <a:endParaRPr lang="en-GB"/>
            </a:p>
          </p:txBody>
        </p:sp>
        <p:sp>
          <p:nvSpPr>
            <p:cNvPr id="232" name="Freeform: Shape 231">
              <a:extLst>
                <a:ext uri="{FF2B5EF4-FFF2-40B4-BE49-F238E27FC236}">
                  <a16:creationId xmlns:a16="http://schemas.microsoft.com/office/drawing/2014/main" id="{39D2DF1A-0A11-EB4B-3523-911309CFEC14}"/>
                </a:ext>
              </a:extLst>
            </p:cNvPr>
            <p:cNvSpPr/>
            <p:nvPr/>
          </p:nvSpPr>
          <p:spPr>
            <a:xfrm>
              <a:off x="3827429" y="2694381"/>
              <a:ext cx="20279" cy="20279"/>
            </a:xfrm>
            <a:custGeom>
              <a:avLst/>
              <a:gdLst>
                <a:gd name="connsiteX0" fmla="*/ 10660 w 20279"/>
                <a:gd name="connsiteY0" fmla="*/ 20280 h 20279"/>
                <a:gd name="connsiteX1" fmla="*/ 0 w 20279"/>
                <a:gd name="connsiteY1" fmla="*/ 9620 h 20279"/>
                <a:gd name="connsiteX2" fmla="*/ 10660 w 20279"/>
                <a:gd name="connsiteY2" fmla="*/ 0 h 20279"/>
                <a:gd name="connsiteX3" fmla="*/ 20280 w 20279"/>
                <a:gd name="connsiteY3" fmla="*/ 9620 h 20279"/>
                <a:gd name="connsiteX4" fmla="*/ 10660 w 20279"/>
                <a:gd name="connsiteY4" fmla="*/ 20280 h 20279"/>
                <a:gd name="connsiteX5" fmla="*/ 10660 w 20279"/>
                <a:gd name="connsiteY5" fmla="*/ 4420 h 20279"/>
                <a:gd name="connsiteX6" fmla="*/ 4420 w 20279"/>
                <a:gd name="connsiteY6" fmla="*/ 9620 h 20279"/>
                <a:gd name="connsiteX7" fmla="*/ 10660 w 20279"/>
                <a:gd name="connsiteY7" fmla="*/ 15860 h 20279"/>
                <a:gd name="connsiteX8" fmla="*/ 15860 w 20279"/>
                <a:gd name="connsiteY8" fmla="*/ 9620 h 20279"/>
                <a:gd name="connsiteX9" fmla="*/ 10660 w 20279"/>
                <a:gd name="connsiteY9" fmla="*/ 442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10660" y="20280"/>
                  </a:moveTo>
                  <a:cubicBezTo>
                    <a:pt x="5460" y="20280"/>
                    <a:pt x="0" y="16120"/>
                    <a:pt x="0" y="9620"/>
                  </a:cubicBezTo>
                  <a:cubicBezTo>
                    <a:pt x="0" y="4420"/>
                    <a:pt x="4160" y="0"/>
                    <a:pt x="10660" y="0"/>
                  </a:cubicBezTo>
                  <a:cubicBezTo>
                    <a:pt x="15860" y="0"/>
                    <a:pt x="20280" y="4160"/>
                    <a:pt x="20280" y="9620"/>
                  </a:cubicBezTo>
                  <a:cubicBezTo>
                    <a:pt x="20280" y="15080"/>
                    <a:pt x="15860" y="20280"/>
                    <a:pt x="10660" y="20280"/>
                  </a:cubicBezTo>
                  <a:close/>
                  <a:moveTo>
                    <a:pt x="10660" y="4420"/>
                  </a:moveTo>
                  <a:cubicBezTo>
                    <a:pt x="7540" y="4420"/>
                    <a:pt x="4420" y="6500"/>
                    <a:pt x="4420" y="9620"/>
                  </a:cubicBezTo>
                  <a:cubicBezTo>
                    <a:pt x="4420" y="12740"/>
                    <a:pt x="6500" y="15860"/>
                    <a:pt x="10660" y="15860"/>
                  </a:cubicBezTo>
                  <a:cubicBezTo>
                    <a:pt x="14820" y="15860"/>
                    <a:pt x="15860" y="13780"/>
                    <a:pt x="15860" y="9620"/>
                  </a:cubicBezTo>
                  <a:cubicBezTo>
                    <a:pt x="15860" y="5460"/>
                    <a:pt x="13780" y="4420"/>
                    <a:pt x="10660" y="4420"/>
                  </a:cubicBezTo>
                  <a:close/>
                </a:path>
              </a:pathLst>
            </a:custGeom>
            <a:solidFill>
              <a:srgbClr val="00005A"/>
            </a:solidFill>
            <a:ln w="2597" cap="flat">
              <a:noFill/>
              <a:prstDash val="solid"/>
              <a:miter/>
            </a:ln>
          </p:spPr>
          <p:txBody>
            <a:bodyPr rtlCol="0" anchor="ctr"/>
            <a:lstStyle/>
            <a:p>
              <a:endParaRPr lang="en-GB"/>
            </a:p>
          </p:txBody>
        </p:sp>
        <p:sp>
          <p:nvSpPr>
            <p:cNvPr id="233" name="Freeform: Shape 232">
              <a:extLst>
                <a:ext uri="{FF2B5EF4-FFF2-40B4-BE49-F238E27FC236}">
                  <a16:creationId xmlns:a16="http://schemas.microsoft.com/office/drawing/2014/main" id="{3EFE5A38-70C4-1D85-1E0E-C3281BA8A1BC}"/>
                </a:ext>
              </a:extLst>
            </p:cNvPr>
            <p:cNvSpPr/>
            <p:nvPr/>
          </p:nvSpPr>
          <p:spPr>
            <a:xfrm>
              <a:off x="3884628" y="2731560"/>
              <a:ext cx="21319" cy="21319"/>
            </a:xfrm>
            <a:custGeom>
              <a:avLst/>
              <a:gdLst>
                <a:gd name="connsiteX0" fmla="*/ 10660 w 21319"/>
                <a:gd name="connsiteY0" fmla="*/ 21320 h 21319"/>
                <a:gd name="connsiteX1" fmla="*/ 0 w 21319"/>
                <a:gd name="connsiteY1" fmla="*/ 10660 h 21319"/>
                <a:gd name="connsiteX2" fmla="*/ 10660 w 21319"/>
                <a:gd name="connsiteY2" fmla="*/ 0 h 21319"/>
                <a:gd name="connsiteX3" fmla="*/ 21320 w 21319"/>
                <a:gd name="connsiteY3" fmla="*/ 10660 h 21319"/>
                <a:gd name="connsiteX4" fmla="*/ 10660 w 21319"/>
                <a:gd name="connsiteY4" fmla="*/ 21320 h 21319"/>
                <a:gd name="connsiteX5" fmla="*/ 10660 w 21319"/>
                <a:gd name="connsiteY5" fmla="*/ 5460 h 21319"/>
                <a:gd name="connsiteX6" fmla="*/ 5460 w 21319"/>
                <a:gd name="connsiteY6" fmla="*/ 10660 h 21319"/>
                <a:gd name="connsiteX7" fmla="*/ 10660 w 21319"/>
                <a:gd name="connsiteY7" fmla="*/ 15860 h 21319"/>
                <a:gd name="connsiteX8" fmla="*/ 15860 w 21319"/>
                <a:gd name="connsiteY8" fmla="*/ 10660 h 21319"/>
                <a:gd name="connsiteX9" fmla="*/ 10660 w 21319"/>
                <a:gd name="connsiteY9" fmla="*/ 5460 h 2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19" h="21319">
                  <a:moveTo>
                    <a:pt x="10660" y="21320"/>
                  </a:moveTo>
                  <a:cubicBezTo>
                    <a:pt x="5460" y="21320"/>
                    <a:pt x="0" y="17160"/>
                    <a:pt x="0" y="10660"/>
                  </a:cubicBezTo>
                  <a:cubicBezTo>
                    <a:pt x="0" y="4160"/>
                    <a:pt x="4160" y="0"/>
                    <a:pt x="10660" y="0"/>
                  </a:cubicBezTo>
                  <a:cubicBezTo>
                    <a:pt x="17160" y="0"/>
                    <a:pt x="21320" y="4160"/>
                    <a:pt x="21320" y="10660"/>
                  </a:cubicBezTo>
                  <a:cubicBezTo>
                    <a:pt x="21320" y="17160"/>
                    <a:pt x="16120" y="21320"/>
                    <a:pt x="10660" y="21320"/>
                  </a:cubicBezTo>
                  <a:close/>
                  <a:moveTo>
                    <a:pt x="10660" y="5460"/>
                  </a:moveTo>
                  <a:cubicBezTo>
                    <a:pt x="7540" y="5460"/>
                    <a:pt x="5460" y="7540"/>
                    <a:pt x="5460" y="10660"/>
                  </a:cubicBezTo>
                  <a:cubicBezTo>
                    <a:pt x="5460" y="13780"/>
                    <a:pt x="7540" y="15860"/>
                    <a:pt x="10660" y="15860"/>
                  </a:cubicBezTo>
                  <a:cubicBezTo>
                    <a:pt x="13780" y="15860"/>
                    <a:pt x="15860" y="13780"/>
                    <a:pt x="15860" y="10660"/>
                  </a:cubicBezTo>
                  <a:cubicBezTo>
                    <a:pt x="15860" y="7540"/>
                    <a:pt x="14040" y="5460"/>
                    <a:pt x="10660" y="5460"/>
                  </a:cubicBezTo>
                  <a:close/>
                </a:path>
              </a:pathLst>
            </a:custGeom>
            <a:solidFill>
              <a:srgbClr val="00005A"/>
            </a:solidFill>
            <a:ln w="2597" cap="flat">
              <a:noFill/>
              <a:prstDash val="solid"/>
              <a:miter/>
            </a:ln>
          </p:spPr>
          <p:txBody>
            <a:bodyPr rtlCol="0" anchor="ctr"/>
            <a:lstStyle/>
            <a:p>
              <a:endParaRPr lang="en-GB"/>
            </a:p>
          </p:txBody>
        </p:sp>
        <p:sp>
          <p:nvSpPr>
            <p:cNvPr id="234" name="Freeform: Shape 233">
              <a:extLst>
                <a:ext uri="{FF2B5EF4-FFF2-40B4-BE49-F238E27FC236}">
                  <a16:creationId xmlns:a16="http://schemas.microsoft.com/office/drawing/2014/main" id="{A397E985-9FEB-CE64-EF71-8C6604576A3E}"/>
                </a:ext>
              </a:extLst>
            </p:cNvPr>
            <p:cNvSpPr/>
            <p:nvPr/>
          </p:nvSpPr>
          <p:spPr>
            <a:xfrm>
              <a:off x="3758530" y="2763540"/>
              <a:ext cx="20279" cy="20279"/>
            </a:xfrm>
            <a:custGeom>
              <a:avLst/>
              <a:gdLst>
                <a:gd name="connsiteX0" fmla="*/ 10660 w 20279"/>
                <a:gd name="connsiteY0" fmla="*/ 20280 h 20279"/>
                <a:gd name="connsiteX1" fmla="*/ 0 w 20279"/>
                <a:gd name="connsiteY1" fmla="*/ 9620 h 20279"/>
                <a:gd name="connsiteX2" fmla="*/ 10660 w 20279"/>
                <a:gd name="connsiteY2" fmla="*/ 0 h 20279"/>
                <a:gd name="connsiteX3" fmla="*/ 20280 w 20279"/>
                <a:gd name="connsiteY3" fmla="*/ 9620 h 20279"/>
                <a:gd name="connsiteX4" fmla="*/ 10660 w 20279"/>
                <a:gd name="connsiteY4" fmla="*/ 20280 h 20279"/>
                <a:gd name="connsiteX5" fmla="*/ 10660 w 20279"/>
                <a:gd name="connsiteY5" fmla="*/ 4160 h 20279"/>
                <a:gd name="connsiteX6" fmla="*/ 4420 w 20279"/>
                <a:gd name="connsiteY6" fmla="*/ 9360 h 20279"/>
                <a:gd name="connsiteX7" fmla="*/ 10660 w 20279"/>
                <a:gd name="connsiteY7" fmla="*/ 15600 h 20279"/>
                <a:gd name="connsiteX8" fmla="*/ 15860 w 20279"/>
                <a:gd name="connsiteY8" fmla="*/ 9360 h 20279"/>
                <a:gd name="connsiteX9" fmla="*/ 10660 w 20279"/>
                <a:gd name="connsiteY9" fmla="*/ 416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10660" y="20280"/>
                  </a:moveTo>
                  <a:cubicBezTo>
                    <a:pt x="5460" y="20280"/>
                    <a:pt x="0" y="16120"/>
                    <a:pt x="0" y="9620"/>
                  </a:cubicBezTo>
                  <a:cubicBezTo>
                    <a:pt x="0" y="4420"/>
                    <a:pt x="4160" y="0"/>
                    <a:pt x="10660" y="0"/>
                  </a:cubicBezTo>
                  <a:cubicBezTo>
                    <a:pt x="15860" y="0"/>
                    <a:pt x="20280" y="4160"/>
                    <a:pt x="20280" y="9620"/>
                  </a:cubicBezTo>
                  <a:cubicBezTo>
                    <a:pt x="20280" y="15080"/>
                    <a:pt x="15860" y="20280"/>
                    <a:pt x="10660" y="20280"/>
                  </a:cubicBezTo>
                  <a:close/>
                  <a:moveTo>
                    <a:pt x="10660" y="4160"/>
                  </a:moveTo>
                  <a:cubicBezTo>
                    <a:pt x="7540" y="4160"/>
                    <a:pt x="4420" y="6240"/>
                    <a:pt x="4420" y="9360"/>
                  </a:cubicBezTo>
                  <a:cubicBezTo>
                    <a:pt x="4420" y="12480"/>
                    <a:pt x="6500" y="15600"/>
                    <a:pt x="10660" y="15600"/>
                  </a:cubicBezTo>
                  <a:cubicBezTo>
                    <a:pt x="14820" y="15600"/>
                    <a:pt x="15860" y="13520"/>
                    <a:pt x="15860" y="9360"/>
                  </a:cubicBezTo>
                  <a:cubicBezTo>
                    <a:pt x="15860" y="5200"/>
                    <a:pt x="13780" y="4160"/>
                    <a:pt x="10660" y="4160"/>
                  </a:cubicBezTo>
                  <a:close/>
                </a:path>
              </a:pathLst>
            </a:custGeom>
            <a:solidFill>
              <a:srgbClr val="00005A"/>
            </a:solidFill>
            <a:ln w="2597" cap="flat">
              <a:noFill/>
              <a:prstDash val="solid"/>
              <a:miter/>
            </a:ln>
          </p:spPr>
          <p:txBody>
            <a:bodyPr rtlCol="0" anchor="ctr"/>
            <a:lstStyle/>
            <a:p>
              <a:endParaRPr lang="en-GB"/>
            </a:p>
          </p:txBody>
        </p:sp>
        <p:sp>
          <p:nvSpPr>
            <p:cNvPr id="235" name="Freeform: Shape 234">
              <a:extLst>
                <a:ext uri="{FF2B5EF4-FFF2-40B4-BE49-F238E27FC236}">
                  <a16:creationId xmlns:a16="http://schemas.microsoft.com/office/drawing/2014/main" id="{CE9E120E-6E9B-37C8-BA42-FBACAB72718D}"/>
                </a:ext>
              </a:extLst>
            </p:cNvPr>
            <p:cNvSpPr/>
            <p:nvPr/>
          </p:nvSpPr>
          <p:spPr>
            <a:xfrm>
              <a:off x="3963147" y="2858959"/>
              <a:ext cx="20279" cy="21319"/>
            </a:xfrm>
            <a:custGeom>
              <a:avLst/>
              <a:gdLst>
                <a:gd name="connsiteX0" fmla="*/ 9620 w 20279"/>
                <a:gd name="connsiteY0" fmla="*/ 21320 h 21319"/>
                <a:gd name="connsiteX1" fmla="*/ 0 w 20279"/>
                <a:gd name="connsiteY1" fmla="*/ 10660 h 21319"/>
                <a:gd name="connsiteX2" fmla="*/ 9620 w 20279"/>
                <a:gd name="connsiteY2" fmla="*/ 0 h 21319"/>
                <a:gd name="connsiteX3" fmla="*/ 20280 w 20279"/>
                <a:gd name="connsiteY3" fmla="*/ 10660 h 21319"/>
                <a:gd name="connsiteX4" fmla="*/ 9620 w 20279"/>
                <a:gd name="connsiteY4" fmla="*/ 21320 h 21319"/>
                <a:gd name="connsiteX5" fmla="*/ 9620 w 20279"/>
                <a:gd name="connsiteY5" fmla="*/ 5460 h 21319"/>
                <a:gd name="connsiteX6" fmla="*/ 4420 w 20279"/>
                <a:gd name="connsiteY6" fmla="*/ 10660 h 21319"/>
                <a:gd name="connsiteX7" fmla="*/ 9620 w 20279"/>
                <a:gd name="connsiteY7" fmla="*/ 15860 h 21319"/>
                <a:gd name="connsiteX8" fmla="*/ 15860 w 20279"/>
                <a:gd name="connsiteY8" fmla="*/ 10660 h 21319"/>
                <a:gd name="connsiteX9" fmla="*/ 9620 w 20279"/>
                <a:gd name="connsiteY9" fmla="*/ 5460 h 2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1319">
                  <a:moveTo>
                    <a:pt x="9620" y="21320"/>
                  </a:moveTo>
                  <a:cubicBezTo>
                    <a:pt x="4420" y="21320"/>
                    <a:pt x="0" y="17160"/>
                    <a:pt x="0" y="10660"/>
                  </a:cubicBezTo>
                  <a:cubicBezTo>
                    <a:pt x="0" y="4160"/>
                    <a:pt x="4160" y="0"/>
                    <a:pt x="9620" y="0"/>
                  </a:cubicBezTo>
                  <a:cubicBezTo>
                    <a:pt x="14820" y="0"/>
                    <a:pt x="20280" y="4160"/>
                    <a:pt x="20280" y="10660"/>
                  </a:cubicBezTo>
                  <a:cubicBezTo>
                    <a:pt x="20280" y="17160"/>
                    <a:pt x="15080" y="21320"/>
                    <a:pt x="9620" y="21320"/>
                  </a:cubicBezTo>
                  <a:close/>
                  <a:moveTo>
                    <a:pt x="9620" y="5460"/>
                  </a:moveTo>
                  <a:cubicBezTo>
                    <a:pt x="6500" y="5460"/>
                    <a:pt x="4420" y="7540"/>
                    <a:pt x="4420" y="10660"/>
                  </a:cubicBezTo>
                  <a:cubicBezTo>
                    <a:pt x="4420" y="13780"/>
                    <a:pt x="6500" y="15860"/>
                    <a:pt x="9620" y="15860"/>
                  </a:cubicBezTo>
                  <a:cubicBezTo>
                    <a:pt x="12740" y="15860"/>
                    <a:pt x="15860" y="13780"/>
                    <a:pt x="15860" y="10660"/>
                  </a:cubicBezTo>
                  <a:cubicBezTo>
                    <a:pt x="15860" y="7540"/>
                    <a:pt x="13000" y="5460"/>
                    <a:pt x="9620" y="5460"/>
                  </a:cubicBezTo>
                  <a:close/>
                </a:path>
              </a:pathLst>
            </a:custGeom>
            <a:solidFill>
              <a:srgbClr val="00005A"/>
            </a:solidFill>
            <a:ln w="2597" cap="flat">
              <a:noFill/>
              <a:prstDash val="solid"/>
              <a:miter/>
            </a:ln>
          </p:spPr>
          <p:txBody>
            <a:bodyPr rtlCol="0" anchor="ctr"/>
            <a:lstStyle/>
            <a:p>
              <a:endParaRPr lang="en-GB"/>
            </a:p>
          </p:txBody>
        </p:sp>
        <p:sp>
          <p:nvSpPr>
            <p:cNvPr id="236" name="Freeform: Shape 235">
              <a:extLst>
                <a:ext uri="{FF2B5EF4-FFF2-40B4-BE49-F238E27FC236}">
                  <a16:creationId xmlns:a16="http://schemas.microsoft.com/office/drawing/2014/main" id="{185B6F48-162F-69E2-9036-26CE10893033}"/>
                </a:ext>
              </a:extLst>
            </p:cNvPr>
            <p:cNvSpPr/>
            <p:nvPr/>
          </p:nvSpPr>
          <p:spPr>
            <a:xfrm>
              <a:off x="3756190" y="2930198"/>
              <a:ext cx="20279" cy="20279"/>
            </a:xfrm>
            <a:custGeom>
              <a:avLst/>
              <a:gdLst>
                <a:gd name="connsiteX0" fmla="*/ 9620 w 20279"/>
                <a:gd name="connsiteY0" fmla="*/ 20280 h 20279"/>
                <a:gd name="connsiteX1" fmla="*/ 0 w 20279"/>
                <a:gd name="connsiteY1" fmla="*/ 10660 h 20279"/>
                <a:gd name="connsiteX2" fmla="*/ 9620 w 20279"/>
                <a:gd name="connsiteY2" fmla="*/ 0 h 20279"/>
                <a:gd name="connsiteX3" fmla="*/ 20280 w 20279"/>
                <a:gd name="connsiteY3" fmla="*/ 10660 h 20279"/>
                <a:gd name="connsiteX4" fmla="*/ 9620 w 20279"/>
                <a:gd name="connsiteY4" fmla="*/ 20280 h 20279"/>
                <a:gd name="connsiteX5" fmla="*/ 9620 w 20279"/>
                <a:gd name="connsiteY5" fmla="*/ 4160 h 20279"/>
                <a:gd name="connsiteX6" fmla="*/ 4420 w 20279"/>
                <a:gd name="connsiteY6" fmla="*/ 10400 h 20279"/>
                <a:gd name="connsiteX7" fmla="*/ 9620 w 20279"/>
                <a:gd name="connsiteY7" fmla="*/ 15600 h 20279"/>
                <a:gd name="connsiteX8" fmla="*/ 15860 w 20279"/>
                <a:gd name="connsiteY8" fmla="*/ 10400 h 20279"/>
                <a:gd name="connsiteX9" fmla="*/ 9620 w 20279"/>
                <a:gd name="connsiteY9" fmla="*/ 416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9620" y="20280"/>
                  </a:moveTo>
                  <a:cubicBezTo>
                    <a:pt x="4420" y="20280"/>
                    <a:pt x="0" y="16120"/>
                    <a:pt x="0" y="10660"/>
                  </a:cubicBezTo>
                  <a:cubicBezTo>
                    <a:pt x="0" y="5460"/>
                    <a:pt x="4160" y="0"/>
                    <a:pt x="9620" y="0"/>
                  </a:cubicBezTo>
                  <a:cubicBezTo>
                    <a:pt x="15080" y="0"/>
                    <a:pt x="20280" y="4160"/>
                    <a:pt x="20280" y="10660"/>
                  </a:cubicBezTo>
                  <a:cubicBezTo>
                    <a:pt x="19240" y="15860"/>
                    <a:pt x="15080" y="20280"/>
                    <a:pt x="9620" y="20280"/>
                  </a:cubicBezTo>
                  <a:close/>
                  <a:moveTo>
                    <a:pt x="9620" y="4160"/>
                  </a:moveTo>
                  <a:cubicBezTo>
                    <a:pt x="6500" y="4160"/>
                    <a:pt x="4420" y="6240"/>
                    <a:pt x="4420" y="10400"/>
                  </a:cubicBezTo>
                  <a:cubicBezTo>
                    <a:pt x="4420" y="14560"/>
                    <a:pt x="6500" y="15600"/>
                    <a:pt x="9620" y="15600"/>
                  </a:cubicBezTo>
                  <a:cubicBezTo>
                    <a:pt x="12740" y="15600"/>
                    <a:pt x="15860" y="13520"/>
                    <a:pt x="15860" y="10400"/>
                  </a:cubicBezTo>
                  <a:cubicBezTo>
                    <a:pt x="15860" y="7280"/>
                    <a:pt x="13000" y="4160"/>
                    <a:pt x="9620" y="4160"/>
                  </a:cubicBezTo>
                  <a:close/>
                </a:path>
              </a:pathLst>
            </a:custGeom>
            <a:solidFill>
              <a:srgbClr val="00005A"/>
            </a:solidFill>
            <a:ln w="2597" cap="flat">
              <a:noFill/>
              <a:prstDash val="solid"/>
              <a:miter/>
            </a:ln>
          </p:spPr>
          <p:txBody>
            <a:bodyPr rtlCol="0" anchor="ctr"/>
            <a:lstStyle/>
            <a:p>
              <a:endParaRPr lang="en-GB"/>
            </a:p>
          </p:txBody>
        </p:sp>
        <p:sp>
          <p:nvSpPr>
            <p:cNvPr id="237" name="Freeform: Shape 236">
              <a:extLst>
                <a:ext uri="{FF2B5EF4-FFF2-40B4-BE49-F238E27FC236}">
                  <a16:creationId xmlns:a16="http://schemas.microsoft.com/office/drawing/2014/main" id="{D1AC826D-B40C-FC52-A2F8-845249CDFFE4}"/>
                </a:ext>
              </a:extLst>
            </p:cNvPr>
            <p:cNvSpPr/>
            <p:nvPr/>
          </p:nvSpPr>
          <p:spPr>
            <a:xfrm>
              <a:off x="3756190" y="3103096"/>
              <a:ext cx="20279" cy="21319"/>
            </a:xfrm>
            <a:custGeom>
              <a:avLst/>
              <a:gdLst>
                <a:gd name="connsiteX0" fmla="*/ 9620 w 20279"/>
                <a:gd name="connsiteY0" fmla="*/ 21320 h 21319"/>
                <a:gd name="connsiteX1" fmla="*/ 0 w 20279"/>
                <a:gd name="connsiteY1" fmla="*/ 10660 h 21319"/>
                <a:gd name="connsiteX2" fmla="*/ 9620 w 20279"/>
                <a:gd name="connsiteY2" fmla="*/ 0 h 21319"/>
                <a:gd name="connsiteX3" fmla="*/ 20280 w 20279"/>
                <a:gd name="connsiteY3" fmla="*/ 10660 h 21319"/>
                <a:gd name="connsiteX4" fmla="*/ 9620 w 20279"/>
                <a:gd name="connsiteY4" fmla="*/ 21320 h 21319"/>
                <a:gd name="connsiteX5" fmla="*/ 9620 w 20279"/>
                <a:gd name="connsiteY5" fmla="*/ 5460 h 21319"/>
                <a:gd name="connsiteX6" fmla="*/ 4420 w 20279"/>
                <a:gd name="connsiteY6" fmla="*/ 10660 h 21319"/>
                <a:gd name="connsiteX7" fmla="*/ 9620 w 20279"/>
                <a:gd name="connsiteY7" fmla="*/ 15860 h 21319"/>
                <a:gd name="connsiteX8" fmla="*/ 15860 w 20279"/>
                <a:gd name="connsiteY8" fmla="*/ 10660 h 21319"/>
                <a:gd name="connsiteX9" fmla="*/ 9620 w 20279"/>
                <a:gd name="connsiteY9" fmla="*/ 5460 h 2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1319">
                  <a:moveTo>
                    <a:pt x="9620" y="21320"/>
                  </a:moveTo>
                  <a:cubicBezTo>
                    <a:pt x="4420" y="21320"/>
                    <a:pt x="0" y="17160"/>
                    <a:pt x="0" y="10660"/>
                  </a:cubicBezTo>
                  <a:cubicBezTo>
                    <a:pt x="0" y="4160"/>
                    <a:pt x="4160" y="0"/>
                    <a:pt x="9620" y="0"/>
                  </a:cubicBezTo>
                  <a:cubicBezTo>
                    <a:pt x="15080" y="0"/>
                    <a:pt x="20280" y="4160"/>
                    <a:pt x="20280" y="10660"/>
                  </a:cubicBezTo>
                  <a:cubicBezTo>
                    <a:pt x="20280" y="17160"/>
                    <a:pt x="15080" y="21320"/>
                    <a:pt x="9620" y="21320"/>
                  </a:cubicBezTo>
                  <a:close/>
                  <a:moveTo>
                    <a:pt x="9620" y="5460"/>
                  </a:moveTo>
                  <a:cubicBezTo>
                    <a:pt x="6500" y="5460"/>
                    <a:pt x="4420" y="7540"/>
                    <a:pt x="4420" y="10660"/>
                  </a:cubicBezTo>
                  <a:cubicBezTo>
                    <a:pt x="4420" y="13780"/>
                    <a:pt x="6500" y="15860"/>
                    <a:pt x="9620" y="15860"/>
                  </a:cubicBezTo>
                  <a:cubicBezTo>
                    <a:pt x="12740" y="15860"/>
                    <a:pt x="15860" y="13780"/>
                    <a:pt x="15860" y="10660"/>
                  </a:cubicBezTo>
                  <a:cubicBezTo>
                    <a:pt x="15860" y="7540"/>
                    <a:pt x="13000" y="5460"/>
                    <a:pt x="9620" y="5460"/>
                  </a:cubicBezTo>
                  <a:close/>
                </a:path>
              </a:pathLst>
            </a:custGeom>
            <a:solidFill>
              <a:srgbClr val="00005A"/>
            </a:solidFill>
            <a:ln w="2597" cap="flat">
              <a:noFill/>
              <a:prstDash val="solid"/>
              <a:miter/>
            </a:ln>
          </p:spPr>
          <p:txBody>
            <a:bodyPr rtlCol="0" anchor="ctr"/>
            <a:lstStyle/>
            <a:p>
              <a:endParaRPr lang="en-GB"/>
            </a:p>
          </p:txBody>
        </p:sp>
        <p:sp>
          <p:nvSpPr>
            <p:cNvPr id="238" name="Freeform: Shape 237">
              <a:extLst>
                <a:ext uri="{FF2B5EF4-FFF2-40B4-BE49-F238E27FC236}">
                  <a16:creationId xmlns:a16="http://schemas.microsoft.com/office/drawing/2014/main" id="{6E90826F-C06D-1327-4A40-77790BE7DEAC}"/>
                </a:ext>
              </a:extLst>
            </p:cNvPr>
            <p:cNvSpPr/>
            <p:nvPr/>
          </p:nvSpPr>
          <p:spPr>
            <a:xfrm>
              <a:off x="3827429" y="2868579"/>
              <a:ext cx="20279" cy="20279"/>
            </a:xfrm>
            <a:custGeom>
              <a:avLst/>
              <a:gdLst>
                <a:gd name="connsiteX0" fmla="*/ 10660 w 20279"/>
                <a:gd name="connsiteY0" fmla="*/ 20280 h 20279"/>
                <a:gd name="connsiteX1" fmla="*/ 0 w 20279"/>
                <a:gd name="connsiteY1" fmla="*/ 9620 h 20279"/>
                <a:gd name="connsiteX2" fmla="*/ 10660 w 20279"/>
                <a:gd name="connsiteY2" fmla="*/ 0 h 20279"/>
                <a:gd name="connsiteX3" fmla="*/ 20280 w 20279"/>
                <a:gd name="connsiteY3" fmla="*/ 9620 h 20279"/>
                <a:gd name="connsiteX4" fmla="*/ 10660 w 20279"/>
                <a:gd name="connsiteY4" fmla="*/ 20280 h 20279"/>
                <a:gd name="connsiteX5" fmla="*/ 10660 w 20279"/>
                <a:gd name="connsiteY5" fmla="*/ 3120 h 20279"/>
                <a:gd name="connsiteX6" fmla="*/ 4420 w 20279"/>
                <a:gd name="connsiteY6" fmla="*/ 8320 h 20279"/>
                <a:gd name="connsiteX7" fmla="*/ 10660 w 20279"/>
                <a:gd name="connsiteY7" fmla="*/ 14560 h 20279"/>
                <a:gd name="connsiteX8" fmla="*/ 15860 w 20279"/>
                <a:gd name="connsiteY8" fmla="*/ 8320 h 20279"/>
                <a:gd name="connsiteX9" fmla="*/ 10660 w 20279"/>
                <a:gd name="connsiteY9" fmla="*/ 312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10660" y="20280"/>
                  </a:moveTo>
                  <a:cubicBezTo>
                    <a:pt x="5460" y="20280"/>
                    <a:pt x="0" y="16120"/>
                    <a:pt x="0" y="9620"/>
                  </a:cubicBezTo>
                  <a:cubicBezTo>
                    <a:pt x="0" y="4420"/>
                    <a:pt x="4160" y="0"/>
                    <a:pt x="10660" y="0"/>
                  </a:cubicBezTo>
                  <a:cubicBezTo>
                    <a:pt x="15860" y="0"/>
                    <a:pt x="20280" y="4160"/>
                    <a:pt x="20280" y="9620"/>
                  </a:cubicBezTo>
                  <a:cubicBezTo>
                    <a:pt x="20280" y="15080"/>
                    <a:pt x="15860" y="20280"/>
                    <a:pt x="10660" y="20280"/>
                  </a:cubicBezTo>
                  <a:close/>
                  <a:moveTo>
                    <a:pt x="10660" y="3120"/>
                  </a:moveTo>
                  <a:cubicBezTo>
                    <a:pt x="7540" y="3120"/>
                    <a:pt x="4420" y="5200"/>
                    <a:pt x="4420" y="8320"/>
                  </a:cubicBezTo>
                  <a:cubicBezTo>
                    <a:pt x="4420" y="11440"/>
                    <a:pt x="6500" y="14560"/>
                    <a:pt x="10660" y="14560"/>
                  </a:cubicBezTo>
                  <a:cubicBezTo>
                    <a:pt x="14820" y="14560"/>
                    <a:pt x="15860" y="12480"/>
                    <a:pt x="15860" y="8320"/>
                  </a:cubicBezTo>
                  <a:cubicBezTo>
                    <a:pt x="15860" y="4420"/>
                    <a:pt x="13780" y="3120"/>
                    <a:pt x="10660" y="3120"/>
                  </a:cubicBezTo>
                  <a:close/>
                </a:path>
              </a:pathLst>
            </a:custGeom>
            <a:solidFill>
              <a:srgbClr val="00005A"/>
            </a:solidFill>
            <a:ln w="2597" cap="flat">
              <a:noFill/>
              <a:prstDash val="solid"/>
              <a:miter/>
            </a:ln>
          </p:spPr>
          <p:txBody>
            <a:bodyPr rtlCol="0" anchor="ctr"/>
            <a:lstStyle/>
            <a:p>
              <a:endParaRPr lang="en-GB"/>
            </a:p>
          </p:txBody>
        </p:sp>
        <p:sp>
          <p:nvSpPr>
            <p:cNvPr id="239" name="Freeform: Shape 238">
              <a:extLst>
                <a:ext uri="{FF2B5EF4-FFF2-40B4-BE49-F238E27FC236}">
                  <a16:creationId xmlns:a16="http://schemas.microsoft.com/office/drawing/2014/main" id="{012A4336-8BDE-4203-3EFF-814B04D4EBDC}"/>
                </a:ext>
              </a:extLst>
            </p:cNvPr>
            <p:cNvSpPr/>
            <p:nvPr/>
          </p:nvSpPr>
          <p:spPr>
            <a:xfrm>
              <a:off x="3827429" y="3039397"/>
              <a:ext cx="20279" cy="21319"/>
            </a:xfrm>
            <a:custGeom>
              <a:avLst/>
              <a:gdLst>
                <a:gd name="connsiteX0" fmla="*/ 10660 w 20279"/>
                <a:gd name="connsiteY0" fmla="*/ 21320 h 21319"/>
                <a:gd name="connsiteX1" fmla="*/ 0 w 20279"/>
                <a:gd name="connsiteY1" fmla="*/ 10660 h 21319"/>
                <a:gd name="connsiteX2" fmla="*/ 10660 w 20279"/>
                <a:gd name="connsiteY2" fmla="*/ 0 h 21319"/>
                <a:gd name="connsiteX3" fmla="*/ 20280 w 20279"/>
                <a:gd name="connsiteY3" fmla="*/ 10660 h 21319"/>
                <a:gd name="connsiteX4" fmla="*/ 10660 w 20279"/>
                <a:gd name="connsiteY4" fmla="*/ 21320 h 21319"/>
                <a:gd name="connsiteX5" fmla="*/ 10660 w 20279"/>
                <a:gd name="connsiteY5" fmla="*/ 5460 h 21319"/>
                <a:gd name="connsiteX6" fmla="*/ 4420 w 20279"/>
                <a:gd name="connsiteY6" fmla="*/ 10660 h 21319"/>
                <a:gd name="connsiteX7" fmla="*/ 10660 w 20279"/>
                <a:gd name="connsiteY7" fmla="*/ 15860 h 21319"/>
                <a:gd name="connsiteX8" fmla="*/ 15860 w 20279"/>
                <a:gd name="connsiteY8" fmla="*/ 10660 h 21319"/>
                <a:gd name="connsiteX9" fmla="*/ 10660 w 20279"/>
                <a:gd name="connsiteY9" fmla="*/ 5460 h 2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1319">
                  <a:moveTo>
                    <a:pt x="10660" y="21320"/>
                  </a:moveTo>
                  <a:cubicBezTo>
                    <a:pt x="5460" y="21320"/>
                    <a:pt x="0" y="17160"/>
                    <a:pt x="0" y="10660"/>
                  </a:cubicBezTo>
                  <a:cubicBezTo>
                    <a:pt x="0" y="4160"/>
                    <a:pt x="4160" y="0"/>
                    <a:pt x="10660" y="0"/>
                  </a:cubicBezTo>
                  <a:cubicBezTo>
                    <a:pt x="15860" y="0"/>
                    <a:pt x="20280" y="4160"/>
                    <a:pt x="20280" y="10660"/>
                  </a:cubicBezTo>
                  <a:cubicBezTo>
                    <a:pt x="20280" y="17160"/>
                    <a:pt x="15860" y="21320"/>
                    <a:pt x="10660" y="21320"/>
                  </a:cubicBezTo>
                  <a:close/>
                  <a:moveTo>
                    <a:pt x="10660" y="5460"/>
                  </a:moveTo>
                  <a:cubicBezTo>
                    <a:pt x="7540" y="5460"/>
                    <a:pt x="4420" y="7540"/>
                    <a:pt x="4420" y="10660"/>
                  </a:cubicBezTo>
                  <a:cubicBezTo>
                    <a:pt x="4420" y="13780"/>
                    <a:pt x="6500" y="15860"/>
                    <a:pt x="10660" y="15860"/>
                  </a:cubicBezTo>
                  <a:cubicBezTo>
                    <a:pt x="14820" y="15860"/>
                    <a:pt x="15860" y="13780"/>
                    <a:pt x="15860" y="10660"/>
                  </a:cubicBezTo>
                  <a:cubicBezTo>
                    <a:pt x="15860" y="7540"/>
                    <a:pt x="13780" y="5460"/>
                    <a:pt x="10660" y="5460"/>
                  </a:cubicBezTo>
                  <a:close/>
                </a:path>
              </a:pathLst>
            </a:custGeom>
            <a:solidFill>
              <a:srgbClr val="00005A"/>
            </a:solidFill>
            <a:ln w="2597" cap="flat">
              <a:noFill/>
              <a:prstDash val="solid"/>
              <a:miter/>
            </a:ln>
          </p:spPr>
          <p:txBody>
            <a:bodyPr rtlCol="0" anchor="ctr"/>
            <a:lstStyle/>
            <a:p>
              <a:endParaRPr lang="en-GB"/>
            </a:p>
          </p:txBody>
        </p:sp>
        <p:sp>
          <p:nvSpPr>
            <p:cNvPr id="240" name="Freeform: Shape 239">
              <a:extLst>
                <a:ext uri="{FF2B5EF4-FFF2-40B4-BE49-F238E27FC236}">
                  <a16:creationId xmlns:a16="http://schemas.microsoft.com/office/drawing/2014/main" id="{F6FB273D-E641-88D5-36EE-1E555F179359}"/>
                </a:ext>
              </a:extLst>
            </p:cNvPr>
            <p:cNvSpPr/>
            <p:nvPr/>
          </p:nvSpPr>
          <p:spPr>
            <a:xfrm>
              <a:off x="3958988" y="3034197"/>
              <a:ext cx="21319" cy="20279"/>
            </a:xfrm>
            <a:custGeom>
              <a:avLst/>
              <a:gdLst>
                <a:gd name="connsiteX0" fmla="*/ 10660 w 21319"/>
                <a:gd name="connsiteY0" fmla="*/ 20280 h 20279"/>
                <a:gd name="connsiteX1" fmla="*/ 0 w 21319"/>
                <a:gd name="connsiteY1" fmla="*/ 9620 h 20279"/>
                <a:gd name="connsiteX2" fmla="*/ 10660 w 21319"/>
                <a:gd name="connsiteY2" fmla="*/ 0 h 20279"/>
                <a:gd name="connsiteX3" fmla="*/ 21320 w 21319"/>
                <a:gd name="connsiteY3" fmla="*/ 9620 h 20279"/>
                <a:gd name="connsiteX4" fmla="*/ 10660 w 21319"/>
                <a:gd name="connsiteY4" fmla="*/ 20280 h 20279"/>
                <a:gd name="connsiteX5" fmla="*/ 10660 w 21319"/>
                <a:gd name="connsiteY5" fmla="*/ 4160 h 20279"/>
                <a:gd name="connsiteX6" fmla="*/ 5460 w 21319"/>
                <a:gd name="connsiteY6" fmla="*/ 9360 h 20279"/>
                <a:gd name="connsiteX7" fmla="*/ 10660 w 21319"/>
                <a:gd name="connsiteY7" fmla="*/ 15600 h 20279"/>
                <a:gd name="connsiteX8" fmla="*/ 15860 w 21319"/>
                <a:gd name="connsiteY8" fmla="*/ 9360 h 20279"/>
                <a:gd name="connsiteX9" fmla="*/ 10660 w 21319"/>
                <a:gd name="connsiteY9" fmla="*/ 416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19" h="20279">
                  <a:moveTo>
                    <a:pt x="10660" y="20280"/>
                  </a:moveTo>
                  <a:cubicBezTo>
                    <a:pt x="5460" y="20280"/>
                    <a:pt x="0" y="16120"/>
                    <a:pt x="0" y="9620"/>
                  </a:cubicBezTo>
                  <a:cubicBezTo>
                    <a:pt x="0" y="4420"/>
                    <a:pt x="4160" y="0"/>
                    <a:pt x="10660" y="0"/>
                  </a:cubicBezTo>
                  <a:cubicBezTo>
                    <a:pt x="17160" y="0"/>
                    <a:pt x="21320" y="4160"/>
                    <a:pt x="21320" y="9620"/>
                  </a:cubicBezTo>
                  <a:cubicBezTo>
                    <a:pt x="21320" y="14820"/>
                    <a:pt x="15860" y="20280"/>
                    <a:pt x="10660" y="20280"/>
                  </a:cubicBezTo>
                  <a:close/>
                  <a:moveTo>
                    <a:pt x="10660" y="4160"/>
                  </a:moveTo>
                  <a:cubicBezTo>
                    <a:pt x="7540" y="4160"/>
                    <a:pt x="5460" y="6240"/>
                    <a:pt x="5460" y="9360"/>
                  </a:cubicBezTo>
                  <a:cubicBezTo>
                    <a:pt x="5460" y="12480"/>
                    <a:pt x="7540" y="15600"/>
                    <a:pt x="10660" y="15600"/>
                  </a:cubicBezTo>
                  <a:cubicBezTo>
                    <a:pt x="13780" y="15600"/>
                    <a:pt x="15860" y="13520"/>
                    <a:pt x="15860" y="9360"/>
                  </a:cubicBezTo>
                  <a:cubicBezTo>
                    <a:pt x="15860" y="5200"/>
                    <a:pt x="13780" y="4160"/>
                    <a:pt x="10660" y="4160"/>
                  </a:cubicBezTo>
                  <a:close/>
                </a:path>
              </a:pathLst>
            </a:custGeom>
            <a:solidFill>
              <a:srgbClr val="00005A"/>
            </a:solidFill>
            <a:ln w="2597" cap="flat">
              <a:noFill/>
              <a:prstDash val="solid"/>
              <a:miter/>
            </a:ln>
          </p:spPr>
          <p:txBody>
            <a:bodyPr rtlCol="0" anchor="ctr"/>
            <a:lstStyle/>
            <a:p>
              <a:endParaRPr lang="en-GB"/>
            </a:p>
          </p:txBody>
        </p:sp>
        <p:sp>
          <p:nvSpPr>
            <p:cNvPr id="241" name="Freeform: Shape 240">
              <a:extLst>
                <a:ext uri="{FF2B5EF4-FFF2-40B4-BE49-F238E27FC236}">
                  <a16:creationId xmlns:a16="http://schemas.microsoft.com/office/drawing/2014/main" id="{5408AFF4-7399-B45D-CD9B-F524275D408D}"/>
                </a:ext>
              </a:extLst>
            </p:cNvPr>
            <p:cNvSpPr/>
            <p:nvPr/>
          </p:nvSpPr>
          <p:spPr>
            <a:xfrm>
              <a:off x="3886708" y="2904718"/>
              <a:ext cx="20279" cy="20279"/>
            </a:xfrm>
            <a:custGeom>
              <a:avLst/>
              <a:gdLst>
                <a:gd name="connsiteX0" fmla="*/ 10660 w 20279"/>
                <a:gd name="connsiteY0" fmla="*/ 20280 h 20279"/>
                <a:gd name="connsiteX1" fmla="*/ 0 w 20279"/>
                <a:gd name="connsiteY1" fmla="*/ 9620 h 20279"/>
                <a:gd name="connsiteX2" fmla="*/ 10660 w 20279"/>
                <a:gd name="connsiteY2" fmla="*/ 0 h 20279"/>
                <a:gd name="connsiteX3" fmla="*/ 20280 w 20279"/>
                <a:gd name="connsiteY3" fmla="*/ 9620 h 20279"/>
                <a:gd name="connsiteX4" fmla="*/ 10660 w 20279"/>
                <a:gd name="connsiteY4" fmla="*/ 20280 h 20279"/>
                <a:gd name="connsiteX5" fmla="*/ 10660 w 20279"/>
                <a:gd name="connsiteY5" fmla="*/ 5200 h 20279"/>
                <a:gd name="connsiteX6" fmla="*/ 4420 w 20279"/>
                <a:gd name="connsiteY6" fmla="*/ 10400 h 20279"/>
                <a:gd name="connsiteX7" fmla="*/ 10660 w 20279"/>
                <a:gd name="connsiteY7" fmla="*/ 16640 h 20279"/>
                <a:gd name="connsiteX8" fmla="*/ 15860 w 20279"/>
                <a:gd name="connsiteY8" fmla="*/ 10400 h 20279"/>
                <a:gd name="connsiteX9" fmla="*/ 10660 w 20279"/>
                <a:gd name="connsiteY9" fmla="*/ 520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10660" y="20280"/>
                  </a:moveTo>
                  <a:cubicBezTo>
                    <a:pt x="5460" y="20280"/>
                    <a:pt x="0" y="16120"/>
                    <a:pt x="0" y="9620"/>
                  </a:cubicBezTo>
                  <a:cubicBezTo>
                    <a:pt x="0" y="4420"/>
                    <a:pt x="4160" y="0"/>
                    <a:pt x="10660" y="0"/>
                  </a:cubicBezTo>
                  <a:cubicBezTo>
                    <a:pt x="15860" y="0"/>
                    <a:pt x="20280" y="4160"/>
                    <a:pt x="20280" y="9620"/>
                  </a:cubicBezTo>
                  <a:cubicBezTo>
                    <a:pt x="20280" y="15860"/>
                    <a:pt x="16120" y="20280"/>
                    <a:pt x="10660" y="20280"/>
                  </a:cubicBezTo>
                  <a:close/>
                  <a:moveTo>
                    <a:pt x="10660" y="5200"/>
                  </a:moveTo>
                  <a:cubicBezTo>
                    <a:pt x="7540" y="5200"/>
                    <a:pt x="4420" y="7280"/>
                    <a:pt x="4420" y="10400"/>
                  </a:cubicBezTo>
                  <a:cubicBezTo>
                    <a:pt x="4420" y="13520"/>
                    <a:pt x="6500" y="16640"/>
                    <a:pt x="10660" y="16640"/>
                  </a:cubicBezTo>
                  <a:cubicBezTo>
                    <a:pt x="14820" y="16640"/>
                    <a:pt x="15860" y="14560"/>
                    <a:pt x="15860" y="10400"/>
                  </a:cubicBezTo>
                  <a:cubicBezTo>
                    <a:pt x="16120" y="6240"/>
                    <a:pt x="14040" y="5200"/>
                    <a:pt x="10660" y="5200"/>
                  </a:cubicBezTo>
                  <a:close/>
                </a:path>
              </a:pathLst>
            </a:custGeom>
            <a:solidFill>
              <a:srgbClr val="00005A"/>
            </a:solidFill>
            <a:ln w="2597" cap="flat">
              <a:noFill/>
              <a:prstDash val="solid"/>
              <a:miter/>
            </a:ln>
          </p:spPr>
          <p:txBody>
            <a:bodyPr rtlCol="0" anchor="ctr"/>
            <a:lstStyle/>
            <a:p>
              <a:endParaRPr lang="en-GB"/>
            </a:p>
          </p:txBody>
        </p:sp>
        <p:sp>
          <p:nvSpPr>
            <p:cNvPr id="242" name="Freeform: Shape 241">
              <a:extLst>
                <a:ext uri="{FF2B5EF4-FFF2-40B4-BE49-F238E27FC236}">
                  <a16:creationId xmlns:a16="http://schemas.microsoft.com/office/drawing/2014/main" id="{6AED0143-BDA6-A17A-A1C5-EDC7E0F68E48}"/>
                </a:ext>
              </a:extLst>
            </p:cNvPr>
            <p:cNvSpPr/>
            <p:nvPr/>
          </p:nvSpPr>
          <p:spPr>
            <a:xfrm>
              <a:off x="3886708" y="3077616"/>
              <a:ext cx="20279" cy="20279"/>
            </a:xfrm>
            <a:custGeom>
              <a:avLst/>
              <a:gdLst>
                <a:gd name="connsiteX0" fmla="*/ 10660 w 20279"/>
                <a:gd name="connsiteY0" fmla="*/ 20280 h 20279"/>
                <a:gd name="connsiteX1" fmla="*/ 0 w 20279"/>
                <a:gd name="connsiteY1" fmla="*/ 10660 h 20279"/>
                <a:gd name="connsiteX2" fmla="*/ 10660 w 20279"/>
                <a:gd name="connsiteY2" fmla="*/ 0 h 20279"/>
                <a:gd name="connsiteX3" fmla="*/ 20280 w 20279"/>
                <a:gd name="connsiteY3" fmla="*/ 10660 h 20279"/>
                <a:gd name="connsiteX4" fmla="*/ 10660 w 20279"/>
                <a:gd name="connsiteY4" fmla="*/ 20280 h 20279"/>
                <a:gd name="connsiteX5" fmla="*/ 10660 w 20279"/>
                <a:gd name="connsiteY5" fmla="*/ 4420 h 20279"/>
                <a:gd name="connsiteX6" fmla="*/ 4420 w 20279"/>
                <a:gd name="connsiteY6" fmla="*/ 10660 h 20279"/>
                <a:gd name="connsiteX7" fmla="*/ 10660 w 20279"/>
                <a:gd name="connsiteY7" fmla="*/ 15860 h 20279"/>
                <a:gd name="connsiteX8" fmla="*/ 15860 w 20279"/>
                <a:gd name="connsiteY8" fmla="*/ 10660 h 20279"/>
                <a:gd name="connsiteX9" fmla="*/ 10660 w 20279"/>
                <a:gd name="connsiteY9" fmla="*/ 442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10660" y="20280"/>
                  </a:moveTo>
                  <a:cubicBezTo>
                    <a:pt x="5460" y="20280"/>
                    <a:pt x="0" y="16120"/>
                    <a:pt x="0" y="10660"/>
                  </a:cubicBezTo>
                  <a:cubicBezTo>
                    <a:pt x="0" y="5460"/>
                    <a:pt x="4160" y="0"/>
                    <a:pt x="10660" y="0"/>
                  </a:cubicBezTo>
                  <a:cubicBezTo>
                    <a:pt x="15860" y="0"/>
                    <a:pt x="20280" y="4160"/>
                    <a:pt x="20280" y="10660"/>
                  </a:cubicBezTo>
                  <a:cubicBezTo>
                    <a:pt x="20280" y="16120"/>
                    <a:pt x="16120" y="20280"/>
                    <a:pt x="10660" y="20280"/>
                  </a:cubicBezTo>
                  <a:close/>
                  <a:moveTo>
                    <a:pt x="10660" y="4420"/>
                  </a:moveTo>
                  <a:cubicBezTo>
                    <a:pt x="7540" y="4420"/>
                    <a:pt x="4420" y="6500"/>
                    <a:pt x="4420" y="10660"/>
                  </a:cubicBezTo>
                  <a:cubicBezTo>
                    <a:pt x="4420" y="14820"/>
                    <a:pt x="6500" y="15860"/>
                    <a:pt x="10660" y="15860"/>
                  </a:cubicBezTo>
                  <a:cubicBezTo>
                    <a:pt x="14820" y="15860"/>
                    <a:pt x="15860" y="13780"/>
                    <a:pt x="15860" y="10660"/>
                  </a:cubicBezTo>
                  <a:cubicBezTo>
                    <a:pt x="15860" y="7540"/>
                    <a:pt x="14040" y="4420"/>
                    <a:pt x="10660" y="4420"/>
                  </a:cubicBezTo>
                  <a:close/>
                </a:path>
              </a:pathLst>
            </a:custGeom>
            <a:solidFill>
              <a:srgbClr val="00005A"/>
            </a:solidFill>
            <a:ln w="2597" cap="flat">
              <a:noFill/>
              <a:prstDash val="solid"/>
              <a:miter/>
            </a:ln>
          </p:spPr>
          <p:txBody>
            <a:bodyPr rtlCol="0" anchor="ctr"/>
            <a:lstStyle/>
            <a:p>
              <a:endParaRPr lang="en-GB"/>
            </a:p>
          </p:txBody>
        </p:sp>
        <p:sp>
          <p:nvSpPr>
            <p:cNvPr id="243" name="Freeform: Shape 242">
              <a:extLst>
                <a:ext uri="{FF2B5EF4-FFF2-40B4-BE49-F238E27FC236}">
                  <a16:creationId xmlns:a16="http://schemas.microsoft.com/office/drawing/2014/main" id="{BF0048AC-0958-3BE5-90FA-A3B24BA677E0}"/>
                </a:ext>
              </a:extLst>
            </p:cNvPr>
            <p:cNvSpPr/>
            <p:nvPr/>
          </p:nvSpPr>
          <p:spPr>
            <a:xfrm>
              <a:off x="3690410" y="2890679"/>
              <a:ext cx="20279" cy="20279"/>
            </a:xfrm>
            <a:custGeom>
              <a:avLst/>
              <a:gdLst>
                <a:gd name="connsiteX0" fmla="*/ 10660 w 20279"/>
                <a:gd name="connsiteY0" fmla="*/ 20280 h 20279"/>
                <a:gd name="connsiteX1" fmla="*/ 0 w 20279"/>
                <a:gd name="connsiteY1" fmla="*/ 9620 h 20279"/>
                <a:gd name="connsiteX2" fmla="*/ 10660 w 20279"/>
                <a:gd name="connsiteY2" fmla="*/ 0 h 20279"/>
                <a:gd name="connsiteX3" fmla="*/ 20280 w 20279"/>
                <a:gd name="connsiteY3" fmla="*/ 9620 h 20279"/>
                <a:gd name="connsiteX4" fmla="*/ 10660 w 20279"/>
                <a:gd name="connsiteY4" fmla="*/ 20280 h 20279"/>
                <a:gd name="connsiteX5" fmla="*/ 10660 w 20279"/>
                <a:gd name="connsiteY5" fmla="*/ 4420 h 20279"/>
                <a:gd name="connsiteX6" fmla="*/ 4420 w 20279"/>
                <a:gd name="connsiteY6" fmla="*/ 9620 h 20279"/>
                <a:gd name="connsiteX7" fmla="*/ 10660 w 20279"/>
                <a:gd name="connsiteY7" fmla="*/ 15860 h 20279"/>
                <a:gd name="connsiteX8" fmla="*/ 15860 w 20279"/>
                <a:gd name="connsiteY8" fmla="*/ 9620 h 20279"/>
                <a:gd name="connsiteX9" fmla="*/ 10660 w 20279"/>
                <a:gd name="connsiteY9" fmla="*/ 442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10660" y="20280"/>
                  </a:moveTo>
                  <a:cubicBezTo>
                    <a:pt x="5460" y="20280"/>
                    <a:pt x="0" y="16120"/>
                    <a:pt x="0" y="9620"/>
                  </a:cubicBezTo>
                  <a:cubicBezTo>
                    <a:pt x="0" y="4420"/>
                    <a:pt x="4160" y="0"/>
                    <a:pt x="10660" y="0"/>
                  </a:cubicBezTo>
                  <a:cubicBezTo>
                    <a:pt x="15860" y="0"/>
                    <a:pt x="20280" y="4160"/>
                    <a:pt x="20280" y="9620"/>
                  </a:cubicBezTo>
                  <a:cubicBezTo>
                    <a:pt x="20280" y="15080"/>
                    <a:pt x="16120" y="20280"/>
                    <a:pt x="10660" y="20280"/>
                  </a:cubicBezTo>
                  <a:close/>
                  <a:moveTo>
                    <a:pt x="10660" y="4420"/>
                  </a:moveTo>
                  <a:cubicBezTo>
                    <a:pt x="7540" y="4420"/>
                    <a:pt x="4420" y="6500"/>
                    <a:pt x="4420" y="9620"/>
                  </a:cubicBezTo>
                  <a:cubicBezTo>
                    <a:pt x="4420" y="12740"/>
                    <a:pt x="6500" y="15860"/>
                    <a:pt x="10660" y="15860"/>
                  </a:cubicBezTo>
                  <a:cubicBezTo>
                    <a:pt x="14820" y="15860"/>
                    <a:pt x="15860" y="13780"/>
                    <a:pt x="15860" y="9620"/>
                  </a:cubicBezTo>
                  <a:cubicBezTo>
                    <a:pt x="15860" y="5460"/>
                    <a:pt x="14040" y="4420"/>
                    <a:pt x="10660" y="4420"/>
                  </a:cubicBezTo>
                  <a:close/>
                </a:path>
              </a:pathLst>
            </a:custGeom>
            <a:solidFill>
              <a:srgbClr val="00005A"/>
            </a:solidFill>
            <a:ln w="2597" cap="flat">
              <a:noFill/>
              <a:prstDash val="solid"/>
              <a:miter/>
            </a:ln>
          </p:spPr>
          <p:txBody>
            <a:bodyPr rtlCol="0" anchor="ctr"/>
            <a:lstStyle/>
            <a:p>
              <a:endParaRPr lang="en-GB"/>
            </a:p>
          </p:txBody>
        </p:sp>
        <p:sp>
          <p:nvSpPr>
            <p:cNvPr id="244" name="Freeform: Shape 243">
              <a:extLst>
                <a:ext uri="{FF2B5EF4-FFF2-40B4-BE49-F238E27FC236}">
                  <a16:creationId xmlns:a16="http://schemas.microsoft.com/office/drawing/2014/main" id="{5E737788-1835-EEF7-404C-FD77D3B2B085}"/>
                </a:ext>
              </a:extLst>
            </p:cNvPr>
            <p:cNvSpPr/>
            <p:nvPr/>
          </p:nvSpPr>
          <p:spPr>
            <a:xfrm>
              <a:off x="3690410" y="3066956"/>
              <a:ext cx="20279" cy="20279"/>
            </a:xfrm>
            <a:custGeom>
              <a:avLst/>
              <a:gdLst>
                <a:gd name="connsiteX0" fmla="*/ 10660 w 20279"/>
                <a:gd name="connsiteY0" fmla="*/ 20280 h 20279"/>
                <a:gd name="connsiteX1" fmla="*/ 0 w 20279"/>
                <a:gd name="connsiteY1" fmla="*/ 10660 h 20279"/>
                <a:gd name="connsiteX2" fmla="*/ 10660 w 20279"/>
                <a:gd name="connsiteY2" fmla="*/ 0 h 20279"/>
                <a:gd name="connsiteX3" fmla="*/ 20280 w 20279"/>
                <a:gd name="connsiteY3" fmla="*/ 10660 h 20279"/>
                <a:gd name="connsiteX4" fmla="*/ 10660 w 20279"/>
                <a:gd name="connsiteY4" fmla="*/ 20280 h 20279"/>
                <a:gd name="connsiteX5" fmla="*/ 10660 w 20279"/>
                <a:gd name="connsiteY5" fmla="*/ 4420 h 20279"/>
                <a:gd name="connsiteX6" fmla="*/ 4420 w 20279"/>
                <a:gd name="connsiteY6" fmla="*/ 10660 h 20279"/>
                <a:gd name="connsiteX7" fmla="*/ 10660 w 20279"/>
                <a:gd name="connsiteY7" fmla="*/ 15860 h 20279"/>
                <a:gd name="connsiteX8" fmla="*/ 15860 w 20279"/>
                <a:gd name="connsiteY8" fmla="*/ 10660 h 20279"/>
                <a:gd name="connsiteX9" fmla="*/ 10660 w 20279"/>
                <a:gd name="connsiteY9" fmla="*/ 442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10660" y="20280"/>
                  </a:moveTo>
                  <a:cubicBezTo>
                    <a:pt x="5460" y="20280"/>
                    <a:pt x="0" y="16120"/>
                    <a:pt x="0" y="10660"/>
                  </a:cubicBezTo>
                  <a:cubicBezTo>
                    <a:pt x="0" y="5460"/>
                    <a:pt x="4160" y="0"/>
                    <a:pt x="10660" y="0"/>
                  </a:cubicBezTo>
                  <a:cubicBezTo>
                    <a:pt x="15860" y="0"/>
                    <a:pt x="20280" y="4160"/>
                    <a:pt x="20280" y="10660"/>
                  </a:cubicBezTo>
                  <a:cubicBezTo>
                    <a:pt x="20280" y="16120"/>
                    <a:pt x="16120" y="20280"/>
                    <a:pt x="10660" y="20280"/>
                  </a:cubicBezTo>
                  <a:close/>
                  <a:moveTo>
                    <a:pt x="10660" y="4420"/>
                  </a:moveTo>
                  <a:cubicBezTo>
                    <a:pt x="7540" y="4420"/>
                    <a:pt x="4420" y="6500"/>
                    <a:pt x="4420" y="10660"/>
                  </a:cubicBezTo>
                  <a:cubicBezTo>
                    <a:pt x="4420" y="14820"/>
                    <a:pt x="6500" y="15860"/>
                    <a:pt x="10660" y="15860"/>
                  </a:cubicBezTo>
                  <a:cubicBezTo>
                    <a:pt x="14820" y="15860"/>
                    <a:pt x="15860" y="13780"/>
                    <a:pt x="15860" y="10660"/>
                  </a:cubicBezTo>
                  <a:cubicBezTo>
                    <a:pt x="15860" y="7540"/>
                    <a:pt x="14040" y="4420"/>
                    <a:pt x="10660" y="4420"/>
                  </a:cubicBezTo>
                  <a:close/>
                </a:path>
              </a:pathLst>
            </a:custGeom>
            <a:solidFill>
              <a:srgbClr val="00005A"/>
            </a:solidFill>
            <a:ln w="2597" cap="flat">
              <a:noFill/>
              <a:prstDash val="solid"/>
              <a:miter/>
            </a:ln>
          </p:spPr>
          <p:txBody>
            <a:bodyPr rtlCol="0" anchor="ctr"/>
            <a:lstStyle/>
            <a:p>
              <a:endParaRPr lang="en-GB"/>
            </a:p>
          </p:txBody>
        </p:sp>
        <p:sp>
          <p:nvSpPr>
            <p:cNvPr id="245" name="Freeform: Shape 244">
              <a:extLst>
                <a:ext uri="{FF2B5EF4-FFF2-40B4-BE49-F238E27FC236}">
                  <a16:creationId xmlns:a16="http://schemas.microsoft.com/office/drawing/2014/main" id="{A5A8435F-509D-770E-D7E4-995A9B8C1C58}"/>
                </a:ext>
              </a:extLst>
            </p:cNvPr>
            <p:cNvSpPr/>
            <p:nvPr/>
          </p:nvSpPr>
          <p:spPr>
            <a:xfrm>
              <a:off x="3958988" y="2683981"/>
              <a:ext cx="21319" cy="20279"/>
            </a:xfrm>
            <a:custGeom>
              <a:avLst/>
              <a:gdLst>
                <a:gd name="connsiteX0" fmla="*/ 10660 w 21319"/>
                <a:gd name="connsiteY0" fmla="*/ 20280 h 20279"/>
                <a:gd name="connsiteX1" fmla="*/ 0 w 21319"/>
                <a:gd name="connsiteY1" fmla="*/ 9620 h 20279"/>
                <a:gd name="connsiteX2" fmla="*/ 10660 w 21319"/>
                <a:gd name="connsiteY2" fmla="*/ 0 h 20279"/>
                <a:gd name="connsiteX3" fmla="*/ 21320 w 21319"/>
                <a:gd name="connsiteY3" fmla="*/ 9620 h 20279"/>
                <a:gd name="connsiteX4" fmla="*/ 10660 w 21319"/>
                <a:gd name="connsiteY4" fmla="*/ 20280 h 20279"/>
                <a:gd name="connsiteX5" fmla="*/ 10660 w 21319"/>
                <a:gd name="connsiteY5" fmla="*/ 4160 h 20279"/>
                <a:gd name="connsiteX6" fmla="*/ 5460 w 21319"/>
                <a:gd name="connsiteY6" fmla="*/ 9360 h 20279"/>
                <a:gd name="connsiteX7" fmla="*/ 10660 w 21319"/>
                <a:gd name="connsiteY7" fmla="*/ 15600 h 20279"/>
                <a:gd name="connsiteX8" fmla="*/ 15860 w 21319"/>
                <a:gd name="connsiteY8" fmla="*/ 9360 h 20279"/>
                <a:gd name="connsiteX9" fmla="*/ 10660 w 21319"/>
                <a:gd name="connsiteY9" fmla="*/ 416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19" h="20279">
                  <a:moveTo>
                    <a:pt x="10660" y="20280"/>
                  </a:moveTo>
                  <a:cubicBezTo>
                    <a:pt x="5460" y="20280"/>
                    <a:pt x="0" y="16120"/>
                    <a:pt x="0" y="9620"/>
                  </a:cubicBezTo>
                  <a:cubicBezTo>
                    <a:pt x="0" y="4420"/>
                    <a:pt x="4160" y="0"/>
                    <a:pt x="10660" y="0"/>
                  </a:cubicBezTo>
                  <a:cubicBezTo>
                    <a:pt x="17160" y="0"/>
                    <a:pt x="21320" y="4160"/>
                    <a:pt x="21320" y="9620"/>
                  </a:cubicBezTo>
                  <a:cubicBezTo>
                    <a:pt x="21320" y="15080"/>
                    <a:pt x="15860" y="20280"/>
                    <a:pt x="10660" y="20280"/>
                  </a:cubicBezTo>
                  <a:close/>
                  <a:moveTo>
                    <a:pt x="10660" y="4160"/>
                  </a:moveTo>
                  <a:cubicBezTo>
                    <a:pt x="7540" y="4160"/>
                    <a:pt x="5460" y="6240"/>
                    <a:pt x="5460" y="9360"/>
                  </a:cubicBezTo>
                  <a:cubicBezTo>
                    <a:pt x="5460" y="12480"/>
                    <a:pt x="7540" y="15600"/>
                    <a:pt x="10660" y="15600"/>
                  </a:cubicBezTo>
                  <a:cubicBezTo>
                    <a:pt x="13780" y="15600"/>
                    <a:pt x="15860" y="13520"/>
                    <a:pt x="15860" y="9360"/>
                  </a:cubicBezTo>
                  <a:cubicBezTo>
                    <a:pt x="15860" y="5200"/>
                    <a:pt x="13780" y="4160"/>
                    <a:pt x="10660" y="4160"/>
                  </a:cubicBezTo>
                  <a:close/>
                </a:path>
              </a:pathLst>
            </a:custGeom>
            <a:solidFill>
              <a:srgbClr val="00005A"/>
            </a:solidFill>
            <a:ln w="2597" cap="flat">
              <a:noFill/>
              <a:prstDash val="solid"/>
              <a:miter/>
            </a:ln>
          </p:spPr>
          <p:txBody>
            <a:bodyPr rtlCol="0" anchor="ctr"/>
            <a:lstStyle/>
            <a:p>
              <a:endParaRPr lang="en-GB"/>
            </a:p>
          </p:txBody>
        </p:sp>
        <p:grpSp>
          <p:nvGrpSpPr>
            <p:cNvPr id="246" name="Graphic 6">
              <a:extLst>
                <a:ext uri="{FF2B5EF4-FFF2-40B4-BE49-F238E27FC236}">
                  <a16:creationId xmlns:a16="http://schemas.microsoft.com/office/drawing/2014/main" id="{CE69DE61-F663-65A3-AAEF-2656B1811F19}"/>
                </a:ext>
              </a:extLst>
            </p:cNvPr>
            <p:cNvGrpSpPr/>
            <p:nvPr/>
          </p:nvGrpSpPr>
          <p:grpSpPr>
            <a:xfrm>
              <a:off x="4126686" y="2611702"/>
              <a:ext cx="288076" cy="93598"/>
              <a:chOff x="4126686" y="2611702"/>
              <a:chExt cx="288076" cy="93598"/>
            </a:xfrm>
            <a:solidFill>
              <a:srgbClr val="00005A"/>
            </a:solidFill>
          </p:grpSpPr>
          <p:grpSp>
            <p:nvGrpSpPr>
              <p:cNvPr id="257" name="Graphic 6">
                <a:extLst>
                  <a:ext uri="{FF2B5EF4-FFF2-40B4-BE49-F238E27FC236}">
                    <a16:creationId xmlns:a16="http://schemas.microsoft.com/office/drawing/2014/main" id="{A5DDC99B-0686-B3ED-1FE3-BA7AF2C99BFA}"/>
                  </a:ext>
                </a:extLst>
              </p:cNvPr>
              <p:cNvGrpSpPr/>
              <p:nvPr/>
            </p:nvGrpSpPr>
            <p:grpSpPr>
              <a:xfrm>
                <a:off x="4126686" y="2611702"/>
                <a:ext cx="278196" cy="59539"/>
                <a:chOff x="4126686" y="2611702"/>
                <a:chExt cx="278196" cy="59539"/>
              </a:xfrm>
              <a:solidFill>
                <a:srgbClr val="00005A"/>
              </a:solidFill>
            </p:grpSpPr>
            <p:sp>
              <p:nvSpPr>
                <p:cNvPr id="259" name="Freeform: Shape 258">
                  <a:extLst>
                    <a:ext uri="{FF2B5EF4-FFF2-40B4-BE49-F238E27FC236}">
                      <a16:creationId xmlns:a16="http://schemas.microsoft.com/office/drawing/2014/main" id="{930A5242-C8E4-4068-725B-06028160A601}"/>
                    </a:ext>
                  </a:extLst>
                </p:cNvPr>
                <p:cNvSpPr/>
                <p:nvPr/>
              </p:nvSpPr>
              <p:spPr>
                <a:xfrm>
                  <a:off x="4126686" y="2612742"/>
                  <a:ext cx="153918" cy="58499"/>
                </a:xfrm>
                <a:custGeom>
                  <a:avLst/>
                  <a:gdLst>
                    <a:gd name="connsiteX0" fmla="*/ 114659 w 153918"/>
                    <a:gd name="connsiteY0" fmla="*/ 58499 h 58499"/>
                    <a:gd name="connsiteX1" fmla="*/ 76439 w 153918"/>
                    <a:gd name="connsiteY1" fmla="*/ 33020 h 58499"/>
                    <a:gd name="connsiteX2" fmla="*/ 51999 w 153918"/>
                    <a:gd name="connsiteY2" fmla="*/ 16120 h 58499"/>
                    <a:gd name="connsiteX3" fmla="*/ 27560 w 153918"/>
                    <a:gd name="connsiteY3" fmla="*/ 33020 h 58499"/>
                    <a:gd name="connsiteX4" fmla="*/ 14820 w 153918"/>
                    <a:gd name="connsiteY4" fmla="*/ 54339 h 58499"/>
                    <a:gd name="connsiteX5" fmla="*/ 4160 w 153918"/>
                    <a:gd name="connsiteY5" fmla="*/ 57459 h 58499"/>
                    <a:gd name="connsiteX6" fmla="*/ 1040 w 153918"/>
                    <a:gd name="connsiteY6" fmla="*/ 46799 h 58499"/>
                    <a:gd name="connsiteX7" fmla="*/ 13780 w 153918"/>
                    <a:gd name="connsiteY7" fmla="*/ 25480 h 58499"/>
                    <a:gd name="connsiteX8" fmla="*/ 51999 w 153918"/>
                    <a:gd name="connsiteY8" fmla="*/ 0 h 58499"/>
                    <a:gd name="connsiteX9" fmla="*/ 90219 w 153918"/>
                    <a:gd name="connsiteY9" fmla="*/ 25480 h 58499"/>
                    <a:gd name="connsiteX10" fmla="*/ 114659 w 153918"/>
                    <a:gd name="connsiteY10" fmla="*/ 42379 h 58499"/>
                    <a:gd name="connsiteX11" fmla="*/ 139098 w 153918"/>
                    <a:gd name="connsiteY11" fmla="*/ 25480 h 58499"/>
                    <a:gd name="connsiteX12" fmla="*/ 149758 w 153918"/>
                    <a:gd name="connsiteY12" fmla="*/ 22360 h 58499"/>
                    <a:gd name="connsiteX13" fmla="*/ 152878 w 153918"/>
                    <a:gd name="connsiteY13" fmla="*/ 33020 h 58499"/>
                    <a:gd name="connsiteX14" fmla="*/ 114659 w 153918"/>
                    <a:gd name="connsiteY14" fmla="*/ 58499 h 58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918" h="58499">
                      <a:moveTo>
                        <a:pt x="114659" y="58499"/>
                      </a:moveTo>
                      <a:cubicBezTo>
                        <a:pt x="99839" y="58499"/>
                        <a:pt x="85019" y="48879"/>
                        <a:pt x="76439" y="33020"/>
                      </a:cubicBezTo>
                      <a:cubicBezTo>
                        <a:pt x="70199" y="22360"/>
                        <a:pt x="61619" y="16120"/>
                        <a:pt x="51999" y="16120"/>
                      </a:cubicBezTo>
                      <a:cubicBezTo>
                        <a:pt x="42380" y="16120"/>
                        <a:pt x="34060" y="22360"/>
                        <a:pt x="27560" y="33020"/>
                      </a:cubicBezTo>
                      <a:lnTo>
                        <a:pt x="14820" y="54339"/>
                      </a:lnTo>
                      <a:cubicBezTo>
                        <a:pt x="12740" y="58499"/>
                        <a:pt x="7280" y="59539"/>
                        <a:pt x="4160" y="57459"/>
                      </a:cubicBezTo>
                      <a:cubicBezTo>
                        <a:pt x="0" y="55379"/>
                        <a:pt x="-1040" y="49919"/>
                        <a:pt x="1040" y="46799"/>
                      </a:cubicBezTo>
                      <a:lnTo>
                        <a:pt x="13780" y="25480"/>
                      </a:lnTo>
                      <a:cubicBezTo>
                        <a:pt x="22360" y="9620"/>
                        <a:pt x="37180" y="0"/>
                        <a:pt x="51999" y="0"/>
                      </a:cubicBezTo>
                      <a:cubicBezTo>
                        <a:pt x="66819" y="0"/>
                        <a:pt x="81639" y="9620"/>
                        <a:pt x="90219" y="25480"/>
                      </a:cubicBezTo>
                      <a:cubicBezTo>
                        <a:pt x="96459" y="36140"/>
                        <a:pt x="105039" y="42379"/>
                        <a:pt x="114659" y="42379"/>
                      </a:cubicBezTo>
                      <a:cubicBezTo>
                        <a:pt x="124279" y="42379"/>
                        <a:pt x="132598" y="36140"/>
                        <a:pt x="139098" y="25480"/>
                      </a:cubicBezTo>
                      <a:cubicBezTo>
                        <a:pt x="141179" y="21320"/>
                        <a:pt x="146638" y="20280"/>
                        <a:pt x="149758" y="22360"/>
                      </a:cubicBezTo>
                      <a:cubicBezTo>
                        <a:pt x="153918" y="24440"/>
                        <a:pt x="154958" y="29900"/>
                        <a:pt x="152878" y="33020"/>
                      </a:cubicBezTo>
                      <a:cubicBezTo>
                        <a:pt x="143258" y="48879"/>
                        <a:pt x="129479" y="58499"/>
                        <a:pt x="114659" y="58499"/>
                      </a:cubicBezTo>
                      <a:close/>
                    </a:path>
                  </a:pathLst>
                </a:custGeom>
                <a:solidFill>
                  <a:srgbClr val="00005A"/>
                </a:solidFill>
                <a:ln w="2597" cap="flat">
                  <a:noFill/>
                  <a:prstDash val="solid"/>
                  <a:miter/>
                </a:ln>
              </p:spPr>
              <p:txBody>
                <a:bodyPr rtlCol="0" anchor="ctr"/>
                <a:lstStyle/>
                <a:p>
                  <a:endParaRPr lang="en-GB"/>
                </a:p>
              </p:txBody>
            </p:sp>
            <p:sp>
              <p:nvSpPr>
                <p:cNvPr id="260" name="Freeform: Shape 259">
                  <a:extLst>
                    <a:ext uri="{FF2B5EF4-FFF2-40B4-BE49-F238E27FC236}">
                      <a16:creationId xmlns:a16="http://schemas.microsoft.com/office/drawing/2014/main" id="{8E828517-EF60-4731-5620-C63C312B1A0F}"/>
                    </a:ext>
                  </a:extLst>
                </p:cNvPr>
                <p:cNvSpPr/>
                <p:nvPr/>
              </p:nvSpPr>
              <p:spPr>
                <a:xfrm>
                  <a:off x="4263704" y="2611702"/>
                  <a:ext cx="141178" cy="58499"/>
                </a:xfrm>
                <a:custGeom>
                  <a:avLst/>
                  <a:gdLst>
                    <a:gd name="connsiteX0" fmla="*/ 133638 w 141178"/>
                    <a:gd name="connsiteY0" fmla="*/ 58499 h 58499"/>
                    <a:gd name="connsiteX1" fmla="*/ 101919 w 141178"/>
                    <a:gd name="connsiteY1" fmla="*/ 58499 h 58499"/>
                    <a:gd name="connsiteX2" fmla="*/ 63699 w 141178"/>
                    <a:gd name="connsiteY2" fmla="*/ 33020 h 58499"/>
                    <a:gd name="connsiteX3" fmla="*/ 39260 w 141178"/>
                    <a:gd name="connsiteY3" fmla="*/ 16120 h 58499"/>
                    <a:gd name="connsiteX4" fmla="*/ 14820 w 141178"/>
                    <a:gd name="connsiteY4" fmla="*/ 33020 h 58499"/>
                    <a:gd name="connsiteX5" fmla="*/ 4160 w 141178"/>
                    <a:gd name="connsiteY5" fmla="*/ 36140 h 58499"/>
                    <a:gd name="connsiteX6" fmla="*/ 1040 w 141178"/>
                    <a:gd name="connsiteY6" fmla="*/ 25480 h 58499"/>
                    <a:gd name="connsiteX7" fmla="*/ 39260 w 141178"/>
                    <a:gd name="connsiteY7" fmla="*/ 0 h 58499"/>
                    <a:gd name="connsiteX8" fmla="*/ 77479 w 141178"/>
                    <a:gd name="connsiteY8" fmla="*/ 25480 h 58499"/>
                    <a:gd name="connsiteX9" fmla="*/ 100879 w 141178"/>
                    <a:gd name="connsiteY9" fmla="*/ 42380 h 58499"/>
                    <a:gd name="connsiteX10" fmla="*/ 132598 w 141178"/>
                    <a:gd name="connsiteY10" fmla="*/ 42380 h 58499"/>
                    <a:gd name="connsiteX11" fmla="*/ 141178 w 141178"/>
                    <a:gd name="connsiteY11" fmla="*/ 50960 h 58499"/>
                    <a:gd name="connsiteX12" fmla="*/ 133638 w 141178"/>
                    <a:gd name="connsiteY12" fmla="*/ 58499 h 58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178" h="58499">
                      <a:moveTo>
                        <a:pt x="133638" y="58499"/>
                      </a:moveTo>
                      <a:lnTo>
                        <a:pt x="101919" y="58499"/>
                      </a:lnTo>
                      <a:cubicBezTo>
                        <a:pt x="87099" y="58499"/>
                        <a:pt x="72279" y="48880"/>
                        <a:pt x="63699" y="33020"/>
                      </a:cubicBezTo>
                      <a:cubicBezTo>
                        <a:pt x="57459" y="22360"/>
                        <a:pt x="48879" y="16120"/>
                        <a:pt x="39260" y="16120"/>
                      </a:cubicBezTo>
                      <a:cubicBezTo>
                        <a:pt x="29640" y="16120"/>
                        <a:pt x="21320" y="22360"/>
                        <a:pt x="14820" y="33020"/>
                      </a:cubicBezTo>
                      <a:cubicBezTo>
                        <a:pt x="12740" y="37180"/>
                        <a:pt x="7280" y="38220"/>
                        <a:pt x="4160" y="36140"/>
                      </a:cubicBezTo>
                      <a:cubicBezTo>
                        <a:pt x="0" y="34060"/>
                        <a:pt x="-1040" y="28600"/>
                        <a:pt x="1040" y="25480"/>
                      </a:cubicBezTo>
                      <a:cubicBezTo>
                        <a:pt x="10660" y="9620"/>
                        <a:pt x="24440" y="0"/>
                        <a:pt x="39260" y="0"/>
                      </a:cubicBezTo>
                      <a:cubicBezTo>
                        <a:pt x="54079" y="0"/>
                        <a:pt x="68899" y="9620"/>
                        <a:pt x="77479" y="25480"/>
                      </a:cubicBezTo>
                      <a:cubicBezTo>
                        <a:pt x="82679" y="36140"/>
                        <a:pt x="92299" y="42380"/>
                        <a:pt x="100879" y="42380"/>
                      </a:cubicBezTo>
                      <a:lnTo>
                        <a:pt x="132598" y="42380"/>
                      </a:lnTo>
                      <a:cubicBezTo>
                        <a:pt x="136759" y="42380"/>
                        <a:pt x="141178" y="45499"/>
                        <a:pt x="141178" y="50960"/>
                      </a:cubicBezTo>
                      <a:cubicBezTo>
                        <a:pt x="141178" y="56419"/>
                        <a:pt x="137798" y="58499"/>
                        <a:pt x="133638" y="58499"/>
                      </a:cubicBezTo>
                      <a:close/>
                    </a:path>
                  </a:pathLst>
                </a:custGeom>
                <a:solidFill>
                  <a:srgbClr val="00005A"/>
                </a:solidFill>
                <a:ln w="2597" cap="flat">
                  <a:noFill/>
                  <a:prstDash val="solid"/>
                  <a:miter/>
                </a:ln>
              </p:spPr>
              <p:txBody>
                <a:bodyPr rtlCol="0" anchor="ctr"/>
                <a:lstStyle/>
                <a:p>
                  <a:endParaRPr lang="en-GB"/>
                </a:p>
              </p:txBody>
            </p:sp>
          </p:grpSp>
          <p:sp>
            <p:nvSpPr>
              <p:cNvPr id="258" name="Freeform: Shape 257">
                <a:extLst>
                  <a:ext uri="{FF2B5EF4-FFF2-40B4-BE49-F238E27FC236}">
                    <a16:creationId xmlns:a16="http://schemas.microsoft.com/office/drawing/2014/main" id="{5B0968A0-7B2C-B20D-86A1-4D543A86BBD1}"/>
                  </a:ext>
                </a:extLst>
              </p:cNvPr>
              <p:cNvSpPr/>
              <p:nvPr/>
            </p:nvSpPr>
            <p:spPr>
              <a:xfrm>
                <a:off x="4364323" y="2619242"/>
                <a:ext cx="50439" cy="86058"/>
              </a:xfrm>
              <a:custGeom>
                <a:avLst/>
                <a:gdLst>
                  <a:gd name="connsiteX0" fmla="*/ 8580 w 50439"/>
                  <a:gd name="connsiteY0" fmla="*/ 86059 h 86058"/>
                  <a:gd name="connsiteX1" fmla="*/ 3380 w 50439"/>
                  <a:gd name="connsiteY1" fmla="*/ 83979 h 86058"/>
                  <a:gd name="connsiteX2" fmla="*/ 3380 w 50439"/>
                  <a:gd name="connsiteY2" fmla="*/ 72279 h 86058"/>
                  <a:gd name="connsiteX3" fmla="*/ 30940 w 50439"/>
                  <a:gd name="connsiteY3" fmla="*/ 43679 h 86058"/>
                  <a:gd name="connsiteX4" fmla="*/ 2340 w 50439"/>
                  <a:gd name="connsiteY4" fmla="*/ 14040 h 86058"/>
                  <a:gd name="connsiteX5" fmla="*/ 2340 w 50439"/>
                  <a:gd name="connsiteY5" fmla="*/ 2340 h 86058"/>
                  <a:gd name="connsiteX6" fmla="*/ 14040 w 50439"/>
                  <a:gd name="connsiteY6" fmla="*/ 2340 h 86058"/>
                  <a:gd name="connsiteX7" fmla="*/ 48100 w 50439"/>
                  <a:gd name="connsiteY7" fmla="*/ 37440 h 86058"/>
                  <a:gd name="connsiteX8" fmla="*/ 48100 w 50439"/>
                  <a:gd name="connsiteY8" fmla="*/ 48099 h 86058"/>
                  <a:gd name="connsiteX9" fmla="*/ 15080 w 50439"/>
                  <a:gd name="connsiteY9" fmla="*/ 82159 h 86058"/>
                  <a:gd name="connsiteX10" fmla="*/ 8580 w 50439"/>
                  <a:gd name="connsiteY10" fmla="*/ 86059 h 86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39" h="86058">
                    <a:moveTo>
                      <a:pt x="8580" y="86059"/>
                    </a:moveTo>
                    <a:cubicBezTo>
                      <a:pt x="6500" y="86059"/>
                      <a:pt x="4420" y="85019"/>
                      <a:pt x="3380" y="83979"/>
                    </a:cubicBezTo>
                    <a:cubicBezTo>
                      <a:pt x="260" y="80859"/>
                      <a:pt x="260" y="75399"/>
                      <a:pt x="3380" y="72279"/>
                    </a:cubicBezTo>
                    <a:lnTo>
                      <a:pt x="30940" y="43679"/>
                    </a:lnTo>
                    <a:lnTo>
                      <a:pt x="2340" y="14040"/>
                    </a:lnTo>
                    <a:cubicBezTo>
                      <a:pt x="-780" y="10920"/>
                      <a:pt x="-780" y="5460"/>
                      <a:pt x="2340" y="2340"/>
                    </a:cubicBezTo>
                    <a:cubicBezTo>
                      <a:pt x="5460" y="-780"/>
                      <a:pt x="10920" y="-780"/>
                      <a:pt x="14040" y="2340"/>
                    </a:cubicBezTo>
                    <a:lnTo>
                      <a:pt x="48100" y="37440"/>
                    </a:lnTo>
                    <a:cubicBezTo>
                      <a:pt x="51219" y="40559"/>
                      <a:pt x="51219" y="46019"/>
                      <a:pt x="48100" y="48099"/>
                    </a:cubicBezTo>
                    <a:lnTo>
                      <a:pt x="15080" y="82159"/>
                    </a:lnTo>
                    <a:cubicBezTo>
                      <a:pt x="12740" y="85019"/>
                      <a:pt x="10660" y="86059"/>
                      <a:pt x="8580" y="86059"/>
                    </a:cubicBezTo>
                    <a:close/>
                  </a:path>
                </a:pathLst>
              </a:custGeom>
              <a:solidFill>
                <a:srgbClr val="00005A"/>
              </a:solidFill>
              <a:ln w="2597" cap="flat">
                <a:noFill/>
                <a:prstDash val="solid"/>
                <a:miter/>
              </a:ln>
            </p:spPr>
            <p:txBody>
              <a:bodyPr rtlCol="0" anchor="ctr"/>
              <a:lstStyle/>
              <a:p>
                <a:endParaRPr lang="en-GB"/>
              </a:p>
            </p:txBody>
          </p:sp>
        </p:grpSp>
        <p:grpSp>
          <p:nvGrpSpPr>
            <p:cNvPr id="247" name="Graphic 6">
              <a:extLst>
                <a:ext uri="{FF2B5EF4-FFF2-40B4-BE49-F238E27FC236}">
                  <a16:creationId xmlns:a16="http://schemas.microsoft.com/office/drawing/2014/main" id="{9867AAAC-097D-C2A2-DA35-EF397EDB59F7}"/>
                </a:ext>
              </a:extLst>
            </p:cNvPr>
            <p:cNvGrpSpPr/>
            <p:nvPr/>
          </p:nvGrpSpPr>
          <p:grpSpPr>
            <a:xfrm>
              <a:off x="4127726" y="2851419"/>
              <a:ext cx="288076" cy="91518"/>
              <a:chOff x="4127726" y="2851419"/>
              <a:chExt cx="288076" cy="91518"/>
            </a:xfrm>
            <a:solidFill>
              <a:srgbClr val="00005A"/>
            </a:solidFill>
          </p:grpSpPr>
          <p:grpSp>
            <p:nvGrpSpPr>
              <p:cNvPr id="253" name="Graphic 6">
                <a:extLst>
                  <a:ext uri="{FF2B5EF4-FFF2-40B4-BE49-F238E27FC236}">
                    <a16:creationId xmlns:a16="http://schemas.microsoft.com/office/drawing/2014/main" id="{F7B44D3A-B480-8BB9-166C-FD230B04862B}"/>
                  </a:ext>
                </a:extLst>
              </p:cNvPr>
              <p:cNvGrpSpPr/>
              <p:nvPr/>
            </p:nvGrpSpPr>
            <p:grpSpPr>
              <a:xfrm>
                <a:off x="4127726" y="2851419"/>
                <a:ext cx="278196" cy="58499"/>
                <a:chOff x="4127726" y="2851419"/>
                <a:chExt cx="278196" cy="58499"/>
              </a:xfrm>
              <a:solidFill>
                <a:srgbClr val="00005A"/>
              </a:solidFill>
            </p:grpSpPr>
            <p:sp>
              <p:nvSpPr>
                <p:cNvPr id="255" name="Freeform: Shape 254">
                  <a:extLst>
                    <a:ext uri="{FF2B5EF4-FFF2-40B4-BE49-F238E27FC236}">
                      <a16:creationId xmlns:a16="http://schemas.microsoft.com/office/drawing/2014/main" id="{56E0ABB0-FBAE-5E64-1876-5709AE81D66C}"/>
                    </a:ext>
                  </a:extLst>
                </p:cNvPr>
                <p:cNvSpPr/>
                <p:nvPr/>
              </p:nvSpPr>
              <p:spPr>
                <a:xfrm>
                  <a:off x="4127726" y="2851419"/>
                  <a:ext cx="153918" cy="58499"/>
                </a:xfrm>
                <a:custGeom>
                  <a:avLst/>
                  <a:gdLst>
                    <a:gd name="connsiteX0" fmla="*/ 114659 w 153918"/>
                    <a:gd name="connsiteY0" fmla="*/ 58499 h 58499"/>
                    <a:gd name="connsiteX1" fmla="*/ 76439 w 153918"/>
                    <a:gd name="connsiteY1" fmla="*/ 33020 h 58499"/>
                    <a:gd name="connsiteX2" fmla="*/ 51999 w 153918"/>
                    <a:gd name="connsiteY2" fmla="*/ 16120 h 58499"/>
                    <a:gd name="connsiteX3" fmla="*/ 27560 w 153918"/>
                    <a:gd name="connsiteY3" fmla="*/ 33020 h 58499"/>
                    <a:gd name="connsiteX4" fmla="*/ 14820 w 153918"/>
                    <a:gd name="connsiteY4" fmla="*/ 54339 h 58499"/>
                    <a:gd name="connsiteX5" fmla="*/ 4160 w 153918"/>
                    <a:gd name="connsiteY5" fmla="*/ 57459 h 58499"/>
                    <a:gd name="connsiteX6" fmla="*/ 1040 w 153918"/>
                    <a:gd name="connsiteY6" fmla="*/ 46799 h 58499"/>
                    <a:gd name="connsiteX7" fmla="*/ 13780 w 153918"/>
                    <a:gd name="connsiteY7" fmla="*/ 25480 h 58499"/>
                    <a:gd name="connsiteX8" fmla="*/ 51999 w 153918"/>
                    <a:gd name="connsiteY8" fmla="*/ 0 h 58499"/>
                    <a:gd name="connsiteX9" fmla="*/ 90219 w 153918"/>
                    <a:gd name="connsiteY9" fmla="*/ 25480 h 58499"/>
                    <a:gd name="connsiteX10" fmla="*/ 114659 w 153918"/>
                    <a:gd name="connsiteY10" fmla="*/ 42379 h 58499"/>
                    <a:gd name="connsiteX11" fmla="*/ 139098 w 153918"/>
                    <a:gd name="connsiteY11" fmla="*/ 25480 h 58499"/>
                    <a:gd name="connsiteX12" fmla="*/ 149758 w 153918"/>
                    <a:gd name="connsiteY12" fmla="*/ 22360 h 58499"/>
                    <a:gd name="connsiteX13" fmla="*/ 152878 w 153918"/>
                    <a:gd name="connsiteY13" fmla="*/ 33020 h 58499"/>
                    <a:gd name="connsiteX14" fmla="*/ 114659 w 153918"/>
                    <a:gd name="connsiteY14" fmla="*/ 58499 h 58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918" h="58499">
                      <a:moveTo>
                        <a:pt x="114659" y="58499"/>
                      </a:moveTo>
                      <a:cubicBezTo>
                        <a:pt x="99839" y="58499"/>
                        <a:pt x="85019" y="48879"/>
                        <a:pt x="76439" y="33020"/>
                      </a:cubicBezTo>
                      <a:cubicBezTo>
                        <a:pt x="70199" y="22360"/>
                        <a:pt x="61619" y="16120"/>
                        <a:pt x="51999" y="16120"/>
                      </a:cubicBezTo>
                      <a:cubicBezTo>
                        <a:pt x="42379" y="16120"/>
                        <a:pt x="34060" y="22360"/>
                        <a:pt x="27560" y="33020"/>
                      </a:cubicBezTo>
                      <a:lnTo>
                        <a:pt x="14820" y="54339"/>
                      </a:lnTo>
                      <a:cubicBezTo>
                        <a:pt x="12740" y="58499"/>
                        <a:pt x="7280" y="59539"/>
                        <a:pt x="4160" y="57459"/>
                      </a:cubicBezTo>
                      <a:cubicBezTo>
                        <a:pt x="0" y="55379"/>
                        <a:pt x="-1040" y="49919"/>
                        <a:pt x="1040" y="46799"/>
                      </a:cubicBezTo>
                      <a:lnTo>
                        <a:pt x="13780" y="25480"/>
                      </a:lnTo>
                      <a:cubicBezTo>
                        <a:pt x="22360" y="9620"/>
                        <a:pt x="37179" y="0"/>
                        <a:pt x="51999" y="0"/>
                      </a:cubicBezTo>
                      <a:cubicBezTo>
                        <a:pt x="66819" y="0"/>
                        <a:pt x="81639" y="9620"/>
                        <a:pt x="90219" y="25480"/>
                      </a:cubicBezTo>
                      <a:cubicBezTo>
                        <a:pt x="96459" y="36140"/>
                        <a:pt x="105039" y="42379"/>
                        <a:pt x="114659" y="42379"/>
                      </a:cubicBezTo>
                      <a:cubicBezTo>
                        <a:pt x="124278" y="42379"/>
                        <a:pt x="132598" y="36140"/>
                        <a:pt x="139098" y="25480"/>
                      </a:cubicBezTo>
                      <a:cubicBezTo>
                        <a:pt x="141178" y="21320"/>
                        <a:pt x="146638" y="20280"/>
                        <a:pt x="149758" y="22360"/>
                      </a:cubicBezTo>
                      <a:cubicBezTo>
                        <a:pt x="153918" y="24440"/>
                        <a:pt x="154958" y="29900"/>
                        <a:pt x="152878" y="33020"/>
                      </a:cubicBezTo>
                      <a:cubicBezTo>
                        <a:pt x="143258" y="49140"/>
                        <a:pt x="129478" y="58499"/>
                        <a:pt x="114659" y="58499"/>
                      </a:cubicBezTo>
                      <a:close/>
                    </a:path>
                  </a:pathLst>
                </a:custGeom>
                <a:solidFill>
                  <a:srgbClr val="00005A"/>
                </a:solidFill>
                <a:ln w="2597" cap="flat">
                  <a:noFill/>
                  <a:prstDash val="solid"/>
                  <a:miter/>
                </a:ln>
              </p:spPr>
              <p:txBody>
                <a:bodyPr rtlCol="0" anchor="ctr"/>
                <a:lstStyle/>
                <a:p>
                  <a:endParaRPr lang="en-GB"/>
                </a:p>
              </p:txBody>
            </p:sp>
            <p:sp>
              <p:nvSpPr>
                <p:cNvPr id="256" name="Freeform: Shape 255">
                  <a:extLst>
                    <a:ext uri="{FF2B5EF4-FFF2-40B4-BE49-F238E27FC236}">
                      <a16:creationId xmlns:a16="http://schemas.microsoft.com/office/drawing/2014/main" id="{1D769429-F678-382A-1AAE-6A425C756286}"/>
                    </a:ext>
                  </a:extLst>
                </p:cNvPr>
                <p:cNvSpPr/>
                <p:nvPr/>
              </p:nvSpPr>
              <p:spPr>
                <a:xfrm>
                  <a:off x="4264744" y="2851419"/>
                  <a:ext cx="141178" cy="58499"/>
                </a:xfrm>
                <a:custGeom>
                  <a:avLst/>
                  <a:gdLst>
                    <a:gd name="connsiteX0" fmla="*/ 133639 w 141178"/>
                    <a:gd name="connsiteY0" fmla="*/ 58499 h 58499"/>
                    <a:gd name="connsiteX1" fmla="*/ 101919 w 141178"/>
                    <a:gd name="connsiteY1" fmla="*/ 58499 h 58499"/>
                    <a:gd name="connsiteX2" fmla="*/ 63699 w 141178"/>
                    <a:gd name="connsiteY2" fmla="*/ 33020 h 58499"/>
                    <a:gd name="connsiteX3" fmla="*/ 39259 w 141178"/>
                    <a:gd name="connsiteY3" fmla="*/ 16120 h 58499"/>
                    <a:gd name="connsiteX4" fmla="*/ 14820 w 141178"/>
                    <a:gd name="connsiteY4" fmla="*/ 33020 h 58499"/>
                    <a:gd name="connsiteX5" fmla="*/ 4160 w 141178"/>
                    <a:gd name="connsiteY5" fmla="*/ 36140 h 58499"/>
                    <a:gd name="connsiteX6" fmla="*/ 1040 w 141178"/>
                    <a:gd name="connsiteY6" fmla="*/ 25480 h 58499"/>
                    <a:gd name="connsiteX7" fmla="*/ 39259 w 141178"/>
                    <a:gd name="connsiteY7" fmla="*/ 0 h 58499"/>
                    <a:gd name="connsiteX8" fmla="*/ 77479 w 141178"/>
                    <a:gd name="connsiteY8" fmla="*/ 25480 h 58499"/>
                    <a:gd name="connsiteX9" fmla="*/ 100879 w 141178"/>
                    <a:gd name="connsiteY9" fmla="*/ 42379 h 58499"/>
                    <a:gd name="connsiteX10" fmla="*/ 132598 w 141178"/>
                    <a:gd name="connsiteY10" fmla="*/ 42379 h 58499"/>
                    <a:gd name="connsiteX11" fmla="*/ 141179 w 141178"/>
                    <a:gd name="connsiteY11" fmla="*/ 50960 h 58499"/>
                    <a:gd name="connsiteX12" fmla="*/ 133639 w 141178"/>
                    <a:gd name="connsiteY12" fmla="*/ 58499 h 58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178" h="58499">
                      <a:moveTo>
                        <a:pt x="133639" y="58499"/>
                      </a:moveTo>
                      <a:lnTo>
                        <a:pt x="101919" y="58499"/>
                      </a:lnTo>
                      <a:cubicBezTo>
                        <a:pt x="87099" y="58499"/>
                        <a:pt x="72279" y="48879"/>
                        <a:pt x="63699" y="33020"/>
                      </a:cubicBezTo>
                      <a:cubicBezTo>
                        <a:pt x="57459" y="22360"/>
                        <a:pt x="48880" y="16120"/>
                        <a:pt x="39259" y="16120"/>
                      </a:cubicBezTo>
                      <a:cubicBezTo>
                        <a:pt x="29640" y="16120"/>
                        <a:pt x="21320" y="22360"/>
                        <a:pt x="14820" y="33020"/>
                      </a:cubicBezTo>
                      <a:cubicBezTo>
                        <a:pt x="12740" y="37180"/>
                        <a:pt x="7280" y="38220"/>
                        <a:pt x="4160" y="36140"/>
                      </a:cubicBezTo>
                      <a:cubicBezTo>
                        <a:pt x="0" y="34060"/>
                        <a:pt x="-1040" y="28600"/>
                        <a:pt x="1040" y="25480"/>
                      </a:cubicBezTo>
                      <a:cubicBezTo>
                        <a:pt x="10660" y="9620"/>
                        <a:pt x="24440" y="0"/>
                        <a:pt x="39259" y="0"/>
                      </a:cubicBezTo>
                      <a:cubicBezTo>
                        <a:pt x="54080" y="0"/>
                        <a:pt x="68899" y="9620"/>
                        <a:pt x="77479" y="25480"/>
                      </a:cubicBezTo>
                      <a:cubicBezTo>
                        <a:pt x="82679" y="36140"/>
                        <a:pt x="92299" y="42379"/>
                        <a:pt x="100879" y="42379"/>
                      </a:cubicBezTo>
                      <a:lnTo>
                        <a:pt x="132598" y="42379"/>
                      </a:lnTo>
                      <a:cubicBezTo>
                        <a:pt x="136758" y="42379"/>
                        <a:pt x="141179" y="45499"/>
                        <a:pt x="141179" y="50960"/>
                      </a:cubicBezTo>
                      <a:cubicBezTo>
                        <a:pt x="141179" y="56419"/>
                        <a:pt x="137798" y="58499"/>
                        <a:pt x="133639" y="58499"/>
                      </a:cubicBezTo>
                      <a:close/>
                    </a:path>
                  </a:pathLst>
                </a:custGeom>
                <a:solidFill>
                  <a:srgbClr val="00005A"/>
                </a:solidFill>
                <a:ln w="2597" cap="flat">
                  <a:noFill/>
                  <a:prstDash val="solid"/>
                  <a:miter/>
                </a:ln>
              </p:spPr>
              <p:txBody>
                <a:bodyPr rtlCol="0" anchor="ctr"/>
                <a:lstStyle/>
                <a:p>
                  <a:endParaRPr lang="en-GB"/>
                </a:p>
              </p:txBody>
            </p:sp>
          </p:grpSp>
          <p:sp>
            <p:nvSpPr>
              <p:cNvPr id="254" name="Freeform: Shape 253">
                <a:extLst>
                  <a:ext uri="{FF2B5EF4-FFF2-40B4-BE49-F238E27FC236}">
                    <a16:creationId xmlns:a16="http://schemas.microsoft.com/office/drawing/2014/main" id="{94B0C754-57CC-05A1-BD8E-E52CD90BB6AF}"/>
                  </a:ext>
                </a:extLst>
              </p:cNvPr>
              <p:cNvSpPr/>
              <p:nvPr/>
            </p:nvSpPr>
            <p:spPr>
              <a:xfrm>
                <a:off x="4365363" y="2857919"/>
                <a:ext cx="50439" cy="85019"/>
              </a:xfrm>
              <a:custGeom>
                <a:avLst/>
                <a:gdLst>
                  <a:gd name="connsiteX0" fmla="*/ 8580 w 50439"/>
                  <a:gd name="connsiteY0" fmla="*/ 85019 h 85019"/>
                  <a:gd name="connsiteX1" fmla="*/ 3380 w 50439"/>
                  <a:gd name="connsiteY1" fmla="*/ 82939 h 85019"/>
                  <a:gd name="connsiteX2" fmla="*/ 3380 w 50439"/>
                  <a:gd name="connsiteY2" fmla="*/ 71239 h 85019"/>
                  <a:gd name="connsiteX3" fmla="*/ 30940 w 50439"/>
                  <a:gd name="connsiteY3" fmla="*/ 42640 h 85019"/>
                  <a:gd name="connsiteX4" fmla="*/ 2340 w 50439"/>
                  <a:gd name="connsiteY4" fmla="*/ 14040 h 85019"/>
                  <a:gd name="connsiteX5" fmla="*/ 2340 w 50439"/>
                  <a:gd name="connsiteY5" fmla="*/ 2340 h 85019"/>
                  <a:gd name="connsiteX6" fmla="*/ 14040 w 50439"/>
                  <a:gd name="connsiteY6" fmla="*/ 2340 h 85019"/>
                  <a:gd name="connsiteX7" fmla="*/ 48100 w 50439"/>
                  <a:gd name="connsiteY7" fmla="*/ 36400 h 85019"/>
                  <a:gd name="connsiteX8" fmla="*/ 48100 w 50439"/>
                  <a:gd name="connsiteY8" fmla="*/ 48099 h 85019"/>
                  <a:gd name="connsiteX9" fmla="*/ 15080 w 50439"/>
                  <a:gd name="connsiteY9" fmla="*/ 82159 h 85019"/>
                  <a:gd name="connsiteX10" fmla="*/ 8580 w 50439"/>
                  <a:gd name="connsiteY10" fmla="*/ 85019 h 85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39" h="85019">
                    <a:moveTo>
                      <a:pt x="8580" y="85019"/>
                    </a:moveTo>
                    <a:cubicBezTo>
                      <a:pt x="6500" y="85019"/>
                      <a:pt x="4420" y="83979"/>
                      <a:pt x="3380" y="82939"/>
                    </a:cubicBezTo>
                    <a:cubicBezTo>
                      <a:pt x="260" y="79819"/>
                      <a:pt x="260" y="74359"/>
                      <a:pt x="3380" y="71239"/>
                    </a:cubicBezTo>
                    <a:lnTo>
                      <a:pt x="30940" y="42640"/>
                    </a:lnTo>
                    <a:lnTo>
                      <a:pt x="2340" y="14040"/>
                    </a:lnTo>
                    <a:cubicBezTo>
                      <a:pt x="-780" y="10920"/>
                      <a:pt x="-780" y="5460"/>
                      <a:pt x="2340" y="2340"/>
                    </a:cubicBezTo>
                    <a:cubicBezTo>
                      <a:pt x="5460" y="-780"/>
                      <a:pt x="10920" y="-780"/>
                      <a:pt x="14040" y="2340"/>
                    </a:cubicBezTo>
                    <a:lnTo>
                      <a:pt x="48100" y="36400"/>
                    </a:lnTo>
                    <a:cubicBezTo>
                      <a:pt x="51219" y="39520"/>
                      <a:pt x="51219" y="44979"/>
                      <a:pt x="48100" y="48099"/>
                    </a:cubicBezTo>
                    <a:lnTo>
                      <a:pt x="15080" y="82159"/>
                    </a:lnTo>
                    <a:cubicBezTo>
                      <a:pt x="13000" y="83979"/>
                      <a:pt x="10660" y="85019"/>
                      <a:pt x="8580" y="85019"/>
                    </a:cubicBezTo>
                    <a:close/>
                  </a:path>
                </a:pathLst>
              </a:custGeom>
              <a:solidFill>
                <a:srgbClr val="00005A"/>
              </a:solidFill>
              <a:ln w="2597" cap="flat">
                <a:noFill/>
                <a:prstDash val="solid"/>
                <a:miter/>
              </a:ln>
            </p:spPr>
            <p:txBody>
              <a:bodyPr rtlCol="0" anchor="ctr"/>
              <a:lstStyle/>
              <a:p>
                <a:endParaRPr lang="en-GB"/>
              </a:p>
            </p:txBody>
          </p:sp>
        </p:grpSp>
        <p:grpSp>
          <p:nvGrpSpPr>
            <p:cNvPr id="248" name="Graphic 6">
              <a:extLst>
                <a:ext uri="{FF2B5EF4-FFF2-40B4-BE49-F238E27FC236}">
                  <a16:creationId xmlns:a16="http://schemas.microsoft.com/office/drawing/2014/main" id="{6F21161F-8EAA-292A-1250-C3ED6743BBDC}"/>
                </a:ext>
              </a:extLst>
            </p:cNvPr>
            <p:cNvGrpSpPr/>
            <p:nvPr/>
          </p:nvGrpSpPr>
          <p:grpSpPr>
            <a:xfrm>
              <a:off x="4127726" y="3056297"/>
              <a:ext cx="288076" cy="93598"/>
              <a:chOff x="4127726" y="3056297"/>
              <a:chExt cx="288076" cy="93598"/>
            </a:xfrm>
            <a:solidFill>
              <a:srgbClr val="00005A"/>
            </a:solidFill>
          </p:grpSpPr>
          <p:grpSp>
            <p:nvGrpSpPr>
              <p:cNvPr id="249" name="Graphic 6">
                <a:extLst>
                  <a:ext uri="{FF2B5EF4-FFF2-40B4-BE49-F238E27FC236}">
                    <a16:creationId xmlns:a16="http://schemas.microsoft.com/office/drawing/2014/main" id="{F35D0F1E-B3AE-B36C-A380-B19A37A1A541}"/>
                  </a:ext>
                </a:extLst>
              </p:cNvPr>
              <p:cNvGrpSpPr/>
              <p:nvPr/>
            </p:nvGrpSpPr>
            <p:grpSpPr>
              <a:xfrm>
                <a:off x="4127726" y="3056297"/>
                <a:ext cx="278196" cy="59539"/>
                <a:chOff x="4127726" y="3056297"/>
                <a:chExt cx="278196" cy="59539"/>
              </a:xfrm>
              <a:solidFill>
                <a:srgbClr val="00005A"/>
              </a:solidFill>
            </p:grpSpPr>
            <p:sp>
              <p:nvSpPr>
                <p:cNvPr id="251" name="Freeform: Shape 250">
                  <a:extLst>
                    <a:ext uri="{FF2B5EF4-FFF2-40B4-BE49-F238E27FC236}">
                      <a16:creationId xmlns:a16="http://schemas.microsoft.com/office/drawing/2014/main" id="{AF54EFAF-A60A-2940-930A-B713B5019899}"/>
                    </a:ext>
                  </a:extLst>
                </p:cNvPr>
                <p:cNvSpPr/>
                <p:nvPr/>
              </p:nvSpPr>
              <p:spPr>
                <a:xfrm>
                  <a:off x="4127726" y="3057337"/>
                  <a:ext cx="153918" cy="58499"/>
                </a:xfrm>
                <a:custGeom>
                  <a:avLst/>
                  <a:gdLst>
                    <a:gd name="connsiteX0" fmla="*/ 114659 w 153918"/>
                    <a:gd name="connsiteY0" fmla="*/ 58499 h 58499"/>
                    <a:gd name="connsiteX1" fmla="*/ 76439 w 153918"/>
                    <a:gd name="connsiteY1" fmla="*/ 33020 h 58499"/>
                    <a:gd name="connsiteX2" fmla="*/ 51999 w 153918"/>
                    <a:gd name="connsiteY2" fmla="*/ 16120 h 58499"/>
                    <a:gd name="connsiteX3" fmla="*/ 27560 w 153918"/>
                    <a:gd name="connsiteY3" fmla="*/ 33020 h 58499"/>
                    <a:gd name="connsiteX4" fmla="*/ 14820 w 153918"/>
                    <a:gd name="connsiteY4" fmla="*/ 54339 h 58499"/>
                    <a:gd name="connsiteX5" fmla="*/ 4160 w 153918"/>
                    <a:gd name="connsiteY5" fmla="*/ 57459 h 58499"/>
                    <a:gd name="connsiteX6" fmla="*/ 1040 w 153918"/>
                    <a:gd name="connsiteY6" fmla="*/ 46799 h 58499"/>
                    <a:gd name="connsiteX7" fmla="*/ 13780 w 153918"/>
                    <a:gd name="connsiteY7" fmla="*/ 25480 h 58499"/>
                    <a:gd name="connsiteX8" fmla="*/ 51999 w 153918"/>
                    <a:gd name="connsiteY8" fmla="*/ 0 h 58499"/>
                    <a:gd name="connsiteX9" fmla="*/ 90219 w 153918"/>
                    <a:gd name="connsiteY9" fmla="*/ 25480 h 58499"/>
                    <a:gd name="connsiteX10" fmla="*/ 114659 w 153918"/>
                    <a:gd name="connsiteY10" fmla="*/ 42379 h 58499"/>
                    <a:gd name="connsiteX11" fmla="*/ 139098 w 153918"/>
                    <a:gd name="connsiteY11" fmla="*/ 25480 h 58499"/>
                    <a:gd name="connsiteX12" fmla="*/ 149758 w 153918"/>
                    <a:gd name="connsiteY12" fmla="*/ 22360 h 58499"/>
                    <a:gd name="connsiteX13" fmla="*/ 152878 w 153918"/>
                    <a:gd name="connsiteY13" fmla="*/ 33020 h 58499"/>
                    <a:gd name="connsiteX14" fmla="*/ 114659 w 153918"/>
                    <a:gd name="connsiteY14" fmla="*/ 58499 h 58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918" h="58499">
                      <a:moveTo>
                        <a:pt x="114659" y="58499"/>
                      </a:moveTo>
                      <a:cubicBezTo>
                        <a:pt x="99839" y="58499"/>
                        <a:pt x="85019" y="48879"/>
                        <a:pt x="76439" y="33020"/>
                      </a:cubicBezTo>
                      <a:cubicBezTo>
                        <a:pt x="70199" y="22360"/>
                        <a:pt x="61619" y="16120"/>
                        <a:pt x="51999" y="16120"/>
                      </a:cubicBezTo>
                      <a:cubicBezTo>
                        <a:pt x="42379" y="16120"/>
                        <a:pt x="34060" y="22360"/>
                        <a:pt x="27560" y="33020"/>
                      </a:cubicBezTo>
                      <a:lnTo>
                        <a:pt x="14820" y="54339"/>
                      </a:lnTo>
                      <a:cubicBezTo>
                        <a:pt x="12740" y="58499"/>
                        <a:pt x="7280" y="59539"/>
                        <a:pt x="4160" y="57459"/>
                      </a:cubicBezTo>
                      <a:cubicBezTo>
                        <a:pt x="0" y="55379"/>
                        <a:pt x="-1040" y="49919"/>
                        <a:pt x="1040" y="46799"/>
                      </a:cubicBezTo>
                      <a:lnTo>
                        <a:pt x="13780" y="25480"/>
                      </a:lnTo>
                      <a:cubicBezTo>
                        <a:pt x="22360" y="9620"/>
                        <a:pt x="37179" y="0"/>
                        <a:pt x="51999" y="0"/>
                      </a:cubicBezTo>
                      <a:cubicBezTo>
                        <a:pt x="66819" y="0"/>
                        <a:pt x="81639" y="9620"/>
                        <a:pt x="90219" y="25480"/>
                      </a:cubicBezTo>
                      <a:cubicBezTo>
                        <a:pt x="96459" y="36140"/>
                        <a:pt x="105039" y="42379"/>
                        <a:pt x="114659" y="42379"/>
                      </a:cubicBezTo>
                      <a:cubicBezTo>
                        <a:pt x="124278" y="42379"/>
                        <a:pt x="132598" y="36140"/>
                        <a:pt x="139098" y="25480"/>
                      </a:cubicBezTo>
                      <a:cubicBezTo>
                        <a:pt x="141178" y="21320"/>
                        <a:pt x="146638" y="20280"/>
                        <a:pt x="149758" y="22360"/>
                      </a:cubicBezTo>
                      <a:cubicBezTo>
                        <a:pt x="153918" y="24440"/>
                        <a:pt x="154958" y="29900"/>
                        <a:pt x="152878" y="33020"/>
                      </a:cubicBezTo>
                      <a:cubicBezTo>
                        <a:pt x="143258" y="49140"/>
                        <a:pt x="129478" y="58499"/>
                        <a:pt x="114659" y="58499"/>
                      </a:cubicBezTo>
                      <a:close/>
                    </a:path>
                  </a:pathLst>
                </a:custGeom>
                <a:solidFill>
                  <a:srgbClr val="00005A"/>
                </a:solidFill>
                <a:ln w="2597" cap="flat">
                  <a:noFill/>
                  <a:prstDash val="solid"/>
                  <a:miter/>
                </a:ln>
              </p:spPr>
              <p:txBody>
                <a:bodyPr rtlCol="0" anchor="ctr"/>
                <a:lstStyle/>
                <a:p>
                  <a:endParaRPr lang="en-GB"/>
                </a:p>
              </p:txBody>
            </p:sp>
            <p:sp>
              <p:nvSpPr>
                <p:cNvPr id="252" name="Freeform: Shape 251">
                  <a:extLst>
                    <a:ext uri="{FF2B5EF4-FFF2-40B4-BE49-F238E27FC236}">
                      <a16:creationId xmlns:a16="http://schemas.microsoft.com/office/drawing/2014/main" id="{7C3BC1D7-6213-9690-4D73-0BD9B9FC8A1B}"/>
                    </a:ext>
                  </a:extLst>
                </p:cNvPr>
                <p:cNvSpPr/>
                <p:nvPr/>
              </p:nvSpPr>
              <p:spPr>
                <a:xfrm>
                  <a:off x="4264744" y="3056297"/>
                  <a:ext cx="141178" cy="58499"/>
                </a:xfrm>
                <a:custGeom>
                  <a:avLst/>
                  <a:gdLst>
                    <a:gd name="connsiteX0" fmla="*/ 133639 w 141178"/>
                    <a:gd name="connsiteY0" fmla="*/ 58499 h 58499"/>
                    <a:gd name="connsiteX1" fmla="*/ 101919 w 141178"/>
                    <a:gd name="connsiteY1" fmla="*/ 58499 h 58499"/>
                    <a:gd name="connsiteX2" fmla="*/ 63699 w 141178"/>
                    <a:gd name="connsiteY2" fmla="*/ 33020 h 58499"/>
                    <a:gd name="connsiteX3" fmla="*/ 39259 w 141178"/>
                    <a:gd name="connsiteY3" fmla="*/ 16120 h 58499"/>
                    <a:gd name="connsiteX4" fmla="*/ 14820 w 141178"/>
                    <a:gd name="connsiteY4" fmla="*/ 33020 h 58499"/>
                    <a:gd name="connsiteX5" fmla="*/ 4160 w 141178"/>
                    <a:gd name="connsiteY5" fmla="*/ 36140 h 58499"/>
                    <a:gd name="connsiteX6" fmla="*/ 1040 w 141178"/>
                    <a:gd name="connsiteY6" fmla="*/ 25480 h 58499"/>
                    <a:gd name="connsiteX7" fmla="*/ 39259 w 141178"/>
                    <a:gd name="connsiteY7" fmla="*/ 0 h 58499"/>
                    <a:gd name="connsiteX8" fmla="*/ 77479 w 141178"/>
                    <a:gd name="connsiteY8" fmla="*/ 25480 h 58499"/>
                    <a:gd name="connsiteX9" fmla="*/ 100879 w 141178"/>
                    <a:gd name="connsiteY9" fmla="*/ 42380 h 58499"/>
                    <a:gd name="connsiteX10" fmla="*/ 132598 w 141178"/>
                    <a:gd name="connsiteY10" fmla="*/ 42380 h 58499"/>
                    <a:gd name="connsiteX11" fmla="*/ 141179 w 141178"/>
                    <a:gd name="connsiteY11" fmla="*/ 50960 h 58499"/>
                    <a:gd name="connsiteX12" fmla="*/ 133639 w 141178"/>
                    <a:gd name="connsiteY12" fmla="*/ 58499 h 58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178" h="58499">
                      <a:moveTo>
                        <a:pt x="133639" y="58499"/>
                      </a:moveTo>
                      <a:lnTo>
                        <a:pt x="101919" y="58499"/>
                      </a:lnTo>
                      <a:cubicBezTo>
                        <a:pt x="87099" y="58499"/>
                        <a:pt x="72279" y="48880"/>
                        <a:pt x="63699" y="33020"/>
                      </a:cubicBezTo>
                      <a:cubicBezTo>
                        <a:pt x="57459" y="22360"/>
                        <a:pt x="48880" y="16120"/>
                        <a:pt x="39259" y="16120"/>
                      </a:cubicBezTo>
                      <a:cubicBezTo>
                        <a:pt x="29640" y="16120"/>
                        <a:pt x="21320" y="22360"/>
                        <a:pt x="14820" y="33020"/>
                      </a:cubicBezTo>
                      <a:cubicBezTo>
                        <a:pt x="12740" y="37180"/>
                        <a:pt x="7280" y="38220"/>
                        <a:pt x="4160" y="36140"/>
                      </a:cubicBezTo>
                      <a:cubicBezTo>
                        <a:pt x="0" y="34060"/>
                        <a:pt x="-1040" y="28600"/>
                        <a:pt x="1040" y="25480"/>
                      </a:cubicBezTo>
                      <a:cubicBezTo>
                        <a:pt x="10660" y="9620"/>
                        <a:pt x="24440" y="0"/>
                        <a:pt x="39259" y="0"/>
                      </a:cubicBezTo>
                      <a:cubicBezTo>
                        <a:pt x="54080" y="0"/>
                        <a:pt x="68899" y="9620"/>
                        <a:pt x="77479" y="25480"/>
                      </a:cubicBezTo>
                      <a:cubicBezTo>
                        <a:pt x="82679" y="36140"/>
                        <a:pt x="92299" y="42380"/>
                        <a:pt x="100879" y="42380"/>
                      </a:cubicBezTo>
                      <a:lnTo>
                        <a:pt x="132598" y="42380"/>
                      </a:lnTo>
                      <a:cubicBezTo>
                        <a:pt x="136758" y="42380"/>
                        <a:pt x="141179" y="45499"/>
                        <a:pt x="141179" y="50960"/>
                      </a:cubicBezTo>
                      <a:cubicBezTo>
                        <a:pt x="141179" y="56419"/>
                        <a:pt x="137798" y="58499"/>
                        <a:pt x="133639" y="58499"/>
                      </a:cubicBezTo>
                      <a:close/>
                    </a:path>
                  </a:pathLst>
                </a:custGeom>
                <a:solidFill>
                  <a:srgbClr val="00005A"/>
                </a:solidFill>
                <a:ln w="2597" cap="flat">
                  <a:noFill/>
                  <a:prstDash val="solid"/>
                  <a:miter/>
                </a:ln>
              </p:spPr>
              <p:txBody>
                <a:bodyPr rtlCol="0" anchor="ctr"/>
                <a:lstStyle/>
                <a:p>
                  <a:endParaRPr lang="en-GB"/>
                </a:p>
              </p:txBody>
            </p:sp>
          </p:grpSp>
          <p:sp>
            <p:nvSpPr>
              <p:cNvPr id="250" name="Freeform: Shape 249">
                <a:extLst>
                  <a:ext uri="{FF2B5EF4-FFF2-40B4-BE49-F238E27FC236}">
                    <a16:creationId xmlns:a16="http://schemas.microsoft.com/office/drawing/2014/main" id="{11D8FD07-B27B-11EC-3EDD-C8710FD25DB3}"/>
                  </a:ext>
                </a:extLst>
              </p:cNvPr>
              <p:cNvSpPr/>
              <p:nvPr/>
            </p:nvSpPr>
            <p:spPr>
              <a:xfrm>
                <a:off x="4365363" y="3064876"/>
                <a:ext cx="50439" cy="85019"/>
              </a:xfrm>
              <a:custGeom>
                <a:avLst/>
                <a:gdLst>
                  <a:gd name="connsiteX0" fmla="*/ 8580 w 50439"/>
                  <a:gd name="connsiteY0" fmla="*/ 85019 h 85019"/>
                  <a:gd name="connsiteX1" fmla="*/ 3380 w 50439"/>
                  <a:gd name="connsiteY1" fmla="*/ 82939 h 85019"/>
                  <a:gd name="connsiteX2" fmla="*/ 3380 w 50439"/>
                  <a:gd name="connsiteY2" fmla="*/ 71239 h 85019"/>
                  <a:gd name="connsiteX3" fmla="*/ 30940 w 50439"/>
                  <a:gd name="connsiteY3" fmla="*/ 43680 h 85019"/>
                  <a:gd name="connsiteX4" fmla="*/ 2340 w 50439"/>
                  <a:gd name="connsiteY4" fmla="*/ 14040 h 85019"/>
                  <a:gd name="connsiteX5" fmla="*/ 2340 w 50439"/>
                  <a:gd name="connsiteY5" fmla="*/ 2340 h 85019"/>
                  <a:gd name="connsiteX6" fmla="*/ 14040 w 50439"/>
                  <a:gd name="connsiteY6" fmla="*/ 2340 h 85019"/>
                  <a:gd name="connsiteX7" fmla="*/ 48100 w 50439"/>
                  <a:gd name="connsiteY7" fmla="*/ 37440 h 85019"/>
                  <a:gd name="connsiteX8" fmla="*/ 48100 w 50439"/>
                  <a:gd name="connsiteY8" fmla="*/ 49139 h 85019"/>
                  <a:gd name="connsiteX9" fmla="*/ 15080 w 50439"/>
                  <a:gd name="connsiteY9" fmla="*/ 82159 h 85019"/>
                  <a:gd name="connsiteX10" fmla="*/ 8580 w 50439"/>
                  <a:gd name="connsiteY10" fmla="*/ 85019 h 85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39" h="85019">
                    <a:moveTo>
                      <a:pt x="8580" y="85019"/>
                    </a:moveTo>
                    <a:cubicBezTo>
                      <a:pt x="6500" y="85019"/>
                      <a:pt x="4420" y="83979"/>
                      <a:pt x="3380" y="82939"/>
                    </a:cubicBezTo>
                    <a:cubicBezTo>
                      <a:pt x="260" y="79819"/>
                      <a:pt x="260" y="74359"/>
                      <a:pt x="3380" y="71239"/>
                    </a:cubicBezTo>
                    <a:lnTo>
                      <a:pt x="30940" y="43680"/>
                    </a:lnTo>
                    <a:lnTo>
                      <a:pt x="2340" y="14040"/>
                    </a:lnTo>
                    <a:cubicBezTo>
                      <a:pt x="-780" y="10920"/>
                      <a:pt x="-780" y="5460"/>
                      <a:pt x="2340" y="2340"/>
                    </a:cubicBezTo>
                    <a:cubicBezTo>
                      <a:pt x="5460" y="-780"/>
                      <a:pt x="10920" y="-780"/>
                      <a:pt x="14040" y="2340"/>
                    </a:cubicBezTo>
                    <a:lnTo>
                      <a:pt x="48100" y="37440"/>
                    </a:lnTo>
                    <a:cubicBezTo>
                      <a:pt x="51219" y="40560"/>
                      <a:pt x="51219" y="46019"/>
                      <a:pt x="48100" y="49139"/>
                    </a:cubicBezTo>
                    <a:lnTo>
                      <a:pt x="15080" y="82159"/>
                    </a:lnTo>
                    <a:cubicBezTo>
                      <a:pt x="13000" y="83979"/>
                      <a:pt x="10660" y="85019"/>
                      <a:pt x="8580" y="85019"/>
                    </a:cubicBezTo>
                    <a:close/>
                  </a:path>
                </a:pathLst>
              </a:custGeom>
              <a:solidFill>
                <a:srgbClr val="00005A"/>
              </a:solidFill>
              <a:ln w="2597" cap="flat">
                <a:noFill/>
                <a:prstDash val="solid"/>
                <a:miter/>
              </a:ln>
            </p:spPr>
            <p:txBody>
              <a:bodyPr rtlCol="0" anchor="ctr"/>
              <a:lstStyle/>
              <a:p>
                <a:endParaRPr lang="en-GB"/>
              </a:p>
            </p:txBody>
          </p:sp>
        </p:grpSp>
      </p:grpSp>
      <p:grpSp>
        <p:nvGrpSpPr>
          <p:cNvPr id="263" name="Graphic 6">
            <a:extLst>
              <a:ext uri="{FF2B5EF4-FFF2-40B4-BE49-F238E27FC236}">
                <a16:creationId xmlns:a16="http://schemas.microsoft.com/office/drawing/2014/main" id="{FC7E5599-30F6-FC7A-915E-B21460C135B5}"/>
              </a:ext>
            </a:extLst>
          </p:cNvPr>
          <p:cNvGrpSpPr/>
          <p:nvPr/>
        </p:nvGrpSpPr>
        <p:grpSpPr>
          <a:xfrm>
            <a:off x="2333865" y="3591125"/>
            <a:ext cx="466424" cy="405429"/>
            <a:chOff x="5998664" y="2477803"/>
            <a:chExt cx="935469" cy="813137"/>
          </a:xfrm>
        </p:grpSpPr>
        <p:grpSp>
          <p:nvGrpSpPr>
            <p:cNvPr id="264" name="Graphic 6">
              <a:extLst>
                <a:ext uri="{FF2B5EF4-FFF2-40B4-BE49-F238E27FC236}">
                  <a16:creationId xmlns:a16="http://schemas.microsoft.com/office/drawing/2014/main" id="{67603D93-696D-B8CE-42DE-BCB82D15270A}"/>
                </a:ext>
              </a:extLst>
            </p:cNvPr>
            <p:cNvGrpSpPr/>
            <p:nvPr/>
          </p:nvGrpSpPr>
          <p:grpSpPr>
            <a:xfrm>
              <a:off x="6496818" y="2509003"/>
              <a:ext cx="183297" cy="563413"/>
              <a:chOff x="6496818" y="2509003"/>
              <a:chExt cx="183297" cy="563413"/>
            </a:xfrm>
            <a:solidFill>
              <a:srgbClr val="0069FF"/>
            </a:solidFill>
          </p:grpSpPr>
          <p:sp>
            <p:nvSpPr>
              <p:cNvPr id="315" name="Freeform: Shape 314">
                <a:extLst>
                  <a:ext uri="{FF2B5EF4-FFF2-40B4-BE49-F238E27FC236}">
                    <a16:creationId xmlns:a16="http://schemas.microsoft.com/office/drawing/2014/main" id="{FB2FA94C-3BF2-BB65-84D9-EFCD1D43ED3A}"/>
                  </a:ext>
                </a:extLst>
              </p:cNvPr>
              <p:cNvSpPr/>
              <p:nvPr/>
            </p:nvSpPr>
            <p:spPr>
              <a:xfrm>
                <a:off x="6502018" y="2514203"/>
                <a:ext cx="172898" cy="553013"/>
              </a:xfrm>
              <a:custGeom>
                <a:avLst/>
                <a:gdLst>
                  <a:gd name="connsiteX0" fmla="*/ 172898 w 172898"/>
                  <a:gd name="connsiteY0" fmla="*/ 553014 h 553013"/>
                  <a:gd name="connsiteX1" fmla="*/ 0 w 172898"/>
                  <a:gd name="connsiteY1" fmla="*/ 515834 h 553013"/>
                  <a:gd name="connsiteX2" fmla="*/ 0 w 172898"/>
                  <a:gd name="connsiteY2" fmla="*/ 85799 h 553013"/>
                  <a:gd name="connsiteX3" fmla="*/ 0 w 172898"/>
                  <a:gd name="connsiteY3" fmla="*/ 36140 h 553013"/>
                  <a:gd name="connsiteX4" fmla="*/ 172898 w 172898"/>
                  <a:gd name="connsiteY4" fmla="*/ 0 h 553013"/>
                  <a:gd name="connsiteX5" fmla="*/ 172898 w 172898"/>
                  <a:gd name="connsiteY5" fmla="*/ 44460 h 553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898" h="553013">
                    <a:moveTo>
                      <a:pt x="172898" y="553014"/>
                    </a:moveTo>
                    <a:lnTo>
                      <a:pt x="0" y="515834"/>
                    </a:lnTo>
                    <a:lnTo>
                      <a:pt x="0" y="85799"/>
                    </a:lnTo>
                    <a:lnTo>
                      <a:pt x="0" y="36140"/>
                    </a:lnTo>
                    <a:lnTo>
                      <a:pt x="172898" y="0"/>
                    </a:lnTo>
                    <a:lnTo>
                      <a:pt x="172898" y="44460"/>
                    </a:lnTo>
                    <a:close/>
                  </a:path>
                </a:pathLst>
              </a:custGeom>
              <a:solidFill>
                <a:srgbClr val="0069FF"/>
              </a:solidFill>
              <a:ln w="2597" cap="flat">
                <a:noFill/>
                <a:prstDash val="solid"/>
                <a:miter/>
              </a:ln>
            </p:spPr>
            <p:txBody>
              <a:bodyPr rtlCol="0" anchor="ctr"/>
              <a:lstStyle/>
              <a:p>
                <a:endParaRPr lang="en-GB"/>
              </a:p>
            </p:txBody>
          </p:sp>
          <p:sp>
            <p:nvSpPr>
              <p:cNvPr id="316" name="Freeform: Shape 315">
                <a:extLst>
                  <a:ext uri="{FF2B5EF4-FFF2-40B4-BE49-F238E27FC236}">
                    <a16:creationId xmlns:a16="http://schemas.microsoft.com/office/drawing/2014/main" id="{BE8C80FE-D5C5-2C8E-3DF2-029EDFC2540E}"/>
                  </a:ext>
                </a:extLst>
              </p:cNvPr>
              <p:cNvSpPr/>
              <p:nvPr/>
            </p:nvSpPr>
            <p:spPr>
              <a:xfrm>
                <a:off x="6496818" y="2509003"/>
                <a:ext cx="183297" cy="563413"/>
              </a:xfrm>
              <a:custGeom>
                <a:avLst/>
                <a:gdLst>
                  <a:gd name="connsiteX0" fmla="*/ 178098 w 183297"/>
                  <a:gd name="connsiteY0" fmla="*/ 563414 h 563413"/>
                  <a:gd name="connsiteX1" fmla="*/ 177058 w 183297"/>
                  <a:gd name="connsiteY1" fmla="*/ 563414 h 563413"/>
                  <a:gd name="connsiteX2" fmla="*/ 4160 w 183297"/>
                  <a:gd name="connsiteY2" fmla="*/ 526234 h 563413"/>
                  <a:gd name="connsiteX3" fmla="*/ 0 w 183297"/>
                  <a:gd name="connsiteY3" fmla="*/ 521034 h 563413"/>
                  <a:gd name="connsiteX4" fmla="*/ 0 w 183297"/>
                  <a:gd name="connsiteY4" fmla="*/ 41340 h 563413"/>
                  <a:gd name="connsiteX5" fmla="*/ 4160 w 183297"/>
                  <a:gd name="connsiteY5" fmla="*/ 36140 h 563413"/>
                  <a:gd name="connsiteX6" fmla="*/ 177058 w 183297"/>
                  <a:gd name="connsiteY6" fmla="*/ 0 h 563413"/>
                  <a:gd name="connsiteX7" fmla="*/ 181218 w 183297"/>
                  <a:gd name="connsiteY7" fmla="*/ 1040 h 563413"/>
                  <a:gd name="connsiteX8" fmla="*/ 183298 w 183297"/>
                  <a:gd name="connsiteY8" fmla="*/ 5200 h 563413"/>
                  <a:gd name="connsiteX9" fmla="*/ 183298 w 183297"/>
                  <a:gd name="connsiteY9" fmla="*/ 558214 h 563413"/>
                  <a:gd name="connsiteX10" fmla="*/ 181218 w 183297"/>
                  <a:gd name="connsiteY10" fmla="*/ 562374 h 563413"/>
                  <a:gd name="connsiteX11" fmla="*/ 178098 w 183297"/>
                  <a:gd name="connsiteY11" fmla="*/ 563414 h 563413"/>
                  <a:gd name="connsiteX12" fmla="*/ 10400 w 183297"/>
                  <a:gd name="connsiteY12" fmla="*/ 516614 h 563413"/>
                  <a:gd name="connsiteX13" fmla="*/ 172898 w 183297"/>
                  <a:gd name="connsiteY13" fmla="*/ 551714 h 563413"/>
                  <a:gd name="connsiteX14" fmla="*/ 172898 w 183297"/>
                  <a:gd name="connsiteY14" fmla="*/ 11440 h 563413"/>
                  <a:gd name="connsiteX15" fmla="*/ 10400 w 183297"/>
                  <a:gd name="connsiteY15" fmla="*/ 45499 h 563413"/>
                  <a:gd name="connsiteX16" fmla="*/ 10400 w 183297"/>
                  <a:gd name="connsiteY16" fmla="*/ 516614 h 563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3297" h="563413">
                    <a:moveTo>
                      <a:pt x="178098" y="563414"/>
                    </a:moveTo>
                    <a:lnTo>
                      <a:pt x="177058" y="563414"/>
                    </a:lnTo>
                    <a:lnTo>
                      <a:pt x="4160" y="526234"/>
                    </a:lnTo>
                    <a:cubicBezTo>
                      <a:pt x="2079" y="526234"/>
                      <a:pt x="0" y="523114"/>
                      <a:pt x="0" y="521034"/>
                    </a:cubicBezTo>
                    <a:lnTo>
                      <a:pt x="0" y="41340"/>
                    </a:lnTo>
                    <a:cubicBezTo>
                      <a:pt x="0" y="39260"/>
                      <a:pt x="2079" y="37180"/>
                      <a:pt x="4160" y="36140"/>
                    </a:cubicBezTo>
                    <a:lnTo>
                      <a:pt x="177058" y="0"/>
                    </a:lnTo>
                    <a:cubicBezTo>
                      <a:pt x="178098" y="0"/>
                      <a:pt x="180177" y="0"/>
                      <a:pt x="181218" y="1040"/>
                    </a:cubicBezTo>
                    <a:cubicBezTo>
                      <a:pt x="182258" y="2080"/>
                      <a:pt x="183298" y="3120"/>
                      <a:pt x="183298" y="5200"/>
                    </a:cubicBezTo>
                    <a:lnTo>
                      <a:pt x="183298" y="558214"/>
                    </a:lnTo>
                    <a:cubicBezTo>
                      <a:pt x="183298" y="560294"/>
                      <a:pt x="182258" y="561334"/>
                      <a:pt x="181218" y="562374"/>
                    </a:cubicBezTo>
                    <a:cubicBezTo>
                      <a:pt x="180177" y="563414"/>
                      <a:pt x="179138" y="563414"/>
                      <a:pt x="178098" y="563414"/>
                    </a:cubicBezTo>
                    <a:close/>
                    <a:moveTo>
                      <a:pt x="10400" y="516614"/>
                    </a:moveTo>
                    <a:lnTo>
                      <a:pt x="172898" y="551714"/>
                    </a:lnTo>
                    <a:lnTo>
                      <a:pt x="172898" y="11440"/>
                    </a:lnTo>
                    <a:lnTo>
                      <a:pt x="10400" y="45499"/>
                    </a:lnTo>
                    <a:lnTo>
                      <a:pt x="10400" y="516614"/>
                    </a:lnTo>
                    <a:close/>
                  </a:path>
                </a:pathLst>
              </a:custGeom>
              <a:solidFill>
                <a:srgbClr val="0069FF"/>
              </a:solidFill>
              <a:ln w="2597" cap="flat">
                <a:noFill/>
                <a:prstDash val="solid"/>
                <a:miter/>
              </a:ln>
            </p:spPr>
            <p:txBody>
              <a:bodyPr rtlCol="0" anchor="ctr"/>
              <a:lstStyle/>
              <a:p>
                <a:endParaRPr lang="en-GB"/>
              </a:p>
            </p:txBody>
          </p:sp>
        </p:grpSp>
        <p:sp>
          <p:nvSpPr>
            <p:cNvPr id="265" name="Freeform: Shape 264">
              <a:extLst>
                <a:ext uri="{FF2B5EF4-FFF2-40B4-BE49-F238E27FC236}">
                  <a16:creationId xmlns:a16="http://schemas.microsoft.com/office/drawing/2014/main" id="{A447C809-259C-4682-720B-7686AC65B6FB}"/>
                </a:ext>
              </a:extLst>
            </p:cNvPr>
            <p:cNvSpPr/>
            <p:nvPr/>
          </p:nvSpPr>
          <p:spPr>
            <a:xfrm>
              <a:off x="6466139" y="2477803"/>
              <a:ext cx="189537" cy="567053"/>
            </a:xfrm>
            <a:custGeom>
              <a:avLst/>
              <a:gdLst>
                <a:gd name="connsiteX0" fmla="*/ 181218 w 189537"/>
                <a:gd name="connsiteY0" fmla="*/ 567054 h 567053"/>
                <a:gd name="connsiteX1" fmla="*/ 180178 w 189537"/>
                <a:gd name="connsiteY1" fmla="*/ 567054 h 567053"/>
                <a:gd name="connsiteX2" fmla="*/ 6240 w 189537"/>
                <a:gd name="connsiteY2" fmla="*/ 531954 h 567053"/>
                <a:gd name="connsiteX3" fmla="*/ 0 w 189537"/>
                <a:gd name="connsiteY3" fmla="*/ 524414 h 567053"/>
                <a:gd name="connsiteX4" fmla="*/ 0 w 189537"/>
                <a:gd name="connsiteY4" fmla="*/ 42640 h 567053"/>
                <a:gd name="connsiteX5" fmla="*/ 6240 w 189537"/>
                <a:gd name="connsiteY5" fmla="*/ 35100 h 567053"/>
                <a:gd name="connsiteX6" fmla="*/ 180178 w 189537"/>
                <a:gd name="connsiteY6" fmla="*/ 0 h 567053"/>
                <a:gd name="connsiteX7" fmla="*/ 186418 w 189537"/>
                <a:gd name="connsiteY7" fmla="*/ 2080 h 567053"/>
                <a:gd name="connsiteX8" fmla="*/ 189538 w 189537"/>
                <a:gd name="connsiteY8" fmla="*/ 8320 h 567053"/>
                <a:gd name="connsiteX9" fmla="*/ 189538 w 189537"/>
                <a:gd name="connsiteY9" fmla="*/ 560294 h 567053"/>
                <a:gd name="connsiteX10" fmla="*/ 186418 w 189537"/>
                <a:gd name="connsiteY10" fmla="*/ 566534 h 567053"/>
                <a:gd name="connsiteX11" fmla="*/ 181218 w 189537"/>
                <a:gd name="connsiteY11" fmla="*/ 567054 h 567053"/>
                <a:gd name="connsiteX12" fmla="*/ 15600 w 189537"/>
                <a:gd name="connsiteY12" fmla="*/ 518174 h 567053"/>
                <a:gd name="connsiteX13" fmla="*/ 173678 w 189537"/>
                <a:gd name="connsiteY13" fmla="*/ 549894 h 567053"/>
                <a:gd name="connsiteX14" fmla="*/ 173678 w 189537"/>
                <a:gd name="connsiteY14" fmla="*/ 17160 h 567053"/>
                <a:gd name="connsiteX15" fmla="*/ 15600 w 189537"/>
                <a:gd name="connsiteY15" fmla="*/ 48880 h 567053"/>
                <a:gd name="connsiteX16" fmla="*/ 15600 w 189537"/>
                <a:gd name="connsiteY16" fmla="*/ 518174 h 56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9537" h="567053">
                  <a:moveTo>
                    <a:pt x="181218" y="567054"/>
                  </a:moveTo>
                  <a:lnTo>
                    <a:pt x="180178" y="567054"/>
                  </a:lnTo>
                  <a:lnTo>
                    <a:pt x="6240" y="531954"/>
                  </a:lnTo>
                  <a:cubicBezTo>
                    <a:pt x="2080" y="530914"/>
                    <a:pt x="0" y="527794"/>
                    <a:pt x="0" y="524414"/>
                  </a:cubicBezTo>
                  <a:lnTo>
                    <a:pt x="0" y="42640"/>
                  </a:lnTo>
                  <a:cubicBezTo>
                    <a:pt x="0" y="38480"/>
                    <a:pt x="3120" y="35100"/>
                    <a:pt x="6240" y="35100"/>
                  </a:cubicBezTo>
                  <a:lnTo>
                    <a:pt x="180178" y="0"/>
                  </a:lnTo>
                  <a:cubicBezTo>
                    <a:pt x="182258" y="0"/>
                    <a:pt x="184338" y="0"/>
                    <a:pt x="186418" y="2080"/>
                  </a:cubicBezTo>
                  <a:cubicBezTo>
                    <a:pt x="188498" y="3120"/>
                    <a:pt x="189538" y="6240"/>
                    <a:pt x="189538" y="8320"/>
                  </a:cubicBezTo>
                  <a:lnTo>
                    <a:pt x="189538" y="560294"/>
                  </a:lnTo>
                  <a:cubicBezTo>
                    <a:pt x="189538" y="562374"/>
                    <a:pt x="188498" y="564454"/>
                    <a:pt x="186418" y="566534"/>
                  </a:cubicBezTo>
                  <a:cubicBezTo>
                    <a:pt x="184338" y="567054"/>
                    <a:pt x="183298" y="567054"/>
                    <a:pt x="181218" y="567054"/>
                  </a:cubicBezTo>
                  <a:close/>
                  <a:moveTo>
                    <a:pt x="15600" y="518174"/>
                  </a:moveTo>
                  <a:lnTo>
                    <a:pt x="173678" y="549894"/>
                  </a:lnTo>
                  <a:lnTo>
                    <a:pt x="173678" y="17160"/>
                  </a:lnTo>
                  <a:lnTo>
                    <a:pt x="15600" y="48880"/>
                  </a:lnTo>
                  <a:lnTo>
                    <a:pt x="15600" y="518174"/>
                  </a:lnTo>
                  <a:close/>
                </a:path>
              </a:pathLst>
            </a:custGeom>
            <a:solidFill>
              <a:srgbClr val="00005A"/>
            </a:solidFill>
            <a:ln w="2597" cap="flat">
              <a:noFill/>
              <a:prstDash val="solid"/>
              <a:miter/>
            </a:ln>
          </p:spPr>
          <p:txBody>
            <a:bodyPr rtlCol="0" anchor="ctr"/>
            <a:lstStyle/>
            <a:p>
              <a:endParaRPr lang="en-GB"/>
            </a:p>
          </p:txBody>
        </p:sp>
        <p:sp>
          <p:nvSpPr>
            <p:cNvPr id="266" name="Freeform: Shape 265">
              <a:extLst>
                <a:ext uri="{FF2B5EF4-FFF2-40B4-BE49-F238E27FC236}">
                  <a16:creationId xmlns:a16="http://schemas.microsoft.com/office/drawing/2014/main" id="{E608901C-A06F-D557-57A8-60F44841ECC0}"/>
                </a:ext>
              </a:extLst>
            </p:cNvPr>
            <p:cNvSpPr/>
            <p:nvPr/>
          </p:nvSpPr>
          <p:spPr>
            <a:xfrm>
              <a:off x="6472957" y="2512961"/>
              <a:ext cx="182920" cy="46740"/>
            </a:xfrm>
            <a:custGeom>
              <a:avLst/>
              <a:gdLst>
                <a:gd name="connsiteX0" fmla="*/ 7741 w 182920"/>
                <a:gd name="connsiteY0" fmla="*/ 46741 h 46740"/>
                <a:gd name="connsiteX1" fmla="*/ 201 w 182920"/>
                <a:gd name="connsiteY1" fmla="*/ 40501 h 46740"/>
                <a:gd name="connsiteX2" fmla="*/ 6441 w 182920"/>
                <a:gd name="connsiteY2" fmla="*/ 30881 h 46740"/>
                <a:gd name="connsiteX3" fmla="*/ 173099 w 182920"/>
                <a:gd name="connsiteY3" fmla="*/ 202 h 46740"/>
                <a:gd name="connsiteX4" fmla="*/ 182719 w 182920"/>
                <a:gd name="connsiteY4" fmla="*/ 6441 h 46740"/>
                <a:gd name="connsiteX5" fmla="*/ 176480 w 182920"/>
                <a:gd name="connsiteY5" fmla="*/ 16061 h 46740"/>
                <a:gd name="connsiteX6" fmla="*/ 9821 w 182920"/>
                <a:gd name="connsiteY6" fmla="*/ 46741 h 46740"/>
                <a:gd name="connsiteX7" fmla="*/ 7741 w 182920"/>
                <a:gd name="connsiteY7" fmla="*/ 46741 h 4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920" h="46740">
                  <a:moveTo>
                    <a:pt x="7741" y="46741"/>
                  </a:moveTo>
                  <a:cubicBezTo>
                    <a:pt x="3582" y="46741"/>
                    <a:pt x="201" y="43621"/>
                    <a:pt x="201" y="40501"/>
                  </a:cubicBezTo>
                  <a:cubicBezTo>
                    <a:pt x="-838" y="36341"/>
                    <a:pt x="2282" y="31921"/>
                    <a:pt x="6441" y="30881"/>
                  </a:cubicBezTo>
                  <a:lnTo>
                    <a:pt x="173099" y="202"/>
                  </a:lnTo>
                  <a:cubicBezTo>
                    <a:pt x="177260" y="-838"/>
                    <a:pt x="181680" y="2282"/>
                    <a:pt x="182719" y="6441"/>
                  </a:cubicBezTo>
                  <a:cubicBezTo>
                    <a:pt x="183760" y="10601"/>
                    <a:pt x="180639" y="15021"/>
                    <a:pt x="176480" y="16061"/>
                  </a:cubicBezTo>
                  <a:lnTo>
                    <a:pt x="9821" y="46741"/>
                  </a:lnTo>
                  <a:cubicBezTo>
                    <a:pt x="8782" y="45701"/>
                    <a:pt x="7741" y="46741"/>
                    <a:pt x="7741" y="46741"/>
                  </a:cubicBezTo>
                  <a:close/>
                </a:path>
              </a:pathLst>
            </a:custGeom>
            <a:solidFill>
              <a:srgbClr val="00005A"/>
            </a:solidFill>
            <a:ln w="2597" cap="flat">
              <a:noFill/>
              <a:prstDash val="solid"/>
              <a:miter/>
            </a:ln>
          </p:spPr>
          <p:txBody>
            <a:bodyPr rtlCol="0" anchor="ctr"/>
            <a:lstStyle/>
            <a:p>
              <a:endParaRPr lang="en-GB"/>
            </a:p>
          </p:txBody>
        </p:sp>
        <p:sp>
          <p:nvSpPr>
            <p:cNvPr id="267" name="Freeform: Shape 266">
              <a:extLst>
                <a:ext uri="{FF2B5EF4-FFF2-40B4-BE49-F238E27FC236}">
                  <a16:creationId xmlns:a16="http://schemas.microsoft.com/office/drawing/2014/main" id="{4F44A544-B571-E2EE-2E51-47B00618956E}"/>
                </a:ext>
              </a:extLst>
            </p:cNvPr>
            <p:cNvSpPr/>
            <p:nvPr/>
          </p:nvSpPr>
          <p:spPr>
            <a:xfrm>
              <a:off x="6465420" y="2663441"/>
              <a:ext cx="190455" cy="37439"/>
            </a:xfrm>
            <a:custGeom>
              <a:avLst/>
              <a:gdLst>
                <a:gd name="connsiteX0" fmla="*/ 7739 w 190455"/>
                <a:gd name="connsiteY0" fmla="*/ 37440 h 37439"/>
                <a:gd name="connsiteX1" fmla="*/ 199 w 190455"/>
                <a:gd name="connsiteY1" fmla="*/ 29900 h 37439"/>
                <a:gd name="connsiteX2" fmla="*/ 7739 w 190455"/>
                <a:gd name="connsiteY2" fmla="*/ 21320 h 37439"/>
                <a:gd name="connsiteX3" fmla="*/ 181676 w 190455"/>
                <a:gd name="connsiteY3" fmla="*/ 0 h 37439"/>
                <a:gd name="connsiteX4" fmla="*/ 190256 w 190455"/>
                <a:gd name="connsiteY4" fmla="*/ 7540 h 37439"/>
                <a:gd name="connsiteX5" fmla="*/ 182717 w 190455"/>
                <a:gd name="connsiteY5" fmla="*/ 16120 h 37439"/>
                <a:gd name="connsiteX6" fmla="*/ 7739 w 190455"/>
                <a:gd name="connsiteY6" fmla="*/ 37440 h 37439"/>
                <a:gd name="connsiteX7" fmla="*/ 7739 w 190455"/>
                <a:gd name="connsiteY7" fmla="*/ 37440 h 3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455" h="37439">
                  <a:moveTo>
                    <a:pt x="7739" y="37440"/>
                  </a:moveTo>
                  <a:cubicBezTo>
                    <a:pt x="3578" y="37440"/>
                    <a:pt x="199" y="34320"/>
                    <a:pt x="199" y="29900"/>
                  </a:cubicBezTo>
                  <a:cubicBezTo>
                    <a:pt x="-842" y="25740"/>
                    <a:pt x="2278" y="21320"/>
                    <a:pt x="7739" y="21320"/>
                  </a:cubicBezTo>
                  <a:lnTo>
                    <a:pt x="181676" y="0"/>
                  </a:lnTo>
                  <a:cubicBezTo>
                    <a:pt x="185836" y="0"/>
                    <a:pt x="190256" y="2080"/>
                    <a:pt x="190256" y="7540"/>
                  </a:cubicBezTo>
                  <a:cubicBezTo>
                    <a:pt x="191297" y="11700"/>
                    <a:pt x="188176" y="16120"/>
                    <a:pt x="182717" y="16120"/>
                  </a:cubicBezTo>
                  <a:lnTo>
                    <a:pt x="7739" y="37440"/>
                  </a:lnTo>
                  <a:cubicBezTo>
                    <a:pt x="9038" y="37440"/>
                    <a:pt x="7739" y="37440"/>
                    <a:pt x="7739" y="37440"/>
                  </a:cubicBezTo>
                  <a:close/>
                </a:path>
              </a:pathLst>
            </a:custGeom>
            <a:solidFill>
              <a:srgbClr val="00005A"/>
            </a:solidFill>
            <a:ln w="2597" cap="flat">
              <a:noFill/>
              <a:prstDash val="solid"/>
              <a:miter/>
            </a:ln>
          </p:spPr>
          <p:txBody>
            <a:bodyPr rtlCol="0" anchor="ctr"/>
            <a:lstStyle/>
            <a:p>
              <a:endParaRPr lang="en-GB"/>
            </a:p>
          </p:txBody>
        </p:sp>
        <p:sp>
          <p:nvSpPr>
            <p:cNvPr id="268" name="Freeform: Shape 267">
              <a:extLst>
                <a:ext uri="{FF2B5EF4-FFF2-40B4-BE49-F238E27FC236}">
                  <a16:creationId xmlns:a16="http://schemas.microsoft.com/office/drawing/2014/main" id="{58FB102C-67CE-229D-C75F-42955EA02DFA}"/>
                </a:ext>
              </a:extLst>
            </p:cNvPr>
            <p:cNvSpPr/>
            <p:nvPr/>
          </p:nvSpPr>
          <p:spPr>
            <a:xfrm>
              <a:off x="6465856" y="2851381"/>
              <a:ext cx="189322" cy="39557"/>
            </a:xfrm>
            <a:custGeom>
              <a:avLst/>
              <a:gdLst>
                <a:gd name="connsiteX0" fmla="*/ 181500 w 189322"/>
                <a:gd name="connsiteY0" fmla="*/ 39557 h 39557"/>
                <a:gd name="connsiteX1" fmla="*/ 180460 w 189322"/>
                <a:gd name="connsiteY1" fmla="*/ 39557 h 39557"/>
                <a:gd name="connsiteX2" fmla="*/ 6522 w 189322"/>
                <a:gd name="connsiteY2" fmla="*/ 15117 h 39557"/>
                <a:gd name="connsiteX3" fmla="*/ 282 w 189322"/>
                <a:gd name="connsiteY3" fmla="*/ 6537 h 39557"/>
                <a:gd name="connsiteX4" fmla="*/ 8862 w 189322"/>
                <a:gd name="connsiteY4" fmla="*/ 298 h 39557"/>
                <a:gd name="connsiteX5" fmla="*/ 182800 w 189322"/>
                <a:gd name="connsiteY5" fmla="*/ 24737 h 39557"/>
                <a:gd name="connsiteX6" fmla="*/ 189040 w 189322"/>
                <a:gd name="connsiteY6" fmla="*/ 33317 h 39557"/>
                <a:gd name="connsiteX7" fmla="*/ 181500 w 189322"/>
                <a:gd name="connsiteY7" fmla="*/ 39557 h 3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9322" h="39557">
                  <a:moveTo>
                    <a:pt x="181500" y="39557"/>
                  </a:moveTo>
                  <a:lnTo>
                    <a:pt x="180460" y="39557"/>
                  </a:lnTo>
                  <a:lnTo>
                    <a:pt x="6522" y="15117"/>
                  </a:lnTo>
                  <a:cubicBezTo>
                    <a:pt x="2362" y="14077"/>
                    <a:pt x="-1018" y="10957"/>
                    <a:pt x="282" y="6537"/>
                  </a:cubicBezTo>
                  <a:cubicBezTo>
                    <a:pt x="1582" y="2117"/>
                    <a:pt x="4442" y="-1002"/>
                    <a:pt x="8862" y="298"/>
                  </a:cubicBezTo>
                  <a:lnTo>
                    <a:pt x="182800" y="24737"/>
                  </a:lnTo>
                  <a:cubicBezTo>
                    <a:pt x="186960" y="25777"/>
                    <a:pt x="190340" y="28897"/>
                    <a:pt x="189040" y="33317"/>
                  </a:cubicBezTo>
                  <a:cubicBezTo>
                    <a:pt x="188780" y="37477"/>
                    <a:pt x="185660" y="39557"/>
                    <a:pt x="181500" y="39557"/>
                  </a:cubicBezTo>
                  <a:close/>
                </a:path>
              </a:pathLst>
            </a:custGeom>
            <a:solidFill>
              <a:srgbClr val="00005A"/>
            </a:solidFill>
            <a:ln w="2597" cap="flat">
              <a:noFill/>
              <a:prstDash val="solid"/>
              <a:miter/>
            </a:ln>
          </p:spPr>
          <p:txBody>
            <a:bodyPr rtlCol="0" anchor="ctr"/>
            <a:lstStyle/>
            <a:p>
              <a:endParaRPr lang="en-GB"/>
            </a:p>
          </p:txBody>
        </p:sp>
        <p:sp>
          <p:nvSpPr>
            <p:cNvPr id="269" name="Freeform: Shape 268">
              <a:extLst>
                <a:ext uri="{FF2B5EF4-FFF2-40B4-BE49-F238E27FC236}">
                  <a16:creationId xmlns:a16="http://schemas.microsoft.com/office/drawing/2014/main" id="{DBB80940-C1B0-F9F0-99A1-ECFF8A360139}"/>
                </a:ext>
              </a:extLst>
            </p:cNvPr>
            <p:cNvSpPr/>
            <p:nvPr/>
          </p:nvSpPr>
          <p:spPr>
            <a:xfrm>
              <a:off x="6525158" y="2542802"/>
              <a:ext cx="17160" cy="477614"/>
            </a:xfrm>
            <a:custGeom>
              <a:avLst/>
              <a:gdLst>
                <a:gd name="connsiteX0" fmla="*/ 8580 w 17160"/>
                <a:gd name="connsiteY0" fmla="*/ 477615 h 477614"/>
                <a:gd name="connsiteX1" fmla="*/ 0 w 17160"/>
                <a:gd name="connsiteY1" fmla="*/ 469035 h 477614"/>
                <a:gd name="connsiteX2" fmla="*/ 0 w 17160"/>
                <a:gd name="connsiteY2" fmla="*/ 8580 h 477614"/>
                <a:gd name="connsiteX3" fmla="*/ 8580 w 17160"/>
                <a:gd name="connsiteY3" fmla="*/ 0 h 477614"/>
                <a:gd name="connsiteX4" fmla="*/ 17160 w 17160"/>
                <a:gd name="connsiteY4" fmla="*/ 8580 h 477614"/>
                <a:gd name="connsiteX5" fmla="*/ 17160 w 17160"/>
                <a:gd name="connsiteY5" fmla="*/ 470335 h 477614"/>
                <a:gd name="connsiteX6" fmla="*/ 8580 w 17160"/>
                <a:gd name="connsiteY6" fmla="*/ 477615 h 477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60" h="477614">
                  <a:moveTo>
                    <a:pt x="8580" y="477615"/>
                  </a:moveTo>
                  <a:cubicBezTo>
                    <a:pt x="4420" y="477615"/>
                    <a:pt x="0" y="474495"/>
                    <a:pt x="0" y="469035"/>
                  </a:cubicBezTo>
                  <a:lnTo>
                    <a:pt x="0" y="8580"/>
                  </a:lnTo>
                  <a:cubicBezTo>
                    <a:pt x="0" y="4420"/>
                    <a:pt x="3120" y="0"/>
                    <a:pt x="8580" y="0"/>
                  </a:cubicBezTo>
                  <a:cubicBezTo>
                    <a:pt x="13780" y="0"/>
                    <a:pt x="17160" y="3120"/>
                    <a:pt x="17160" y="8580"/>
                  </a:cubicBezTo>
                  <a:lnTo>
                    <a:pt x="17160" y="470335"/>
                  </a:lnTo>
                  <a:cubicBezTo>
                    <a:pt x="16120" y="474495"/>
                    <a:pt x="12740" y="477615"/>
                    <a:pt x="8580" y="477615"/>
                  </a:cubicBezTo>
                  <a:close/>
                </a:path>
              </a:pathLst>
            </a:custGeom>
            <a:solidFill>
              <a:srgbClr val="00005A"/>
            </a:solidFill>
            <a:ln w="2597" cap="flat">
              <a:noFill/>
              <a:prstDash val="solid"/>
              <a:miter/>
            </a:ln>
          </p:spPr>
          <p:txBody>
            <a:bodyPr rtlCol="0" anchor="ctr"/>
            <a:lstStyle/>
            <a:p>
              <a:endParaRPr lang="en-GB"/>
            </a:p>
          </p:txBody>
        </p:sp>
        <p:sp>
          <p:nvSpPr>
            <p:cNvPr id="270" name="Freeform: Shape 269">
              <a:extLst>
                <a:ext uri="{FF2B5EF4-FFF2-40B4-BE49-F238E27FC236}">
                  <a16:creationId xmlns:a16="http://schemas.microsoft.com/office/drawing/2014/main" id="{2A7CC4AA-43CC-B7B7-0B4B-ADFBCEC73BF7}"/>
                </a:ext>
              </a:extLst>
            </p:cNvPr>
            <p:cNvSpPr/>
            <p:nvPr/>
          </p:nvSpPr>
          <p:spPr>
            <a:xfrm>
              <a:off x="6581317" y="2527983"/>
              <a:ext cx="17159" cy="506214"/>
            </a:xfrm>
            <a:custGeom>
              <a:avLst/>
              <a:gdLst>
                <a:gd name="connsiteX0" fmla="*/ 8579 w 17159"/>
                <a:gd name="connsiteY0" fmla="*/ 506214 h 506214"/>
                <a:gd name="connsiteX1" fmla="*/ 0 w 17159"/>
                <a:gd name="connsiteY1" fmla="*/ 497634 h 506214"/>
                <a:gd name="connsiteX2" fmla="*/ 0 w 17159"/>
                <a:gd name="connsiteY2" fmla="*/ 8580 h 506214"/>
                <a:gd name="connsiteX3" fmla="*/ 8579 w 17159"/>
                <a:gd name="connsiteY3" fmla="*/ 0 h 506214"/>
                <a:gd name="connsiteX4" fmla="*/ 17159 w 17159"/>
                <a:gd name="connsiteY4" fmla="*/ 8580 h 506214"/>
                <a:gd name="connsiteX5" fmla="*/ 17159 w 17159"/>
                <a:gd name="connsiteY5" fmla="*/ 497894 h 506214"/>
                <a:gd name="connsiteX6" fmla="*/ 8579 w 17159"/>
                <a:gd name="connsiteY6" fmla="*/ 506214 h 50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59" h="506214">
                  <a:moveTo>
                    <a:pt x="8579" y="506214"/>
                  </a:moveTo>
                  <a:cubicBezTo>
                    <a:pt x="4420" y="506214"/>
                    <a:pt x="0" y="503094"/>
                    <a:pt x="0" y="497634"/>
                  </a:cubicBezTo>
                  <a:lnTo>
                    <a:pt x="0" y="8580"/>
                  </a:lnTo>
                  <a:cubicBezTo>
                    <a:pt x="0" y="4420"/>
                    <a:pt x="3120" y="0"/>
                    <a:pt x="8579" y="0"/>
                  </a:cubicBezTo>
                  <a:cubicBezTo>
                    <a:pt x="14040" y="0"/>
                    <a:pt x="17159" y="3120"/>
                    <a:pt x="17159" y="8580"/>
                  </a:cubicBezTo>
                  <a:lnTo>
                    <a:pt x="17159" y="497894"/>
                  </a:lnTo>
                  <a:cubicBezTo>
                    <a:pt x="17159" y="502054"/>
                    <a:pt x="13000" y="506214"/>
                    <a:pt x="8579" y="506214"/>
                  </a:cubicBezTo>
                  <a:close/>
                </a:path>
              </a:pathLst>
            </a:custGeom>
            <a:solidFill>
              <a:srgbClr val="00005A"/>
            </a:solidFill>
            <a:ln w="2597" cap="flat">
              <a:noFill/>
              <a:prstDash val="solid"/>
              <a:miter/>
            </a:ln>
          </p:spPr>
          <p:txBody>
            <a:bodyPr rtlCol="0" anchor="ctr"/>
            <a:lstStyle/>
            <a:p>
              <a:endParaRPr lang="en-GB"/>
            </a:p>
          </p:txBody>
        </p:sp>
        <p:sp>
          <p:nvSpPr>
            <p:cNvPr id="271" name="Freeform: Shape 270">
              <a:extLst>
                <a:ext uri="{FF2B5EF4-FFF2-40B4-BE49-F238E27FC236}">
                  <a16:creationId xmlns:a16="http://schemas.microsoft.com/office/drawing/2014/main" id="{D829A35D-0AAC-00EC-6420-C733E84547F6}"/>
                </a:ext>
              </a:extLst>
            </p:cNvPr>
            <p:cNvSpPr/>
            <p:nvPr/>
          </p:nvSpPr>
          <p:spPr>
            <a:xfrm>
              <a:off x="6315080" y="2635101"/>
              <a:ext cx="21319" cy="20279"/>
            </a:xfrm>
            <a:custGeom>
              <a:avLst/>
              <a:gdLst>
                <a:gd name="connsiteX0" fmla="*/ 10660 w 21319"/>
                <a:gd name="connsiteY0" fmla="*/ 20280 h 20279"/>
                <a:gd name="connsiteX1" fmla="*/ 0 w 21319"/>
                <a:gd name="connsiteY1" fmla="*/ 9620 h 20279"/>
                <a:gd name="connsiteX2" fmla="*/ 10660 w 21319"/>
                <a:gd name="connsiteY2" fmla="*/ 0 h 20279"/>
                <a:gd name="connsiteX3" fmla="*/ 21320 w 21319"/>
                <a:gd name="connsiteY3" fmla="*/ 9620 h 20279"/>
                <a:gd name="connsiteX4" fmla="*/ 10660 w 21319"/>
                <a:gd name="connsiteY4" fmla="*/ 20280 h 20279"/>
                <a:gd name="connsiteX5" fmla="*/ 10660 w 21319"/>
                <a:gd name="connsiteY5" fmla="*/ 3120 h 20279"/>
                <a:gd name="connsiteX6" fmla="*/ 5460 w 21319"/>
                <a:gd name="connsiteY6" fmla="*/ 8320 h 20279"/>
                <a:gd name="connsiteX7" fmla="*/ 10660 w 21319"/>
                <a:gd name="connsiteY7" fmla="*/ 14560 h 20279"/>
                <a:gd name="connsiteX8" fmla="*/ 15860 w 21319"/>
                <a:gd name="connsiteY8" fmla="*/ 8320 h 20279"/>
                <a:gd name="connsiteX9" fmla="*/ 10660 w 21319"/>
                <a:gd name="connsiteY9" fmla="*/ 312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19" h="20279">
                  <a:moveTo>
                    <a:pt x="10660" y="20280"/>
                  </a:moveTo>
                  <a:cubicBezTo>
                    <a:pt x="5460" y="20280"/>
                    <a:pt x="0" y="16120"/>
                    <a:pt x="0" y="9620"/>
                  </a:cubicBezTo>
                  <a:cubicBezTo>
                    <a:pt x="0" y="4420"/>
                    <a:pt x="4160" y="0"/>
                    <a:pt x="10660" y="0"/>
                  </a:cubicBezTo>
                  <a:cubicBezTo>
                    <a:pt x="17160" y="0"/>
                    <a:pt x="21320" y="4160"/>
                    <a:pt x="21320" y="9620"/>
                  </a:cubicBezTo>
                  <a:cubicBezTo>
                    <a:pt x="21320" y="14820"/>
                    <a:pt x="15860" y="20280"/>
                    <a:pt x="10660" y="20280"/>
                  </a:cubicBezTo>
                  <a:close/>
                  <a:moveTo>
                    <a:pt x="10660" y="3120"/>
                  </a:moveTo>
                  <a:cubicBezTo>
                    <a:pt x="7540" y="3120"/>
                    <a:pt x="5460" y="5200"/>
                    <a:pt x="5460" y="8320"/>
                  </a:cubicBezTo>
                  <a:cubicBezTo>
                    <a:pt x="5460" y="11440"/>
                    <a:pt x="7540" y="14560"/>
                    <a:pt x="10660" y="14560"/>
                  </a:cubicBezTo>
                  <a:cubicBezTo>
                    <a:pt x="13780" y="14560"/>
                    <a:pt x="15860" y="12480"/>
                    <a:pt x="15860" y="8320"/>
                  </a:cubicBezTo>
                  <a:cubicBezTo>
                    <a:pt x="15860" y="4420"/>
                    <a:pt x="13780" y="3120"/>
                    <a:pt x="10660" y="3120"/>
                  </a:cubicBezTo>
                  <a:close/>
                </a:path>
              </a:pathLst>
            </a:custGeom>
            <a:solidFill>
              <a:srgbClr val="00005A"/>
            </a:solidFill>
            <a:ln w="2597" cap="flat">
              <a:noFill/>
              <a:prstDash val="solid"/>
              <a:miter/>
            </a:ln>
          </p:spPr>
          <p:txBody>
            <a:bodyPr rtlCol="0" anchor="ctr"/>
            <a:lstStyle/>
            <a:p>
              <a:endParaRPr lang="en-GB"/>
            </a:p>
          </p:txBody>
        </p:sp>
        <p:sp>
          <p:nvSpPr>
            <p:cNvPr id="272" name="Freeform: Shape 271">
              <a:extLst>
                <a:ext uri="{FF2B5EF4-FFF2-40B4-BE49-F238E27FC236}">
                  <a16:creationId xmlns:a16="http://schemas.microsoft.com/office/drawing/2014/main" id="{A03713AB-82AC-0EED-EB00-B8D190055AD2}"/>
                </a:ext>
              </a:extLst>
            </p:cNvPr>
            <p:cNvSpPr/>
            <p:nvPr/>
          </p:nvSpPr>
          <p:spPr>
            <a:xfrm>
              <a:off x="6437019" y="2624442"/>
              <a:ext cx="21319" cy="20279"/>
            </a:xfrm>
            <a:custGeom>
              <a:avLst/>
              <a:gdLst>
                <a:gd name="connsiteX0" fmla="*/ 10659 w 21319"/>
                <a:gd name="connsiteY0" fmla="*/ 20280 h 20279"/>
                <a:gd name="connsiteX1" fmla="*/ 0 w 21319"/>
                <a:gd name="connsiteY1" fmla="*/ 9620 h 20279"/>
                <a:gd name="connsiteX2" fmla="*/ 10659 w 21319"/>
                <a:gd name="connsiteY2" fmla="*/ 0 h 20279"/>
                <a:gd name="connsiteX3" fmla="*/ 21320 w 21319"/>
                <a:gd name="connsiteY3" fmla="*/ 9620 h 20279"/>
                <a:gd name="connsiteX4" fmla="*/ 10659 w 21319"/>
                <a:gd name="connsiteY4" fmla="*/ 20280 h 20279"/>
                <a:gd name="connsiteX5" fmla="*/ 10659 w 21319"/>
                <a:gd name="connsiteY5" fmla="*/ 3380 h 20279"/>
                <a:gd name="connsiteX6" fmla="*/ 5460 w 21319"/>
                <a:gd name="connsiteY6" fmla="*/ 8580 h 20279"/>
                <a:gd name="connsiteX7" fmla="*/ 10659 w 21319"/>
                <a:gd name="connsiteY7" fmla="*/ 14820 h 20279"/>
                <a:gd name="connsiteX8" fmla="*/ 15859 w 21319"/>
                <a:gd name="connsiteY8" fmla="*/ 8580 h 20279"/>
                <a:gd name="connsiteX9" fmla="*/ 10659 w 21319"/>
                <a:gd name="connsiteY9" fmla="*/ 338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19" h="20279">
                  <a:moveTo>
                    <a:pt x="10659" y="20280"/>
                  </a:moveTo>
                  <a:cubicBezTo>
                    <a:pt x="5460" y="20280"/>
                    <a:pt x="0" y="16120"/>
                    <a:pt x="0" y="9620"/>
                  </a:cubicBezTo>
                  <a:cubicBezTo>
                    <a:pt x="0" y="4420"/>
                    <a:pt x="4160" y="0"/>
                    <a:pt x="10659" y="0"/>
                  </a:cubicBezTo>
                  <a:cubicBezTo>
                    <a:pt x="17159" y="0"/>
                    <a:pt x="21320" y="4160"/>
                    <a:pt x="21320" y="9620"/>
                  </a:cubicBezTo>
                  <a:cubicBezTo>
                    <a:pt x="21320" y="15080"/>
                    <a:pt x="16120" y="20280"/>
                    <a:pt x="10659" y="20280"/>
                  </a:cubicBezTo>
                  <a:close/>
                  <a:moveTo>
                    <a:pt x="10659" y="3380"/>
                  </a:moveTo>
                  <a:cubicBezTo>
                    <a:pt x="7540" y="3380"/>
                    <a:pt x="5460" y="5460"/>
                    <a:pt x="5460" y="8580"/>
                  </a:cubicBezTo>
                  <a:cubicBezTo>
                    <a:pt x="5460" y="11700"/>
                    <a:pt x="7540" y="14820"/>
                    <a:pt x="10659" y="14820"/>
                  </a:cubicBezTo>
                  <a:cubicBezTo>
                    <a:pt x="13779" y="14820"/>
                    <a:pt x="15859" y="12740"/>
                    <a:pt x="15859" y="8580"/>
                  </a:cubicBezTo>
                  <a:cubicBezTo>
                    <a:pt x="15859" y="4420"/>
                    <a:pt x="14040" y="3380"/>
                    <a:pt x="10659" y="3380"/>
                  </a:cubicBezTo>
                  <a:close/>
                </a:path>
              </a:pathLst>
            </a:custGeom>
            <a:solidFill>
              <a:srgbClr val="00005A"/>
            </a:solidFill>
            <a:ln w="2597" cap="flat">
              <a:noFill/>
              <a:prstDash val="solid"/>
              <a:miter/>
            </a:ln>
          </p:spPr>
          <p:txBody>
            <a:bodyPr rtlCol="0" anchor="ctr"/>
            <a:lstStyle/>
            <a:p>
              <a:endParaRPr lang="en-GB"/>
            </a:p>
          </p:txBody>
        </p:sp>
        <p:sp>
          <p:nvSpPr>
            <p:cNvPr id="273" name="Freeform: Shape 272">
              <a:extLst>
                <a:ext uri="{FF2B5EF4-FFF2-40B4-BE49-F238E27FC236}">
                  <a16:creationId xmlns:a16="http://schemas.microsoft.com/office/drawing/2014/main" id="{98CF2FC6-A184-6849-C389-64CC359F9F13}"/>
                </a:ext>
              </a:extLst>
            </p:cNvPr>
            <p:cNvSpPr/>
            <p:nvPr/>
          </p:nvSpPr>
          <p:spPr>
            <a:xfrm>
              <a:off x="6486938" y="2654081"/>
              <a:ext cx="20279" cy="20279"/>
            </a:xfrm>
            <a:custGeom>
              <a:avLst/>
              <a:gdLst>
                <a:gd name="connsiteX0" fmla="*/ 9620 w 20279"/>
                <a:gd name="connsiteY0" fmla="*/ 20280 h 20279"/>
                <a:gd name="connsiteX1" fmla="*/ 0 w 20279"/>
                <a:gd name="connsiteY1" fmla="*/ 10660 h 20279"/>
                <a:gd name="connsiteX2" fmla="*/ 9620 w 20279"/>
                <a:gd name="connsiteY2" fmla="*/ 0 h 20279"/>
                <a:gd name="connsiteX3" fmla="*/ 20280 w 20279"/>
                <a:gd name="connsiteY3" fmla="*/ 10660 h 20279"/>
                <a:gd name="connsiteX4" fmla="*/ 9620 w 20279"/>
                <a:gd name="connsiteY4" fmla="*/ 20280 h 20279"/>
                <a:gd name="connsiteX5" fmla="*/ 9620 w 20279"/>
                <a:gd name="connsiteY5" fmla="*/ 4420 h 20279"/>
                <a:gd name="connsiteX6" fmla="*/ 4420 w 20279"/>
                <a:gd name="connsiteY6" fmla="*/ 10660 h 20279"/>
                <a:gd name="connsiteX7" fmla="*/ 9620 w 20279"/>
                <a:gd name="connsiteY7" fmla="*/ 15860 h 20279"/>
                <a:gd name="connsiteX8" fmla="*/ 15859 w 20279"/>
                <a:gd name="connsiteY8" fmla="*/ 10660 h 20279"/>
                <a:gd name="connsiteX9" fmla="*/ 9620 w 20279"/>
                <a:gd name="connsiteY9" fmla="*/ 442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9620" y="20280"/>
                  </a:moveTo>
                  <a:cubicBezTo>
                    <a:pt x="4420" y="20280"/>
                    <a:pt x="0" y="16120"/>
                    <a:pt x="0" y="10660"/>
                  </a:cubicBezTo>
                  <a:cubicBezTo>
                    <a:pt x="0" y="5200"/>
                    <a:pt x="4160" y="0"/>
                    <a:pt x="9620" y="0"/>
                  </a:cubicBezTo>
                  <a:cubicBezTo>
                    <a:pt x="15080" y="0"/>
                    <a:pt x="20280" y="4160"/>
                    <a:pt x="20280" y="10660"/>
                  </a:cubicBezTo>
                  <a:cubicBezTo>
                    <a:pt x="19240" y="16120"/>
                    <a:pt x="15080" y="20280"/>
                    <a:pt x="9620" y="20280"/>
                  </a:cubicBezTo>
                  <a:close/>
                  <a:moveTo>
                    <a:pt x="9620" y="4420"/>
                  </a:moveTo>
                  <a:cubicBezTo>
                    <a:pt x="6500" y="4420"/>
                    <a:pt x="4420" y="6500"/>
                    <a:pt x="4420" y="10660"/>
                  </a:cubicBezTo>
                  <a:cubicBezTo>
                    <a:pt x="4420" y="14820"/>
                    <a:pt x="6500" y="15860"/>
                    <a:pt x="9620" y="15860"/>
                  </a:cubicBezTo>
                  <a:cubicBezTo>
                    <a:pt x="12740" y="15860"/>
                    <a:pt x="15859" y="13780"/>
                    <a:pt x="15859" y="10660"/>
                  </a:cubicBezTo>
                  <a:cubicBezTo>
                    <a:pt x="15859" y="7540"/>
                    <a:pt x="12740" y="4420"/>
                    <a:pt x="9620" y="4420"/>
                  </a:cubicBezTo>
                  <a:close/>
                </a:path>
              </a:pathLst>
            </a:custGeom>
            <a:solidFill>
              <a:srgbClr val="00005A"/>
            </a:solidFill>
            <a:ln w="2597" cap="flat">
              <a:noFill/>
              <a:prstDash val="solid"/>
              <a:miter/>
            </a:ln>
          </p:spPr>
          <p:txBody>
            <a:bodyPr rtlCol="0" anchor="ctr"/>
            <a:lstStyle/>
            <a:p>
              <a:endParaRPr lang="en-GB"/>
            </a:p>
          </p:txBody>
        </p:sp>
        <p:sp>
          <p:nvSpPr>
            <p:cNvPr id="274" name="Freeform: Shape 273">
              <a:extLst>
                <a:ext uri="{FF2B5EF4-FFF2-40B4-BE49-F238E27FC236}">
                  <a16:creationId xmlns:a16="http://schemas.microsoft.com/office/drawing/2014/main" id="{9ABAE8E7-4C57-A871-423B-8B741B2DFBF5}"/>
                </a:ext>
              </a:extLst>
            </p:cNvPr>
            <p:cNvSpPr/>
            <p:nvPr/>
          </p:nvSpPr>
          <p:spPr>
            <a:xfrm>
              <a:off x="6380860" y="2680601"/>
              <a:ext cx="20279" cy="20279"/>
            </a:xfrm>
            <a:custGeom>
              <a:avLst/>
              <a:gdLst>
                <a:gd name="connsiteX0" fmla="*/ 9620 w 20279"/>
                <a:gd name="connsiteY0" fmla="*/ 20280 h 20279"/>
                <a:gd name="connsiteX1" fmla="*/ 0 w 20279"/>
                <a:gd name="connsiteY1" fmla="*/ 10660 h 20279"/>
                <a:gd name="connsiteX2" fmla="*/ 9620 w 20279"/>
                <a:gd name="connsiteY2" fmla="*/ 0 h 20279"/>
                <a:gd name="connsiteX3" fmla="*/ 20280 w 20279"/>
                <a:gd name="connsiteY3" fmla="*/ 10660 h 20279"/>
                <a:gd name="connsiteX4" fmla="*/ 9620 w 20279"/>
                <a:gd name="connsiteY4" fmla="*/ 20280 h 20279"/>
                <a:gd name="connsiteX5" fmla="*/ 9620 w 20279"/>
                <a:gd name="connsiteY5" fmla="*/ 4420 h 20279"/>
                <a:gd name="connsiteX6" fmla="*/ 4420 w 20279"/>
                <a:gd name="connsiteY6" fmla="*/ 10660 h 20279"/>
                <a:gd name="connsiteX7" fmla="*/ 9620 w 20279"/>
                <a:gd name="connsiteY7" fmla="*/ 15860 h 20279"/>
                <a:gd name="connsiteX8" fmla="*/ 15860 w 20279"/>
                <a:gd name="connsiteY8" fmla="*/ 10660 h 20279"/>
                <a:gd name="connsiteX9" fmla="*/ 9620 w 20279"/>
                <a:gd name="connsiteY9" fmla="*/ 442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9620" y="20280"/>
                  </a:moveTo>
                  <a:cubicBezTo>
                    <a:pt x="4420" y="20280"/>
                    <a:pt x="0" y="16120"/>
                    <a:pt x="0" y="10660"/>
                  </a:cubicBezTo>
                  <a:cubicBezTo>
                    <a:pt x="0" y="5460"/>
                    <a:pt x="4160" y="0"/>
                    <a:pt x="9620" y="0"/>
                  </a:cubicBezTo>
                  <a:cubicBezTo>
                    <a:pt x="15080" y="0"/>
                    <a:pt x="20280" y="4160"/>
                    <a:pt x="20280" y="10660"/>
                  </a:cubicBezTo>
                  <a:cubicBezTo>
                    <a:pt x="19240" y="16120"/>
                    <a:pt x="14820" y="20280"/>
                    <a:pt x="9620" y="20280"/>
                  </a:cubicBezTo>
                  <a:close/>
                  <a:moveTo>
                    <a:pt x="9620" y="4420"/>
                  </a:moveTo>
                  <a:cubicBezTo>
                    <a:pt x="6500" y="4420"/>
                    <a:pt x="4420" y="6500"/>
                    <a:pt x="4420" y="10660"/>
                  </a:cubicBezTo>
                  <a:cubicBezTo>
                    <a:pt x="4420" y="14820"/>
                    <a:pt x="6500" y="15860"/>
                    <a:pt x="9620" y="15860"/>
                  </a:cubicBezTo>
                  <a:cubicBezTo>
                    <a:pt x="12740" y="15860"/>
                    <a:pt x="15860" y="13780"/>
                    <a:pt x="15860" y="10660"/>
                  </a:cubicBezTo>
                  <a:cubicBezTo>
                    <a:pt x="15860" y="7540"/>
                    <a:pt x="12740" y="4420"/>
                    <a:pt x="9620" y="4420"/>
                  </a:cubicBezTo>
                  <a:close/>
                </a:path>
              </a:pathLst>
            </a:custGeom>
            <a:solidFill>
              <a:srgbClr val="00005A"/>
            </a:solidFill>
            <a:ln w="2597" cap="flat">
              <a:noFill/>
              <a:prstDash val="solid"/>
              <a:miter/>
            </a:ln>
          </p:spPr>
          <p:txBody>
            <a:bodyPr rtlCol="0" anchor="ctr"/>
            <a:lstStyle/>
            <a:p>
              <a:endParaRPr lang="en-GB"/>
            </a:p>
          </p:txBody>
        </p:sp>
        <p:sp>
          <p:nvSpPr>
            <p:cNvPr id="275" name="Freeform: Shape 274">
              <a:extLst>
                <a:ext uri="{FF2B5EF4-FFF2-40B4-BE49-F238E27FC236}">
                  <a16:creationId xmlns:a16="http://schemas.microsoft.com/office/drawing/2014/main" id="{36142FF6-7597-25C2-84C9-148A8E3F0616}"/>
                </a:ext>
              </a:extLst>
            </p:cNvPr>
            <p:cNvSpPr/>
            <p:nvPr/>
          </p:nvSpPr>
          <p:spPr>
            <a:xfrm>
              <a:off x="6550638" y="2762500"/>
              <a:ext cx="20279" cy="20279"/>
            </a:xfrm>
            <a:custGeom>
              <a:avLst/>
              <a:gdLst>
                <a:gd name="connsiteX0" fmla="*/ 9620 w 20279"/>
                <a:gd name="connsiteY0" fmla="*/ 20280 h 20279"/>
                <a:gd name="connsiteX1" fmla="*/ 0 w 20279"/>
                <a:gd name="connsiteY1" fmla="*/ 9620 h 20279"/>
                <a:gd name="connsiteX2" fmla="*/ 9620 w 20279"/>
                <a:gd name="connsiteY2" fmla="*/ 0 h 20279"/>
                <a:gd name="connsiteX3" fmla="*/ 20280 w 20279"/>
                <a:gd name="connsiteY3" fmla="*/ 9620 h 20279"/>
                <a:gd name="connsiteX4" fmla="*/ 9620 w 20279"/>
                <a:gd name="connsiteY4" fmla="*/ 20280 h 20279"/>
                <a:gd name="connsiteX5" fmla="*/ 9620 w 20279"/>
                <a:gd name="connsiteY5" fmla="*/ 3120 h 20279"/>
                <a:gd name="connsiteX6" fmla="*/ 4420 w 20279"/>
                <a:gd name="connsiteY6" fmla="*/ 8320 h 20279"/>
                <a:gd name="connsiteX7" fmla="*/ 9620 w 20279"/>
                <a:gd name="connsiteY7" fmla="*/ 14560 h 20279"/>
                <a:gd name="connsiteX8" fmla="*/ 15859 w 20279"/>
                <a:gd name="connsiteY8" fmla="*/ 8320 h 20279"/>
                <a:gd name="connsiteX9" fmla="*/ 9620 w 20279"/>
                <a:gd name="connsiteY9" fmla="*/ 312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9620" y="20280"/>
                  </a:moveTo>
                  <a:cubicBezTo>
                    <a:pt x="4420" y="20280"/>
                    <a:pt x="0" y="16120"/>
                    <a:pt x="0" y="9620"/>
                  </a:cubicBezTo>
                  <a:cubicBezTo>
                    <a:pt x="0" y="4420"/>
                    <a:pt x="4160" y="0"/>
                    <a:pt x="9620" y="0"/>
                  </a:cubicBezTo>
                  <a:cubicBezTo>
                    <a:pt x="15080" y="0"/>
                    <a:pt x="20280" y="4160"/>
                    <a:pt x="20280" y="9620"/>
                  </a:cubicBezTo>
                  <a:cubicBezTo>
                    <a:pt x="19240" y="14820"/>
                    <a:pt x="15080" y="20280"/>
                    <a:pt x="9620" y="20280"/>
                  </a:cubicBezTo>
                  <a:close/>
                  <a:moveTo>
                    <a:pt x="9620" y="3120"/>
                  </a:moveTo>
                  <a:cubicBezTo>
                    <a:pt x="6500" y="3120"/>
                    <a:pt x="4420" y="5200"/>
                    <a:pt x="4420" y="8320"/>
                  </a:cubicBezTo>
                  <a:cubicBezTo>
                    <a:pt x="4420" y="11440"/>
                    <a:pt x="6500" y="14560"/>
                    <a:pt x="9620" y="14560"/>
                  </a:cubicBezTo>
                  <a:cubicBezTo>
                    <a:pt x="12740" y="14560"/>
                    <a:pt x="15859" y="12480"/>
                    <a:pt x="15859" y="8320"/>
                  </a:cubicBezTo>
                  <a:cubicBezTo>
                    <a:pt x="16120" y="4160"/>
                    <a:pt x="12740" y="3120"/>
                    <a:pt x="9620" y="3120"/>
                  </a:cubicBezTo>
                  <a:close/>
                </a:path>
              </a:pathLst>
            </a:custGeom>
            <a:solidFill>
              <a:srgbClr val="00005A"/>
            </a:solidFill>
            <a:ln w="2597" cap="flat">
              <a:noFill/>
              <a:prstDash val="solid"/>
              <a:miter/>
            </a:ln>
          </p:spPr>
          <p:txBody>
            <a:bodyPr rtlCol="0" anchor="ctr"/>
            <a:lstStyle/>
            <a:p>
              <a:endParaRPr lang="en-GB"/>
            </a:p>
          </p:txBody>
        </p:sp>
        <p:sp>
          <p:nvSpPr>
            <p:cNvPr id="276" name="Freeform: Shape 275">
              <a:extLst>
                <a:ext uri="{FF2B5EF4-FFF2-40B4-BE49-F238E27FC236}">
                  <a16:creationId xmlns:a16="http://schemas.microsoft.com/office/drawing/2014/main" id="{CCE87C45-862C-FB33-1AA4-3AED3EB484FE}"/>
                </a:ext>
              </a:extLst>
            </p:cNvPr>
            <p:cNvSpPr/>
            <p:nvPr/>
          </p:nvSpPr>
          <p:spPr>
            <a:xfrm>
              <a:off x="6377740" y="2821779"/>
              <a:ext cx="20279" cy="20279"/>
            </a:xfrm>
            <a:custGeom>
              <a:avLst/>
              <a:gdLst>
                <a:gd name="connsiteX0" fmla="*/ 10659 w 20279"/>
                <a:gd name="connsiteY0" fmla="*/ 20280 h 20279"/>
                <a:gd name="connsiteX1" fmla="*/ 0 w 20279"/>
                <a:gd name="connsiteY1" fmla="*/ 9620 h 20279"/>
                <a:gd name="connsiteX2" fmla="*/ 10659 w 20279"/>
                <a:gd name="connsiteY2" fmla="*/ 0 h 20279"/>
                <a:gd name="connsiteX3" fmla="*/ 20280 w 20279"/>
                <a:gd name="connsiteY3" fmla="*/ 9620 h 20279"/>
                <a:gd name="connsiteX4" fmla="*/ 10659 w 20279"/>
                <a:gd name="connsiteY4" fmla="*/ 20280 h 20279"/>
                <a:gd name="connsiteX5" fmla="*/ 10659 w 20279"/>
                <a:gd name="connsiteY5" fmla="*/ 4420 h 20279"/>
                <a:gd name="connsiteX6" fmla="*/ 4420 w 20279"/>
                <a:gd name="connsiteY6" fmla="*/ 9620 h 20279"/>
                <a:gd name="connsiteX7" fmla="*/ 10659 w 20279"/>
                <a:gd name="connsiteY7" fmla="*/ 15860 h 20279"/>
                <a:gd name="connsiteX8" fmla="*/ 15859 w 20279"/>
                <a:gd name="connsiteY8" fmla="*/ 9620 h 20279"/>
                <a:gd name="connsiteX9" fmla="*/ 10659 w 20279"/>
                <a:gd name="connsiteY9" fmla="*/ 442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10659" y="20280"/>
                  </a:moveTo>
                  <a:cubicBezTo>
                    <a:pt x="5460" y="20280"/>
                    <a:pt x="0" y="16120"/>
                    <a:pt x="0" y="9620"/>
                  </a:cubicBezTo>
                  <a:cubicBezTo>
                    <a:pt x="0" y="4420"/>
                    <a:pt x="4160" y="0"/>
                    <a:pt x="10659" y="0"/>
                  </a:cubicBezTo>
                  <a:cubicBezTo>
                    <a:pt x="15859" y="0"/>
                    <a:pt x="20280" y="4160"/>
                    <a:pt x="20280" y="9620"/>
                  </a:cubicBezTo>
                  <a:cubicBezTo>
                    <a:pt x="20280" y="15080"/>
                    <a:pt x="15859" y="20280"/>
                    <a:pt x="10659" y="20280"/>
                  </a:cubicBezTo>
                  <a:close/>
                  <a:moveTo>
                    <a:pt x="10659" y="4420"/>
                  </a:moveTo>
                  <a:cubicBezTo>
                    <a:pt x="7540" y="4420"/>
                    <a:pt x="4420" y="6500"/>
                    <a:pt x="4420" y="9620"/>
                  </a:cubicBezTo>
                  <a:cubicBezTo>
                    <a:pt x="4420" y="12740"/>
                    <a:pt x="6500" y="15860"/>
                    <a:pt x="10659" y="15860"/>
                  </a:cubicBezTo>
                  <a:cubicBezTo>
                    <a:pt x="13780" y="15860"/>
                    <a:pt x="15859" y="13780"/>
                    <a:pt x="15859" y="9620"/>
                  </a:cubicBezTo>
                  <a:cubicBezTo>
                    <a:pt x="15859" y="5460"/>
                    <a:pt x="13780" y="4420"/>
                    <a:pt x="10659" y="4420"/>
                  </a:cubicBezTo>
                  <a:close/>
                </a:path>
              </a:pathLst>
            </a:custGeom>
            <a:solidFill>
              <a:srgbClr val="00005A"/>
            </a:solidFill>
            <a:ln w="2597" cap="flat">
              <a:noFill/>
              <a:prstDash val="solid"/>
              <a:miter/>
            </a:ln>
          </p:spPr>
          <p:txBody>
            <a:bodyPr rtlCol="0" anchor="ctr"/>
            <a:lstStyle/>
            <a:p>
              <a:endParaRPr lang="en-GB"/>
            </a:p>
          </p:txBody>
        </p:sp>
        <p:sp>
          <p:nvSpPr>
            <p:cNvPr id="277" name="Freeform: Shape 276">
              <a:extLst>
                <a:ext uri="{FF2B5EF4-FFF2-40B4-BE49-F238E27FC236}">
                  <a16:creationId xmlns:a16="http://schemas.microsoft.com/office/drawing/2014/main" id="{6EC00C59-A04C-D7EA-AA51-73F8272BD70E}"/>
                </a:ext>
              </a:extLst>
            </p:cNvPr>
            <p:cNvSpPr/>
            <p:nvPr/>
          </p:nvSpPr>
          <p:spPr>
            <a:xfrm>
              <a:off x="6377740" y="2965038"/>
              <a:ext cx="20279" cy="21319"/>
            </a:xfrm>
            <a:custGeom>
              <a:avLst/>
              <a:gdLst>
                <a:gd name="connsiteX0" fmla="*/ 10659 w 20279"/>
                <a:gd name="connsiteY0" fmla="*/ 21320 h 21319"/>
                <a:gd name="connsiteX1" fmla="*/ 0 w 20279"/>
                <a:gd name="connsiteY1" fmla="*/ 10660 h 21319"/>
                <a:gd name="connsiteX2" fmla="*/ 10659 w 20279"/>
                <a:gd name="connsiteY2" fmla="*/ 0 h 21319"/>
                <a:gd name="connsiteX3" fmla="*/ 20280 w 20279"/>
                <a:gd name="connsiteY3" fmla="*/ 10660 h 21319"/>
                <a:gd name="connsiteX4" fmla="*/ 10659 w 20279"/>
                <a:gd name="connsiteY4" fmla="*/ 21320 h 21319"/>
                <a:gd name="connsiteX5" fmla="*/ 10659 w 20279"/>
                <a:gd name="connsiteY5" fmla="*/ 5460 h 21319"/>
                <a:gd name="connsiteX6" fmla="*/ 4420 w 20279"/>
                <a:gd name="connsiteY6" fmla="*/ 10660 h 21319"/>
                <a:gd name="connsiteX7" fmla="*/ 10659 w 20279"/>
                <a:gd name="connsiteY7" fmla="*/ 15860 h 21319"/>
                <a:gd name="connsiteX8" fmla="*/ 15859 w 20279"/>
                <a:gd name="connsiteY8" fmla="*/ 10660 h 21319"/>
                <a:gd name="connsiteX9" fmla="*/ 10659 w 20279"/>
                <a:gd name="connsiteY9" fmla="*/ 5460 h 2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1319">
                  <a:moveTo>
                    <a:pt x="10659" y="21320"/>
                  </a:moveTo>
                  <a:cubicBezTo>
                    <a:pt x="5460" y="21320"/>
                    <a:pt x="0" y="17160"/>
                    <a:pt x="0" y="10660"/>
                  </a:cubicBezTo>
                  <a:cubicBezTo>
                    <a:pt x="0" y="4160"/>
                    <a:pt x="4160" y="0"/>
                    <a:pt x="10659" y="0"/>
                  </a:cubicBezTo>
                  <a:cubicBezTo>
                    <a:pt x="15859" y="0"/>
                    <a:pt x="20280" y="4160"/>
                    <a:pt x="20280" y="10660"/>
                  </a:cubicBezTo>
                  <a:cubicBezTo>
                    <a:pt x="20280" y="17160"/>
                    <a:pt x="15859" y="21320"/>
                    <a:pt x="10659" y="21320"/>
                  </a:cubicBezTo>
                  <a:close/>
                  <a:moveTo>
                    <a:pt x="10659" y="5460"/>
                  </a:moveTo>
                  <a:cubicBezTo>
                    <a:pt x="7540" y="5460"/>
                    <a:pt x="4420" y="7540"/>
                    <a:pt x="4420" y="10660"/>
                  </a:cubicBezTo>
                  <a:cubicBezTo>
                    <a:pt x="4420" y="13780"/>
                    <a:pt x="6500" y="15860"/>
                    <a:pt x="10659" y="15860"/>
                  </a:cubicBezTo>
                  <a:cubicBezTo>
                    <a:pt x="13780" y="15860"/>
                    <a:pt x="15859" y="13780"/>
                    <a:pt x="15859" y="10660"/>
                  </a:cubicBezTo>
                  <a:cubicBezTo>
                    <a:pt x="15859" y="7540"/>
                    <a:pt x="13780" y="5460"/>
                    <a:pt x="10659" y="5460"/>
                  </a:cubicBezTo>
                  <a:close/>
                </a:path>
              </a:pathLst>
            </a:custGeom>
            <a:solidFill>
              <a:srgbClr val="00005A"/>
            </a:solidFill>
            <a:ln w="2597" cap="flat">
              <a:noFill/>
              <a:prstDash val="solid"/>
              <a:miter/>
            </a:ln>
          </p:spPr>
          <p:txBody>
            <a:bodyPr rtlCol="0" anchor="ctr"/>
            <a:lstStyle/>
            <a:p>
              <a:endParaRPr lang="en-GB"/>
            </a:p>
          </p:txBody>
        </p:sp>
        <p:sp>
          <p:nvSpPr>
            <p:cNvPr id="278" name="Freeform: Shape 277">
              <a:extLst>
                <a:ext uri="{FF2B5EF4-FFF2-40B4-BE49-F238E27FC236}">
                  <a16:creationId xmlns:a16="http://schemas.microsoft.com/office/drawing/2014/main" id="{FFE2EE60-BD05-9595-292F-647E0BDEEBCE}"/>
                </a:ext>
              </a:extLst>
            </p:cNvPr>
            <p:cNvSpPr/>
            <p:nvPr/>
          </p:nvSpPr>
          <p:spPr>
            <a:xfrm>
              <a:off x="6437019" y="2768740"/>
              <a:ext cx="21319" cy="21319"/>
            </a:xfrm>
            <a:custGeom>
              <a:avLst/>
              <a:gdLst>
                <a:gd name="connsiteX0" fmla="*/ 10659 w 21319"/>
                <a:gd name="connsiteY0" fmla="*/ 21320 h 21319"/>
                <a:gd name="connsiteX1" fmla="*/ 0 w 21319"/>
                <a:gd name="connsiteY1" fmla="*/ 10660 h 21319"/>
                <a:gd name="connsiteX2" fmla="*/ 10659 w 21319"/>
                <a:gd name="connsiteY2" fmla="*/ 0 h 21319"/>
                <a:gd name="connsiteX3" fmla="*/ 21320 w 21319"/>
                <a:gd name="connsiteY3" fmla="*/ 10660 h 21319"/>
                <a:gd name="connsiteX4" fmla="*/ 10659 w 21319"/>
                <a:gd name="connsiteY4" fmla="*/ 21320 h 21319"/>
                <a:gd name="connsiteX5" fmla="*/ 10659 w 21319"/>
                <a:gd name="connsiteY5" fmla="*/ 5460 h 21319"/>
                <a:gd name="connsiteX6" fmla="*/ 5460 w 21319"/>
                <a:gd name="connsiteY6" fmla="*/ 10660 h 21319"/>
                <a:gd name="connsiteX7" fmla="*/ 10659 w 21319"/>
                <a:gd name="connsiteY7" fmla="*/ 15860 h 21319"/>
                <a:gd name="connsiteX8" fmla="*/ 15859 w 21319"/>
                <a:gd name="connsiteY8" fmla="*/ 10660 h 21319"/>
                <a:gd name="connsiteX9" fmla="*/ 10659 w 21319"/>
                <a:gd name="connsiteY9" fmla="*/ 5460 h 2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19" h="21319">
                  <a:moveTo>
                    <a:pt x="10659" y="21320"/>
                  </a:moveTo>
                  <a:cubicBezTo>
                    <a:pt x="5460" y="21320"/>
                    <a:pt x="0" y="17160"/>
                    <a:pt x="0" y="10660"/>
                  </a:cubicBezTo>
                  <a:cubicBezTo>
                    <a:pt x="0" y="4160"/>
                    <a:pt x="4160" y="0"/>
                    <a:pt x="10659" y="0"/>
                  </a:cubicBezTo>
                  <a:cubicBezTo>
                    <a:pt x="17159" y="0"/>
                    <a:pt x="21320" y="4160"/>
                    <a:pt x="21320" y="10660"/>
                  </a:cubicBezTo>
                  <a:cubicBezTo>
                    <a:pt x="21320" y="17160"/>
                    <a:pt x="16120" y="21320"/>
                    <a:pt x="10659" y="21320"/>
                  </a:cubicBezTo>
                  <a:close/>
                  <a:moveTo>
                    <a:pt x="10659" y="5460"/>
                  </a:moveTo>
                  <a:cubicBezTo>
                    <a:pt x="7540" y="5460"/>
                    <a:pt x="5460" y="7540"/>
                    <a:pt x="5460" y="10660"/>
                  </a:cubicBezTo>
                  <a:cubicBezTo>
                    <a:pt x="5460" y="13780"/>
                    <a:pt x="7540" y="15860"/>
                    <a:pt x="10659" y="15860"/>
                  </a:cubicBezTo>
                  <a:cubicBezTo>
                    <a:pt x="13779" y="15860"/>
                    <a:pt x="15859" y="13780"/>
                    <a:pt x="15859" y="10660"/>
                  </a:cubicBezTo>
                  <a:cubicBezTo>
                    <a:pt x="15859" y="7540"/>
                    <a:pt x="14040" y="5460"/>
                    <a:pt x="10659" y="5460"/>
                  </a:cubicBezTo>
                  <a:close/>
                </a:path>
              </a:pathLst>
            </a:custGeom>
            <a:solidFill>
              <a:srgbClr val="00005A"/>
            </a:solidFill>
            <a:ln w="2597" cap="flat">
              <a:noFill/>
              <a:prstDash val="solid"/>
              <a:miter/>
            </a:ln>
          </p:spPr>
          <p:txBody>
            <a:bodyPr rtlCol="0" anchor="ctr"/>
            <a:lstStyle/>
            <a:p>
              <a:endParaRPr lang="en-GB"/>
            </a:p>
          </p:txBody>
        </p:sp>
        <p:sp>
          <p:nvSpPr>
            <p:cNvPr id="279" name="Freeform: Shape 278">
              <a:extLst>
                <a:ext uri="{FF2B5EF4-FFF2-40B4-BE49-F238E27FC236}">
                  <a16:creationId xmlns:a16="http://schemas.microsoft.com/office/drawing/2014/main" id="{A37A5A42-AAD4-9CF4-9B74-907F43DE1908}"/>
                </a:ext>
              </a:extLst>
            </p:cNvPr>
            <p:cNvSpPr/>
            <p:nvPr/>
          </p:nvSpPr>
          <p:spPr>
            <a:xfrm>
              <a:off x="6437019" y="2911998"/>
              <a:ext cx="21319" cy="21319"/>
            </a:xfrm>
            <a:custGeom>
              <a:avLst/>
              <a:gdLst>
                <a:gd name="connsiteX0" fmla="*/ 10659 w 21319"/>
                <a:gd name="connsiteY0" fmla="*/ 21320 h 21319"/>
                <a:gd name="connsiteX1" fmla="*/ 0 w 21319"/>
                <a:gd name="connsiteY1" fmla="*/ 10660 h 21319"/>
                <a:gd name="connsiteX2" fmla="*/ 10659 w 21319"/>
                <a:gd name="connsiteY2" fmla="*/ 0 h 21319"/>
                <a:gd name="connsiteX3" fmla="*/ 21320 w 21319"/>
                <a:gd name="connsiteY3" fmla="*/ 10660 h 21319"/>
                <a:gd name="connsiteX4" fmla="*/ 10659 w 21319"/>
                <a:gd name="connsiteY4" fmla="*/ 21320 h 21319"/>
                <a:gd name="connsiteX5" fmla="*/ 10659 w 21319"/>
                <a:gd name="connsiteY5" fmla="*/ 5460 h 21319"/>
                <a:gd name="connsiteX6" fmla="*/ 5460 w 21319"/>
                <a:gd name="connsiteY6" fmla="*/ 10660 h 21319"/>
                <a:gd name="connsiteX7" fmla="*/ 10659 w 21319"/>
                <a:gd name="connsiteY7" fmla="*/ 15860 h 21319"/>
                <a:gd name="connsiteX8" fmla="*/ 15859 w 21319"/>
                <a:gd name="connsiteY8" fmla="*/ 10660 h 21319"/>
                <a:gd name="connsiteX9" fmla="*/ 10659 w 21319"/>
                <a:gd name="connsiteY9" fmla="*/ 5460 h 2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19" h="21319">
                  <a:moveTo>
                    <a:pt x="10659" y="21320"/>
                  </a:moveTo>
                  <a:cubicBezTo>
                    <a:pt x="5460" y="21320"/>
                    <a:pt x="0" y="17160"/>
                    <a:pt x="0" y="10660"/>
                  </a:cubicBezTo>
                  <a:cubicBezTo>
                    <a:pt x="0" y="4160"/>
                    <a:pt x="4160" y="0"/>
                    <a:pt x="10659" y="0"/>
                  </a:cubicBezTo>
                  <a:cubicBezTo>
                    <a:pt x="17159" y="0"/>
                    <a:pt x="21320" y="4160"/>
                    <a:pt x="21320" y="10660"/>
                  </a:cubicBezTo>
                  <a:cubicBezTo>
                    <a:pt x="21320" y="17160"/>
                    <a:pt x="16120" y="21320"/>
                    <a:pt x="10659" y="21320"/>
                  </a:cubicBezTo>
                  <a:close/>
                  <a:moveTo>
                    <a:pt x="10659" y="5460"/>
                  </a:moveTo>
                  <a:cubicBezTo>
                    <a:pt x="7540" y="5460"/>
                    <a:pt x="5460" y="7540"/>
                    <a:pt x="5460" y="10660"/>
                  </a:cubicBezTo>
                  <a:cubicBezTo>
                    <a:pt x="5460" y="13780"/>
                    <a:pt x="7540" y="15860"/>
                    <a:pt x="10659" y="15860"/>
                  </a:cubicBezTo>
                  <a:cubicBezTo>
                    <a:pt x="13779" y="15860"/>
                    <a:pt x="15859" y="13780"/>
                    <a:pt x="15859" y="10660"/>
                  </a:cubicBezTo>
                  <a:cubicBezTo>
                    <a:pt x="15859" y="7540"/>
                    <a:pt x="14040" y="5460"/>
                    <a:pt x="10659" y="5460"/>
                  </a:cubicBezTo>
                  <a:close/>
                </a:path>
              </a:pathLst>
            </a:custGeom>
            <a:solidFill>
              <a:srgbClr val="00005A"/>
            </a:solidFill>
            <a:ln w="2597" cap="flat">
              <a:noFill/>
              <a:prstDash val="solid"/>
              <a:miter/>
            </a:ln>
          </p:spPr>
          <p:txBody>
            <a:bodyPr rtlCol="0" anchor="ctr"/>
            <a:lstStyle/>
            <a:p>
              <a:endParaRPr lang="en-GB"/>
            </a:p>
          </p:txBody>
        </p:sp>
        <p:sp>
          <p:nvSpPr>
            <p:cNvPr id="280" name="Freeform: Shape 279">
              <a:extLst>
                <a:ext uri="{FF2B5EF4-FFF2-40B4-BE49-F238E27FC236}">
                  <a16:creationId xmlns:a16="http://schemas.microsoft.com/office/drawing/2014/main" id="{1C729ED0-8DBC-0BAE-27AB-E8E7F82D520E}"/>
                </a:ext>
              </a:extLst>
            </p:cNvPr>
            <p:cNvSpPr/>
            <p:nvPr/>
          </p:nvSpPr>
          <p:spPr>
            <a:xfrm>
              <a:off x="6547518" y="2906798"/>
              <a:ext cx="20279" cy="21319"/>
            </a:xfrm>
            <a:custGeom>
              <a:avLst/>
              <a:gdLst>
                <a:gd name="connsiteX0" fmla="*/ 10659 w 20279"/>
                <a:gd name="connsiteY0" fmla="*/ 21320 h 21319"/>
                <a:gd name="connsiteX1" fmla="*/ 0 w 20279"/>
                <a:gd name="connsiteY1" fmla="*/ 10660 h 21319"/>
                <a:gd name="connsiteX2" fmla="*/ 10659 w 20279"/>
                <a:gd name="connsiteY2" fmla="*/ 0 h 21319"/>
                <a:gd name="connsiteX3" fmla="*/ 20279 w 20279"/>
                <a:gd name="connsiteY3" fmla="*/ 10660 h 21319"/>
                <a:gd name="connsiteX4" fmla="*/ 10659 w 20279"/>
                <a:gd name="connsiteY4" fmla="*/ 21320 h 21319"/>
                <a:gd name="connsiteX5" fmla="*/ 10659 w 20279"/>
                <a:gd name="connsiteY5" fmla="*/ 5460 h 21319"/>
                <a:gd name="connsiteX6" fmla="*/ 4420 w 20279"/>
                <a:gd name="connsiteY6" fmla="*/ 10660 h 21319"/>
                <a:gd name="connsiteX7" fmla="*/ 10659 w 20279"/>
                <a:gd name="connsiteY7" fmla="*/ 15860 h 21319"/>
                <a:gd name="connsiteX8" fmla="*/ 15859 w 20279"/>
                <a:gd name="connsiteY8" fmla="*/ 10660 h 21319"/>
                <a:gd name="connsiteX9" fmla="*/ 10659 w 20279"/>
                <a:gd name="connsiteY9" fmla="*/ 5460 h 2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1319">
                  <a:moveTo>
                    <a:pt x="10659" y="21320"/>
                  </a:moveTo>
                  <a:cubicBezTo>
                    <a:pt x="5460" y="21320"/>
                    <a:pt x="0" y="17160"/>
                    <a:pt x="0" y="10660"/>
                  </a:cubicBezTo>
                  <a:cubicBezTo>
                    <a:pt x="0" y="4160"/>
                    <a:pt x="4160" y="0"/>
                    <a:pt x="10659" y="0"/>
                  </a:cubicBezTo>
                  <a:cubicBezTo>
                    <a:pt x="15859" y="0"/>
                    <a:pt x="20279" y="4160"/>
                    <a:pt x="20279" y="10660"/>
                  </a:cubicBezTo>
                  <a:cubicBezTo>
                    <a:pt x="20279" y="17160"/>
                    <a:pt x="15859" y="21320"/>
                    <a:pt x="10659" y="21320"/>
                  </a:cubicBezTo>
                  <a:close/>
                  <a:moveTo>
                    <a:pt x="10659" y="5460"/>
                  </a:moveTo>
                  <a:cubicBezTo>
                    <a:pt x="7540" y="5460"/>
                    <a:pt x="4420" y="7540"/>
                    <a:pt x="4420" y="10660"/>
                  </a:cubicBezTo>
                  <a:cubicBezTo>
                    <a:pt x="4420" y="13780"/>
                    <a:pt x="6500" y="15860"/>
                    <a:pt x="10659" y="15860"/>
                  </a:cubicBezTo>
                  <a:cubicBezTo>
                    <a:pt x="13779" y="15860"/>
                    <a:pt x="15859" y="13780"/>
                    <a:pt x="15859" y="10660"/>
                  </a:cubicBezTo>
                  <a:cubicBezTo>
                    <a:pt x="15859" y="7540"/>
                    <a:pt x="13779" y="5460"/>
                    <a:pt x="10659" y="5460"/>
                  </a:cubicBezTo>
                  <a:close/>
                </a:path>
              </a:pathLst>
            </a:custGeom>
            <a:solidFill>
              <a:srgbClr val="00005A"/>
            </a:solidFill>
            <a:ln w="2597" cap="flat">
              <a:noFill/>
              <a:prstDash val="solid"/>
              <a:miter/>
            </a:ln>
          </p:spPr>
          <p:txBody>
            <a:bodyPr rtlCol="0" anchor="ctr"/>
            <a:lstStyle/>
            <a:p>
              <a:endParaRPr lang="en-GB"/>
            </a:p>
          </p:txBody>
        </p:sp>
        <p:sp>
          <p:nvSpPr>
            <p:cNvPr id="281" name="Freeform: Shape 280">
              <a:extLst>
                <a:ext uri="{FF2B5EF4-FFF2-40B4-BE49-F238E27FC236}">
                  <a16:creationId xmlns:a16="http://schemas.microsoft.com/office/drawing/2014/main" id="{913EFE6C-CC56-450E-D7AC-076012C48547}"/>
                </a:ext>
              </a:extLst>
            </p:cNvPr>
            <p:cNvSpPr/>
            <p:nvPr/>
          </p:nvSpPr>
          <p:spPr>
            <a:xfrm>
              <a:off x="6489019" y="2800719"/>
              <a:ext cx="20279" cy="20279"/>
            </a:xfrm>
            <a:custGeom>
              <a:avLst/>
              <a:gdLst>
                <a:gd name="connsiteX0" fmla="*/ 10659 w 20279"/>
                <a:gd name="connsiteY0" fmla="*/ 20280 h 20279"/>
                <a:gd name="connsiteX1" fmla="*/ 0 w 20279"/>
                <a:gd name="connsiteY1" fmla="*/ 9620 h 20279"/>
                <a:gd name="connsiteX2" fmla="*/ 10659 w 20279"/>
                <a:gd name="connsiteY2" fmla="*/ 0 h 20279"/>
                <a:gd name="connsiteX3" fmla="*/ 20279 w 20279"/>
                <a:gd name="connsiteY3" fmla="*/ 9620 h 20279"/>
                <a:gd name="connsiteX4" fmla="*/ 10659 w 20279"/>
                <a:gd name="connsiteY4" fmla="*/ 20280 h 20279"/>
                <a:gd name="connsiteX5" fmla="*/ 10659 w 20279"/>
                <a:gd name="connsiteY5" fmla="*/ 4160 h 20279"/>
                <a:gd name="connsiteX6" fmla="*/ 4420 w 20279"/>
                <a:gd name="connsiteY6" fmla="*/ 9360 h 20279"/>
                <a:gd name="connsiteX7" fmla="*/ 10659 w 20279"/>
                <a:gd name="connsiteY7" fmla="*/ 15600 h 20279"/>
                <a:gd name="connsiteX8" fmla="*/ 15859 w 20279"/>
                <a:gd name="connsiteY8" fmla="*/ 9360 h 20279"/>
                <a:gd name="connsiteX9" fmla="*/ 10659 w 20279"/>
                <a:gd name="connsiteY9" fmla="*/ 416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10659" y="20280"/>
                  </a:moveTo>
                  <a:cubicBezTo>
                    <a:pt x="5460" y="20280"/>
                    <a:pt x="0" y="16120"/>
                    <a:pt x="0" y="9620"/>
                  </a:cubicBezTo>
                  <a:cubicBezTo>
                    <a:pt x="0" y="4420"/>
                    <a:pt x="4160" y="0"/>
                    <a:pt x="10659" y="0"/>
                  </a:cubicBezTo>
                  <a:cubicBezTo>
                    <a:pt x="15859" y="0"/>
                    <a:pt x="20279" y="4160"/>
                    <a:pt x="20279" y="9620"/>
                  </a:cubicBezTo>
                  <a:cubicBezTo>
                    <a:pt x="20279" y="14820"/>
                    <a:pt x="16120" y="20280"/>
                    <a:pt x="10659" y="20280"/>
                  </a:cubicBezTo>
                  <a:close/>
                  <a:moveTo>
                    <a:pt x="10659" y="4160"/>
                  </a:moveTo>
                  <a:cubicBezTo>
                    <a:pt x="7540" y="4160"/>
                    <a:pt x="4420" y="6240"/>
                    <a:pt x="4420" y="9360"/>
                  </a:cubicBezTo>
                  <a:cubicBezTo>
                    <a:pt x="4420" y="12480"/>
                    <a:pt x="6500" y="15600"/>
                    <a:pt x="10659" y="15600"/>
                  </a:cubicBezTo>
                  <a:cubicBezTo>
                    <a:pt x="13779" y="15600"/>
                    <a:pt x="15859" y="13520"/>
                    <a:pt x="15859" y="9360"/>
                  </a:cubicBezTo>
                  <a:cubicBezTo>
                    <a:pt x="16120" y="5200"/>
                    <a:pt x="14040" y="4160"/>
                    <a:pt x="10659" y="4160"/>
                  </a:cubicBezTo>
                  <a:close/>
                </a:path>
              </a:pathLst>
            </a:custGeom>
            <a:solidFill>
              <a:srgbClr val="00005A"/>
            </a:solidFill>
            <a:ln w="2597" cap="flat">
              <a:noFill/>
              <a:prstDash val="solid"/>
              <a:miter/>
            </a:ln>
          </p:spPr>
          <p:txBody>
            <a:bodyPr rtlCol="0" anchor="ctr"/>
            <a:lstStyle/>
            <a:p>
              <a:endParaRPr lang="en-GB"/>
            </a:p>
          </p:txBody>
        </p:sp>
        <p:sp>
          <p:nvSpPr>
            <p:cNvPr id="282" name="Freeform: Shape 281">
              <a:extLst>
                <a:ext uri="{FF2B5EF4-FFF2-40B4-BE49-F238E27FC236}">
                  <a16:creationId xmlns:a16="http://schemas.microsoft.com/office/drawing/2014/main" id="{875F8081-ECA5-A3B2-E46A-F4E527049100}"/>
                </a:ext>
              </a:extLst>
            </p:cNvPr>
            <p:cNvSpPr/>
            <p:nvPr/>
          </p:nvSpPr>
          <p:spPr>
            <a:xfrm>
              <a:off x="6489019" y="2945018"/>
              <a:ext cx="20279" cy="20279"/>
            </a:xfrm>
            <a:custGeom>
              <a:avLst/>
              <a:gdLst>
                <a:gd name="connsiteX0" fmla="*/ 10659 w 20279"/>
                <a:gd name="connsiteY0" fmla="*/ 20280 h 20279"/>
                <a:gd name="connsiteX1" fmla="*/ 0 w 20279"/>
                <a:gd name="connsiteY1" fmla="*/ 10660 h 20279"/>
                <a:gd name="connsiteX2" fmla="*/ 10659 w 20279"/>
                <a:gd name="connsiteY2" fmla="*/ 0 h 20279"/>
                <a:gd name="connsiteX3" fmla="*/ 20279 w 20279"/>
                <a:gd name="connsiteY3" fmla="*/ 10660 h 20279"/>
                <a:gd name="connsiteX4" fmla="*/ 10659 w 20279"/>
                <a:gd name="connsiteY4" fmla="*/ 20280 h 20279"/>
                <a:gd name="connsiteX5" fmla="*/ 10659 w 20279"/>
                <a:gd name="connsiteY5" fmla="*/ 4160 h 20279"/>
                <a:gd name="connsiteX6" fmla="*/ 4420 w 20279"/>
                <a:gd name="connsiteY6" fmla="*/ 10400 h 20279"/>
                <a:gd name="connsiteX7" fmla="*/ 10659 w 20279"/>
                <a:gd name="connsiteY7" fmla="*/ 15600 h 20279"/>
                <a:gd name="connsiteX8" fmla="*/ 15859 w 20279"/>
                <a:gd name="connsiteY8" fmla="*/ 10400 h 20279"/>
                <a:gd name="connsiteX9" fmla="*/ 10659 w 20279"/>
                <a:gd name="connsiteY9" fmla="*/ 416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10659" y="20280"/>
                  </a:moveTo>
                  <a:cubicBezTo>
                    <a:pt x="5460" y="20280"/>
                    <a:pt x="0" y="16120"/>
                    <a:pt x="0" y="10660"/>
                  </a:cubicBezTo>
                  <a:cubicBezTo>
                    <a:pt x="0" y="5460"/>
                    <a:pt x="4160" y="0"/>
                    <a:pt x="10659" y="0"/>
                  </a:cubicBezTo>
                  <a:cubicBezTo>
                    <a:pt x="15859" y="0"/>
                    <a:pt x="20279" y="4160"/>
                    <a:pt x="20279" y="10660"/>
                  </a:cubicBezTo>
                  <a:cubicBezTo>
                    <a:pt x="20279" y="15860"/>
                    <a:pt x="16120" y="20280"/>
                    <a:pt x="10659" y="20280"/>
                  </a:cubicBezTo>
                  <a:close/>
                  <a:moveTo>
                    <a:pt x="10659" y="4160"/>
                  </a:moveTo>
                  <a:cubicBezTo>
                    <a:pt x="7540" y="4160"/>
                    <a:pt x="4420" y="6240"/>
                    <a:pt x="4420" y="10400"/>
                  </a:cubicBezTo>
                  <a:cubicBezTo>
                    <a:pt x="4420" y="14560"/>
                    <a:pt x="6500" y="15600"/>
                    <a:pt x="10659" y="15600"/>
                  </a:cubicBezTo>
                  <a:cubicBezTo>
                    <a:pt x="13779" y="15600"/>
                    <a:pt x="15859" y="13520"/>
                    <a:pt x="15859" y="10400"/>
                  </a:cubicBezTo>
                  <a:cubicBezTo>
                    <a:pt x="15859" y="7280"/>
                    <a:pt x="14040" y="4160"/>
                    <a:pt x="10659" y="4160"/>
                  </a:cubicBezTo>
                  <a:close/>
                </a:path>
              </a:pathLst>
            </a:custGeom>
            <a:solidFill>
              <a:srgbClr val="00005A"/>
            </a:solidFill>
            <a:ln w="2597" cap="flat">
              <a:noFill/>
              <a:prstDash val="solid"/>
              <a:miter/>
            </a:ln>
          </p:spPr>
          <p:txBody>
            <a:bodyPr rtlCol="0" anchor="ctr"/>
            <a:lstStyle/>
            <a:p>
              <a:endParaRPr lang="en-GB"/>
            </a:p>
          </p:txBody>
        </p:sp>
        <p:sp>
          <p:nvSpPr>
            <p:cNvPr id="283" name="Freeform: Shape 282">
              <a:extLst>
                <a:ext uri="{FF2B5EF4-FFF2-40B4-BE49-F238E27FC236}">
                  <a16:creationId xmlns:a16="http://schemas.microsoft.com/office/drawing/2014/main" id="{0DA2D855-B2B6-C1B8-74BF-F18C253F4B9A}"/>
                </a:ext>
              </a:extLst>
            </p:cNvPr>
            <p:cNvSpPr/>
            <p:nvPr/>
          </p:nvSpPr>
          <p:spPr>
            <a:xfrm>
              <a:off x="6322620" y="2787980"/>
              <a:ext cx="21319" cy="20279"/>
            </a:xfrm>
            <a:custGeom>
              <a:avLst/>
              <a:gdLst>
                <a:gd name="connsiteX0" fmla="*/ 10659 w 21319"/>
                <a:gd name="connsiteY0" fmla="*/ 20280 h 20279"/>
                <a:gd name="connsiteX1" fmla="*/ 0 w 21319"/>
                <a:gd name="connsiteY1" fmla="*/ 9620 h 20279"/>
                <a:gd name="connsiteX2" fmla="*/ 10659 w 21319"/>
                <a:gd name="connsiteY2" fmla="*/ 0 h 20279"/>
                <a:gd name="connsiteX3" fmla="*/ 21320 w 21319"/>
                <a:gd name="connsiteY3" fmla="*/ 9620 h 20279"/>
                <a:gd name="connsiteX4" fmla="*/ 10659 w 21319"/>
                <a:gd name="connsiteY4" fmla="*/ 20280 h 20279"/>
                <a:gd name="connsiteX5" fmla="*/ 10659 w 21319"/>
                <a:gd name="connsiteY5" fmla="*/ 5200 h 20279"/>
                <a:gd name="connsiteX6" fmla="*/ 5460 w 21319"/>
                <a:gd name="connsiteY6" fmla="*/ 10400 h 20279"/>
                <a:gd name="connsiteX7" fmla="*/ 10659 w 21319"/>
                <a:gd name="connsiteY7" fmla="*/ 16640 h 20279"/>
                <a:gd name="connsiteX8" fmla="*/ 15859 w 21319"/>
                <a:gd name="connsiteY8" fmla="*/ 10400 h 20279"/>
                <a:gd name="connsiteX9" fmla="*/ 10659 w 21319"/>
                <a:gd name="connsiteY9" fmla="*/ 520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19" h="20279">
                  <a:moveTo>
                    <a:pt x="10659" y="20280"/>
                  </a:moveTo>
                  <a:cubicBezTo>
                    <a:pt x="5460" y="20280"/>
                    <a:pt x="0" y="16120"/>
                    <a:pt x="0" y="9620"/>
                  </a:cubicBezTo>
                  <a:cubicBezTo>
                    <a:pt x="0" y="4420"/>
                    <a:pt x="4160" y="0"/>
                    <a:pt x="10659" y="0"/>
                  </a:cubicBezTo>
                  <a:cubicBezTo>
                    <a:pt x="17159" y="0"/>
                    <a:pt x="21320" y="4160"/>
                    <a:pt x="21320" y="9620"/>
                  </a:cubicBezTo>
                  <a:cubicBezTo>
                    <a:pt x="21059" y="15860"/>
                    <a:pt x="15859" y="20280"/>
                    <a:pt x="10659" y="20280"/>
                  </a:cubicBezTo>
                  <a:close/>
                  <a:moveTo>
                    <a:pt x="10659" y="5200"/>
                  </a:moveTo>
                  <a:cubicBezTo>
                    <a:pt x="7540" y="5200"/>
                    <a:pt x="5460" y="7280"/>
                    <a:pt x="5460" y="10400"/>
                  </a:cubicBezTo>
                  <a:cubicBezTo>
                    <a:pt x="5460" y="13520"/>
                    <a:pt x="7540" y="16640"/>
                    <a:pt x="10659" y="16640"/>
                  </a:cubicBezTo>
                  <a:cubicBezTo>
                    <a:pt x="13779" y="16640"/>
                    <a:pt x="15859" y="14560"/>
                    <a:pt x="15859" y="10400"/>
                  </a:cubicBezTo>
                  <a:cubicBezTo>
                    <a:pt x="15859" y="6240"/>
                    <a:pt x="13779" y="5200"/>
                    <a:pt x="10659" y="5200"/>
                  </a:cubicBezTo>
                  <a:close/>
                </a:path>
              </a:pathLst>
            </a:custGeom>
            <a:solidFill>
              <a:srgbClr val="00005A"/>
            </a:solidFill>
            <a:ln w="2597" cap="flat">
              <a:noFill/>
              <a:prstDash val="solid"/>
              <a:miter/>
            </a:ln>
          </p:spPr>
          <p:txBody>
            <a:bodyPr rtlCol="0" anchor="ctr"/>
            <a:lstStyle/>
            <a:p>
              <a:endParaRPr lang="en-GB"/>
            </a:p>
          </p:txBody>
        </p:sp>
        <p:sp>
          <p:nvSpPr>
            <p:cNvPr id="284" name="Freeform: Shape 283">
              <a:extLst>
                <a:ext uri="{FF2B5EF4-FFF2-40B4-BE49-F238E27FC236}">
                  <a16:creationId xmlns:a16="http://schemas.microsoft.com/office/drawing/2014/main" id="{375407D5-49A3-00F0-B03D-676B5DE38499}"/>
                </a:ext>
              </a:extLst>
            </p:cNvPr>
            <p:cNvSpPr/>
            <p:nvPr/>
          </p:nvSpPr>
          <p:spPr>
            <a:xfrm>
              <a:off x="6322620" y="2936438"/>
              <a:ext cx="21319" cy="20279"/>
            </a:xfrm>
            <a:custGeom>
              <a:avLst/>
              <a:gdLst>
                <a:gd name="connsiteX0" fmla="*/ 10659 w 21319"/>
                <a:gd name="connsiteY0" fmla="*/ 20280 h 20279"/>
                <a:gd name="connsiteX1" fmla="*/ 0 w 21319"/>
                <a:gd name="connsiteY1" fmla="*/ 9620 h 20279"/>
                <a:gd name="connsiteX2" fmla="*/ 10659 w 21319"/>
                <a:gd name="connsiteY2" fmla="*/ 0 h 20279"/>
                <a:gd name="connsiteX3" fmla="*/ 21320 w 21319"/>
                <a:gd name="connsiteY3" fmla="*/ 9620 h 20279"/>
                <a:gd name="connsiteX4" fmla="*/ 10659 w 21319"/>
                <a:gd name="connsiteY4" fmla="*/ 20280 h 20279"/>
                <a:gd name="connsiteX5" fmla="*/ 10659 w 21319"/>
                <a:gd name="connsiteY5" fmla="*/ 5460 h 20279"/>
                <a:gd name="connsiteX6" fmla="*/ 5460 w 21319"/>
                <a:gd name="connsiteY6" fmla="*/ 10660 h 20279"/>
                <a:gd name="connsiteX7" fmla="*/ 10659 w 21319"/>
                <a:gd name="connsiteY7" fmla="*/ 16900 h 20279"/>
                <a:gd name="connsiteX8" fmla="*/ 15859 w 21319"/>
                <a:gd name="connsiteY8" fmla="*/ 10660 h 20279"/>
                <a:gd name="connsiteX9" fmla="*/ 10659 w 21319"/>
                <a:gd name="connsiteY9" fmla="*/ 546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19" h="20279">
                  <a:moveTo>
                    <a:pt x="10659" y="20280"/>
                  </a:moveTo>
                  <a:cubicBezTo>
                    <a:pt x="5460" y="20280"/>
                    <a:pt x="0" y="16120"/>
                    <a:pt x="0" y="9620"/>
                  </a:cubicBezTo>
                  <a:cubicBezTo>
                    <a:pt x="0" y="4420"/>
                    <a:pt x="4160" y="0"/>
                    <a:pt x="10659" y="0"/>
                  </a:cubicBezTo>
                  <a:cubicBezTo>
                    <a:pt x="17159" y="0"/>
                    <a:pt x="21320" y="4160"/>
                    <a:pt x="21320" y="9620"/>
                  </a:cubicBezTo>
                  <a:cubicBezTo>
                    <a:pt x="21059" y="16120"/>
                    <a:pt x="15859" y="20280"/>
                    <a:pt x="10659" y="20280"/>
                  </a:cubicBezTo>
                  <a:close/>
                  <a:moveTo>
                    <a:pt x="10659" y="5460"/>
                  </a:moveTo>
                  <a:cubicBezTo>
                    <a:pt x="7540" y="5460"/>
                    <a:pt x="5460" y="7540"/>
                    <a:pt x="5460" y="10660"/>
                  </a:cubicBezTo>
                  <a:cubicBezTo>
                    <a:pt x="5460" y="13780"/>
                    <a:pt x="7540" y="16900"/>
                    <a:pt x="10659" y="16900"/>
                  </a:cubicBezTo>
                  <a:cubicBezTo>
                    <a:pt x="13779" y="16900"/>
                    <a:pt x="15859" y="14820"/>
                    <a:pt x="15859" y="10660"/>
                  </a:cubicBezTo>
                  <a:cubicBezTo>
                    <a:pt x="15859" y="6500"/>
                    <a:pt x="13779" y="5460"/>
                    <a:pt x="10659" y="5460"/>
                  </a:cubicBezTo>
                  <a:close/>
                </a:path>
              </a:pathLst>
            </a:custGeom>
            <a:solidFill>
              <a:srgbClr val="00005A"/>
            </a:solidFill>
            <a:ln w="2597" cap="flat">
              <a:noFill/>
              <a:prstDash val="solid"/>
              <a:miter/>
            </a:ln>
          </p:spPr>
          <p:txBody>
            <a:bodyPr rtlCol="0" anchor="ctr"/>
            <a:lstStyle/>
            <a:p>
              <a:endParaRPr lang="en-GB"/>
            </a:p>
          </p:txBody>
        </p:sp>
        <p:sp>
          <p:nvSpPr>
            <p:cNvPr id="285" name="Freeform: Shape 284">
              <a:extLst>
                <a:ext uri="{FF2B5EF4-FFF2-40B4-BE49-F238E27FC236}">
                  <a16:creationId xmlns:a16="http://schemas.microsoft.com/office/drawing/2014/main" id="{CB6D1B68-BFD6-240B-BC42-654899C48E4F}"/>
                </a:ext>
              </a:extLst>
            </p:cNvPr>
            <p:cNvSpPr/>
            <p:nvPr/>
          </p:nvSpPr>
          <p:spPr>
            <a:xfrm>
              <a:off x="6547518" y="2613782"/>
              <a:ext cx="20279" cy="20279"/>
            </a:xfrm>
            <a:custGeom>
              <a:avLst/>
              <a:gdLst>
                <a:gd name="connsiteX0" fmla="*/ 10659 w 20279"/>
                <a:gd name="connsiteY0" fmla="*/ 20280 h 20279"/>
                <a:gd name="connsiteX1" fmla="*/ 0 w 20279"/>
                <a:gd name="connsiteY1" fmla="*/ 9620 h 20279"/>
                <a:gd name="connsiteX2" fmla="*/ 10659 w 20279"/>
                <a:gd name="connsiteY2" fmla="*/ 0 h 20279"/>
                <a:gd name="connsiteX3" fmla="*/ 20279 w 20279"/>
                <a:gd name="connsiteY3" fmla="*/ 9620 h 20279"/>
                <a:gd name="connsiteX4" fmla="*/ 10659 w 20279"/>
                <a:gd name="connsiteY4" fmla="*/ 20280 h 20279"/>
                <a:gd name="connsiteX5" fmla="*/ 10659 w 20279"/>
                <a:gd name="connsiteY5" fmla="*/ 3380 h 20279"/>
                <a:gd name="connsiteX6" fmla="*/ 4420 w 20279"/>
                <a:gd name="connsiteY6" fmla="*/ 8580 h 20279"/>
                <a:gd name="connsiteX7" fmla="*/ 10659 w 20279"/>
                <a:gd name="connsiteY7" fmla="*/ 14820 h 20279"/>
                <a:gd name="connsiteX8" fmla="*/ 15859 w 20279"/>
                <a:gd name="connsiteY8" fmla="*/ 8580 h 20279"/>
                <a:gd name="connsiteX9" fmla="*/ 10659 w 20279"/>
                <a:gd name="connsiteY9" fmla="*/ 338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10659" y="20280"/>
                  </a:moveTo>
                  <a:cubicBezTo>
                    <a:pt x="5460" y="20280"/>
                    <a:pt x="0" y="16120"/>
                    <a:pt x="0" y="9620"/>
                  </a:cubicBezTo>
                  <a:cubicBezTo>
                    <a:pt x="0" y="4420"/>
                    <a:pt x="4160" y="0"/>
                    <a:pt x="10659" y="0"/>
                  </a:cubicBezTo>
                  <a:cubicBezTo>
                    <a:pt x="15859" y="0"/>
                    <a:pt x="20279" y="4160"/>
                    <a:pt x="20279" y="9620"/>
                  </a:cubicBezTo>
                  <a:cubicBezTo>
                    <a:pt x="20279" y="15080"/>
                    <a:pt x="15859" y="20280"/>
                    <a:pt x="10659" y="20280"/>
                  </a:cubicBezTo>
                  <a:close/>
                  <a:moveTo>
                    <a:pt x="10659" y="3380"/>
                  </a:moveTo>
                  <a:cubicBezTo>
                    <a:pt x="7540" y="3380"/>
                    <a:pt x="4420" y="5460"/>
                    <a:pt x="4420" y="8580"/>
                  </a:cubicBezTo>
                  <a:cubicBezTo>
                    <a:pt x="4420" y="11700"/>
                    <a:pt x="6500" y="14820"/>
                    <a:pt x="10659" y="14820"/>
                  </a:cubicBezTo>
                  <a:cubicBezTo>
                    <a:pt x="13779" y="14820"/>
                    <a:pt x="15859" y="12740"/>
                    <a:pt x="15859" y="8580"/>
                  </a:cubicBezTo>
                  <a:cubicBezTo>
                    <a:pt x="15859" y="4420"/>
                    <a:pt x="13779" y="3380"/>
                    <a:pt x="10659" y="3380"/>
                  </a:cubicBezTo>
                  <a:close/>
                </a:path>
              </a:pathLst>
            </a:custGeom>
            <a:solidFill>
              <a:srgbClr val="00005A"/>
            </a:solidFill>
            <a:ln w="2597" cap="flat">
              <a:noFill/>
              <a:prstDash val="solid"/>
              <a:miter/>
            </a:ln>
          </p:spPr>
          <p:txBody>
            <a:bodyPr rtlCol="0" anchor="ctr"/>
            <a:lstStyle/>
            <a:p>
              <a:endParaRPr lang="en-GB"/>
            </a:p>
          </p:txBody>
        </p:sp>
        <p:grpSp>
          <p:nvGrpSpPr>
            <p:cNvPr id="286" name="Graphic 6">
              <a:extLst>
                <a:ext uri="{FF2B5EF4-FFF2-40B4-BE49-F238E27FC236}">
                  <a16:creationId xmlns:a16="http://schemas.microsoft.com/office/drawing/2014/main" id="{E9502CDA-883A-A287-4C74-C7E6CBBF80E8}"/>
                </a:ext>
              </a:extLst>
            </p:cNvPr>
            <p:cNvGrpSpPr/>
            <p:nvPr/>
          </p:nvGrpSpPr>
          <p:grpSpPr>
            <a:xfrm>
              <a:off x="6692342" y="2554242"/>
              <a:ext cx="240491" cy="80859"/>
              <a:chOff x="6692342" y="2554242"/>
              <a:chExt cx="240491" cy="80859"/>
            </a:xfrm>
            <a:solidFill>
              <a:srgbClr val="00005A"/>
            </a:solidFill>
          </p:grpSpPr>
          <p:grpSp>
            <p:nvGrpSpPr>
              <p:cNvPr id="311" name="Graphic 6">
                <a:extLst>
                  <a:ext uri="{FF2B5EF4-FFF2-40B4-BE49-F238E27FC236}">
                    <a16:creationId xmlns:a16="http://schemas.microsoft.com/office/drawing/2014/main" id="{B16068BE-3EEB-CFF5-21AC-1DB367649D6B}"/>
                  </a:ext>
                </a:extLst>
              </p:cNvPr>
              <p:cNvGrpSpPr/>
              <p:nvPr/>
            </p:nvGrpSpPr>
            <p:grpSpPr>
              <a:xfrm>
                <a:off x="6692342" y="2554242"/>
                <a:ext cx="230871" cy="51219"/>
                <a:chOff x="6692342" y="2554242"/>
                <a:chExt cx="230871" cy="51219"/>
              </a:xfrm>
              <a:solidFill>
                <a:srgbClr val="00005A"/>
              </a:solidFill>
            </p:grpSpPr>
            <p:sp>
              <p:nvSpPr>
                <p:cNvPr id="313" name="Freeform: Shape 312">
                  <a:extLst>
                    <a:ext uri="{FF2B5EF4-FFF2-40B4-BE49-F238E27FC236}">
                      <a16:creationId xmlns:a16="http://schemas.microsoft.com/office/drawing/2014/main" id="{6F514780-FE60-E679-EF19-12CC9E290CB2}"/>
                    </a:ext>
                  </a:extLst>
                </p:cNvPr>
                <p:cNvSpPr/>
                <p:nvPr/>
              </p:nvSpPr>
              <p:spPr>
                <a:xfrm>
                  <a:off x="6692342" y="2554242"/>
                  <a:ext cx="129212" cy="51219"/>
                </a:xfrm>
                <a:custGeom>
                  <a:avLst/>
                  <a:gdLst>
                    <a:gd name="connsiteX0" fmla="*/ 94113 w 129212"/>
                    <a:gd name="connsiteY0" fmla="*/ 51219 h 51219"/>
                    <a:gd name="connsiteX1" fmla="*/ 93073 w 129212"/>
                    <a:gd name="connsiteY1" fmla="*/ 51219 h 51219"/>
                    <a:gd name="connsiteX2" fmla="*/ 62393 w 129212"/>
                    <a:gd name="connsiteY2" fmla="*/ 28860 h 51219"/>
                    <a:gd name="connsiteX3" fmla="*/ 42114 w 129212"/>
                    <a:gd name="connsiteY3" fmla="*/ 16120 h 51219"/>
                    <a:gd name="connsiteX4" fmla="*/ 25214 w 129212"/>
                    <a:gd name="connsiteY4" fmla="*/ 28860 h 51219"/>
                    <a:gd name="connsiteX5" fmla="*/ 14554 w 129212"/>
                    <a:gd name="connsiteY5" fmla="*/ 46799 h 51219"/>
                    <a:gd name="connsiteX6" fmla="*/ 3894 w 129212"/>
                    <a:gd name="connsiteY6" fmla="*/ 48879 h 51219"/>
                    <a:gd name="connsiteX7" fmla="*/ 1814 w 129212"/>
                    <a:gd name="connsiteY7" fmla="*/ 38220 h 51219"/>
                    <a:gd name="connsiteX8" fmla="*/ 12474 w 129212"/>
                    <a:gd name="connsiteY8" fmla="*/ 21320 h 51219"/>
                    <a:gd name="connsiteX9" fmla="*/ 43153 w 129212"/>
                    <a:gd name="connsiteY9" fmla="*/ 0 h 51219"/>
                    <a:gd name="connsiteX10" fmla="*/ 77213 w 129212"/>
                    <a:gd name="connsiteY10" fmla="*/ 21320 h 51219"/>
                    <a:gd name="connsiteX11" fmla="*/ 94113 w 129212"/>
                    <a:gd name="connsiteY11" fmla="*/ 35100 h 51219"/>
                    <a:gd name="connsiteX12" fmla="*/ 114393 w 129212"/>
                    <a:gd name="connsiteY12" fmla="*/ 21320 h 51219"/>
                    <a:gd name="connsiteX13" fmla="*/ 125052 w 129212"/>
                    <a:gd name="connsiteY13" fmla="*/ 18200 h 51219"/>
                    <a:gd name="connsiteX14" fmla="*/ 128173 w 129212"/>
                    <a:gd name="connsiteY14" fmla="*/ 28860 h 51219"/>
                    <a:gd name="connsiteX15" fmla="*/ 94113 w 129212"/>
                    <a:gd name="connsiteY15" fmla="*/ 51219 h 5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9212" h="51219">
                      <a:moveTo>
                        <a:pt x="94113" y="51219"/>
                      </a:moveTo>
                      <a:lnTo>
                        <a:pt x="93073" y="51219"/>
                      </a:lnTo>
                      <a:cubicBezTo>
                        <a:pt x="80333" y="51219"/>
                        <a:pt x="68633" y="42640"/>
                        <a:pt x="62393" y="28860"/>
                      </a:cubicBezTo>
                      <a:cubicBezTo>
                        <a:pt x="57194" y="20280"/>
                        <a:pt x="49653" y="15080"/>
                        <a:pt x="42114" y="16120"/>
                      </a:cubicBezTo>
                      <a:cubicBezTo>
                        <a:pt x="35874" y="16120"/>
                        <a:pt x="29374" y="21320"/>
                        <a:pt x="25214" y="28860"/>
                      </a:cubicBezTo>
                      <a:lnTo>
                        <a:pt x="14554" y="46799"/>
                      </a:lnTo>
                      <a:cubicBezTo>
                        <a:pt x="12474" y="50959"/>
                        <a:pt x="7014" y="51999"/>
                        <a:pt x="3894" y="48879"/>
                      </a:cubicBezTo>
                      <a:cubicBezTo>
                        <a:pt x="-266" y="46799"/>
                        <a:pt x="-1306" y="41340"/>
                        <a:pt x="1814" y="38220"/>
                      </a:cubicBezTo>
                      <a:lnTo>
                        <a:pt x="12474" y="21320"/>
                      </a:lnTo>
                      <a:cubicBezTo>
                        <a:pt x="18714" y="8580"/>
                        <a:pt x="30414" y="0"/>
                        <a:pt x="43153" y="0"/>
                      </a:cubicBezTo>
                      <a:cubicBezTo>
                        <a:pt x="56933" y="0"/>
                        <a:pt x="69674" y="7540"/>
                        <a:pt x="77213" y="21320"/>
                      </a:cubicBezTo>
                      <a:cubicBezTo>
                        <a:pt x="81373" y="29900"/>
                        <a:pt x="87873" y="35100"/>
                        <a:pt x="94113" y="35100"/>
                      </a:cubicBezTo>
                      <a:cubicBezTo>
                        <a:pt x="101653" y="35100"/>
                        <a:pt x="108933" y="30940"/>
                        <a:pt x="114393" y="21320"/>
                      </a:cubicBezTo>
                      <a:cubicBezTo>
                        <a:pt x="116473" y="17160"/>
                        <a:pt x="121933" y="16120"/>
                        <a:pt x="125052" y="18200"/>
                      </a:cubicBezTo>
                      <a:cubicBezTo>
                        <a:pt x="129213" y="20280"/>
                        <a:pt x="130252" y="25740"/>
                        <a:pt x="128173" y="28860"/>
                      </a:cubicBezTo>
                      <a:cubicBezTo>
                        <a:pt x="119593" y="43679"/>
                        <a:pt x="106853" y="51219"/>
                        <a:pt x="94113" y="51219"/>
                      </a:cubicBezTo>
                      <a:close/>
                    </a:path>
                  </a:pathLst>
                </a:custGeom>
                <a:solidFill>
                  <a:srgbClr val="00005A"/>
                </a:solidFill>
                <a:ln w="2597" cap="flat">
                  <a:noFill/>
                  <a:prstDash val="solid"/>
                  <a:miter/>
                </a:ln>
              </p:spPr>
              <p:txBody>
                <a:bodyPr rtlCol="0" anchor="ctr"/>
                <a:lstStyle/>
                <a:p>
                  <a:endParaRPr lang="en-GB"/>
                </a:p>
              </p:txBody>
            </p:sp>
            <p:sp>
              <p:nvSpPr>
                <p:cNvPr id="314" name="Freeform: Shape 313">
                  <a:extLst>
                    <a:ext uri="{FF2B5EF4-FFF2-40B4-BE49-F238E27FC236}">
                      <a16:creationId xmlns:a16="http://schemas.microsoft.com/office/drawing/2014/main" id="{EA4DB44D-EC7D-9738-59B5-37D4260CEBC8}"/>
                    </a:ext>
                  </a:extLst>
                </p:cNvPr>
                <p:cNvSpPr/>
                <p:nvPr/>
              </p:nvSpPr>
              <p:spPr>
                <a:xfrm>
                  <a:off x="6804395" y="2555282"/>
                  <a:ext cx="118818" cy="49139"/>
                </a:xfrm>
                <a:custGeom>
                  <a:avLst/>
                  <a:gdLst>
                    <a:gd name="connsiteX0" fmla="*/ 111539 w 118818"/>
                    <a:gd name="connsiteY0" fmla="*/ 49139 h 49139"/>
                    <a:gd name="connsiteX1" fmla="*/ 85019 w 118818"/>
                    <a:gd name="connsiteY1" fmla="*/ 49139 h 49139"/>
                    <a:gd name="connsiteX2" fmla="*/ 51999 w 118818"/>
                    <a:gd name="connsiteY2" fmla="*/ 27820 h 49139"/>
                    <a:gd name="connsiteX3" fmla="*/ 35099 w 118818"/>
                    <a:gd name="connsiteY3" fmla="*/ 15080 h 49139"/>
                    <a:gd name="connsiteX4" fmla="*/ 14820 w 118818"/>
                    <a:gd name="connsiteY4" fmla="*/ 28860 h 49139"/>
                    <a:gd name="connsiteX5" fmla="*/ 4160 w 118818"/>
                    <a:gd name="connsiteY5" fmla="*/ 31980 h 49139"/>
                    <a:gd name="connsiteX6" fmla="*/ 1040 w 118818"/>
                    <a:gd name="connsiteY6" fmla="*/ 21320 h 49139"/>
                    <a:gd name="connsiteX7" fmla="*/ 35099 w 118818"/>
                    <a:gd name="connsiteY7" fmla="*/ 0 h 49139"/>
                    <a:gd name="connsiteX8" fmla="*/ 65779 w 118818"/>
                    <a:gd name="connsiteY8" fmla="*/ 22360 h 49139"/>
                    <a:gd name="connsiteX9" fmla="*/ 83719 w 118818"/>
                    <a:gd name="connsiteY9" fmla="*/ 35100 h 49139"/>
                    <a:gd name="connsiteX10" fmla="*/ 110239 w 118818"/>
                    <a:gd name="connsiteY10" fmla="*/ 35100 h 49139"/>
                    <a:gd name="connsiteX11" fmla="*/ 118819 w 118818"/>
                    <a:gd name="connsiteY11" fmla="*/ 43679 h 49139"/>
                    <a:gd name="connsiteX12" fmla="*/ 111539 w 118818"/>
                    <a:gd name="connsiteY12" fmla="*/ 49139 h 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818" h="49139">
                      <a:moveTo>
                        <a:pt x="111539" y="49139"/>
                      </a:moveTo>
                      <a:lnTo>
                        <a:pt x="85019" y="49139"/>
                      </a:lnTo>
                      <a:cubicBezTo>
                        <a:pt x="75399" y="49139"/>
                        <a:pt x="61620" y="46019"/>
                        <a:pt x="51999" y="27820"/>
                      </a:cubicBezTo>
                      <a:cubicBezTo>
                        <a:pt x="47840" y="19240"/>
                        <a:pt x="41340" y="15080"/>
                        <a:pt x="35099" y="15080"/>
                      </a:cubicBezTo>
                      <a:cubicBezTo>
                        <a:pt x="27560" y="15080"/>
                        <a:pt x="20280" y="19240"/>
                        <a:pt x="14820" y="28860"/>
                      </a:cubicBezTo>
                      <a:cubicBezTo>
                        <a:pt x="12740" y="33019"/>
                        <a:pt x="7280" y="34060"/>
                        <a:pt x="4160" y="31980"/>
                      </a:cubicBezTo>
                      <a:cubicBezTo>
                        <a:pt x="0" y="29900"/>
                        <a:pt x="-1040" y="24440"/>
                        <a:pt x="1040" y="21320"/>
                      </a:cubicBezTo>
                      <a:cubicBezTo>
                        <a:pt x="9620" y="7540"/>
                        <a:pt x="22360" y="0"/>
                        <a:pt x="35099" y="0"/>
                      </a:cubicBezTo>
                      <a:cubicBezTo>
                        <a:pt x="47840" y="0"/>
                        <a:pt x="59539" y="8580"/>
                        <a:pt x="65779" y="22360"/>
                      </a:cubicBezTo>
                      <a:cubicBezTo>
                        <a:pt x="69939" y="30940"/>
                        <a:pt x="76439" y="35100"/>
                        <a:pt x="83719" y="35100"/>
                      </a:cubicBezTo>
                      <a:lnTo>
                        <a:pt x="110239" y="35100"/>
                      </a:lnTo>
                      <a:cubicBezTo>
                        <a:pt x="114398" y="35100"/>
                        <a:pt x="118819" y="38219"/>
                        <a:pt x="118819" y="43679"/>
                      </a:cubicBezTo>
                      <a:cubicBezTo>
                        <a:pt x="118819" y="49139"/>
                        <a:pt x="115698" y="49139"/>
                        <a:pt x="111539" y="49139"/>
                      </a:cubicBezTo>
                      <a:close/>
                    </a:path>
                  </a:pathLst>
                </a:custGeom>
                <a:solidFill>
                  <a:srgbClr val="00005A"/>
                </a:solidFill>
                <a:ln w="2597" cap="flat">
                  <a:noFill/>
                  <a:prstDash val="solid"/>
                  <a:miter/>
                </a:ln>
              </p:spPr>
              <p:txBody>
                <a:bodyPr rtlCol="0" anchor="ctr"/>
                <a:lstStyle/>
                <a:p>
                  <a:endParaRPr lang="en-GB"/>
                </a:p>
              </p:txBody>
            </p:sp>
          </p:grpSp>
          <p:sp>
            <p:nvSpPr>
              <p:cNvPr id="312" name="Freeform: Shape 311">
                <a:extLst>
                  <a:ext uri="{FF2B5EF4-FFF2-40B4-BE49-F238E27FC236}">
                    <a16:creationId xmlns:a16="http://schemas.microsoft.com/office/drawing/2014/main" id="{3D7345C4-4BDC-A39F-AA1D-DB26CED80D0F}"/>
                  </a:ext>
                </a:extLst>
              </p:cNvPr>
              <p:cNvSpPr/>
              <p:nvPr/>
            </p:nvSpPr>
            <p:spPr>
              <a:xfrm>
                <a:off x="6888114" y="2561522"/>
                <a:ext cx="44719" cy="73579"/>
              </a:xfrm>
              <a:custGeom>
                <a:avLst/>
                <a:gdLst>
                  <a:gd name="connsiteX0" fmla="*/ 7540 w 44719"/>
                  <a:gd name="connsiteY0" fmla="*/ 73579 h 73579"/>
                  <a:gd name="connsiteX1" fmla="*/ 2340 w 44719"/>
                  <a:gd name="connsiteY1" fmla="*/ 71499 h 73579"/>
                  <a:gd name="connsiteX2" fmla="*/ 2340 w 44719"/>
                  <a:gd name="connsiteY2" fmla="*/ 59799 h 73579"/>
                  <a:gd name="connsiteX3" fmla="*/ 25740 w 44719"/>
                  <a:gd name="connsiteY3" fmla="*/ 36400 h 73579"/>
                  <a:gd name="connsiteX4" fmla="*/ 2340 w 44719"/>
                  <a:gd name="connsiteY4" fmla="*/ 14040 h 73579"/>
                  <a:gd name="connsiteX5" fmla="*/ 2340 w 44719"/>
                  <a:gd name="connsiteY5" fmla="*/ 2340 h 73579"/>
                  <a:gd name="connsiteX6" fmla="*/ 14040 w 44719"/>
                  <a:gd name="connsiteY6" fmla="*/ 2340 h 73579"/>
                  <a:gd name="connsiteX7" fmla="*/ 42639 w 44719"/>
                  <a:gd name="connsiteY7" fmla="*/ 29900 h 73579"/>
                  <a:gd name="connsiteX8" fmla="*/ 44720 w 44719"/>
                  <a:gd name="connsiteY8" fmla="*/ 35100 h 73579"/>
                  <a:gd name="connsiteX9" fmla="*/ 42639 w 44719"/>
                  <a:gd name="connsiteY9" fmla="*/ 40299 h 73579"/>
                  <a:gd name="connsiteX10" fmla="*/ 14040 w 44719"/>
                  <a:gd name="connsiteY10" fmla="*/ 68899 h 73579"/>
                  <a:gd name="connsiteX11" fmla="*/ 7540 w 44719"/>
                  <a:gd name="connsiteY11" fmla="*/ 73579 h 73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719" h="73579">
                    <a:moveTo>
                      <a:pt x="7540" y="73579"/>
                    </a:moveTo>
                    <a:cubicBezTo>
                      <a:pt x="5460" y="73579"/>
                      <a:pt x="3380" y="72539"/>
                      <a:pt x="2340" y="71499"/>
                    </a:cubicBezTo>
                    <a:cubicBezTo>
                      <a:pt x="-780" y="68379"/>
                      <a:pt x="-780" y="62919"/>
                      <a:pt x="2340" y="59799"/>
                    </a:cubicBezTo>
                    <a:lnTo>
                      <a:pt x="25740" y="36400"/>
                    </a:lnTo>
                    <a:lnTo>
                      <a:pt x="2340" y="14040"/>
                    </a:lnTo>
                    <a:cubicBezTo>
                      <a:pt x="-780" y="10920"/>
                      <a:pt x="-780" y="5460"/>
                      <a:pt x="2340" y="2340"/>
                    </a:cubicBezTo>
                    <a:cubicBezTo>
                      <a:pt x="5460" y="-780"/>
                      <a:pt x="10920" y="-780"/>
                      <a:pt x="14040" y="2340"/>
                    </a:cubicBezTo>
                    <a:lnTo>
                      <a:pt x="42639" y="29900"/>
                    </a:lnTo>
                    <a:cubicBezTo>
                      <a:pt x="43679" y="30940"/>
                      <a:pt x="44720" y="33020"/>
                      <a:pt x="44720" y="35100"/>
                    </a:cubicBezTo>
                    <a:cubicBezTo>
                      <a:pt x="44720" y="37180"/>
                      <a:pt x="43679" y="39260"/>
                      <a:pt x="42639" y="40299"/>
                    </a:cubicBezTo>
                    <a:lnTo>
                      <a:pt x="14040" y="68899"/>
                    </a:lnTo>
                    <a:cubicBezTo>
                      <a:pt x="11700" y="72539"/>
                      <a:pt x="9620" y="73579"/>
                      <a:pt x="7540" y="73579"/>
                    </a:cubicBezTo>
                    <a:close/>
                  </a:path>
                </a:pathLst>
              </a:custGeom>
              <a:solidFill>
                <a:srgbClr val="00005A"/>
              </a:solidFill>
              <a:ln w="2597" cap="flat">
                <a:noFill/>
                <a:prstDash val="solid"/>
                <a:miter/>
              </a:ln>
            </p:spPr>
            <p:txBody>
              <a:bodyPr rtlCol="0" anchor="ctr"/>
              <a:lstStyle/>
              <a:p>
                <a:endParaRPr lang="en-GB"/>
              </a:p>
            </p:txBody>
          </p:sp>
        </p:grpSp>
        <p:grpSp>
          <p:nvGrpSpPr>
            <p:cNvPr id="287" name="Graphic 6">
              <a:extLst>
                <a:ext uri="{FF2B5EF4-FFF2-40B4-BE49-F238E27FC236}">
                  <a16:creationId xmlns:a16="http://schemas.microsoft.com/office/drawing/2014/main" id="{AEECB5D3-0BF3-24A5-371C-79D1EC614907}"/>
                </a:ext>
              </a:extLst>
            </p:cNvPr>
            <p:cNvGrpSpPr/>
            <p:nvPr/>
          </p:nvGrpSpPr>
          <p:grpSpPr>
            <a:xfrm>
              <a:off x="6693642" y="2754700"/>
              <a:ext cx="240491" cy="79039"/>
              <a:chOff x="6693642" y="2754700"/>
              <a:chExt cx="240491" cy="79039"/>
            </a:xfrm>
            <a:solidFill>
              <a:srgbClr val="00005A"/>
            </a:solidFill>
          </p:grpSpPr>
          <p:grpSp>
            <p:nvGrpSpPr>
              <p:cNvPr id="307" name="Graphic 6">
                <a:extLst>
                  <a:ext uri="{FF2B5EF4-FFF2-40B4-BE49-F238E27FC236}">
                    <a16:creationId xmlns:a16="http://schemas.microsoft.com/office/drawing/2014/main" id="{76CAFAFD-A62C-1B66-75D4-9E6152AE9538}"/>
                  </a:ext>
                </a:extLst>
              </p:cNvPr>
              <p:cNvGrpSpPr/>
              <p:nvPr/>
            </p:nvGrpSpPr>
            <p:grpSpPr>
              <a:xfrm>
                <a:off x="6693642" y="2754700"/>
                <a:ext cx="230611" cy="51219"/>
                <a:chOff x="6693642" y="2754700"/>
                <a:chExt cx="230611" cy="51219"/>
              </a:xfrm>
              <a:solidFill>
                <a:srgbClr val="00005A"/>
              </a:solidFill>
            </p:grpSpPr>
            <p:sp>
              <p:nvSpPr>
                <p:cNvPr id="309" name="Freeform: Shape 308">
                  <a:extLst>
                    <a:ext uri="{FF2B5EF4-FFF2-40B4-BE49-F238E27FC236}">
                      <a16:creationId xmlns:a16="http://schemas.microsoft.com/office/drawing/2014/main" id="{D841824C-A6F5-5D7B-7DF1-7F77B1BA7240}"/>
                    </a:ext>
                  </a:extLst>
                </p:cNvPr>
                <p:cNvSpPr/>
                <p:nvPr/>
              </p:nvSpPr>
              <p:spPr>
                <a:xfrm>
                  <a:off x="6693642" y="2754700"/>
                  <a:ext cx="129212" cy="51219"/>
                </a:xfrm>
                <a:custGeom>
                  <a:avLst/>
                  <a:gdLst>
                    <a:gd name="connsiteX0" fmla="*/ 93853 w 129212"/>
                    <a:gd name="connsiteY0" fmla="*/ 51219 h 51219"/>
                    <a:gd name="connsiteX1" fmla="*/ 92813 w 129212"/>
                    <a:gd name="connsiteY1" fmla="*/ 51219 h 51219"/>
                    <a:gd name="connsiteX2" fmla="*/ 62133 w 129212"/>
                    <a:gd name="connsiteY2" fmla="*/ 28860 h 51219"/>
                    <a:gd name="connsiteX3" fmla="*/ 43153 w 129212"/>
                    <a:gd name="connsiteY3" fmla="*/ 16120 h 51219"/>
                    <a:gd name="connsiteX4" fmla="*/ 25214 w 129212"/>
                    <a:gd name="connsiteY4" fmla="*/ 28860 h 51219"/>
                    <a:gd name="connsiteX5" fmla="*/ 14554 w 129212"/>
                    <a:gd name="connsiteY5" fmla="*/ 46799 h 51219"/>
                    <a:gd name="connsiteX6" fmla="*/ 3894 w 129212"/>
                    <a:gd name="connsiteY6" fmla="*/ 48880 h 51219"/>
                    <a:gd name="connsiteX7" fmla="*/ 1814 w 129212"/>
                    <a:gd name="connsiteY7" fmla="*/ 38220 h 51219"/>
                    <a:gd name="connsiteX8" fmla="*/ 12474 w 129212"/>
                    <a:gd name="connsiteY8" fmla="*/ 21320 h 51219"/>
                    <a:gd name="connsiteX9" fmla="*/ 43153 w 129212"/>
                    <a:gd name="connsiteY9" fmla="*/ 0 h 51219"/>
                    <a:gd name="connsiteX10" fmla="*/ 77213 w 129212"/>
                    <a:gd name="connsiteY10" fmla="*/ 21320 h 51219"/>
                    <a:gd name="connsiteX11" fmla="*/ 94113 w 129212"/>
                    <a:gd name="connsiteY11" fmla="*/ 35100 h 51219"/>
                    <a:gd name="connsiteX12" fmla="*/ 114393 w 129212"/>
                    <a:gd name="connsiteY12" fmla="*/ 21320 h 51219"/>
                    <a:gd name="connsiteX13" fmla="*/ 125052 w 129212"/>
                    <a:gd name="connsiteY13" fmla="*/ 18200 h 51219"/>
                    <a:gd name="connsiteX14" fmla="*/ 128173 w 129212"/>
                    <a:gd name="connsiteY14" fmla="*/ 28860 h 51219"/>
                    <a:gd name="connsiteX15" fmla="*/ 93853 w 129212"/>
                    <a:gd name="connsiteY15" fmla="*/ 51219 h 5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9212" h="51219">
                      <a:moveTo>
                        <a:pt x="93853" y="51219"/>
                      </a:moveTo>
                      <a:lnTo>
                        <a:pt x="92813" y="51219"/>
                      </a:lnTo>
                      <a:cubicBezTo>
                        <a:pt x="80073" y="51219"/>
                        <a:pt x="68374" y="42640"/>
                        <a:pt x="62133" y="28860"/>
                      </a:cubicBezTo>
                      <a:cubicBezTo>
                        <a:pt x="57974" y="20280"/>
                        <a:pt x="50433" y="16120"/>
                        <a:pt x="43153" y="16120"/>
                      </a:cubicBezTo>
                      <a:cubicBezTo>
                        <a:pt x="35874" y="16120"/>
                        <a:pt x="29374" y="21320"/>
                        <a:pt x="25214" y="28860"/>
                      </a:cubicBezTo>
                      <a:lnTo>
                        <a:pt x="14554" y="46799"/>
                      </a:lnTo>
                      <a:cubicBezTo>
                        <a:pt x="12474" y="50960"/>
                        <a:pt x="7014" y="51999"/>
                        <a:pt x="3894" y="48880"/>
                      </a:cubicBezTo>
                      <a:cubicBezTo>
                        <a:pt x="-266" y="46799"/>
                        <a:pt x="-1306" y="41340"/>
                        <a:pt x="1814" y="38220"/>
                      </a:cubicBezTo>
                      <a:lnTo>
                        <a:pt x="12474" y="21320"/>
                      </a:lnTo>
                      <a:cubicBezTo>
                        <a:pt x="18714" y="8580"/>
                        <a:pt x="30414" y="0"/>
                        <a:pt x="43153" y="0"/>
                      </a:cubicBezTo>
                      <a:cubicBezTo>
                        <a:pt x="56933" y="0"/>
                        <a:pt x="68633" y="7540"/>
                        <a:pt x="77213" y="21320"/>
                      </a:cubicBezTo>
                      <a:cubicBezTo>
                        <a:pt x="81373" y="29900"/>
                        <a:pt x="87873" y="34060"/>
                        <a:pt x="94113" y="35100"/>
                      </a:cubicBezTo>
                      <a:cubicBezTo>
                        <a:pt x="101653" y="35100"/>
                        <a:pt x="108933" y="30940"/>
                        <a:pt x="114393" y="21320"/>
                      </a:cubicBezTo>
                      <a:cubicBezTo>
                        <a:pt x="116473" y="17160"/>
                        <a:pt x="121933" y="16120"/>
                        <a:pt x="125052" y="18200"/>
                      </a:cubicBezTo>
                      <a:cubicBezTo>
                        <a:pt x="129213" y="20280"/>
                        <a:pt x="130252" y="25740"/>
                        <a:pt x="128173" y="28860"/>
                      </a:cubicBezTo>
                      <a:cubicBezTo>
                        <a:pt x="119333" y="43940"/>
                        <a:pt x="106593" y="51219"/>
                        <a:pt x="93853" y="51219"/>
                      </a:cubicBezTo>
                      <a:close/>
                    </a:path>
                  </a:pathLst>
                </a:custGeom>
                <a:solidFill>
                  <a:srgbClr val="00005A"/>
                </a:solidFill>
                <a:ln w="2597" cap="flat">
                  <a:noFill/>
                  <a:prstDash val="solid"/>
                  <a:miter/>
                </a:ln>
              </p:spPr>
              <p:txBody>
                <a:bodyPr rtlCol="0" anchor="ctr"/>
                <a:lstStyle/>
                <a:p>
                  <a:endParaRPr lang="en-GB"/>
                </a:p>
              </p:txBody>
            </p:sp>
            <p:sp>
              <p:nvSpPr>
                <p:cNvPr id="310" name="Freeform: Shape 309">
                  <a:extLst>
                    <a:ext uri="{FF2B5EF4-FFF2-40B4-BE49-F238E27FC236}">
                      <a16:creationId xmlns:a16="http://schemas.microsoft.com/office/drawing/2014/main" id="{E1231498-E0E3-909D-FD0A-6068A0E547D3}"/>
                    </a:ext>
                  </a:extLst>
                </p:cNvPr>
                <p:cNvSpPr/>
                <p:nvPr/>
              </p:nvSpPr>
              <p:spPr>
                <a:xfrm>
                  <a:off x="6805434" y="2756695"/>
                  <a:ext cx="118818" cy="49224"/>
                </a:xfrm>
                <a:custGeom>
                  <a:avLst/>
                  <a:gdLst>
                    <a:gd name="connsiteX0" fmla="*/ 111539 w 118818"/>
                    <a:gd name="connsiteY0" fmla="*/ 49224 h 49224"/>
                    <a:gd name="connsiteX1" fmla="*/ 85019 w 118818"/>
                    <a:gd name="connsiteY1" fmla="*/ 49224 h 49224"/>
                    <a:gd name="connsiteX2" fmla="*/ 52000 w 118818"/>
                    <a:gd name="connsiteY2" fmla="*/ 27905 h 49224"/>
                    <a:gd name="connsiteX3" fmla="*/ 35100 w 118818"/>
                    <a:gd name="connsiteY3" fmla="*/ 15165 h 49224"/>
                    <a:gd name="connsiteX4" fmla="*/ 14820 w 118818"/>
                    <a:gd name="connsiteY4" fmla="*/ 28945 h 49224"/>
                    <a:gd name="connsiteX5" fmla="*/ 4160 w 118818"/>
                    <a:gd name="connsiteY5" fmla="*/ 32065 h 49224"/>
                    <a:gd name="connsiteX6" fmla="*/ 1040 w 118818"/>
                    <a:gd name="connsiteY6" fmla="*/ 21405 h 49224"/>
                    <a:gd name="connsiteX7" fmla="*/ 35100 w 118818"/>
                    <a:gd name="connsiteY7" fmla="*/ 85 h 49224"/>
                    <a:gd name="connsiteX8" fmla="*/ 65780 w 118818"/>
                    <a:gd name="connsiteY8" fmla="*/ 22445 h 49224"/>
                    <a:gd name="connsiteX9" fmla="*/ 83719 w 118818"/>
                    <a:gd name="connsiteY9" fmla="*/ 35185 h 49224"/>
                    <a:gd name="connsiteX10" fmla="*/ 110239 w 118818"/>
                    <a:gd name="connsiteY10" fmla="*/ 35185 h 49224"/>
                    <a:gd name="connsiteX11" fmla="*/ 118819 w 118818"/>
                    <a:gd name="connsiteY11" fmla="*/ 43765 h 49224"/>
                    <a:gd name="connsiteX12" fmla="*/ 111539 w 118818"/>
                    <a:gd name="connsiteY12" fmla="*/ 49224 h 4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818" h="49224">
                      <a:moveTo>
                        <a:pt x="111539" y="49224"/>
                      </a:moveTo>
                      <a:lnTo>
                        <a:pt x="85019" y="49224"/>
                      </a:lnTo>
                      <a:cubicBezTo>
                        <a:pt x="75399" y="49224"/>
                        <a:pt x="61619" y="46104"/>
                        <a:pt x="52000" y="27905"/>
                      </a:cubicBezTo>
                      <a:cubicBezTo>
                        <a:pt x="47839" y="19325"/>
                        <a:pt x="41340" y="15165"/>
                        <a:pt x="35100" y="15165"/>
                      </a:cubicBezTo>
                      <a:cubicBezTo>
                        <a:pt x="27560" y="15165"/>
                        <a:pt x="20280" y="19325"/>
                        <a:pt x="14820" y="28945"/>
                      </a:cubicBezTo>
                      <a:cubicBezTo>
                        <a:pt x="12740" y="33105"/>
                        <a:pt x="7280" y="34145"/>
                        <a:pt x="4160" y="32065"/>
                      </a:cubicBezTo>
                      <a:cubicBezTo>
                        <a:pt x="0" y="29985"/>
                        <a:pt x="-1040" y="24525"/>
                        <a:pt x="1040" y="21405"/>
                      </a:cubicBezTo>
                      <a:cubicBezTo>
                        <a:pt x="9620" y="7625"/>
                        <a:pt x="22360" y="-955"/>
                        <a:pt x="35100" y="85"/>
                      </a:cubicBezTo>
                      <a:cubicBezTo>
                        <a:pt x="47839" y="85"/>
                        <a:pt x="59539" y="8665"/>
                        <a:pt x="65780" y="22445"/>
                      </a:cubicBezTo>
                      <a:cubicBezTo>
                        <a:pt x="69939" y="31025"/>
                        <a:pt x="76439" y="35185"/>
                        <a:pt x="83719" y="35185"/>
                      </a:cubicBezTo>
                      <a:lnTo>
                        <a:pt x="110239" y="35185"/>
                      </a:lnTo>
                      <a:cubicBezTo>
                        <a:pt x="114399" y="35185"/>
                        <a:pt x="118819" y="38304"/>
                        <a:pt x="118819" y="43765"/>
                      </a:cubicBezTo>
                      <a:cubicBezTo>
                        <a:pt x="118819" y="49224"/>
                        <a:pt x="115699" y="49224"/>
                        <a:pt x="111539" y="49224"/>
                      </a:cubicBezTo>
                      <a:close/>
                    </a:path>
                  </a:pathLst>
                </a:custGeom>
                <a:solidFill>
                  <a:srgbClr val="00005A"/>
                </a:solidFill>
                <a:ln w="2597" cap="flat">
                  <a:noFill/>
                  <a:prstDash val="solid"/>
                  <a:miter/>
                </a:ln>
              </p:spPr>
              <p:txBody>
                <a:bodyPr rtlCol="0" anchor="ctr"/>
                <a:lstStyle/>
                <a:p>
                  <a:endParaRPr lang="en-GB"/>
                </a:p>
              </p:txBody>
            </p:sp>
          </p:grpSp>
          <p:sp>
            <p:nvSpPr>
              <p:cNvPr id="308" name="Freeform: Shape 307">
                <a:extLst>
                  <a:ext uri="{FF2B5EF4-FFF2-40B4-BE49-F238E27FC236}">
                    <a16:creationId xmlns:a16="http://schemas.microsoft.com/office/drawing/2014/main" id="{70386431-94DE-E864-1425-24D741EAB813}"/>
                  </a:ext>
                </a:extLst>
              </p:cNvPr>
              <p:cNvSpPr/>
              <p:nvPr/>
            </p:nvSpPr>
            <p:spPr>
              <a:xfrm>
                <a:off x="6890194" y="2759120"/>
                <a:ext cx="43939" cy="74619"/>
              </a:xfrm>
              <a:custGeom>
                <a:avLst/>
                <a:gdLst>
                  <a:gd name="connsiteX0" fmla="*/ 7540 w 43939"/>
                  <a:gd name="connsiteY0" fmla="*/ 74619 h 74619"/>
                  <a:gd name="connsiteX1" fmla="*/ 2340 w 43939"/>
                  <a:gd name="connsiteY1" fmla="*/ 72539 h 74619"/>
                  <a:gd name="connsiteX2" fmla="*/ 2340 w 43939"/>
                  <a:gd name="connsiteY2" fmla="*/ 60839 h 74619"/>
                  <a:gd name="connsiteX3" fmla="*/ 24699 w 43939"/>
                  <a:gd name="connsiteY3" fmla="*/ 38479 h 74619"/>
                  <a:gd name="connsiteX4" fmla="*/ 2340 w 43939"/>
                  <a:gd name="connsiteY4" fmla="*/ 14040 h 74619"/>
                  <a:gd name="connsiteX5" fmla="*/ 2340 w 43939"/>
                  <a:gd name="connsiteY5" fmla="*/ 2340 h 74619"/>
                  <a:gd name="connsiteX6" fmla="*/ 14040 w 43939"/>
                  <a:gd name="connsiteY6" fmla="*/ 2340 h 74619"/>
                  <a:gd name="connsiteX7" fmla="*/ 41599 w 43939"/>
                  <a:gd name="connsiteY7" fmla="*/ 31980 h 74619"/>
                  <a:gd name="connsiteX8" fmla="*/ 41599 w 43939"/>
                  <a:gd name="connsiteY8" fmla="*/ 42640 h 74619"/>
                  <a:gd name="connsiteX9" fmla="*/ 14040 w 43939"/>
                  <a:gd name="connsiteY9" fmla="*/ 70199 h 74619"/>
                  <a:gd name="connsiteX10" fmla="*/ 7540 w 43939"/>
                  <a:gd name="connsiteY10" fmla="*/ 74619 h 74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939" h="74619">
                    <a:moveTo>
                      <a:pt x="7540" y="74619"/>
                    </a:moveTo>
                    <a:cubicBezTo>
                      <a:pt x="5460" y="74619"/>
                      <a:pt x="3380" y="73579"/>
                      <a:pt x="2340" y="72539"/>
                    </a:cubicBezTo>
                    <a:cubicBezTo>
                      <a:pt x="-780" y="69419"/>
                      <a:pt x="-780" y="63959"/>
                      <a:pt x="2340" y="60839"/>
                    </a:cubicBezTo>
                    <a:lnTo>
                      <a:pt x="24699" y="38479"/>
                    </a:lnTo>
                    <a:lnTo>
                      <a:pt x="2340" y="14040"/>
                    </a:lnTo>
                    <a:cubicBezTo>
                      <a:pt x="-780" y="10920"/>
                      <a:pt x="-780" y="5460"/>
                      <a:pt x="2340" y="2340"/>
                    </a:cubicBezTo>
                    <a:cubicBezTo>
                      <a:pt x="5460" y="-780"/>
                      <a:pt x="10920" y="-780"/>
                      <a:pt x="14040" y="2340"/>
                    </a:cubicBezTo>
                    <a:lnTo>
                      <a:pt x="41599" y="31980"/>
                    </a:lnTo>
                    <a:cubicBezTo>
                      <a:pt x="44720" y="35100"/>
                      <a:pt x="44720" y="40560"/>
                      <a:pt x="41599" y="42640"/>
                    </a:cubicBezTo>
                    <a:lnTo>
                      <a:pt x="14040" y="70199"/>
                    </a:lnTo>
                    <a:cubicBezTo>
                      <a:pt x="11960" y="74619"/>
                      <a:pt x="9620" y="74619"/>
                      <a:pt x="7540" y="74619"/>
                    </a:cubicBezTo>
                    <a:close/>
                  </a:path>
                </a:pathLst>
              </a:custGeom>
              <a:solidFill>
                <a:srgbClr val="00005A"/>
              </a:solidFill>
              <a:ln w="2597" cap="flat">
                <a:noFill/>
                <a:prstDash val="solid"/>
                <a:miter/>
              </a:ln>
            </p:spPr>
            <p:txBody>
              <a:bodyPr rtlCol="0" anchor="ctr"/>
              <a:lstStyle/>
              <a:p>
                <a:endParaRPr lang="en-GB"/>
              </a:p>
            </p:txBody>
          </p:sp>
        </p:grpSp>
        <p:grpSp>
          <p:nvGrpSpPr>
            <p:cNvPr id="288" name="Graphic 6">
              <a:extLst>
                <a:ext uri="{FF2B5EF4-FFF2-40B4-BE49-F238E27FC236}">
                  <a16:creationId xmlns:a16="http://schemas.microsoft.com/office/drawing/2014/main" id="{23A1C233-692F-E904-D032-C8DEDB709C23}"/>
                </a:ext>
              </a:extLst>
            </p:cNvPr>
            <p:cNvGrpSpPr/>
            <p:nvPr/>
          </p:nvGrpSpPr>
          <p:grpSpPr>
            <a:xfrm>
              <a:off x="6693642" y="2928898"/>
              <a:ext cx="240491" cy="78779"/>
              <a:chOff x="6693642" y="2928898"/>
              <a:chExt cx="240491" cy="78779"/>
            </a:xfrm>
            <a:solidFill>
              <a:srgbClr val="00005A"/>
            </a:solidFill>
          </p:grpSpPr>
          <p:grpSp>
            <p:nvGrpSpPr>
              <p:cNvPr id="303" name="Graphic 6">
                <a:extLst>
                  <a:ext uri="{FF2B5EF4-FFF2-40B4-BE49-F238E27FC236}">
                    <a16:creationId xmlns:a16="http://schemas.microsoft.com/office/drawing/2014/main" id="{52575C1B-C638-680C-CC36-C8775650C5A5}"/>
                  </a:ext>
                </a:extLst>
              </p:cNvPr>
              <p:cNvGrpSpPr/>
              <p:nvPr/>
            </p:nvGrpSpPr>
            <p:grpSpPr>
              <a:xfrm>
                <a:off x="6693642" y="2928898"/>
                <a:ext cx="230611" cy="51219"/>
                <a:chOff x="6693642" y="2928898"/>
                <a:chExt cx="230611" cy="51219"/>
              </a:xfrm>
              <a:solidFill>
                <a:srgbClr val="00005A"/>
              </a:solidFill>
            </p:grpSpPr>
            <p:sp>
              <p:nvSpPr>
                <p:cNvPr id="305" name="Freeform: Shape 304">
                  <a:extLst>
                    <a:ext uri="{FF2B5EF4-FFF2-40B4-BE49-F238E27FC236}">
                      <a16:creationId xmlns:a16="http://schemas.microsoft.com/office/drawing/2014/main" id="{153C81DB-E146-6338-FFD5-EDF04FB10937}"/>
                    </a:ext>
                  </a:extLst>
                </p:cNvPr>
                <p:cNvSpPr/>
                <p:nvPr/>
              </p:nvSpPr>
              <p:spPr>
                <a:xfrm>
                  <a:off x="6693642" y="2928898"/>
                  <a:ext cx="129212" cy="51219"/>
                </a:xfrm>
                <a:custGeom>
                  <a:avLst/>
                  <a:gdLst>
                    <a:gd name="connsiteX0" fmla="*/ 93853 w 129212"/>
                    <a:gd name="connsiteY0" fmla="*/ 51219 h 51219"/>
                    <a:gd name="connsiteX1" fmla="*/ 92813 w 129212"/>
                    <a:gd name="connsiteY1" fmla="*/ 51219 h 51219"/>
                    <a:gd name="connsiteX2" fmla="*/ 62133 w 129212"/>
                    <a:gd name="connsiteY2" fmla="*/ 28860 h 51219"/>
                    <a:gd name="connsiteX3" fmla="*/ 43153 w 129212"/>
                    <a:gd name="connsiteY3" fmla="*/ 16120 h 51219"/>
                    <a:gd name="connsiteX4" fmla="*/ 25214 w 129212"/>
                    <a:gd name="connsiteY4" fmla="*/ 28860 h 51219"/>
                    <a:gd name="connsiteX5" fmla="*/ 14554 w 129212"/>
                    <a:gd name="connsiteY5" fmla="*/ 46799 h 51219"/>
                    <a:gd name="connsiteX6" fmla="*/ 3894 w 129212"/>
                    <a:gd name="connsiteY6" fmla="*/ 48880 h 51219"/>
                    <a:gd name="connsiteX7" fmla="*/ 1814 w 129212"/>
                    <a:gd name="connsiteY7" fmla="*/ 38220 h 51219"/>
                    <a:gd name="connsiteX8" fmla="*/ 12474 w 129212"/>
                    <a:gd name="connsiteY8" fmla="*/ 21320 h 51219"/>
                    <a:gd name="connsiteX9" fmla="*/ 43153 w 129212"/>
                    <a:gd name="connsiteY9" fmla="*/ 0 h 51219"/>
                    <a:gd name="connsiteX10" fmla="*/ 77213 w 129212"/>
                    <a:gd name="connsiteY10" fmla="*/ 21320 h 51219"/>
                    <a:gd name="connsiteX11" fmla="*/ 94113 w 129212"/>
                    <a:gd name="connsiteY11" fmla="*/ 35100 h 51219"/>
                    <a:gd name="connsiteX12" fmla="*/ 114393 w 129212"/>
                    <a:gd name="connsiteY12" fmla="*/ 21320 h 51219"/>
                    <a:gd name="connsiteX13" fmla="*/ 125052 w 129212"/>
                    <a:gd name="connsiteY13" fmla="*/ 18200 h 51219"/>
                    <a:gd name="connsiteX14" fmla="*/ 128173 w 129212"/>
                    <a:gd name="connsiteY14" fmla="*/ 28860 h 51219"/>
                    <a:gd name="connsiteX15" fmla="*/ 93853 w 129212"/>
                    <a:gd name="connsiteY15" fmla="*/ 51219 h 5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9212" h="51219">
                      <a:moveTo>
                        <a:pt x="93853" y="51219"/>
                      </a:moveTo>
                      <a:lnTo>
                        <a:pt x="92813" y="51219"/>
                      </a:lnTo>
                      <a:cubicBezTo>
                        <a:pt x="80073" y="51219"/>
                        <a:pt x="68374" y="42640"/>
                        <a:pt x="62133" y="28860"/>
                      </a:cubicBezTo>
                      <a:cubicBezTo>
                        <a:pt x="57974" y="20280"/>
                        <a:pt x="50433" y="16120"/>
                        <a:pt x="43153" y="16120"/>
                      </a:cubicBezTo>
                      <a:cubicBezTo>
                        <a:pt x="35874" y="16120"/>
                        <a:pt x="29374" y="21320"/>
                        <a:pt x="25214" y="28860"/>
                      </a:cubicBezTo>
                      <a:lnTo>
                        <a:pt x="14554" y="46799"/>
                      </a:lnTo>
                      <a:cubicBezTo>
                        <a:pt x="12474" y="50960"/>
                        <a:pt x="7014" y="51999"/>
                        <a:pt x="3894" y="48880"/>
                      </a:cubicBezTo>
                      <a:cubicBezTo>
                        <a:pt x="-266" y="46799"/>
                        <a:pt x="-1306" y="41340"/>
                        <a:pt x="1814" y="38220"/>
                      </a:cubicBezTo>
                      <a:lnTo>
                        <a:pt x="12474" y="21320"/>
                      </a:lnTo>
                      <a:cubicBezTo>
                        <a:pt x="18714" y="8580"/>
                        <a:pt x="30414" y="0"/>
                        <a:pt x="43153" y="0"/>
                      </a:cubicBezTo>
                      <a:cubicBezTo>
                        <a:pt x="56933" y="0"/>
                        <a:pt x="68633" y="7540"/>
                        <a:pt x="77213" y="21320"/>
                      </a:cubicBezTo>
                      <a:cubicBezTo>
                        <a:pt x="81373" y="29900"/>
                        <a:pt x="87873" y="34060"/>
                        <a:pt x="94113" y="35100"/>
                      </a:cubicBezTo>
                      <a:cubicBezTo>
                        <a:pt x="101653" y="35100"/>
                        <a:pt x="108933" y="30940"/>
                        <a:pt x="114393" y="21320"/>
                      </a:cubicBezTo>
                      <a:cubicBezTo>
                        <a:pt x="116473" y="17160"/>
                        <a:pt x="121933" y="16120"/>
                        <a:pt x="125052" y="18200"/>
                      </a:cubicBezTo>
                      <a:cubicBezTo>
                        <a:pt x="129213" y="20280"/>
                        <a:pt x="130252" y="25740"/>
                        <a:pt x="128173" y="28860"/>
                      </a:cubicBezTo>
                      <a:cubicBezTo>
                        <a:pt x="119333" y="43680"/>
                        <a:pt x="106593" y="51219"/>
                        <a:pt x="93853" y="51219"/>
                      </a:cubicBezTo>
                      <a:close/>
                    </a:path>
                  </a:pathLst>
                </a:custGeom>
                <a:solidFill>
                  <a:srgbClr val="00005A"/>
                </a:solidFill>
                <a:ln w="2597" cap="flat">
                  <a:noFill/>
                  <a:prstDash val="solid"/>
                  <a:miter/>
                </a:ln>
              </p:spPr>
              <p:txBody>
                <a:bodyPr rtlCol="0" anchor="ctr"/>
                <a:lstStyle/>
                <a:p>
                  <a:endParaRPr lang="en-GB"/>
                </a:p>
              </p:txBody>
            </p:sp>
            <p:sp>
              <p:nvSpPr>
                <p:cNvPr id="306" name="Freeform: Shape 305">
                  <a:extLst>
                    <a:ext uri="{FF2B5EF4-FFF2-40B4-BE49-F238E27FC236}">
                      <a16:creationId xmlns:a16="http://schemas.microsoft.com/office/drawing/2014/main" id="{D43E2783-770B-3250-26FC-E0155B99B9BB}"/>
                    </a:ext>
                  </a:extLst>
                </p:cNvPr>
                <p:cNvSpPr/>
                <p:nvPr/>
              </p:nvSpPr>
              <p:spPr>
                <a:xfrm>
                  <a:off x="6805434" y="2930978"/>
                  <a:ext cx="118818" cy="49139"/>
                </a:xfrm>
                <a:custGeom>
                  <a:avLst/>
                  <a:gdLst>
                    <a:gd name="connsiteX0" fmla="*/ 111539 w 118818"/>
                    <a:gd name="connsiteY0" fmla="*/ 49139 h 49139"/>
                    <a:gd name="connsiteX1" fmla="*/ 85019 w 118818"/>
                    <a:gd name="connsiteY1" fmla="*/ 49139 h 49139"/>
                    <a:gd name="connsiteX2" fmla="*/ 52000 w 118818"/>
                    <a:gd name="connsiteY2" fmla="*/ 27820 h 49139"/>
                    <a:gd name="connsiteX3" fmla="*/ 35100 w 118818"/>
                    <a:gd name="connsiteY3" fmla="*/ 15080 h 49139"/>
                    <a:gd name="connsiteX4" fmla="*/ 14820 w 118818"/>
                    <a:gd name="connsiteY4" fmla="*/ 28860 h 49139"/>
                    <a:gd name="connsiteX5" fmla="*/ 4160 w 118818"/>
                    <a:gd name="connsiteY5" fmla="*/ 31980 h 49139"/>
                    <a:gd name="connsiteX6" fmla="*/ 1040 w 118818"/>
                    <a:gd name="connsiteY6" fmla="*/ 21320 h 49139"/>
                    <a:gd name="connsiteX7" fmla="*/ 35100 w 118818"/>
                    <a:gd name="connsiteY7" fmla="*/ 0 h 49139"/>
                    <a:gd name="connsiteX8" fmla="*/ 65780 w 118818"/>
                    <a:gd name="connsiteY8" fmla="*/ 22360 h 49139"/>
                    <a:gd name="connsiteX9" fmla="*/ 83719 w 118818"/>
                    <a:gd name="connsiteY9" fmla="*/ 35100 h 49139"/>
                    <a:gd name="connsiteX10" fmla="*/ 110239 w 118818"/>
                    <a:gd name="connsiteY10" fmla="*/ 35100 h 49139"/>
                    <a:gd name="connsiteX11" fmla="*/ 118819 w 118818"/>
                    <a:gd name="connsiteY11" fmla="*/ 43679 h 49139"/>
                    <a:gd name="connsiteX12" fmla="*/ 111539 w 118818"/>
                    <a:gd name="connsiteY12" fmla="*/ 49139 h 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818" h="49139">
                      <a:moveTo>
                        <a:pt x="111539" y="49139"/>
                      </a:moveTo>
                      <a:lnTo>
                        <a:pt x="85019" y="49139"/>
                      </a:lnTo>
                      <a:cubicBezTo>
                        <a:pt x="75399" y="49139"/>
                        <a:pt x="61619" y="46019"/>
                        <a:pt x="52000" y="27820"/>
                      </a:cubicBezTo>
                      <a:cubicBezTo>
                        <a:pt x="47839" y="19240"/>
                        <a:pt x="41340" y="15080"/>
                        <a:pt x="35100" y="15080"/>
                      </a:cubicBezTo>
                      <a:cubicBezTo>
                        <a:pt x="27560" y="15080"/>
                        <a:pt x="20280" y="19240"/>
                        <a:pt x="14820" y="28860"/>
                      </a:cubicBezTo>
                      <a:cubicBezTo>
                        <a:pt x="12740" y="33019"/>
                        <a:pt x="7280" y="34060"/>
                        <a:pt x="4160" y="31980"/>
                      </a:cubicBezTo>
                      <a:cubicBezTo>
                        <a:pt x="0" y="29900"/>
                        <a:pt x="-1040" y="24440"/>
                        <a:pt x="1040" y="21320"/>
                      </a:cubicBezTo>
                      <a:cubicBezTo>
                        <a:pt x="9620" y="7540"/>
                        <a:pt x="22360" y="0"/>
                        <a:pt x="35100" y="0"/>
                      </a:cubicBezTo>
                      <a:cubicBezTo>
                        <a:pt x="47839" y="0"/>
                        <a:pt x="59539" y="8580"/>
                        <a:pt x="65780" y="22360"/>
                      </a:cubicBezTo>
                      <a:cubicBezTo>
                        <a:pt x="69939" y="30940"/>
                        <a:pt x="76439" y="35100"/>
                        <a:pt x="83719" y="35100"/>
                      </a:cubicBezTo>
                      <a:lnTo>
                        <a:pt x="110239" y="35100"/>
                      </a:lnTo>
                      <a:cubicBezTo>
                        <a:pt x="114399" y="35100"/>
                        <a:pt x="118819" y="38219"/>
                        <a:pt x="118819" y="43679"/>
                      </a:cubicBezTo>
                      <a:cubicBezTo>
                        <a:pt x="118819" y="49139"/>
                        <a:pt x="115699" y="49139"/>
                        <a:pt x="111539" y="49139"/>
                      </a:cubicBezTo>
                      <a:close/>
                    </a:path>
                  </a:pathLst>
                </a:custGeom>
                <a:solidFill>
                  <a:srgbClr val="00005A"/>
                </a:solidFill>
                <a:ln w="2597" cap="flat">
                  <a:noFill/>
                  <a:prstDash val="solid"/>
                  <a:miter/>
                </a:ln>
              </p:spPr>
              <p:txBody>
                <a:bodyPr rtlCol="0" anchor="ctr"/>
                <a:lstStyle/>
                <a:p>
                  <a:endParaRPr lang="en-GB"/>
                </a:p>
              </p:txBody>
            </p:sp>
          </p:grpSp>
          <p:sp>
            <p:nvSpPr>
              <p:cNvPr id="304" name="Freeform: Shape 303">
                <a:extLst>
                  <a:ext uri="{FF2B5EF4-FFF2-40B4-BE49-F238E27FC236}">
                    <a16:creationId xmlns:a16="http://schemas.microsoft.com/office/drawing/2014/main" id="{E1C28FAD-B0D6-AE47-A583-841729F32EEE}"/>
                  </a:ext>
                </a:extLst>
              </p:cNvPr>
              <p:cNvSpPr/>
              <p:nvPr/>
            </p:nvSpPr>
            <p:spPr>
              <a:xfrm>
                <a:off x="6890194" y="2934098"/>
                <a:ext cx="43939" cy="73579"/>
              </a:xfrm>
              <a:custGeom>
                <a:avLst/>
                <a:gdLst>
                  <a:gd name="connsiteX0" fmla="*/ 7540 w 43939"/>
                  <a:gd name="connsiteY0" fmla="*/ 73579 h 73579"/>
                  <a:gd name="connsiteX1" fmla="*/ 2340 w 43939"/>
                  <a:gd name="connsiteY1" fmla="*/ 71499 h 73579"/>
                  <a:gd name="connsiteX2" fmla="*/ 2340 w 43939"/>
                  <a:gd name="connsiteY2" fmla="*/ 59799 h 73579"/>
                  <a:gd name="connsiteX3" fmla="*/ 24699 w 43939"/>
                  <a:gd name="connsiteY3" fmla="*/ 37440 h 73579"/>
                  <a:gd name="connsiteX4" fmla="*/ 2340 w 43939"/>
                  <a:gd name="connsiteY4" fmla="*/ 14040 h 73579"/>
                  <a:gd name="connsiteX5" fmla="*/ 2340 w 43939"/>
                  <a:gd name="connsiteY5" fmla="*/ 2340 h 73579"/>
                  <a:gd name="connsiteX6" fmla="*/ 14040 w 43939"/>
                  <a:gd name="connsiteY6" fmla="*/ 2340 h 73579"/>
                  <a:gd name="connsiteX7" fmla="*/ 41599 w 43939"/>
                  <a:gd name="connsiteY7" fmla="*/ 30940 h 73579"/>
                  <a:gd name="connsiteX8" fmla="*/ 41599 w 43939"/>
                  <a:gd name="connsiteY8" fmla="*/ 42640 h 73579"/>
                  <a:gd name="connsiteX9" fmla="*/ 14040 w 43939"/>
                  <a:gd name="connsiteY9" fmla="*/ 70199 h 73579"/>
                  <a:gd name="connsiteX10" fmla="*/ 7540 w 43939"/>
                  <a:gd name="connsiteY10" fmla="*/ 73579 h 73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939" h="73579">
                    <a:moveTo>
                      <a:pt x="7540" y="73579"/>
                    </a:moveTo>
                    <a:cubicBezTo>
                      <a:pt x="5460" y="73579"/>
                      <a:pt x="3380" y="72539"/>
                      <a:pt x="2340" y="71499"/>
                    </a:cubicBezTo>
                    <a:cubicBezTo>
                      <a:pt x="-780" y="68379"/>
                      <a:pt x="-780" y="62919"/>
                      <a:pt x="2340" y="59799"/>
                    </a:cubicBezTo>
                    <a:lnTo>
                      <a:pt x="24699" y="37440"/>
                    </a:lnTo>
                    <a:lnTo>
                      <a:pt x="2340" y="14040"/>
                    </a:lnTo>
                    <a:cubicBezTo>
                      <a:pt x="-780" y="10920"/>
                      <a:pt x="-780" y="5460"/>
                      <a:pt x="2340" y="2340"/>
                    </a:cubicBezTo>
                    <a:cubicBezTo>
                      <a:pt x="5460" y="-780"/>
                      <a:pt x="10920" y="-780"/>
                      <a:pt x="14040" y="2340"/>
                    </a:cubicBezTo>
                    <a:lnTo>
                      <a:pt x="41599" y="30940"/>
                    </a:lnTo>
                    <a:cubicBezTo>
                      <a:pt x="44720" y="34060"/>
                      <a:pt x="44720" y="39520"/>
                      <a:pt x="41599" y="42640"/>
                    </a:cubicBezTo>
                    <a:lnTo>
                      <a:pt x="14040" y="70199"/>
                    </a:lnTo>
                    <a:cubicBezTo>
                      <a:pt x="11960" y="72539"/>
                      <a:pt x="9620" y="73579"/>
                      <a:pt x="7540" y="73579"/>
                    </a:cubicBezTo>
                    <a:close/>
                  </a:path>
                </a:pathLst>
              </a:custGeom>
              <a:solidFill>
                <a:srgbClr val="00005A"/>
              </a:solidFill>
              <a:ln w="2597" cap="flat">
                <a:noFill/>
                <a:prstDash val="solid"/>
                <a:miter/>
              </a:ln>
            </p:spPr>
            <p:txBody>
              <a:bodyPr rtlCol="0" anchor="ctr"/>
              <a:lstStyle/>
              <a:p>
                <a:endParaRPr lang="en-GB"/>
              </a:p>
            </p:txBody>
          </p:sp>
        </p:grpSp>
        <p:grpSp>
          <p:nvGrpSpPr>
            <p:cNvPr id="289" name="Graphic 6">
              <a:extLst>
                <a:ext uri="{FF2B5EF4-FFF2-40B4-BE49-F238E27FC236}">
                  <a16:creationId xmlns:a16="http://schemas.microsoft.com/office/drawing/2014/main" id="{C9E81F20-458B-9786-CC53-1DD78F723293}"/>
                </a:ext>
              </a:extLst>
            </p:cNvPr>
            <p:cNvGrpSpPr/>
            <p:nvPr/>
          </p:nvGrpSpPr>
          <p:grpSpPr>
            <a:xfrm>
              <a:off x="6028564" y="2702181"/>
              <a:ext cx="345817" cy="518694"/>
              <a:chOff x="6028564" y="2702181"/>
              <a:chExt cx="345817" cy="518694"/>
            </a:xfrm>
            <a:solidFill>
              <a:srgbClr val="0069FF"/>
            </a:solidFill>
          </p:grpSpPr>
          <p:sp>
            <p:nvSpPr>
              <p:cNvPr id="301" name="Freeform: Shape 300">
                <a:extLst>
                  <a:ext uri="{FF2B5EF4-FFF2-40B4-BE49-F238E27FC236}">
                    <a16:creationId xmlns:a16="http://schemas.microsoft.com/office/drawing/2014/main" id="{61C8A0F0-6A74-3517-8E3B-A4EE762DF8E8}"/>
                  </a:ext>
                </a:extLst>
              </p:cNvPr>
              <p:cNvSpPr/>
              <p:nvPr/>
            </p:nvSpPr>
            <p:spPr>
              <a:xfrm>
                <a:off x="6033764" y="2707381"/>
                <a:ext cx="335396" cy="508294"/>
              </a:xfrm>
              <a:custGeom>
                <a:avLst/>
                <a:gdLst>
                  <a:gd name="connsiteX0" fmla="*/ 0 w 335396"/>
                  <a:gd name="connsiteY0" fmla="*/ 0 h 508294"/>
                  <a:gd name="connsiteX1" fmla="*/ 335396 w 335396"/>
                  <a:gd name="connsiteY1" fmla="*/ 0 h 508294"/>
                  <a:gd name="connsiteX2" fmla="*/ 335396 w 335396"/>
                  <a:gd name="connsiteY2" fmla="*/ 508294 h 508294"/>
                  <a:gd name="connsiteX3" fmla="*/ 0 w 335396"/>
                  <a:gd name="connsiteY3" fmla="*/ 508294 h 508294"/>
                </a:gdLst>
                <a:ahLst/>
                <a:cxnLst>
                  <a:cxn ang="0">
                    <a:pos x="connsiteX0" y="connsiteY0"/>
                  </a:cxn>
                  <a:cxn ang="0">
                    <a:pos x="connsiteX1" y="connsiteY1"/>
                  </a:cxn>
                  <a:cxn ang="0">
                    <a:pos x="connsiteX2" y="connsiteY2"/>
                  </a:cxn>
                  <a:cxn ang="0">
                    <a:pos x="connsiteX3" y="connsiteY3"/>
                  </a:cxn>
                </a:cxnLst>
                <a:rect l="l" t="t" r="r" b="b"/>
                <a:pathLst>
                  <a:path w="335396" h="508294">
                    <a:moveTo>
                      <a:pt x="0" y="0"/>
                    </a:moveTo>
                    <a:lnTo>
                      <a:pt x="335396" y="0"/>
                    </a:lnTo>
                    <a:lnTo>
                      <a:pt x="335396" y="508294"/>
                    </a:lnTo>
                    <a:lnTo>
                      <a:pt x="0" y="508294"/>
                    </a:lnTo>
                    <a:close/>
                  </a:path>
                </a:pathLst>
              </a:custGeom>
              <a:solidFill>
                <a:srgbClr val="0069FF"/>
              </a:solidFill>
              <a:ln w="2597" cap="flat">
                <a:noFill/>
                <a:prstDash val="solid"/>
                <a:miter/>
              </a:ln>
            </p:spPr>
            <p:txBody>
              <a:bodyPr rtlCol="0" anchor="ctr"/>
              <a:lstStyle/>
              <a:p>
                <a:endParaRPr lang="en-GB"/>
              </a:p>
            </p:txBody>
          </p:sp>
          <p:sp>
            <p:nvSpPr>
              <p:cNvPr id="302" name="Freeform: Shape 301">
                <a:extLst>
                  <a:ext uri="{FF2B5EF4-FFF2-40B4-BE49-F238E27FC236}">
                    <a16:creationId xmlns:a16="http://schemas.microsoft.com/office/drawing/2014/main" id="{F8A27168-FE2B-031B-8E7B-D5B41DF9D54E}"/>
                  </a:ext>
                </a:extLst>
              </p:cNvPr>
              <p:cNvSpPr/>
              <p:nvPr/>
            </p:nvSpPr>
            <p:spPr>
              <a:xfrm>
                <a:off x="6028564" y="2702181"/>
                <a:ext cx="345817" cy="518694"/>
              </a:xfrm>
              <a:custGeom>
                <a:avLst/>
                <a:gdLst>
                  <a:gd name="connsiteX0" fmla="*/ 340596 w 345817"/>
                  <a:gd name="connsiteY0" fmla="*/ 518694 h 518694"/>
                  <a:gd name="connsiteX1" fmla="*/ 5200 w 345817"/>
                  <a:gd name="connsiteY1" fmla="*/ 518694 h 518694"/>
                  <a:gd name="connsiteX2" fmla="*/ 0 w 345817"/>
                  <a:gd name="connsiteY2" fmla="*/ 513494 h 518694"/>
                  <a:gd name="connsiteX3" fmla="*/ 0 w 345817"/>
                  <a:gd name="connsiteY3" fmla="*/ 5200 h 518694"/>
                  <a:gd name="connsiteX4" fmla="*/ 5200 w 345817"/>
                  <a:gd name="connsiteY4" fmla="*/ 0 h 518694"/>
                  <a:gd name="connsiteX5" fmla="*/ 340596 w 345817"/>
                  <a:gd name="connsiteY5" fmla="*/ 0 h 518694"/>
                  <a:gd name="connsiteX6" fmla="*/ 345796 w 345817"/>
                  <a:gd name="connsiteY6" fmla="*/ 5200 h 518694"/>
                  <a:gd name="connsiteX7" fmla="*/ 345796 w 345817"/>
                  <a:gd name="connsiteY7" fmla="*/ 513494 h 518694"/>
                  <a:gd name="connsiteX8" fmla="*/ 340596 w 345817"/>
                  <a:gd name="connsiteY8" fmla="*/ 518694 h 518694"/>
                  <a:gd name="connsiteX9" fmla="*/ 10660 w 345817"/>
                  <a:gd name="connsiteY9" fmla="*/ 508294 h 518694"/>
                  <a:gd name="connsiteX10" fmla="*/ 335396 w 345817"/>
                  <a:gd name="connsiteY10" fmla="*/ 508294 h 518694"/>
                  <a:gd name="connsiteX11" fmla="*/ 335396 w 345817"/>
                  <a:gd name="connsiteY11" fmla="*/ 10400 h 518694"/>
                  <a:gd name="connsiteX12" fmla="*/ 10660 w 345817"/>
                  <a:gd name="connsiteY12" fmla="*/ 10400 h 518694"/>
                  <a:gd name="connsiteX13" fmla="*/ 10660 w 345817"/>
                  <a:gd name="connsiteY13" fmla="*/ 508294 h 518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5817" h="518694">
                    <a:moveTo>
                      <a:pt x="340596" y="518694"/>
                    </a:moveTo>
                    <a:lnTo>
                      <a:pt x="5200" y="518694"/>
                    </a:lnTo>
                    <a:cubicBezTo>
                      <a:pt x="2080" y="518694"/>
                      <a:pt x="0" y="516614"/>
                      <a:pt x="0" y="513494"/>
                    </a:cubicBezTo>
                    <a:lnTo>
                      <a:pt x="0" y="5200"/>
                    </a:lnTo>
                    <a:cubicBezTo>
                      <a:pt x="0" y="2080"/>
                      <a:pt x="2080" y="0"/>
                      <a:pt x="5200" y="0"/>
                    </a:cubicBezTo>
                    <a:lnTo>
                      <a:pt x="340596" y="0"/>
                    </a:lnTo>
                    <a:cubicBezTo>
                      <a:pt x="343716" y="0"/>
                      <a:pt x="345796" y="2080"/>
                      <a:pt x="345796" y="5200"/>
                    </a:cubicBezTo>
                    <a:lnTo>
                      <a:pt x="345796" y="513494"/>
                    </a:lnTo>
                    <a:cubicBezTo>
                      <a:pt x="346056" y="516614"/>
                      <a:pt x="343976" y="518694"/>
                      <a:pt x="340596" y="518694"/>
                    </a:cubicBezTo>
                    <a:close/>
                    <a:moveTo>
                      <a:pt x="10660" y="508294"/>
                    </a:moveTo>
                    <a:lnTo>
                      <a:pt x="335396" y="508294"/>
                    </a:lnTo>
                    <a:lnTo>
                      <a:pt x="335396" y="10400"/>
                    </a:lnTo>
                    <a:lnTo>
                      <a:pt x="10660" y="10400"/>
                    </a:lnTo>
                    <a:lnTo>
                      <a:pt x="10660" y="508294"/>
                    </a:lnTo>
                    <a:close/>
                  </a:path>
                </a:pathLst>
              </a:custGeom>
              <a:solidFill>
                <a:srgbClr val="0069FF"/>
              </a:solidFill>
              <a:ln w="2597" cap="flat">
                <a:noFill/>
                <a:prstDash val="solid"/>
                <a:miter/>
              </a:ln>
            </p:spPr>
            <p:txBody>
              <a:bodyPr rtlCol="0" anchor="ctr"/>
              <a:lstStyle/>
              <a:p>
                <a:endParaRPr lang="en-GB"/>
              </a:p>
            </p:txBody>
          </p:sp>
        </p:grpSp>
        <p:sp>
          <p:nvSpPr>
            <p:cNvPr id="290" name="Freeform: Shape 289">
              <a:extLst>
                <a:ext uri="{FF2B5EF4-FFF2-40B4-BE49-F238E27FC236}">
                  <a16:creationId xmlns:a16="http://schemas.microsoft.com/office/drawing/2014/main" id="{BF7D7158-D246-6C4D-AB7B-50EEB164DD1B}"/>
                </a:ext>
              </a:extLst>
            </p:cNvPr>
            <p:cNvSpPr/>
            <p:nvPr/>
          </p:nvSpPr>
          <p:spPr>
            <a:xfrm>
              <a:off x="5998664" y="2671241"/>
              <a:ext cx="352556" cy="525453"/>
            </a:xfrm>
            <a:custGeom>
              <a:avLst/>
              <a:gdLst>
                <a:gd name="connsiteX0" fmla="*/ 343976 w 352556"/>
                <a:gd name="connsiteY0" fmla="*/ 525454 h 525453"/>
                <a:gd name="connsiteX1" fmla="*/ 8580 w 352556"/>
                <a:gd name="connsiteY1" fmla="*/ 525454 h 525453"/>
                <a:gd name="connsiteX2" fmla="*/ 0 w 352556"/>
                <a:gd name="connsiteY2" fmla="*/ 516874 h 525453"/>
                <a:gd name="connsiteX3" fmla="*/ 0 w 352556"/>
                <a:gd name="connsiteY3" fmla="*/ 8580 h 525453"/>
                <a:gd name="connsiteX4" fmla="*/ 8580 w 352556"/>
                <a:gd name="connsiteY4" fmla="*/ 0 h 525453"/>
                <a:gd name="connsiteX5" fmla="*/ 343976 w 352556"/>
                <a:gd name="connsiteY5" fmla="*/ 0 h 525453"/>
                <a:gd name="connsiteX6" fmla="*/ 352556 w 352556"/>
                <a:gd name="connsiteY6" fmla="*/ 8580 h 525453"/>
                <a:gd name="connsiteX7" fmla="*/ 352556 w 352556"/>
                <a:gd name="connsiteY7" fmla="*/ 516874 h 525453"/>
                <a:gd name="connsiteX8" fmla="*/ 343976 w 352556"/>
                <a:gd name="connsiteY8" fmla="*/ 525454 h 525453"/>
                <a:gd name="connsiteX9" fmla="*/ 16120 w 352556"/>
                <a:gd name="connsiteY9" fmla="*/ 508294 h 525453"/>
                <a:gd name="connsiteX10" fmla="*/ 335656 w 352556"/>
                <a:gd name="connsiteY10" fmla="*/ 508294 h 525453"/>
                <a:gd name="connsiteX11" fmla="*/ 335656 w 352556"/>
                <a:gd name="connsiteY11" fmla="*/ 15860 h 525453"/>
                <a:gd name="connsiteX12" fmla="*/ 16120 w 352556"/>
                <a:gd name="connsiteY12" fmla="*/ 15860 h 525453"/>
                <a:gd name="connsiteX13" fmla="*/ 16120 w 352556"/>
                <a:gd name="connsiteY13" fmla="*/ 508294 h 525453"/>
                <a:gd name="connsiteX14" fmla="*/ 16120 w 352556"/>
                <a:gd name="connsiteY14" fmla="*/ 508294 h 525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2556" h="525453">
                  <a:moveTo>
                    <a:pt x="343976" y="525454"/>
                  </a:moveTo>
                  <a:lnTo>
                    <a:pt x="8580" y="525454"/>
                  </a:lnTo>
                  <a:cubicBezTo>
                    <a:pt x="4420" y="525454"/>
                    <a:pt x="0" y="522334"/>
                    <a:pt x="0" y="516874"/>
                  </a:cubicBezTo>
                  <a:lnTo>
                    <a:pt x="0" y="8580"/>
                  </a:lnTo>
                  <a:cubicBezTo>
                    <a:pt x="0" y="4420"/>
                    <a:pt x="3120" y="0"/>
                    <a:pt x="8580" y="0"/>
                  </a:cubicBezTo>
                  <a:lnTo>
                    <a:pt x="343976" y="0"/>
                  </a:lnTo>
                  <a:cubicBezTo>
                    <a:pt x="348136" y="0"/>
                    <a:pt x="352556" y="3120"/>
                    <a:pt x="352556" y="8580"/>
                  </a:cubicBezTo>
                  <a:lnTo>
                    <a:pt x="352556" y="516874"/>
                  </a:lnTo>
                  <a:cubicBezTo>
                    <a:pt x="351516" y="521034"/>
                    <a:pt x="348396" y="525454"/>
                    <a:pt x="343976" y="525454"/>
                  </a:cubicBezTo>
                  <a:close/>
                  <a:moveTo>
                    <a:pt x="16120" y="508294"/>
                  </a:moveTo>
                  <a:lnTo>
                    <a:pt x="335656" y="508294"/>
                  </a:lnTo>
                  <a:lnTo>
                    <a:pt x="335656" y="15860"/>
                  </a:lnTo>
                  <a:lnTo>
                    <a:pt x="16120" y="15860"/>
                  </a:lnTo>
                  <a:lnTo>
                    <a:pt x="16120" y="508294"/>
                  </a:lnTo>
                  <a:lnTo>
                    <a:pt x="16120" y="508294"/>
                  </a:lnTo>
                  <a:close/>
                </a:path>
              </a:pathLst>
            </a:custGeom>
            <a:solidFill>
              <a:srgbClr val="00005A"/>
            </a:solidFill>
            <a:ln w="2597" cap="flat">
              <a:noFill/>
              <a:prstDash val="solid"/>
              <a:miter/>
            </a:ln>
          </p:spPr>
          <p:txBody>
            <a:bodyPr rtlCol="0" anchor="ctr"/>
            <a:lstStyle/>
            <a:p>
              <a:endParaRPr lang="en-GB"/>
            </a:p>
          </p:txBody>
        </p:sp>
        <p:sp>
          <p:nvSpPr>
            <p:cNvPr id="291" name="Freeform: Shape 290">
              <a:extLst>
                <a:ext uri="{FF2B5EF4-FFF2-40B4-BE49-F238E27FC236}">
                  <a16:creationId xmlns:a16="http://schemas.microsoft.com/office/drawing/2014/main" id="{C5ADB479-EE51-0655-FD71-65B9B7633586}"/>
                </a:ext>
              </a:extLst>
            </p:cNvPr>
            <p:cNvSpPr/>
            <p:nvPr/>
          </p:nvSpPr>
          <p:spPr>
            <a:xfrm>
              <a:off x="6119822" y="2557362"/>
              <a:ext cx="160158" cy="131818"/>
            </a:xfrm>
            <a:custGeom>
              <a:avLst/>
              <a:gdLst>
                <a:gd name="connsiteX0" fmla="*/ 78519 w 160158"/>
                <a:gd name="connsiteY0" fmla="*/ 131819 h 131818"/>
                <a:gd name="connsiteX1" fmla="*/ 8580 w 160158"/>
                <a:gd name="connsiteY1" fmla="*/ 131819 h 131818"/>
                <a:gd name="connsiteX2" fmla="*/ 0 w 160158"/>
                <a:gd name="connsiteY2" fmla="*/ 123238 h 131818"/>
                <a:gd name="connsiteX3" fmla="*/ 0 w 160158"/>
                <a:gd name="connsiteY3" fmla="*/ 77479 h 131818"/>
                <a:gd name="connsiteX4" fmla="*/ 70979 w 160158"/>
                <a:gd name="connsiteY4" fmla="*/ 0 h 131818"/>
                <a:gd name="connsiteX5" fmla="*/ 151578 w 160158"/>
                <a:gd name="connsiteY5" fmla="*/ 0 h 131818"/>
                <a:gd name="connsiteX6" fmla="*/ 160158 w 160158"/>
                <a:gd name="connsiteY6" fmla="*/ 8580 h 131818"/>
                <a:gd name="connsiteX7" fmla="*/ 160158 w 160158"/>
                <a:gd name="connsiteY7" fmla="*/ 67079 h 131818"/>
                <a:gd name="connsiteX8" fmla="*/ 151578 w 160158"/>
                <a:gd name="connsiteY8" fmla="*/ 75659 h 131818"/>
                <a:gd name="connsiteX9" fmla="*/ 85799 w 160158"/>
                <a:gd name="connsiteY9" fmla="*/ 75659 h 131818"/>
                <a:gd name="connsiteX10" fmla="*/ 85799 w 160158"/>
                <a:gd name="connsiteY10" fmla="*/ 125579 h 131818"/>
                <a:gd name="connsiteX11" fmla="*/ 78519 w 160158"/>
                <a:gd name="connsiteY11" fmla="*/ 131819 h 131818"/>
                <a:gd name="connsiteX12" fmla="*/ 16900 w 160158"/>
                <a:gd name="connsiteY12" fmla="*/ 115959 h 131818"/>
                <a:gd name="connsiteX13" fmla="*/ 70979 w 160158"/>
                <a:gd name="connsiteY13" fmla="*/ 115959 h 131818"/>
                <a:gd name="connsiteX14" fmla="*/ 70979 w 160158"/>
                <a:gd name="connsiteY14" fmla="*/ 66039 h 131818"/>
                <a:gd name="connsiteX15" fmla="*/ 79559 w 160158"/>
                <a:gd name="connsiteY15" fmla="*/ 57459 h 131818"/>
                <a:gd name="connsiteX16" fmla="*/ 145338 w 160158"/>
                <a:gd name="connsiteY16" fmla="*/ 57459 h 131818"/>
                <a:gd name="connsiteX17" fmla="*/ 145338 w 160158"/>
                <a:gd name="connsiteY17" fmla="*/ 15080 h 131818"/>
                <a:gd name="connsiteX18" fmla="*/ 73059 w 160158"/>
                <a:gd name="connsiteY18" fmla="*/ 15080 h 131818"/>
                <a:gd name="connsiteX19" fmla="*/ 17940 w 160158"/>
                <a:gd name="connsiteY19" fmla="*/ 77739 h 131818"/>
                <a:gd name="connsiteX20" fmla="*/ 17940 w 160158"/>
                <a:gd name="connsiteY20" fmla="*/ 115959 h 131818"/>
                <a:gd name="connsiteX21" fmla="*/ 16900 w 160158"/>
                <a:gd name="connsiteY21" fmla="*/ 115959 h 13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0158" h="131818">
                  <a:moveTo>
                    <a:pt x="78519" y="131819"/>
                  </a:moveTo>
                  <a:lnTo>
                    <a:pt x="8580" y="131819"/>
                  </a:lnTo>
                  <a:cubicBezTo>
                    <a:pt x="4420" y="131819"/>
                    <a:pt x="0" y="128699"/>
                    <a:pt x="0" y="123238"/>
                  </a:cubicBezTo>
                  <a:lnTo>
                    <a:pt x="0" y="77479"/>
                  </a:lnTo>
                  <a:cubicBezTo>
                    <a:pt x="0" y="37180"/>
                    <a:pt x="30680" y="3120"/>
                    <a:pt x="70979" y="0"/>
                  </a:cubicBezTo>
                  <a:lnTo>
                    <a:pt x="151578" y="0"/>
                  </a:lnTo>
                  <a:cubicBezTo>
                    <a:pt x="155738" y="0"/>
                    <a:pt x="160158" y="3120"/>
                    <a:pt x="160158" y="8580"/>
                  </a:cubicBezTo>
                  <a:lnTo>
                    <a:pt x="160158" y="67079"/>
                  </a:lnTo>
                  <a:cubicBezTo>
                    <a:pt x="160158" y="71239"/>
                    <a:pt x="157038" y="75659"/>
                    <a:pt x="151578" y="75659"/>
                  </a:cubicBezTo>
                  <a:lnTo>
                    <a:pt x="85799" y="75659"/>
                  </a:lnTo>
                  <a:lnTo>
                    <a:pt x="85799" y="125579"/>
                  </a:lnTo>
                  <a:cubicBezTo>
                    <a:pt x="86059" y="127658"/>
                    <a:pt x="82939" y="131819"/>
                    <a:pt x="78519" y="131819"/>
                  </a:cubicBezTo>
                  <a:close/>
                  <a:moveTo>
                    <a:pt x="16900" y="115959"/>
                  </a:moveTo>
                  <a:lnTo>
                    <a:pt x="70979" y="115959"/>
                  </a:lnTo>
                  <a:lnTo>
                    <a:pt x="70979" y="66039"/>
                  </a:lnTo>
                  <a:cubicBezTo>
                    <a:pt x="70979" y="61879"/>
                    <a:pt x="74099" y="57459"/>
                    <a:pt x="79559" y="57459"/>
                  </a:cubicBezTo>
                  <a:lnTo>
                    <a:pt x="145338" y="57459"/>
                  </a:lnTo>
                  <a:lnTo>
                    <a:pt x="145338" y="15080"/>
                  </a:lnTo>
                  <a:lnTo>
                    <a:pt x="73059" y="15080"/>
                  </a:lnTo>
                  <a:cubicBezTo>
                    <a:pt x="42380" y="18200"/>
                    <a:pt x="17940" y="44720"/>
                    <a:pt x="17940" y="77739"/>
                  </a:cubicBezTo>
                  <a:lnTo>
                    <a:pt x="17940" y="115959"/>
                  </a:lnTo>
                  <a:lnTo>
                    <a:pt x="16900" y="115959"/>
                  </a:lnTo>
                  <a:close/>
                </a:path>
              </a:pathLst>
            </a:custGeom>
            <a:solidFill>
              <a:srgbClr val="00005A"/>
            </a:solidFill>
            <a:ln w="2597" cap="flat">
              <a:noFill/>
              <a:prstDash val="solid"/>
              <a:miter/>
            </a:ln>
          </p:spPr>
          <p:txBody>
            <a:bodyPr rtlCol="0" anchor="ctr"/>
            <a:lstStyle/>
            <a:p>
              <a:endParaRPr lang="en-GB"/>
            </a:p>
          </p:txBody>
        </p:sp>
        <p:grpSp>
          <p:nvGrpSpPr>
            <p:cNvPr id="292" name="Graphic 6">
              <a:extLst>
                <a:ext uri="{FF2B5EF4-FFF2-40B4-BE49-F238E27FC236}">
                  <a16:creationId xmlns:a16="http://schemas.microsoft.com/office/drawing/2014/main" id="{67DA4325-9CB7-9F95-FCEF-872C046AE769}"/>
                </a:ext>
              </a:extLst>
            </p:cNvPr>
            <p:cNvGrpSpPr/>
            <p:nvPr/>
          </p:nvGrpSpPr>
          <p:grpSpPr>
            <a:xfrm>
              <a:off x="6204526" y="2995615"/>
              <a:ext cx="295325" cy="295325"/>
              <a:chOff x="6204526" y="2995615"/>
              <a:chExt cx="295325" cy="295325"/>
            </a:xfrm>
          </p:grpSpPr>
          <p:sp>
            <p:nvSpPr>
              <p:cNvPr id="299" name="Freeform: Shape 298">
                <a:extLst>
                  <a:ext uri="{FF2B5EF4-FFF2-40B4-BE49-F238E27FC236}">
                    <a16:creationId xmlns:a16="http://schemas.microsoft.com/office/drawing/2014/main" id="{99794361-36B3-2218-4CA8-3207ABEC4217}"/>
                  </a:ext>
                </a:extLst>
              </p:cNvPr>
              <p:cNvSpPr/>
              <p:nvPr/>
            </p:nvSpPr>
            <p:spPr>
              <a:xfrm rot="-4294012">
                <a:off x="6235449" y="3026538"/>
                <a:ext cx="233478" cy="233478"/>
              </a:xfrm>
              <a:custGeom>
                <a:avLst/>
                <a:gdLst>
                  <a:gd name="connsiteX0" fmla="*/ 233479 w 233478"/>
                  <a:gd name="connsiteY0" fmla="*/ 116739 h 233478"/>
                  <a:gd name="connsiteX1" fmla="*/ 116739 w 233478"/>
                  <a:gd name="connsiteY1" fmla="*/ 233479 h 233478"/>
                  <a:gd name="connsiteX2" fmla="*/ 0 w 233478"/>
                  <a:gd name="connsiteY2" fmla="*/ 116739 h 233478"/>
                  <a:gd name="connsiteX3" fmla="*/ 116739 w 233478"/>
                  <a:gd name="connsiteY3" fmla="*/ 0 h 233478"/>
                  <a:gd name="connsiteX4" fmla="*/ 233479 w 233478"/>
                  <a:gd name="connsiteY4" fmla="*/ 116739 h 233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478" h="233478">
                    <a:moveTo>
                      <a:pt x="233479" y="116739"/>
                    </a:moveTo>
                    <a:cubicBezTo>
                      <a:pt x="233479" y="181213"/>
                      <a:pt x="181213" y="233479"/>
                      <a:pt x="116739" y="233479"/>
                    </a:cubicBezTo>
                    <a:cubicBezTo>
                      <a:pt x="52266" y="233479"/>
                      <a:pt x="0" y="181213"/>
                      <a:pt x="0" y="116739"/>
                    </a:cubicBezTo>
                    <a:cubicBezTo>
                      <a:pt x="0" y="52266"/>
                      <a:pt x="52266" y="0"/>
                      <a:pt x="116739" y="0"/>
                    </a:cubicBezTo>
                    <a:cubicBezTo>
                      <a:pt x="181213" y="0"/>
                      <a:pt x="233479" y="52266"/>
                      <a:pt x="233479" y="116739"/>
                    </a:cubicBezTo>
                    <a:close/>
                  </a:path>
                </a:pathLst>
              </a:custGeom>
              <a:solidFill>
                <a:srgbClr val="0069FF"/>
              </a:solidFill>
              <a:ln w="2597" cap="flat">
                <a:noFill/>
                <a:prstDash val="solid"/>
                <a:miter/>
              </a:ln>
            </p:spPr>
            <p:txBody>
              <a:bodyPr rtlCol="0" anchor="ctr"/>
              <a:lstStyle/>
              <a:p>
                <a:endParaRPr lang="en-GB"/>
              </a:p>
            </p:txBody>
          </p:sp>
          <p:sp>
            <p:nvSpPr>
              <p:cNvPr id="300" name="Freeform: Shape 299">
                <a:extLst>
                  <a:ext uri="{FF2B5EF4-FFF2-40B4-BE49-F238E27FC236}">
                    <a16:creationId xmlns:a16="http://schemas.microsoft.com/office/drawing/2014/main" id="{89CE628E-40EC-21CA-B120-0E49E556F371}"/>
                  </a:ext>
                </a:extLst>
              </p:cNvPr>
              <p:cNvSpPr/>
              <p:nvPr/>
            </p:nvSpPr>
            <p:spPr>
              <a:xfrm>
                <a:off x="6226941" y="3018077"/>
                <a:ext cx="250636" cy="249597"/>
              </a:xfrm>
              <a:custGeom>
                <a:avLst/>
                <a:gdLst>
                  <a:gd name="connsiteX0" fmla="*/ 125318 w 250636"/>
                  <a:gd name="connsiteY0" fmla="*/ 249597 h 249597"/>
                  <a:gd name="connsiteX1" fmla="*/ 0 w 250636"/>
                  <a:gd name="connsiteY1" fmla="*/ 124279 h 249597"/>
                  <a:gd name="connsiteX2" fmla="*/ 125318 w 250636"/>
                  <a:gd name="connsiteY2" fmla="*/ 0 h 249597"/>
                  <a:gd name="connsiteX3" fmla="*/ 250637 w 250636"/>
                  <a:gd name="connsiteY3" fmla="*/ 125318 h 249597"/>
                  <a:gd name="connsiteX4" fmla="*/ 125318 w 250636"/>
                  <a:gd name="connsiteY4" fmla="*/ 249597 h 249597"/>
                  <a:gd name="connsiteX5" fmla="*/ 125318 w 250636"/>
                  <a:gd name="connsiteY5" fmla="*/ 16120 h 249597"/>
                  <a:gd name="connsiteX6" fmla="*/ 17160 w 250636"/>
                  <a:gd name="connsiteY6" fmla="*/ 124279 h 249597"/>
                  <a:gd name="connsiteX7" fmla="*/ 125318 w 250636"/>
                  <a:gd name="connsiteY7" fmla="*/ 233477 h 249597"/>
                  <a:gd name="connsiteX8" fmla="*/ 233477 w 250636"/>
                  <a:gd name="connsiteY8" fmla="*/ 125318 h 249597"/>
                  <a:gd name="connsiteX9" fmla="*/ 125318 w 250636"/>
                  <a:gd name="connsiteY9" fmla="*/ 16120 h 249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0636" h="249597">
                    <a:moveTo>
                      <a:pt x="125318" y="249597"/>
                    </a:moveTo>
                    <a:cubicBezTo>
                      <a:pt x="56419" y="249597"/>
                      <a:pt x="0" y="193438"/>
                      <a:pt x="0" y="124279"/>
                    </a:cubicBezTo>
                    <a:cubicBezTo>
                      <a:pt x="0" y="55379"/>
                      <a:pt x="56159" y="0"/>
                      <a:pt x="125318" y="0"/>
                    </a:cubicBezTo>
                    <a:cubicBezTo>
                      <a:pt x="194478" y="0"/>
                      <a:pt x="250637" y="56159"/>
                      <a:pt x="250637" y="125318"/>
                    </a:cubicBezTo>
                    <a:cubicBezTo>
                      <a:pt x="250637" y="194478"/>
                      <a:pt x="194218" y="249597"/>
                      <a:pt x="125318" y="249597"/>
                    </a:cubicBezTo>
                    <a:close/>
                    <a:moveTo>
                      <a:pt x="125318" y="16120"/>
                    </a:moveTo>
                    <a:cubicBezTo>
                      <a:pt x="64739" y="16120"/>
                      <a:pt x="17160" y="64999"/>
                      <a:pt x="17160" y="124279"/>
                    </a:cubicBezTo>
                    <a:cubicBezTo>
                      <a:pt x="17160" y="183818"/>
                      <a:pt x="64999" y="233477"/>
                      <a:pt x="125318" y="233477"/>
                    </a:cubicBezTo>
                    <a:cubicBezTo>
                      <a:pt x="185638" y="233477"/>
                      <a:pt x="233477" y="184598"/>
                      <a:pt x="233477" y="125318"/>
                    </a:cubicBezTo>
                    <a:cubicBezTo>
                      <a:pt x="233477" y="66039"/>
                      <a:pt x="185898" y="16120"/>
                      <a:pt x="125318" y="16120"/>
                    </a:cubicBezTo>
                    <a:close/>
                  </a:path>
                </a:pathLst>
              </a:custGeom>
              <a:solidFill>
                <a:srgbClr val="FFFFFF"/>
              </a:solidFill>
              <a:ln w="2597" cap="flat">
                <a:noFill/>
                <a:prstDash val="solid"/>
                <a:miter/>
              </a:ln>
            </p:spPr>
            <p:txBody>
              <a:bodyPr rtlCol="0" anchor="ctr"/>
              <a:lstStyle/>
              <a:p>
                <a:endParaRPr lang="en-GB"/>
              </a:p>
            </p:txBody>
          </p:sp>
        </p:grpSp>
        <p:grpSp>
          <p:nvGrpSpPr>
            <p:cNvPr id="293" name="Graphic 6">
              <a:extLst>
                <a:ext uri="{FF2B5EF4-FFF2-40B4-BE49-F238E27FC236}">
                  <a16:creationId xmlns:a16="http://schemas.microsoft.com/office/drawing/2014/main" id="{6C66EBEC-70CC-6846-4950-E10671B24CDE}"/>
                </a:ext>
              </a:extLst>
            </p:cNvPr>
            <p:cNvGrpSpPr/>
            <p:nvPr/>
          </p:nvGrpSpPr>
          <p:grpSpPr>
            <a:xfrm>
              <a:off x="6122943" y="2752880"/>
              <a:ext cx="101918" cy="217617"/>
              <a:chOff x="6122943" y="2752880"/>
              <a:chExt cx="101918" cy="217617"/>
            </a:xfrm>
            <a:solidFill>
              <a:srgbClr val="FFFFFF"/>
            </a:solidFill>
          </p:grpSpPr>
          <p:sp>
            <p:nvSpPr>
              <p:cNvPr id="295" name="Freeform: Shape 294">
                <a:extLst>
                  <a:ext uri="{FF2B5EF4-FFF2-40B4-BE49-F238E27FC236}">
                    <a16:creationId xmlns:a16="http://schemas.microsoft.com/office/drawing/2014/main" id="{E6E03963-6CC4-91BF-8726-CB98B78A6877}"/>
                  </a:ext>
                </a:extLst>
              </p:cNvPr>
              <p:cNvSpPr/>
              <p:nvPr/>
            </p:nvSpPr>
            <p:spPr>
              <a:xfrm>
                <a:off x="6122943" y="2752880"/>
                <a:ext cx="101918" cy="101918"/>
              </a:xfrm>
              <a:custGeom>
                <a:avLst/>
                <a:gdLst>
                  <a:gd name="connsiteX0" fmla="*/ 50959 w 101918"/>
                  <a:gd name="connsiteY0" fmla="*/ 101919 h 101918"/>
                  <a:gd name="connsiteX1" fmla="*/ 0 w 101918"/>
                  <a:gd name="connsiteY1" fmla="*/ 50959 h 101918"/>
                  <a:gd name="connsiteX2" fmla="*/ 50959 w 101918"/>
                  <a:gd name="connsiteY2" fmla="*/ 0 h 101918"/>
                  <a:gd name="connsiteX3" fmla="*/ 101919 w 101918"/>
                  <a:gd name="connsiteY3" fmla="*/ 50959 h 101918"/>
                  <a:gd name="connsiteX4" fmla="*/ 50959 w 101918"/>
                  <a:gd name="connsiteY4" fmla="*/ 101919 h 101918"/>
                  <a:gd name="connsiteX5" fmla="*/ 50959 w 101918"/>
                  <a:gd name="connsiteY5" fmla="*/ 17160 h 101918"/>
                  <a:gd name="connsiteX6" fmla="*/ 16900 w 101918"/>
                  <a:gd name="connsiteY6" fmla="*/ 51219 h 101918"/>
                  <a:gd name="connsiteX7" fmla="*/ 50959 w 101918"/>
                  <a:gd name="connsiteY7" fmla="*/ 85279 h 101918"/>
                  <a:gd name="connsiteX8" fmla="*/ 85019 w 101918"/>
                  <a:gd name="connsiteY8" fmla="*/ 51219 h 101918"/>
                  <a:gd name="connsiteX9" fmla="*/ 50959 w 101918"/>
                  <a:gd name="connsiteY9" fmla="*/ 17160 h 10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918" h="101918">
                    <a:moveTo>
                      <a:pt x="50959" y="101919"/>
                    </a:moveTo>
                    <a:cubicBezTo>
                      <a:pt x="23400" y="101919"/>
                      <a:pt x="0" y="79559"/>
                      <a:pt x="0" y="50959"/>
                    </a:cubicBezTo>
                    <a:cubicBezTo>
                      <a:pt x="0" y="22360"/>
                      <a:pt x="22360" y="0"/>
                      <a:pt x="50959" y="0"/>
                    </a:cubicBezTo>
                    <a:cubicBezTo>
                      <a:pt x="79559" y="0"/>
                      <a:pt x="101919" y="22360"/>
                      <a:pt x="101919" y="50959"/>
                    </a:cubicBezTo>
                    <a:cubicBezTo>
                      <a:pt x="101919" y="79559"/>
                      <a:pt x="78519" y="101919"/>
                      <a:pt x="50959" y="101919"/>
                    </a:cubicBezTo>
                    <a:close/>
                    <a:moveTo>
                      <a:pt x="50959" y="17160"/>
                    </a:moveTo>
                    <a:cubicBezTo>
                      <a:pt x="31979" y="17160"/>
                      <a:pt x="16900" y="33019"/>
                      <a:pt x="16900" y="51219"/>
                    </a:cubicBezTo>
                    <a:cubicBezTo>
                      <a:pt x="16900" y="69159"/>
                      <a:pt x="32760" y="85279"/>
                      <a:pt x="50959" y="85279"/>
                    </a:cubicBezTo>
                    <a:cubicBezTo>
                      <a:pt x="68899" y="85279"/>
                      <a:pt x="85019" y="69419"/>
                      <a:pt x="85019" y="51219"/>
                    </a:cubicBezTo>
                    <a:cubicBezTo>
                      <a:pt x="85019" y="33019"/>
                      <a:pt x="70199" y="17160"/>
                      <a:pt x="50959" y="17160"/>
                    </a:cubicBezTo>
                    <a:close/>
                  </a:path>
                </a:pathLst>
              </a:custGeom>
              <a:solidFill>
                <a:srgbClr val="FFFFFF"/>
              </a:solidFill>
              <a:ln w="2597" cap="flat">
                <a:noFill/>
                <a:prstDash val="solid"/>
                <a:miter/>
              </a:ln>
            </p:spPr>
            <p:txBody>
              <a:bodyPr rtlCol="0" anchor="ctr"/>
              <a:lstStyle/>
              <a:p>
                <a:endParaRPr lang="en-GB"/>
              </a:p>
            </p:txBody>
          </p:sp>
          <p:sp>
            <p:nvSpPr>
              <p:cNvPr id="296" name="Freeform: Shape 295">
                <a:extLst>
                  <a:ext uri="{FF2B5EF4-FFF2-40B4-BE49-F238E27FC236}">
                    <a16:creationId xmlns:a16="http://schemas.microsoft.com/office/drawing/2014/main" id="{EB7E22CA-ADFB-1C91-A97F-170D34571E63}"/>
                  </a:ext>
                </a:extLst>
              </p:cNvPr>
              <p:cNvSpPr/>
              <p:nvPr/>
            </p:nvSpPr>
            <p:spPr>
              <a:xfrm>
                <a:off x="6145562" y="2908098"/>
                <a:ext cx="63439" cy="62399"/>
              </a:xfrm>
              <a:custGeom>
                <a:avLst/>
                <a:gdLst>
                  <a:gd name="connsiteX0" fmla="*/ 31720 w 63439"/>
                  <a:gd name="connsiteY0" fmla="*/ 62399 h 62399"/>
                  <a:gd name="connsiteX1" fmla="*/ 0 w 63439"/>
                  <a:gd name="connsiteY1" fmla="*/ 31720 h 62399"/>
                  <a:gd name="connsiteX2" fmla="*/ 31720 w 63439"/>
                  <a:gd name="connsiteY2" fmla="*/ 0 h 62399"/>
                  <a:gd name="connsiteX3" fmla="*/ 63439 w 63439"/>
                  <a:gd name="connsiteY3" fmla="*/ 31720 h 62399"/>
                  <a:gd name="connsiteX4" fmla="*/ 31720 w 63439"/>
                  <a:gd name="connsiteY4" fmla="*/ 62399 h 62399"/>
                  <a:gd name="connsiteX5" fmla="*/ 31720 w 63439"/>
                  <a:gd name="connsiteY5" fmla="*/ 15600 h 62399"/>
                  <a:gd name="connsiteX6" fmla="*/ 15860 w 63439"/>
                  <a:gd name="connsiteY6" fmla="*/ 31460 h 62399"/>
                  <a:gd name="connsiteX7" fmla="*/ 31720 w 63439"/>
                  <a:gd name="connsiteY7" fmla="*/ 46280 h 62399"/>
                  <a:gd name="connsiteX8" fmla="*/ 47580 w 63439"/>
                  <a:gd name="connsiteY8" fmla="*/ 31460 h 62399"/>
                  <a:gd name="connsiteX9" fmla="*/ 31720 w 63439"/>
                  <a:gd name="connsiteY9" fmla="*/ 15600 h 62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439" h="62399">
                    <a:moveTo>
                      <a:pt x="31720" y="62399"/>
                    </a:moveTo>
                    <a:cubicBezTo>
                      <a:pt x="14820" y="62399"/>
                      <a:pt x="0" y="48619"/>
                      <a:pt x="0" y="31720"/>
                    </a:cubicBezTo>
                    <a:cubicBezTo>
                      <a:pt x="0" y="14820"/>
                      <a:pt x="13780" y="0"/>
                      <a:pt x="31720" y="0"/>
                    </a:cubicBezTo>
                    <a:cubicBezTo>
                      <a:pt x="49659" y="0"/>
                      <a:pt x="63439" y="13780"/>
                      <a:pt x="63439" y="31720"/>
                    </a:cubicBezTo>
                    <a:cubicBezTo>
                      <a:pt x="63439" y="48619"/>
                      <a:pt x="48619" y="62399"/>
                      <a:pt x="31720" y="62399"/>
                    </a:cubicBezTo>
                    <a:close/>
                    <a:moveTo>
                      <a:pt x="31720" y="15600"/>
                    </a:moveTo>
                    <a:cubicBezTo>
                      <a:pt x="23140" y="15600"/>
                      <a:pt x="15860" y="23140"/>
                      <a:pt x="15860" y="31460"/>
                    </a:cubicBezTo>
                    <a:cubicBezTo>
                      <a:pt x="15860" y="40040"/>
                      <a:pt x="23400" y="46280"/>
                      <a:pt x="31720" y="46280"/>
                    </a:cubicBezTo>
                    <a:cubicBezTo>
                      <a:pt x="40040" y="46280"/>
                      <a:pt x="47580" y="38740"/>
                      <a:pt x="47580" y="31460"/>
                    </a:cubicBezTo>
                    <a:cubicBezTo>
                      <a:pt x="47580" y="23140"/>
                      <a:pt x="40040" y="15600"/>
                      <a:pt x="31720" y="15600"/>
                    </a:cubicBezTo>
                    <a:close/>
                  </a:path>
                </a:pathLst>
              </a:custGeom>
              <a:solidFill>
                <a:srgbClr val="FFFFFF"/>
              </a:solidFill>
              <a:ln w="2597" cap="flat">
                <a:noFill/>
                <a:prstDash val="solid"/>
                <a:miter/>
              </a:ln>
            </p:spPr>
            <p:txBody>
              <a:bodyPr rtlCol="0" anchor="ctr"/>
              <a:lstStyle/>
              <a:p>
                <a:endParaRPr lang="en-GB"/>
              </a:p>
            </p:txBody>
          </p:sp>
          <p:sp>
            <p:nvSpPr>
              <p:cNvPr id="297" name="Freeform: Shape 296">
                <a:extLst>
                  <a:ext uri="{FF2B5EF4-FFF2-40B4-BE49-F238E27FC236}">
                    <a16:creationId xmlns:a16="http://schemas.microsoft.com/office/drawing/2014/main" id="{762BE0AE-0C27-88B6-3470-A1319153CFC1}"/>
                  </a:ext>
                </a:extLst>
              </p:cNvPr>
              <p:cNvSpPr/>
              <p:nvPr/>
            </p:nvSpPr>
            <p:spPr>
              <a:xfrm>
                <a:off x="6168702" y="2781740"/>
                <a:ext cx="23399" cy="30679"/>
              </a:xfrm>
              <a:custGeom>
                <a:avLst/>
                <a:gdLst>
                  <a:gd name="connsiteX0" fmla="*/ 7280 w 23399"/>
                  <a:gd name="connsiteY0" fmla="*/ 30680 h 30679"/>
                  <a:gd name="connsiteX1" fmla="*/ 4160 w 23399"/>
                  <a:gd name="connsiteY1" fmla="*/ 29640 h 30679"/>
                  <a:gd name="connsiteX2" fmla="*/ 1040 w 23399"/>
                  <a:gd name="connsiteY2" fmla="*/ 18980 h 30679"/>
                  <a:gd name="connsiteX3" fmla="*/ 8580 w 23399"/>
                  <a:gd name="connsiteY3" fmla="*/ 4160 h 30679"/>
                  <a:gd name="connsiteX4" fmla="*/ 19240 w 23399"/>
                  <a:gd name="connsiteY4" fmla="*/ 1040 h 30679"/>
                  <a:gd name="connsiteX5" fmla="*/ 22360 w 23399"/>
                  <a:gd name="connsiteY5" fmla="*/ 11700 h 30679"/>
                  <a:gd name="connsiteX6" fmla="*/ 14820 w 23399"/>
                  <a:gd name="connsiteY6" fmla="*/ 26520 h 30679"/>
                  <a:gd name="connsiteX7" fmla="*/ 7280 w 23399"/>
                  <a:gd name="connsiteY7" fmla="*/ 30680 h 3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99" h="30679">
                    <a:moveTo>
                      <a:pt x="7280" y="30680"/>
                    </a:moveTo>
                    <a:cubicBezTo>
                      <a:pt x="6240" y="30680"/>
                      <a:pt x="5200" y="30680"/>
                      <a:pt x="4160" y="29640"/>
                    </a:cubicBezTo>
                    <a:cubicBezTo>
                      <a:pt x="0" y="27560"/>
                      <a:pt x="-1040" y="23400"/>
                      <a:pt x="1040" y="18980"/>
                    </a:cubicBezTo>
                    <a:lnTo>
                      <a:pt x="8580" y="4160"/>
                    </a:lnTo>
                    <a:cubicBezTo>
                      <a:pt x="10660" y="0"/>
                      <a:pt x="14820" y="-1040"/>
                      <a:pt x="19240" y="1040"/>
                    </a:cubicBezTo>
                    <a:cubicBezTo>
                      <a:pt x="23400" y="3120"/>
                      <a:pt x="24440" y="7280"/>
                      <a:pt x="22360" y="11700"/>
                    </a:cubicBezTo>
                    <a:lnTo>
                      <a:pt x="14820" y="26520"/>
                    </a:lnTo>
                    <a:cubicBezTo>
                      <a:pt x="12740" y="29640"/>
                      <a:pt x="10660" y="30680"/>
                      <a:pt x="7280" y="30680"/>
                    </a:cubicBezTo>
                    <a:close/>
                  </a:path>
                </a:pathLst>
              </a:custGeom>
              <a:solidFill>
                <a:srgbClr val="FFFFFF"/>
              </a:solidFill>
              <a:ln w="2597" cap="flat">
                <a:noFill/>
                <a:prstDash val="solid"/>
                <a:miter/>
              </a:ln>
            </p:spPr>
            <p:txBody>
              <a:bodyPr rtlCol="0" anchor="ctr"/>
              <a:lstStyle/>
              <a:p>
                <a:endParaRPr lang="en-GB"/>
              </a:p>
            </p:txBody>
          </p:sp>
          <p:sp>
            <p:nvSpPr>
              <p:cNvPr id="298" name="Freeform: Shape 297">
                <a:extLst>
                  <a:ext uri="{FF2B5EF4-FFF2-40B4-BE49-F238E27FC236}">
                    <a16:creationId xmlns:a16="http://schemas.microsoft.com/office/drawing/2014/main" id="{0B00CE52-5B27-9AA7-848D-9B1E17BB3BBC}"/>
                  </a:ext>
                </a:extLst>
              </p:cNvPr>
              <p:cNvSpPr/>
              <p:nvPr/>
            </p:nvSpPr>
            <p:spPr>
              <a:xfrm>
                <a:off x="6129443" y="2873779"/>
                <a:ext cx="94638" cy="17159"/>
              </a:xfrm>
              <a:custGeom>
                <a:avLst/>
                <a:gdLst>
                  <a:gd name="connsiteX0" fmla="*/ 86059 w 94638"/>
                  <a:gd name="connsiteY0" fmla="*/ 17160 h 17159"/>
                  <a:gd name="connsiteX1" fmla="*/ 8580 w 94638"/>
                  <a:gd name="connsiteY1" fmla="*/ 17160 h 17159"/>
                  <a:gd name="connsiteX2" fmla="*/ 0 w 94638"/>
                  <a:gd name="connsiteY2" fmla="*/ 8580 h 17159"/>
                  <a:gd name="connsiteX3" fmla="*/ 8580 w 94638"/>
                  <a:gd name="connsiteY3" fmla="*/ 0 h 17159"/>
                  <a:gd name="connsiteX4" fmla="*/ 86059 w 94638"/>
                  <a:gd name="connsiteY4" fmla="*/ 0 h 17159"/>
                  <a:gd name="connsiteX5" fmla="*/ 94639 w 94638"/>
                  <a:gd name="connsiteY5" fmla="*/ 8580 h 17159"/>
                  <a:gd name="connsiteX6" fmla="*/ 86059 w 9463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638" h="17159">
                    <a:moveTo>
                      <a:pt x="86059" y="17160"/>
                    </a:moveTo>
                    <a:lnTo>
                      <a:pt x="8580" y="17160"/>
                    </a:lnTo>
                    <a:cubicBezTo>
                      <a:pt x="4420" y="17160"/>
                      <a:pt x="0" y="14040"/>
                      <a:pt x="0" y="8580"/>
                    </a:cubicBezTo>
                    <a:cubicBezTo>
                      <a:pt x="0" y="3380"/>
                      <a:pt x="3120" y="0"/>
                      <a:pt x="8580" y="0"/>
                    </a:cubicBezTo>
                    <a:lnTo>
                      <a:pt x="86059" y="0"/>
                    </a:lnTo>
                    <a:cubicBezTo>
                      <a:pt x="90219" y="0"/>
                      <a:pt x="94639" y="3120"/>
                      <a:pt x="94639" y="8580"/>
                    </a:cubicBezTo>
                    <a:cubicBezTo>
                      <a:pt x="94379" y="14040"/>
                      <a:pt x="90219" y="17160"/>
                      <a:pt x="86059" y="17160"/>
                    </a:cubicBezTo>
                    <a:close/>
                  </a:path>
                </a:pathLst>
              </a:custGeom>
              <a:solidFill>
                <a:srgbClr val="FFFFFF"/>
              </a:solidFill>
              <a:ln w="2597" cap="flat">
                <a:noFill/>
                <a:prstDash val="solid"/>
                <a:miter/>
              </a:ln>
            </p:spPr>
            <p:txBody>
              <a:bodyPr rtlCol="0" anchor="ctr"/>
              <a:lstStyle/>
              <a:p>
                <a:endParaRPr lang="en-GB"/>
              </a:p>
            </p:txBody>
          </p:sp>
        </p:grpSp>
        <p:sp>
          <p:nvSpPr>
            <p:cNvPr id="294" name="Freeform: Shape 293">
              <a:extLst>
                <a:ext uri="{FF2B5EF4-FFF2-40B4-BE49-F238E27FC236}">
                  <a16:creationId xmlns:a16="http://schemas.microsoft.com/office/drawing/2014/main" id="{6DA76FC3-DA4D-9CD3-BE37-EF1DFC26EBC7}"/>
                </a:ext>
              </a:extLst>
            </p:cNvPr>
            <p:cNvSpPr/>
            <p:nvPr/>
          </p:nvSpPr>
          <p:spPr>
            <a:xfrm>
              <a:off x="6313000" y="3082296"/>
              <a:ext cx="77286" cy="116478"/>
            </a:xfrm>
            <a:custGeom>
              <a:avLst/>
              <a:gdLst>
                <a:gd name="connsiteX0" fmla="*/ 39260 w 77286"/>
                <a:gd name="connsiteY0" fmla="*/ 116479 h 116478"/>
                <a:gd name="connsiteX1" fmla="*/ 0 w 77286"/>
                <a:gd name="connsiteY1" fmla="*/ 77219 h 116478"/>
                <a:gd name="connsiteX2" fmla="*/ 31720 w 77286"/>
                <a:gd name="connsiteY2" fmla="*/ 3900 h 116478"/>
                <a:gd name="connsiteX3" fmla="*/ 45499 w 77286"/>
                <a:gd name="connsiteY3" fmla="*/ 3900 h 116478"/>
                <a:gd name="connsiteX4" fmla="*/ 77220 w 77286"/>
                <a:gd name="connsiteY4" fmla="*/ 77219 h 116478"/>
                <a:gd name="connsiteX5" fmla="*/ 39260 w 77286"/>
                <a:gd name="connsiteY5" fmla="*/ 116479 h 116478"/>
                <a:gd name="connsiteX6" fmla="*/ 39260 w 77286"/>
                <a:gd name="connsiteY6" fmla="*/ 24180 h 116478"/>
                <a:gd name="connsiteX7" fmla="*/ 15860 w 77286"/>
                <a:gd name="connsiteY7" fmla="*/ 77219 h 116478"/>
                <a:gd name="connsiteX8" fmla="*/ 39260 w 77286"/>
                <a:gd name="connsiteY8" fmla="*/ 100619 h 116478"/>
                <a:gd name="connsiteX9" fmla="*/ 62660 w 77286"/>
                <a:gd name="connsiteY9" fmla="*/ 77219 h 116478"/>
                <a:gd name="connsiteX10" fmla="*/ 39260 w 77286"/>
                <a:gd name="connsiteY10" fmla="*/ 24180 h 116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286" h="116478">
                  <a:moveTo>
                    <a:pt x="39260" y="116479"/>
                  </a:moveTo>
                  <a:cubicBezTo>
                    <a:pt x="17940" y="116479"/>
                    <a:pt x="0" y="99579"/>
                    <a:pt x="0" y="77219"/>
                  </a:cubicBezTo>
                  <a:cubicBezTo>
                    <a:pt x="0" y="59279"/>
                    <a:pt x="26520" y="13520"/>
                    <a:pt x="31720" y="3900"/>
                  </a:cubicBezTo>
                  <a:cubicBezTo>
                    <a:pt x="34840" y="-1300"/>
                    <a:pt x="42380" y="-1300"/>
                    <a:pt x="45499" y="3900"/>
                  </a:cubicBezTo>
                  <a:cubicBezTo>
                    <a:pt x="50699" y="12480"/>
                    <a:pt x="77220" y="59019"/>
                    <a:pt x="77220" y="77219"/>
                  </a:cubicBezTo>
                  <a:cubicBezTo>
                    <a:pt x="78520" y="98279"/>
                    <a:pt x="60579" y="116479"/>
                    <a:pt x="39260" y="116479"/>
                  </a:cubicBezTo>
                  <a:close/>
                  <a:moveTo>
                    <a:pt x="39260" y="24180"/>
                  </a:moveTo>
                  <a:cubicBezTo>
                    <a:pt x="28600" y="44460"/>
                    <a:pt x="15860" y="68639"/>
                    <a:pt x="15860" y="77219"/>
                  </a:cubicBezTo>
                  <a:cubicBezTo>
                    <a:pt x="15860" y="89959"/>
                    <a:pt x="26520" y="100619"/>
                    <a:pt x="39260" y="100619"/>
                  </a:cubicBezTo>
                  <a:cubicBezTo>
                    <a:pt x="51999" y="100619"/>
                    <a:pt x="62660" y="89959"/>
                    <a:pt x="62660" y="77219"/>
                  </a:cubicBezTo>
                  <a:cubicBezTo>
                    <a:pt x="62660" y="68639"/>
                    <a:pt x="49920" y="44199"/>
                    <a:pt x="39260" y="24180"/>
                  </a:cubicBezTo>
                  <a:close/>
                </a:path>
              </a:pathLst>
            </a:custGeom>
            <a:solidFill>
              <a:srgbClr val="FFFFFF"/>
            </a:solidFill>
            <a:ln w="2597" cap="flat">
              <a:noFill/>
              <a:prstDash val="solid"/>
              <a:miter/>
            </a:ln>
          </p:spPr>
          <p:txBody>
            <a:bodyPr rtlCol="0" anchor="ctr"/>
            <a:lstStyle/>
            <a:p>
              <a:endParaRPr lang="en-GB"/>
            </a:p>
          </p:txBody>
        </p:sp>
      </p:grpSp>
      <p:grpSp>
        <p:nvGrpSpPr>
          <p:cNvPr id="317" name="Graphic 6">
            <a:extLst>
              <a:ext uri="{FF2B5EF4-FFF2-40B4-BE49-F238E27FC236}">
                <a16:creationId xmlns:a16="http://schemas.microsoft.com/office/drawing/2014/main" id="{10D51FE6-7A22-875C-DCCE-2BDA3551C3EF}"/>
              </a:ext>
            </a:extLst>
          </p:cNvPr>
          <p:cNvGrpSpPr/>
          <p:nvPr/>
        </p:nvGrpSpPr>
        <p:grpSpPr>
          <a:xfrm>
            <a:off x="950661" y="3623144"/>
            <a:ext cx="493905" cy="382031"/>
            <a:chOff x="4786818" y="3583051"/>
            <a:chExt cx="990588" cy="766211"/>
          </a:xfrm>
        </p:grpSpPr>
        <p:grpSp>
          <p:nvGrpSpPr>
            <p:cNvPr id="318" name="Graphic 6">
              <a:extLst>
                <a:ext uri="{FF2B5EF4-FFF2-40B4-BE49-F238E27FC236}">
                  <a16:creationId xmlns:a16="http://schemas.microsoft.com/office/drawing/2014/main" id="{5955E722-F631-7D51-B0A9-19E70487458F}"/>
                </a:ext>
              </a:extLst>
            </p:cNvPr>
            <p:cNvGrpSpPr/>
            <p:nvPr/>
          </p:nvGrpSpPr>
          <p:grpSpPr>
            <a:xfrm>
              <a:off x="4818797" y="3755169"/>
              <a:ext cx="395715" cy="594093"/>
              <a:chOff x="4818797" y="3755169"/>
              <a:chExt cx="395715" cy="594093"/>
            </a:xfrm>
            <a:solidFill>
              <a:srgbClr val="0069FF"/>
            </a:solidFill>
          </p:grpSpPr>
          <p:sp>
            <p:nvSpPr>
              <p:cNvPr id="355" name="Freeform: Shape 354">
                <a:extLst>
                  <a:ext uri="{FF2B5EF4-FFF2-40B4-BE49-F238E27FC236}">
                    <a16:creationId xmlns:a16="http://schemas.microsoft.com/office/drawing/2014/main" id="{BF779FE4-C6FA-1F1F-4819-5B9F648CF731}"/>
                  </a:ext>
                </a:extLst>
              </p:cNvPr>
              <p:cNvSpPr/>
              <p:nvPr/>
            </p:nvSpPr>
            <p:spPr>
              <a:xfrm>
                <a:off x="4823998" y="3760108"/>
                <a:ext cx="385315" cy="583693"/>
              </a:xfrm>
              <a:custGeom>
                <a:avLst/>
                <a:gdLst>
                  <a:gd name="connsiteX0" fmla="*/ 0 w 385315"/>
                  <a:gd name="connsiteY0" fmla="*/ 0 h 583693"/>
                  <a:gd name="connsiteX1" fmla="*/ 385315 w 385315"/>
                  <a:gd name="connsiteY1" fmla="*/ 0 h 583693"/>
                  <a:gd name="connsiteX2" fmla="*/ 385315 w 385315"/>
                  <a:gd name="connsiteY2" fmla="*/ 583693 h 583693"/>
                  <a:gd name="connsiteX3" fmla="*/ 0 w 385315"/>
                  <a:gd name="connsiteY3" fmla="*/ 583693 h 583693"/>
                </a:gdLst>
                <a:ahLst/>
                <a:cxnLst>
                  <a:cxn ang="0">
                    <a:pos x="connsiteX0" y="connsiteY0"/>
                  </a:cxn>
                  <a:cxn ang="0">
                    <a:pos x="connsiteX1" y="connsiteY1"/>
                  </a:cxn>
                  <a:cxn ang="0">
                    <a:pos x="connsiteX2" y="connsiteY2"/>
                  </a:cxn>
                  <a:cxn ang="0">
                    <a:pos x="connsiteX3" y="connsiteY3"/>
                  </a:cxn>
                </a:cxnLst>
                <a:rect l="l" t="t" r="r" b="b"/>
                <a:pathLst>
                  <a:path w="385315" h="583693">
                    <a:moveTo>
                      <a:pt x="0" y="0"/>
                    </a:moveTo>
                    <a:lnTo>
                      <a:pt x="385315" y="0"/>
                    </a:lnTo>
                    <a:lnTo>
                      <a:pt x="385315" y="583693"/>
                    </a:lnTo>
                    <a:lnTo>
                      <a:pt x="0" y="583693"/>
                    </a:lnTo>
                    <a:close/>
                  </a:path>
                </a:pathLst>
              </a:custGeom>
              <a:solidFill>
                <a:srgbClr val="0069FF"/>
              </a:solidFill>
              <a:ln w="2597" cap="flat">
                <a:noFill/>
                <a:prstDash val="solid"/>
                <a:miter/>
              </a:ln>
            </p:spPr>
            <p:txBody>
              <a:bodyPr rtlCol="0" anchor="ctr"/>
              <a:lstStyle/>
              <a:p>
                <a:endParaRPr lang="en-GB"/>
              </a:p>
            </p:txBody>
          </p:sp>
          <p:sp>
            <p:nvSpPr>
              <p:cNvPr id="356" name="Freeform: Shape 355">
                <a:extLst>
                  <a:ext uri="{FF2B5EF4-FFF2-40B4-BE49-F238E27FC236}">
                    <a16:creationId xmlns:a16="http://schemas.microsoft.com/office/drawing/2014/main" id="{44D3BD27-B5AC-7001-AECE-03D54EDD53B1}"/>
                  </a:ext>
                </a:extLst>
              </p:cNvPr>
              <p:cNvSpPr/>
              <p:nvPr/>
            </p:nvSpPr>
            <p:spPr>
              <a:xfrm>
                <a:off x="4818797" y="3755169"/>
                <a:ext cx="395715" cy="594093"/>
              </a:xfrm>
              <a:custGeom>
                <a:avLst/>
                <a:gdLst>
                  <a:gd name="connsiteX0" fmla="*/ 390516 w 395715"/>
                  <a:gd name="connsiteY0" fmla="*/ 594093 h 594093"/>
                  <a:gd name="connsiteX1" fmla="*/ 5200 w 395715"/>
                  <a:gd name="connsiteY1" fmla="*/ 594093 h 594093"/>
                  <a:gd name="connsiteX2" fmla="*/ 0 w 395715"/>
                  <a:gd name="connsiteY2" fmla="*/ 588893 h 594093"/>
                  <a:gd name="connsiteX3" fmla="*/ 0 w 395715"/>
                  <a:gd name="connsiteY3" fmla="*/ 5200 h 594093"/>
                  <a:gd name="connsiteX4" fmla="*/ 5200 w 395715"/>
                  <a:gd name="connsiteY4" fmla="*/ 0 h 594093"/>
                  <a:gd name="connsiteX5" fmla="*/ 390516 w 395715"/>
                  <a:gd name="connsiteY5" fmla="*/ 0 h 594093"/>
                  <a:gd name="connsiteX6" fmla="*/ 395716 w 395715"/>
                  <a:gd name="connsiteY6" fmla="*/ 5200 h 594093"/>
                  <a:gd name="connsiteX7" fmla="*/ 395716 w 395715"/>
                  <a:gd name="connsiteY7" fmla="*/ 588893 h 594093"/>
                  <a:gd name="connsiteX8" fmla="*/ 390516 w 395715"/>
                  <a:gd name="connsiteY8" fmla="*/ 594093 h 594093"/>
                  <a:gd name="connsiteX9" fmla="*/ 10400 w 395715"/>
                  <a:gd name="connsiteY9" fmla="*/ 583433 h 594093"/>
                  <a:gd name="connsiteX10" fmla="*/ 385056 w 395715"/>
                  <a:gd name="connsiteY10" fmla="*/ 583433 h 594093"/>
                  <a:gd name="connsiteX11" fmla="*/ 385056 w 395715"/>
                  <a:gd name="connsiteY11" fmla="*/ 10400 h 594093"/>
                  <a:gd name="connsiteX12" fmla="*/ 10400 w 395715"/>
                  <a:gd name="connsiteY12" fmla="*/ 10400 h 594093"/>
                  <a:gd name="connsiteX13" fmla="*/ 10400 w 395715"/>
                  <a:gd name="connsiteY13" fmla="*/ 583433 h 594093"/>
                  <a:gd name="connsiteX14" fmla="*/ 10400 w 395715"/>
                  <a:gd name="connsiteY14" fmla="*/ 583433 h 59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5715" h="594093">
                    <a:moveTo>
                      <a:pt x="390516" y="594093"/>
                    </a:moveTo>
                    <a:lnTo>
                      <a:pt x="5200" y="594093"/>
                    </a:lnTo>
                    <a:cubicBezTo>
                      <a:pt x="2080" y="594093"/>
                      <a:pt x="0" y="592013"/>
                      <a:pt x="0" y="588893"/>
                    </a:cubicBezTo>
                    <a:lnTo>
                      <a:pt x="0" y="5200"/>
                    </a:lnTo>
                    <a:cubicBezTo>
                      <a:pt x="0" y="2080"/>
                      <a:pt x="2080" y="0"/>
                      <a:pt x="5200" y="0"/>
                    </a:cubicBezTo>
                    <a:lnTo>
                      <a:pt x="390516" y="0"/>
                    </a:lnTo>
                    <a:cubicBezTo>
                      <a:pt x="393636" y="0"/>
                      <a:pt x="395716" y="2080"/>
                      <a:pt x="395716" y="5200"/>
                    </a:cubicBezTo>
                    <a:lnTo>
                      <a:pt x="395716" y="588893"/>
                    </a:lnTo>
                    <a:cubicBezTo>
                      <a:pt x="395716" y="591753"/>
                      <a:pt x="393636" y="594093"/>
                      <a:pt x="390516" y="594093"/>
                    </a:cubicBezTo>
                    <a:close/>
                    <a:moveTo>
                      <a:pt x="10400" y="583433"/>
                    </a:moveTo>
                    <a:lnTo>
                      <a:pt x="385056" y="583433"/>
                    </a:lnTo>
                    <a:lnTo>
                      <a:pt x="385056" y="10400"/>
                    </a:lnTo>
                    <a:lnTo>
                      <a:pt x="10400" y="10400"/>
                    </a:lnTo>
                    <a:lnTo>
                      <a:pt x="10400" y="583433"/>
                    </a:lnTo>
                    <a:lnTo>
                      <a:pt x="10400" y="583433"/>
                    </a:lnTo>
                    <a:close/>
                  </a:path>
                </a:pathLst>
              </a:custGeom>
              <a:solidFill>
                <a:srgbClr val="0069FF"/>
              </a:solidFill>
              <a:ln w="2597" cap="flat">
                <a:noFill/>
                <a:prstDash val="solid"/>
                <a:miter/>
              </a:ln>
            </p:spPr>
            <p:txBody>
              <a:bodyPr rtlCol="0" anchor="ctr"/>
              <a:lstStyle/>
              <a:p>
                <a:endParaRPr lang="en-GB"/>
              </a:p>
            </p:txBody>
          </p:sp>
        </p:grpSp>
        <p:grpSp>
          <p:nvGrpSpPr>
            <p:cNvPr id="319" name="Graphic 6">
              <a:extLst>
                <a:ext uri="{FF2B5EF4-FFF2-40B4-BE49-F238E27FC236}">
                  <a16:creationId xmlns:a16="http://schemas.microsoft.com/office/drawing/2014/main" id="{5BC2111C-0505-4299-D8CC-A41B07EE3D82}"/>
                </a:ext>
              </a:extLst>
            </p:cNvPr>
            <p:cNvGrpSpPr/>
            <p:nvPr/>
          </p:nvGrpSpPr>
          <p:grpSpPr>
            <a:xfrm>
              <a:off x="4901477" y="3683474"/>
              <a:ext cx="228017" cy="81834"/>
              <a:chOff x="4901477" y="3683474"/>
              <a:chExt cx="228017" cy="81834"/>
            </a:xfrm>
            <a:solidFill>
              <a:srgbClr val="0069FF"/>
            </a:solidFill>
          </p:grpSpPr>
          <p:sp>
            <p:nvSpPr>
              <p:cNvPr id="353" name="Freeform: Shape 352">
                <a:extLst>
                  <a:ext uri="{FF2B5EF4-FFF2-40B4-BE49-F238E27FC236}">
                    <a16:creationId xmlns:a16="http://schemas.microsoft.com/office/drawing/2014/main" id="{266C936E-5C4F-1B08-6D56-83E984F6D0ED}"/>
                  </a:ext>
                </a:extLst>
              </p:cNvPr>
              <p:cNvSpPr/>
              <p:nvPr/>
            </p:nvSpPr>
            <p:spPr>
              <a:xfrm>
                <a:off x="4906677" y="3688674"/>
                <a:ext cx="216577" cy="71434"/>
              </a:xfrm>
              <a:custGeom>
                <a:avLst/>
                <a:gdLst>
                  <a:gd name="connsiteX0" fmla="*/ 216578 w 216577"/>
                  <a:gd name="connsiteY0" fmla="*/ 71434 h 71434"/>
                  <a:gd name="connsiteX1" fmla="*/ 0 w 216577"/>
                  <a:gd name="connsiteY1" fmla="*/ 71434 h 71434"/>
                  <a:gd name="connsiteX2" fmla="*/ 0 w 216577"/>
                  <a:gd name="connsiteY2" fmla="*/ 14235 h 71434"/>
                  <a:gd name="connsiteX3" fmla="*/ 216578 w 216577"/>
                  <a:gd name="connsiteY3" fmla="*/ 14235 h 71434"/>
                  <a:gd name="connsiteX4" fmla="*/ 216578 w 216577"/>
                  <a:gd name="connsiteY4" fmla="*/ 71434 h 71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577" h="71434">
                    <a:moveTo>
                      <a:pt x="216578" y="71434"/>
                    </a:moveTo>
                    <a:lnTo>
                      <a:pt x="0" y="71434"/>
                    </a:lnTo>
                    <a:lnTo>
                      <a:pt x="0" y="14235"/>
                    </a:lnTo>
                    <a:cubicBezTo>
                      <a:pt x="72279" y="-4745"/>
                      <a:pt x="144298" y="-4745"/>
                      <a:pt x="216578" y="14235"/>
                    </a:cubicBezTo>
                    <a:lnTo>
                      <a:pt x="216578" y="71434"/>
                    </a:lnTo>
                    <a:close/>
                  </a:path>
                </a:pathLst>
              </a:custGeom>
              <a:solidFill>
                <a:srgbClr val="0069FF"/>
              </a:solidFill>
              <a:ln w="2597" cap="flat">
                <a:noFill/>
                <a:prstDash val="solid"/>
                <a:miter/>
              </a:ln>
            </p:spPr>
            <p:txBody>
              <a:bodyPr rtlCol="0" anchor="ctr"/>
              <a:lstStyle/>
              <a:p>
                <a:endParaRPr lang="en-GB"/>
              </a:p>
            </p:txBody>
          </p:sp>
          <p:sp>
            <p:nvSpPr>
              <p:cNvPr id="354" name="Freeform: Shape 353">
                <a:extLst>
                  <a:ext uri="{FF2B5EF4-FFF2-40B4-BE49-F238E27FC236}">
                    <a16:creationId xmlns:a16="http://schemas.microsoft.com/office/drawing/2014/main" id="{05277CA3-DD3C-7081-E15C-2727BCA49432}"/>
                  </a:ext>
                </a:extLst>
              </p:cNvPr>
              <p:cNvSpPr/>
              <p:nvPr/>
            </p:nvSpPr>
            <p:spPr>
              <a:xfrm>
                <a:off x="4901477" y="3683474"/>
                <a:ext cx="228017" cy="81834"/>
              </a:xfrm>
              <a:custGeom>
                <a:avLst/>
                <a:gdLst>
                  <a:gd name="connsiteX0" fmla="*/ 221778 w 228017"/>
                  <a:gd name="connsiteY0" fmla="*/ 81834 h 81834"/>
                  <a:gd name="connsiteX1" fmla="*/ 5200 w 228017"/>
                  <a:gd name="connsiteY1" fmla="*/ 81834 h 81834"/>
                  <a:gd name="connsiteX2" fmla="*/ 0 w 228017"/>
                  <a:gd name="connsiteY2" fmla="*/ 76634 h 81834"/>
                  <a:gd name="connsiteX3" fmla="*/ 0 w 228017"/>
                  <a:gd name="connsiteY3" fmla="*/ 19435 h 81834"/>
                  <a:gd name="connsiteX4" fmla="*/ 4160 w 228017"/>
                  <a:gd name="connsiteY4" fmla="*/ 14235 h 81834"/>
                  <a:gd name="connsiteX5" fmla="*/ 223857 w 228017"/>
                  <a:gd name="connsiteY5" fmla="*/ 14235 h 81834"/>
                  <a:gd name="connsiteX6" fmla="*/ 228017 w 228017"/>
                  <a:gd name="connsiteY6" fmla="*/ 19435 h 81834"/>
                  <a:gd name="connsiteX7" fmla="*/ 228017 w 228017"/>
                  <a:gd name="connsiteY7" fmla="*/ 76634 h 81834"/>
                  <a:gd name="connsiteX8" fmla="*/ 221778 w 228017"/>
                  <a:gd name="connsiteY8" fmla="*/ 81834 h 81834"/>
                  <a:gd name="connsiteX9" fmla="*/ 10660 w 228017"/>
                  <a:gd name="connsiteY9" fmla="*/ 71434 h 81834"/>
                  <a:gd name="connsiteX10" fmla="*/ 216578 w 228017"/>
                  <a:gd name="connsiteY10" fmla="*/ 71434 h 81834"/>
                  <a:gd name="connsiteX11" fmla="*/ 216578 w 228017"/>
                  <a:gd name="connsiteY11" fmla="*/ 23595 h 81834"/>
                  <a:gd name="connsiteX12" fmla="*/ 10660 w 228017"/>
                  <a:gd name="connsiteY12" fmla="*/ 23595 h 81834"/>
                  <a:gd name="connsiteX13" fmla="*/ 10660 w 228017"/>
                  <a:gd name="connsiteY13" fmla="*/ 71434 h 81834"/>
                  <a:gd name="connsiteX14" fmla="*/ 10660 w 228017"/>
                  <a:gd name="connsiteY14" fmla="*/ 71434 h 81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8017" h="81834">
                    <a:moveTo>
                      <a:pt x="221778" y="81834"/>
                    </a:moveTo>
                    <a:lnTo>
                      <a:pt x="5200" y="81834"/>
                    </a:lnTo>
                    <a:cubicBezTo>
                      <a:pt x="2080" y="81834"/>
                      <a:pt x="0" y="79754"/>
                      <a:pt x="0" y="76634"/>
                    </a:cubicBezTo>
                    <a:lnTo>
                      <a:pt x="0" y="19435"/>
                    </a:lnTo>
                    <a:cubicBezTo>
                      <a:pt x="0" y="17355"/>
                      <a:pt x="2080" y="15275"/>
                      <a:pt x="4160" y="14235"/>
                    </a:cubicBezTo>
                    <a:cubicBezTo>
                      <a:pt x="77479" y="-4745"/>
                      <a:pt x="150538" y="-4745"/>
                      <a:pt x="223857" y="14235"/>
                    </a:cubicBezTo>
                    <a:cubicBezTo>
                      <a:pt x="225937" y="15275"/>
                      <a:pt x="228017" y="17355"/>
                      <a:pt x="228017" y="19435"/>
                    </a:cubicBezTo>
                    <a:lnTo>
                      <a:pt x="228017" y="76634"/>
                    </a:lnTo>
                    <a:cubicBezTo>
                      <a:pt x="227237" y="79754"/>
                      <a:pt x="224897" y="81834"/>
                      <a:pt x="221778" y="81834"/>
                    </a:cubicBezTo>
                    <a:close/>
                    <a:moveTo>
                      <a:pt x="10660" y="71434"/>
                    </a:moveTo>
                    <a:lnTo>
                      <a:pt x="216578" y="71434"/>
                    </a:lnTo>
                    <a:lnTo>
                      <a:pt x="216578" y="23595"/>
                    </a:lnTo>
                    <a:cubicBezTo>
                      <a:pt x="148718" y="6695"/>
                      <a:pt x="78519" y="6695"/>
                      <a:pt x="10660" y="23595"/>
                    </a:cubicBezTo>
                    <a:lnTo>
                      <a:pt x="10660" y="71434"/>
                    </a:lnTo>
                    <a:lnTo>
                      <a:pt x="10660" y="71434"/>
                    </a:lnTo>
                    <a:close/>
                  </a:path>
                </a:pathLst>
              </a:custGeom>
              <a:solidFill>
                <a:srgbClr val="0069FF"/>
              </a:solidFill>
              <a:ln w="2597" cap="flat">
                <a:noFill/>
                <a:prstDash val="solid"/>
                <a:miter/>
              </a:ln>
            </p:spPr>
            <p:txBody>
              <a:bodyPr rtlCol="0" anchor="ctr"/>
              <a:lstStyle/>
              <a:p>
                <a:endParaRPr lang="en-GB"/>
              </a:p>
            </p:txBody>
          </p:sp>
        </p:grpSp>
        <p:sp>
          <p:nvSpPr>
            <p:cNvPr id="320" name="Freeform: Shape 319">
              <a:extLst>
                <a:ext uri="{FF2B5EF4-FFF2-40B4-BE49-F238E27FC236}">
                  <a16:creationId xmlns:a16="http://schemas.microsoft.com/office/drawing/2014/main" id="{D4FFAC46-4F5B-EBDD-36C8-A3F55AF0BDEE}"/>
                </a:ext>
              </a:extLst>
            </p:cNvPr>
            <p:cNvSpPr/>
            <p:nvPr/>
          </p:nvSpPr>
          <p:spPr>
            <a:xfrm>
              <a:off x="4786818" y="3725009"/>
              <a:ext cx="402475" cy="600853"/>
            </a:xfrm>
            <a:custGeom>
              <a:avLst/>
              <a:gdLst>
                <a:gd name="connsiteX0" fmla="*/ 393895 w 402475"/>
                <a:gd name="connsiteY0" fmla="*/ 600853 h 600853"/>
                <a:gd name="connsiteX1" fmla="*/ 8580 w 402475"/>
                <a:gd name="connsiteY1" fmla="*/ 600853 h 600853"/>
                <a:gd name="connsiteX2" fmla="*/ 0 w 402475"/>
                <a:gd name="connsiteY2" fmla="*/ 592273 h 600853"/>
                <a:gd name="connsiteX3" fmla="*/ 0 w 402475"/>
                <a:gd name="connsiteY3" fmla="*/ 8580 h 600853"/>
                <a:gd name="connsiteX4" fmla="*/ 8580 w 402475"/>
                <a:gd name="connsiteY4" fmla="*/ 0 h 600853"/>
                <a:gd name="connsiteX5" fmla="*/ 393895 w 402475"/>
                <a:gd name="connsiteY5" fmla="*/ 0 h 600853"/>
                <a:gd name="connsiteX6" fmla="*/ 402475 w 402475"/>
                <a:gd name="connsiteY6" fmla="*/ 8580 h 600853"/>
                <a:gd name="connsiteX7" fmla="*/ 402475 w 402475"/>
                <a:gd name="connsiteY7" fmla="*/ 592273 h 600853"/>
                <a:gd name="connsiteX8" fmla="*/ 393895 w 402475"/>
                <a:gd name="connsiteY8" fmla="*/ 600853 h 600853"/>
                <a:gd name="connsiteX9" fmla="*/ 15860 w 402475"/>
                <a:gd name="connsiteY9" fmla="*/ 584993 h 600853"/>
                <a:gd name="connsiteX10" fmla="*/ 385315 w 402475"/>
                <a:gd name="connsiteY10" fmla="*/ 584993 h 600853"/>
                <a:gd name="connsiteX11" fmla="*/ 385315 w 402475"/>
                <a:gd name="connsiteY11" fmla="*/ 17160 h 600853"/>
                <a:gd name="connsiteX12" fmla="*/ 15860 w 402475"/>
                <a:gd name="connsiteY12" fmla="*/ 17160 h 600853"/>
                <a:gd name="connsiteX13" fmla="*/ 15860 w 402475"/>
                <a:gd name="connsiteY13" fmla="*/ 584993 h 60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2475" h="600853">
                  <a:moveTo>
                    <a:pt x="393895" y="600853"/>
                  </a:moveTo>
                  <a:lnTo>
                    <a:pt x="8580" y="600853"/>
                  </a:lnTo>
                  <a:cubicBezTo>
                    <a:pt x="4420" y="600853"/>
                    <a:pt x="0" y="597733"/>
                    <a:pt x="0" y="592273"/>
                  </a:cubicBezTo>
                  <a:lnTo>
                    <a:pt x="0" y="8580"/>
                  </a:lnTo>
                  <a:cubicBezTo>
                    <a:pt x="0" y="4420"/>
                    <a:pt x="3120" y="0"/>
                    <a:pt x="8580" y="0"/>
                  </a:cubicBezTo>
                  <a:lnTo>
                    <a:pt x="393895" y="0"/>
                  </a:lnTo>
                  <a:cubicBezTo>
                    <a:pt x="398055" y="0"/>
                    <a:pt x="402475" y="3120"/>
                    <a:pt x="402475" y="8580"/>
                  </a:cubicBezTo>
                  <a:lnTo>
                    <a:pt x="402475" y="592273"/>
                  </a:lnTo>
                  <a:cubicBezTo>
                    <a:pt x="402215" y="596433"/>
                    <a:pt x="398055" y="600853"/>
                    <a:pt x="393895" y="600853"/>
                  </a:cubicBezTo>
                  <a:close/>
                  <a:moveTo>
                    <a:pt x="15860" y="584993"/>
                  </a:moveTo>
                  <a:lnTo>
                    <a:pt x="385315" y="584993"/>
                  </a:lnTo>
                  <a:lnTo>
                    <a:pt x="385315" y="17160"/>
                  </a:lnTo>
                  <a:lnTo>
                    <a:pt x="15860" y="17160"/>
                  </a:lnTo>
                  <a:lnTo>
                    <a:pt x="15860" y="584993"/>
                  </a:lnTo>
                  <a:close/>
                </a:path>
              </a:pathLst>
            </a:custGeom>
            <a:solidFill>
              <a:srgbClr val="00005A"/>
            </a:solidFill>
            <a:ln w="2597" cap="flat">
              <a:noFill/>
              <a:prstDash val="solid"/>
              <a:miter/>
            </a:ln>
          </p:spPr>
          <p:txBody>
            <a:bodyPr rtlCol="0" anchor="ctr"/>
            <a:lstStyle/>
            <a:p>
              <a:endParaRPr lang="en-GB"/>
            </a:p>
          </p:txBody>
        </p:sp>
        <p:sp>
          <p:nvSpPr>
            <p:cNvPr id="321" name="Freeform: Shape 320">
              <a:extLst>
                <a:ext uri="{FF2B5EF4-FFF2-40B4-BE49-F238E27FC236}">
                  <a16:creationId xmlns:a16="http://schemas.microsoft.com/office/drawing/2014/main" id="{FADA200F-50C2-60CA-C838-FA584DBA006D}"/>
                </a:ext>
              </a:extLst>
            </p:cNvPr>
            <p:cNvSpPr/>
            <p:nvPr/>
          </p:nvSpPr>
          <p:spPr>
            <a:xfrm>
              <a:off x="4871577" y="3819388"/>
              <a:ext cx="233737" cy="74359"/>
            </a:xfrm>
            <a:custGeom>
              <a:avLst/>
              <a:gdLst>
                <a:gd name="connsiteX0" fmla="*/ 225157 w 233737"/>
                <a:gd name="connsiteY0" fmla="*/ 74359 h 74359"/>
                <a:gd name="connsiteX1" fmla="*/ 8580 w 233737"/>
                <a:gd name="connsiteY1" fmla="*/ 74359 h 74359"/>
                <a:gd name="connsiteX2" fmla="*/ 0 w 233737"/>
                <a:gd name="connsiteY2" fmla="*/ 65779 h 74359"/>
                <a:gd name="connsiteX3" fmla="*/ 0 w 233737"/>
                <a:gd name="connsiteY3" fmla="*/ 8580 h 74359"/>
                <a:gd name="connsiteX4" fmla="*/ 8580 w 233737"/>
                <a:gd name="connsiteY4" fmla="*/ 0 h 74359"/>
                <a:gd name="connsiteX5" fmla="*/ 225157 w 233737"/>
                <a:gd name="connsiteY5" fmla="*/ 0 h 74359"/>
                <a:gd name="connsiteX6" fmla="*/ 233737 w 233737"/>
                <a:gd name="connsiteY6" fmla="*/ 8580 h 74359"/>
                <a:gd name="connsiteX7" fmla="*/ 233737 w 233737"/>
                <a:gd name="connsiteY7" fmla="*/ 65779 h 74359"/>
                <a:gd name="connsiteX8" fmla="*/ 225157 w 233737"/>
                <a:gd name="connsiteY8" fmla="*/ 74359 h 74359"/>
                <a:gd name="connsiteX9" fmla="*/ 16120 w 233737"/>
                <a:gd name="connsiteY9" fmla="*/ 58499 h 74359"/>
                <a:gd name="connsiteX10" fmla="*/ 217878 w 233737"/>
                <a:gd name="connsiteY10" fmla="*/ 58499 h 74359"/>
                <a:gd name="connsiteX11" fmla="*/ 217878 w 233737"/>
                <a:gd name="connsiteY11" fmla="*/ 17160 h 74359"/>
                <a:gd name="connsiteX12" fmla="*/ 16120 w 233737"/>
                <a:gd name="connsiteY12" fmla="*/ 17160 h 74359"/>
                <a:gd name="connsiteX13" fmla="*/ 16120 w 233737"/>
                <a:gd name="connsiteY13" fmla="*/ 58499 h 74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737" h="74359">
                  <a:moveTo>
                    <a:pt x="225157" y="74359"/>
                  </a:moveTo>
                  <a:lnTo>
                    <a:pt x="8580" y="74359"/>
                  </a:lnTo>
                  <a:cubicBezTo>
                    <a:pt x="4420" y="74359"/>
                    <a:pt x="0" y="71239"/>
                    <a:pt x="0" y="65779"/>
                  </a:cubicBezTo>
                  <a:lnTo>
                    <a:pt x="0" y="8580"/>
                  </a:lnTo>
                  <a:cubicBezTo>
                    <a:pt x="0" y="4420"/>
                    <a:pt x="3120" y="0"/>
                    <a:pt x="8580" y="0"/>
                  </a:cubicBezTo>
                  <a:lnTo>
                    <a:pt x="225157" y="0"/>
                  </a:lnTo>
                  <a:cubicBezTo>
                    <a:pt x="229317" y="0"/>
                    <a:pt x="233737" y="3120"/>
                    <a:pt x="233737" y="8580"/>
                  </a:cubicBezTo>
                  <a:lnTo>
                    <a:pt x="233737" y="65779"/>
                  </a:lnTo>
                  <a:cubicBezTo>
                    <a:pt x="233737" y="71239"/>
                    <a:pt x="229317" y="74359"/>
                    <a:pt x="225157" y="74359"/>
                  </a:cubicBezTo>
                  <a:close/>
                  <a:moveTo>
                    <a:pt x="16120" y="58499"/>
                  </a:moveTo>
                  <a:lnTo>
                    <a:pt x="217878" y="58499"/>
                  </a:lnTo>
                  <a:lnTo>
                    <a:pt x="217878" y="17160"/>
                  </a:lnTo>
                  <a:lnTo>
                    <a:pt x="16120" y="17160"/>
                  </a:lnTo>
                  <a:lnTo>
                    <a:pt x="16120" y="58499"/>
                  </a:lnTo>
                  <a:close/>
                </a:path>
              </a:pathLst>
            </a:custGeom>
            <a:solidFill>
              <a:srgbClr val="FFFFFF"/>
            </a:solidFill>
            <a:ln w="2597" cap="flat">
              <a:noFill/>
              <a:prstDash val="solid"/>
              <a:miter/>
            </a:ln>
          </p:spPr>
          <p:txBody>
            <a:bodyPr rtlCol="0" anchor="ctr"/>
            <a:lstStyle/>
            <a:p>
              <a:endParaRPr lang="en-GB"/>
            </a:p>
          </p:txBody>
        </p:sp>
        <p:sp>
          <p:nvSpPr>
            <p:cNvPr id="322" name="Freeform: Shape 321">
              <a:extLst>
                <a:ext uri="{FF2B5EF4-FFF2-40B4-BE49-F238E27FC236}">
                  <a16:creationId xmlns:a16="http://schemas.microsoft.com/office/drawing/2014/main" id="{BC9868B0-FFFC-4F8C-7CE4-B38E5DB8E356}"/>
                </a:ext>
              </a:extLst>
            </p:cNvPr>
            <p:cNvSpPr/>
            <p:nvPr/>
          </p:nvSpPr>
          <p:spPr>
            <a:xfrm>
              <a:off x="4871577" y="3654615"/>
              <a:ext cx="233259" cy="86513"/>
            </a:xfrm>
            <a:custGeom>
              <a:avLst/>
              <a:gdLst>
                <a:gd name="connsiteX0" fmla="*/ 225157 w 233259"/>
                <a:gd name="connsiteY0" fmla="*/ 86514 h 86513"/>
                <a:gd name="connsiteX1" fmla="*/ 8580 w 233259"/>
                <a:gd name="connsiteY1" fmla="*/ 86514 h 86513"/>
                <a:gd name="connsiteX2" fmla="*/ 0 w 233259"/>
                <a:gd name="connsiteY2" fmla="*/ 77934 h 86513"/>
                <a:gd name="connsiteX3" fmla="*/ 0 w 233259"/>
                <a:gd name="connsiteY3" fmla="*/ 21775 h 86513"/>
                <a:gd name="connsiteX4" fmla="*/ 6240 w 233259"/>
                <a:gd name="connsiteY4" fmla="*/ 14235 h 86513"/>
                <a:gd name="connsiteX5" fmla="*/ 226978 w 233259"/>
                <a:gd name="connsiteY5" fmla="*/ 14235 h 86513"/>
                <a:gd name="connsiteX6" fmla="*/ 233217 w 233259"/>
                <a:gd name="connsiteY6" fmla="*/ 21775 h 86513"/>
                <a:gd name="connsiteX7" fmla="*/ 233217 w 233259"/>
                <a:gd name="connsiteY7" fmla="*/ 78974 h 86513"/>
                <a:gd name="connsiteX8" fmla="*/ 225157 w 233259"/>
                <a:gd name="connsiteY8" fmla="*/ 86514 h 86513"/>
                <a:gd name="connsiteX9" fmla="*/ 16120 w 233259"/>
                <a:gd name="connsiteY9" fmla="*/ 70394 h 86513"/>
                <a:gd name="connsiteX10" fmla="*/ 217878 w 233259"/>
                <a:gd name="connsiteY10" fmla="*/ 70394 h 86513"/>
                <a:gd name="connsiteX11" fmla="*/ 217878 w 233259"/>
                <a:gd name="connsiteY11" fmla="*/ 26975 h 86513"/>
                <a:gd name="connsiteX12" fmla="*/ 17420 w 233259"/>
                <a:gd name="connsiteY12" fmla="*/ 26975 h 86513"/>
                <a:gd name="connsiteX13" fmla="*/ 17420 w 233259"/>
                <a:gd name="connsiteY13" fmla="*/ 70394 h 86513"/>
                <a:gd name="connsiteX14" fmla="*/ 16120 w 233259"/>
                <a:gd name="connsiteY14" fmla="*/ 70394 h 86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3259" h="86513">
                  <a:moveTo>
                    <a:pt x="225157" y="86514"/>
                  </a:moveTo>
                  <a:lnTo>
                    <a:pt x="8580" y="86514"/>
                  </a:lnTo>
                  <a:cubicBezTo>
                    <a:pt x="4420" y="86514"/>
                    <a:pt x="0" y="83394"/>
                    <a:pt x="0" y="77934"/>
                  </a:cubicBezTo>
                  <a:lnTo>
                    <a:pt x="0" y="21775"/>
                  </a:lnTo>
                  <a:cubicBezTo>
                    <a:pt x="0" y="18655"/>
                    <a:pt x="2080" y="15535"/>
                    <a:pt x="6240" y="14235"/>
                  </a:cubicBezTo>
                  <a:cubicBezTo>
                    <a:pt x="79559" y="-4745"/>
                    <a:pt x="153658" y="-4745"/>
                    <a:pt x="226978" y="14235"/>
                  </a:cubicBezTo>
                  <a:cubicBezTo>
                    <a:pt x="230097" y="15275"/>
                    <a:pt x="233217" y="18395"/>
                    <a:pt x="233217" y="21775"/>
                  </a:cubicBezTo>
                  <a:lnTo>
                    <a:pt x="233217" y="78974"/>
                  </a:lnTo>
                  <a:cubicBezTo>
                    <a:pt x="233737" y="83134"/>
                    <a:pt x="229317" y="86514"/>
                    <a:pt x="225157" y="86514"/>
                  </a:cubicBezTo>
                  <a:close/>
                  <a:moveTo>
                    <a:pt x="16120" y="70394"/>
                  </a:moveTo>
                  <a:lnTo>
                    <a:pt x="217878" y="70394"/>
                  </a:lnTo>
                  <a:lnTo>
                    <a:pt x="217878" y="26975"/>
                  </a:lnTo>
                  <a:cubicBezTo>
                    <a:pt x="151058" y="10075"/>
                    <a:pt x="84239" y="10075"/>
                    <a:pt x="17420" y="26975"/>
                  </a:cubicBezTo>
                  <a:lnTo>
                    <a:pt x="17420" y="70394"/>
                  </a:lnTo>
                  <a:lnTo>
                    <a:pt x="16120" y="70394"/>
                  </a:lnTo>
                  <a:close/>
                </a:path>
              </a:pathLst>
            </a:custGeom>
            <a:solidFill>
              <a:srgbClr val="00005A"/>
            </a:solidFill>
            <a:ln w="2597" cap="flat">
              <a:noFill/>
              <a:prstDash val="solid"/>
              <a:miter/>
            </a:ln>
          </p:spPr>
          <p:txBody>
            <a:bodyPr rtlCol="0" anchor="ctr"/>
            <a:lstStyle/>
            <a:p>
              <a:endParaRPr lang="en-GB"/>
            </a:p>
          </p:txBody>
        </p:sp>
        <p:sp>
          <p:nvSpPr>
            <p:cNvPr id="323" name="Freeform: Shape 322">
              <a:extLst>
                <a:ext uri="{FF2B5EF4-FFF2-40B4-BE49-F238E27FC236}">
                  <a16:creationId xmlns:a16="http://schemas.microsoft.com/office/drawing/2014/main" id="{832E72AB-B1E9-B972-F233-38299ED2CB4D}"/>
                </a:ext>
              </a:extLst>
            </p:cNvPr>
            <p:cNvSpPr/>
            <p:nvPr/>
          </p:nvSpPr>
          <p:spPr>
            <a:xfrm>
              <a:off x="5171873" y="3802488"/>
              <a:ext cx="181737" cy="17159"/>
            </a:xfrm>
            <a:custGeom>
              <a:avLst/>
              <a:gdLst>
                <a:gd name="connsiteX0" fmla="*/ 173158 w 181737"/>
                <a:gd name="connsiteY0" fmla="*/ 17160 h 17159"/>
                <a:gd name="connsiteX1" fmla="*/ 8580 w 181737"/>
                <a:gd name="connsiteY1" fmla="*/ 17160 h 17159"/>
                <a:gd name="connsiteX2" fmla="*/ 0 w 181737"/>
                <a:gd name="connsiteY2" fmla="*/ 8580 h 17159"/>
                <a:gd name="connsiteX3" fmla="*/ 8580 w 181737"/>
                <a:gd name="connsiteY3" fmla="*/ 0 h 17159"/>
                <a:gd name="connsiteX4" fmla="*/ 173158 w 181737"/>
                <a:gd name="connsiteY4" fmla="*/ 0 h 17159"/>
                <a:gd name="connsiteX5" fmla="*/ 181738 w 181737"/>
                <a:gd name="connsiteY5" fmla="*/ 8580 h 17159"/>
                <a:gd name="connsiteX6" fmla="*/ 173158 w 181737"/>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737" h="17159">
                  <a:moveTo>
                    <a:pt x="173158" y="17160"/>
                  </a:moveTo>
                  <a:lnTo>
                    <a:pt x="8580" y="17160"/>
                  </a:lnTo>
                  <a:cubicBezTo>
                    <a:pt x="4420" y="17160"/>
                    <a:pt x="0" y="14040"/>
                    <a:pt x="0" y="8580"/>
                  </a:cubicBezTo>
                  <a:cubicBezTo>
                    <a:pt x="0" y="3120"/>
                    <a:pt x="3120" y="0"/>
                    <a:pt x="8580" y="0"/>
                  </a:cubicBezTo>
                  <a:lnTo>
                    <a:pt x="173158" y="0"/>
                  </a:lnTo>
                  <a:cubicBezTo>
                    <a:pt x="177318" y="0"/>
                    <a:pt x="181738" y="3120"/>
                    <a:pt x="181738" y="8580"/>
                  </a:cubicBezTo>
                  <a:cubicBezTo>
                    <a:pt x="181738" y="14040"/>
                    <a:pt x="177578" y="17160"/>
                    <a:pt x="173158" y="17160"/>
                  </a:cubicBezTo>
                  <a:close/>
                </a:path>
              </a:pathLst>
            </a:custGeom>
            <a:solidFill>
              <a:srgbClr val="00005A"/>
            </a:solidFill>
            <a:ln w="2597" cap="flat">
              <a:noFill/>
              <a:prstDash val="solid"/>
              <a:miter/>
            </a:ln>
          </p:spPr>
          <p:txBody>
            <a:bodyPr rtlCol="0" anchor="ctr"/>
            <a:lstStyle/>
            <a:p>
              <a:endParaRPr lang="en-GB"/>
            </a:p>
          </p:txBody>
        </p:sp>
        <p:grpSp>
          <p:nvGrpSpPr>
            <p:cNvPr id="324" name="Graphic 6">
              <a:extLst>
                <a:ext uri="{FF2B5EF4-FFF2-40B4-BE49-F238E27FC236}">
                  <a16:creationId xmlns:a16="http://schemas.microsoft.com/office/drawing/2014/main" id="{335D7447-0DA3-9F01-1255-879A836BFCDF}"/>
                </a:ext>
              </a:extLst>
            </p:cNvPr>
            <p:cNvGrpSpPr/>
            <p:nvPr/>
          </p:nvGrpSpPr>
          <p:grpSpPr>
            <a:xfrm>
              <a:off x="5346071" y="3583051"/>
              <a:ext cx="431335" cy="571993"/>
              <a:chOff x="5346071" y="3583051"/>
              <a:chExt cx="431335" cy="571993"/>
            </a:xfrm>
          </p:grpSpPr>
          <p:grpSp>
            <p:nvGrpSpPr>
              <p:cNvPr id="326" name="Graphic 6">
                <a:extLst>
                  <a:ext uri="{FF2B5EF4-FFF2-40B4-BE49-F238E27FC236}">
                    <a16:creationId xmlns:a16="http://schemas.microsoft.com/office/drawing/2014/main" id="{23E2098E-9A27-262A-B4FA-69ED6EE2B640}"/>
                  </a:ext>
                </a:extLst>
              </p:cNvPr>
              <p:cNvGrpSpPr/>
              <p:nvPr/>
            </p:nvGrpSpPr>
            <p:grpSpPr>
              <a:xfrm>
                <a:off x="5379091" y="3775188"/>
                <a:ext cx="389475" cy="379855"/>
                <a:chOff x="5379091" y="3775188"/>
                <a:chExt cx="389475" cy="379855"/>
              </a:xfrm>
              <a:solidFill>
                <a:srgbClr val="0069FF"/>
              </a:solidFill>
            </p:grpSpPr>
            <p:grpSp>
              <p:nvGrpSpPr>
                <p:cNvPr id="338" name="Graphic 6">
                  <a:extLst>
                    <a:ext uri="{FF2B5EF4-FFF2-40B4-BE49-F238E27FC236}">
                      <a16:creationId xmlns:a16="http://schemas.microsoft.com/office/drawing/2014/main" id="{141D57CF-DCD6-27AE-EBBC-C442D9094778}"/>
                    </a:ext>
                  </a:extLst>
                </p:cNvPr>
                <p:cNvGrpSpPr/>
                <p:nvPr/>
              </p:nvGrpSpPr>
              <p:grpSpPr>
                <a:xfrm>
                  <a:off x="5379091" y="3775188"/>
                  <a:ext cx="86059" cy="379855"/>
                  <a:chOff x="5379091" y="3775188"/>
                  <a:chExt cx="86059" cy="379855"/>
                </a:xfrm>
                <a:solidFill>
                  <a:srgbClr val="0069FF"/>
                </a:solidFill>
              </p:grpSpPr>
              <p:sp>
                <p:nvSpPr>
                  <p:cNvPr id="351" name="Freeform: Shape 350">
                    <a:extLst>
                      <a:ext uri="{FF2B5EF4-FFF2-40B4-BE49-F238E27FC236}">
                        <a16:creationId xmlns:a16="http://schemas.microsoft.com/office/drawing/2014/main" id="{A2EA69DE-FC50-EC31-8470-93EDB677236D}"/>
                      </a:ext>
                    </a:extLst>
                  </p:cNvPr>
                  <p:cNvSpPr/>
                  <p:nvPr/>
                </p:nvSpPr>
                <p:spPr>
                  <a:xfrm>
                    <a:off x="5384291" y="3780388"/>
                    <a:ext cx="75659" cy="369590"/>
                  </a:xfrm>
                  <a:custGeom>
                    <a:avLst/>
                    <a:gdLst>
                      <a:gd name="connsiteX0" fmla="*/ 0 w 75659"/>
                      <a:gd name="connsiteY0" fmla="*/ 335396 h 369590"/>
                      <a:gd name="connsiteX1" fmla="*/ 0 w 75659"/>
                      <a:gd name="connsiteY1" fmla="*/ 34060 h 369590"/>
                      <a:gd name="connsiteX2" fmla="*/ 34060 w 75659"/>
                      <a:gd name="connsiteY2" fmla="*/ 0 h 369590"/>
                      <a:gd name="connsiteX3" fmla="*/ 41600 w 75659"/>
                      <a:gd name="connsiteY3" fmla="*/ 0 h 369590"/>
                      <a:gd name="connsiteX4" fmla="*/ 75659 w 75659"/>
                      <a:gd name="connsiteY4" fmla="*/ 34060 h 369590"/>
                      <a:gd name="connsiteX5" fmla="*/ 75659 w 75659"/>
                      <a:gd name="connsiteY5" fmla="*/ 335396 h 369590"/>
                      <a:gd name="connsiteX6" fmla="*/ 41600 w 75659"/>
                      <a:gd name="connsiteY6" fmla="*/ 369456 h 369590"/>
                      <a:gd name="connsiteX7" fmla="*/ 34060 w 75659"/>
                      <a:gd name="connsiteY7" fmla="*/ 369456 h 369590"/>
                      <a:gd name="connsiteX8" fmla="*/ 0 w 75659"/>
                      <a:gd name="connsiteY8" fmla="*/ 335396 h 36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59" h="369590">
                        <a:moveTo>
                          <a:pt x="0" y="335396"/>
                        </a:moveTo>
                        <a:lnTo>
                          <a:pt x="0" y="34060"/>
                        </a:lnTo>
                        <a:cubicBezTo>
                          <a:pt x="0" y="15080"/>
                          <a:pt x="15860" y="0"/>
                          <a:pt x="34060" y="0"/>
                        </a:cubicBezTo>
                        <a:lnTo>
                          <a:pt x="41600" y="0"/>
                        </a:lnTo>
                        <a:cubicBezTo>
                          <a:pt x="60579" y="0"/>
                          <a:pt x="75659" y="15860"/>
                          <a:pt x="75659" y="34060"/>
                        </a:cubicBezTo>
                        <a:lnTo>
                          <a:pt x="75659" y="335396"/>
                        </a:lnTo>
                        <a:cubicBezTo>
                          <a:pt x="75659" y="354376"/>
                          <a:pt x="59799" y="369456"/>
                          <a:pt x="41600" y="369456"/>
                        </a:cubicBezTo>
                        <a:lnTo>
                          <a:pt x="34060" y="369456"/>
                        </a:lnTo>
                        <a:cubicBezTo>
                          <a:pt x="16120" y="371276"/>
                          <a:pt x="0" y="354376"/>
                          <a:pt x="0" y="335396"/>
                        </a:cubicBezTo>
                        <a:close/>
                      </a:path>
                    </a:pathLst>
                  </a:custGeom>
                  <a:solidFill>
                    <a:srgbClr val="0069FF"/>
                  </a:solidFill>
                  <a:ln w="2597" cap="flat">
                    <a:noFill/>
                    <a:prstDash val="solid"/>
                    <a:miter/>
                  </a:ln>
                </p:spPr>
                <p:txBody>
                  <a:bodyPr rtlCol="0" anchor="ctr"/>
                  <a:lstStyle/>
                  <a:p>
                    <a:endParaRPr lang="en-GB"/>
                  </a:p>
                </p:txBody>
              </p:sp>
              <p:sp>
                <p:nvSpPr>
                  <p:cNvPr id="352" name="Freeform: Shape 351">
                    <a:extLst>
                      <a:ext uri="{FF2B5EF4-FFF2-40B4-BE49-F238E27FC236}">
                        <a16:creationId xmlns:a16="http://schemas.microsoft.com/office/drawing/2014/main" id="{8176D0B8-D527-2EBD-F1AF-E2860C24D417}"/>
                      </a:ext>
                    </a:extLst>
                  </p:cNvPr>
                  <p:cNvSpPr/>
                  <p:nvPr/>
                </p:nvSpPr>
                <p:spPr>
                  <a:xfrm>
                    <a:off x="5379091" y="3775188"/>
                    <a:ext cx="86059" cy="379855"/>
                  </a:xfrm>
                  <a:custGeom>
                    <a:avLst/>
                    <a:gdLst>
                      <a:gd name="connsiteX0" fmla="*/ 36140 w 86059"/>
                      <a:gd name="connsiteY0" fmla="*/ 379856 h 379855"/>
                      <a:gd name="connsiteX1" fmla="*/ 13780 w 86059"/>
                      <a:gd name="connsiteY1" fmla="*/ 371276 h 379855"/>
                      <a:gd name="connsiteX2" fmla="*/ 0 w 86059"/>
                      <a:gd name="connsiteY2" fmla="*/ 340596 h 379855"/>
                      <a:gd name="connsiteX3" fmla="*/ 0 w 86059"/>
                      <a:gd name="connsiteY3" fmla="*/ 39259 h 379855"/>
                      <a:gd name="connsiteX4" fmla="*/ 39260 w 86059"/>
                      <a:gd name="connsiteY4" fmla="*/ 0 h 379855"/>
                      <a:gd name="connsiteX5" fmla="*/ 46799 w 86059"/>
                      <a:gd name="connsiteY5" fmla="*/ 0 h 379855"/>
                      <a:gd name="connsiteX6" fmla="*/ 86059 w 86059"/>
                      <a:gd name="connsiteY6" fmla="*/ 39259 h 379855"/>
                      <a:gd name="connsiteX7" fmla="*/ 86059 w 86059"/>
                      <a:gd name="connsiteY7" fmla="*/ 340596 h 379855"/>
                      <a:gd name="connsiteX8" fmla="*/ 46799 w 86059"/>
                      <a:gd name="connsiteY8" fmla="*/ 379856 h 379855"/>
                      <a:gd name="connsiteX9" fmla="*/ 39260 w 86059"/>
                      <a:gd name="connsiteY9" fmla="*/ 379856 h 379855"/>
                      <a:gd name="connsiteX10" fmla="*/ 36140 w 86059"/>
                      <a:gd name="connsiteY10" fmla="*/ 379856 h 379855"/>
                      <a:gd name="connsiteX11" fmla="*/ 39260 w 86059"/>
                      <a:gd name="connsiteY11" fmla="*/ 10400 h 379855"/>
                      <a:gd name="connsiteX12" fmla="*/ 10660 w 86059"/>
                      <a:gd name="connsiteY12" fmla="*/ 39000 h 379855"/>
                      <a:gd name="connsiteX13" fmla="*/ 10660 w 86059"/>
                      <a:gd name="connsiteY13" fmla="*/ 340336 h 379855"/>
                      <a:gd name="connsiteX14" fmla="*/ 21320 w 86059"/>
                      <a:gd name="connsiteY14" fmla="*/ 362696 h 379855"/>
                      <a:gd name="connsiteX15" fmla="*/ 39260 w 86059"/>
                      <a:gd name="connsiteY15" fmla="*/ 368936 h 379855"/>
                      <a:gd name="connsiteX16" fmla="*/ 47840 w 86059"/>
                      <a:gd name="connsiteY16" fmla="*/ 368936 h 379855"/>
                      <a:gd name="connsiteX17" fmla="*/ 76439 w 86059"/>
                      <a:gd name="connsiteY17" fmla="*/ 340336 h 379855"/>
                      <a:gd name="connsiteX18" fmla="*/ 76439 w 86059"/>
                      <a:gd name="connsiteY18" fmla="*/ 39000 h 379855"/>
                      <a:gd name="connsiteX19" fmla="*/ 47840 w 86059"/>
                      <a:gd name="connsiteY19" fmla="*/ 10400 h 379855"/>
                      <a:gd name="connsiteX20" fmla="*/ 39260 w 86059"/>
                      <a:gd name="connsiteY20" fmla="*/ 10400 h 37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6059" h="379855">
                        <a:moveTo>
                          <a:pt x="36140" y="379856"/>
                        </a:moveTo>
                        <a:cubicBezTo>
                          <a:pt x="28600" y="379856"/>
                          <a:pt x="20280" y="376736"/>
                          <a:pt x="13780" y="371276"/>
                        </a:cubicBezTo>
                        <a:cubicBezTo>
                          <a:pt x="5200" y="363736"/>
                          <a:pt x="0" y="352296"/>
                          <a:pt x="0" y="340596"/>
                        </a:cubicBezTo>
                        <a:lnTo>
                          <a:pt x="0" y="39259"/>
                        </a:lnTo>
                        <a:cubicBezTo>
                          <a:pt x="0" y="17940"/>
                          <a:pt x="17940" y="0"/>
                          <a:pt x="39260" y="0"/>
                        </a:cubicBezTo>
                        <a:lnTo>
                          <a:pt x="46799" y="0"/>
                        </a:lnTo>
                        <a:cubicBezTo>
                          <a:pt x="68119" y="0"/>
                          <a:pt x="86059" y="17940"/>
                          <a:pt x="86059" y="39259"/>
                        </a:cubicBezTo>
                        <a:lnTo>
                          <a:pt x="86059" y="340596"/>
                        </a:lnTo>
                        <a:cubicBezTo>
                          <a:pt x="86059" y="361916"/>
                          <a:pt x="68119" y="379856"/>
                          <a:pt x="46799" y="379856"/>
                        </a:cubicBezTo>
                        <a:lnTo>
                          <a:pt x="39260" y="379856"/>
                        </a:lnTo>
                        <a:cubicBezTo>
                          <a:pt x="38220" y="379856"/>
                          <a:pt x="37180" y="379856"/>
                          <a:pt x="36140" y="379856"/>
                        </a:cubicBezTo>
                        <a:close/>
                        <a:moveTo>
                          <a:pt x="39260" y="10400"/>
                        </a:moveTo>
                        <a:cubicBezTo>
                          <a:pt x="23400" y="10400"/>
                          <a:pt x="10660" y="23140"/>
                          <a:pt x="10660" y="39000"/>
                        </a:cubicBezTo>
                        <a:lnTo>
                          <a:pt x="10660" y="340336"/>
                        </a:lnTo>
                        <a:cubicBezTo>
                          <a:pt x="10660" y="348916"/>
                          <a:pt x="14820" y="357236"/>
                          <a:pt x="21320" y="362696"/>
                        </a:cubicBezTo>
                        <a:cubicBezTo>
                          <a:pt x="26520" y="366856"/>
                          <a:pt x="33020" y="368936"/>
                          <a:pt x="39260" y="368936"/>
                        </a:cubicBezTo>
                        <a:lnTo>
                          <a:pt x="47840" y="368936"/>
                        </a:lnTo>
                        <a:cubicBezTo>
                          <a:pt x="63699" y="368936"/>
                          <a:pt x="76439" y="356196"/>
                          <a:pt x="76439" y="340336"/>
                        </a:cubicBezTo>
                        <a:lnTo>
                          <a:pt x="76439" y="39000"/>
                        </a:lnTo>
                        <a:cubicBezTo>
                          <a:pt x="76439" y="23140"/>
                          <a:pt x="63699" y="10400"/>
                          <a:pt x="47840" y="10400"/>
                        </a:cubicBezTo>
                        <a:lnTo>
                          <a:pt x="39260" y="10400"/>
                        </a:lnTo>
                        <a:close/>
                      </a:path>
                    </a:pathLst>
                  </a:custGeom>
                  <a:solidFill>
                    <a:srgbClr val="0069FF"/>
                  </a:solidFill>
                  <a:ln w="2597" cap="flat">
                    <a:noFill/>
                    <a:prstDash val="solid"/>
                    <a:miter/>
                  </a:ln>
                </p:spPr>
                <p:txBody>
                  <a:bodyPr rtlCol="0" anchor="ctr"/>
                  <a:lstStyle/>
                  <a:p>
                    <a:endParaRPr lang="en-GB"/>
                  </a:p>
                </p:txBody>
              </p:sp>
            </p:grpSp>
            <p:grpSp>
              <p:nvGrpSpPr>
                <p:cNvPr id="339" name="Graphic 6">
                  <a:extLst>
                    <a:ext uri="{FF2B5EF4-FFF2-40B4-BE49-F238E27FC236}">
                      <a16:creationId xmlns:a16="http://schemas.microsoft.com/office/drawing/2014/main" id="{6F90B88B-0BAB-76CF-C8FB-8CC2739FEC30}"/>
                    </a:ext>
                  </a:extLst>
                </p:cNvPr>
                <p:cNvGrpSpPr/>
                <p:nvPr/>
              </p:nvGrpSpPr>
              <p:grpSpPr>
                <a:xfrm>
                  <a:off x="5454490" y="3775188"/>
                  <a:ext cx="86059" cy="379855"/>
                  <a:chOff x="5454490" y="3775188"/>
                  <a:chExt cx="86059" cy="379855"/>
                </a:xfrm>
                <a:solidFill>
                  <a:srgbClr val="0069FF"/>
                </a:solidFill>
              </p:grpSpPr>
              <p:sp>
                <p:nvSpPr>
                  <p:cNvPr id="349" name="Freeform: Shape 348">
                    <a:extLst>
                      <a:ext uri="{FF2B5EF4-FFF2-40B4-BE49-F238E27FC236}">
                        <a16:creationId xmlns:a16="http://schemas.microsoft.com/office/drawing/2014/main" id="{F76CF33B-859A-BAA2-6030-639D928C78A4}"/>
                      </a:ext>
                    </a:extLst>
                  </p:cNvPr>
                  <p:cNvSpPr/>
                  <p:nvPr/>
                </p:nvSpPr>
                <p:spPr>
                  <a:xfrm>
                    <a:off x="5459690" y="3780388"/>
                    <a:ext cx="75659" cy="369590"/>
                  </a:xfrm>
                  <a:custGeom>
                    <a:avLst/>
                    <a:gdLst>
                      <a:gd name="connsiteX0" fmla="*/ 0 w 75659"/>
                      <a:gd name="connsiteY0" fmla="*/ 335396 h 369590"/>
                      <a:gd name="connsiteX1" fmla="*/ 0 w 75659"/>
                      <a:gd name="connsiteY1" fmla="*/ 34060 h 369590"/>
                      <a:gd name="connsiteX2" fmla="*/ 34060 w 75659"/>
                      <a:gd name="connsiteY2" fmla="*/ 0 h 369590"/>
                      <a:gd name="connsiteX3" fmla="*/ 41600 w 75659"/>
                      <a:gd name="connsiteY3" fmla="*/ 0 h 369590"/>
                      <a:gd name="connsiteX4" fmla="*/ 75659 w 75659"/>
                      <a:gd name="connsiteY4" fmla="*/ 34060 h 369590"/>
                      <a:gd name="connsiteX5" fmla="*/ 75659 w 75659"/>
                      <a:gd name="connsiteY5" fmla="*/ 335396 h 369590"/>
                      <a:gd name="connsiteX6" fmla="*/ 41600 w 75659"/>
                      <a:gd name="connsiteY6" fmla="*/ 369456 h 369590"/>
                      <a:gd name="connsiteX7" fmla="*/ 34060 w 75659"/>
                      <a:gd name="connsiteY7" fmla="*/ 369456 h 369590"/>
                      <a:gd name="connsiteX8" fmla="*/ 0 w 75659"/>
                      <a:gd name="connsiteY8" fmla="*/ 335396 h 36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59" h="369590">
                        <a:moveTo>
                          <a:pt x="0" y="335396"/>
                        </a:moveTo>
                        <a:lnTo>
                          <a:pt x="0" y="34060"/>
                        </a:lnTo>
                        <a:cubicBezTo>
                          <a:pt x="0" y="15080"/>
                          <a:pt x="15860" y="0"/>
                          <a:pt x="34060" y="0"/>
                        </a:cubicBezTo>
                        <a:lnTo>
                          <a:pt x="41600" y="0"/>
                        </a:lnTo>
                        <a:cubicBezTo>
                          <a:pt x="60579" y="0"/>
                          <a:pt x="75659" y="15860"/>
                          <a:pt x="75659" y="34060"/>
                        </a:cubicBezTo>
                        <a:lnTo>
                          <a:pt x="75659" y="335396"/>
                        </a:lnTo>
                        <a:cubicBezTo>
                          <a:pt x="75659" y="354376"/>
                          <a:pt x="59799" y="369456"/>
                          <a:pt x="41600" y="369456"/>
                        </a:cubicBezTo>
                        <a:lnTo>
                          <a:pt x="34060" y="369456"/>
                        </a:lnTo>
                        <a:cubicBezTo>
                          <a:pt x="14820" y="371276"/>
                          <a:pt x="0" y="354376"/>
                          <a:pt x="0" y="335396"/>
                        </a:cubicBezTo>
                        <a:close/>
                      </a:path>
                    </a:pathLst>
                  </a:custGeom>
                  <a:solidFill>
                    <a:srgbClr val="0069FF"/>
                  </a:solidFill>
                  <a:ln w="2597" cap="flat">
                    <a:noFill/>
                    <a:prstDash val="solid"/>
                    <a:miter/>
                  </a:ln>
                </p:spPr>
                <p:txBody>
                  <a:bodyPr rtlCol="0" anchor="ctr"/>
                  <a:lstStyle/>
                  <a:p>
                    <a:endParaRPr lang="en-GB"/>
                  </a:p>
                </p:txBody>
              </p:sp>
              <p:sp>
                <p:nvSpPr>
                  <p:cNvPr id="350" name="Freeform: Shape 349">
                    <a:extLst>
                      <a:ext uri="{FF2B5EF4-FFF2-40B4-BE49-F238E27FC236}">
                        <a16:creationId xmlns:a16="http://schemas.microsoft.com/office/drawing/2014/main" id="{AEE5E926-275F-DACC-1CF8-905A27438014}"/>
                      </a:ext>
                    </a:extLst>
                  </p:cNvPr>
                  <p:cNvSpPr/>
                  <p:nvPr/>
                </p:nvSpPr>
                <p:spPr>
                  <a:xfrm>
                    <a:off x="5454490" y="3775188"/>
                    <a:ext cx="86059" cy="379855"/>
                  </a:xfrm>
                  <a:custGeom>
                    <a:avLst/>
                    <a:gdLst>
                      <a:gd name="connsiteX0" fmla="*/ 36140 w 86059"/>
                      <a:gd name="connsiteY0" fmla="*/ 379856 h 379855"/>
                      <a:gd name="connsiteX1" fmla="*/ 13780 w 86059"/>
                      <a:gd name="connsiteY1" fmla="*/ 371276 h 379855"/>
                      <a:gd name="connsiteX2" fmla="*/ 0 w 86059"/>
                      <a:gd name="connsiteY2" fmla="*/ 340596 h 379855"/>
                      <a:gd name="connsiteX3" fmla="*/ 0 w 86059"/>
                      <a:gd name="connsiteY3" fmla="*/ 39259 h 379855"/>
                      <a:gd name="connsiteX4" fmla="*/ 39260 w 86059"/>
                      <a:gd name="connsiteY4" fmla="*/ 0 h 379855"/>
                      <a:gd name="connsiteX5" fmla="*/ 46799 w 86059"/>
                      <a:gd name="connsiteY5" fmla="*/ 0 h 379855"/>
                      <a:gd name="connsiteX6" fmla="*/ 86059 w 86059"/>
                      <a:gd name="connsiteY6" fmla="*/ 39259 h 379855"/>
                      <a:gd name="connsiteX7" fmla="*/ 86059 w 86059"/>
                      <a:gd name="connsiteY7" fmla="*/ 340596 h 379855"/>
                      <a:gd name="connsiteX8" fmla="*/ 46799 w 86059"/>
                      <a:gd name="connsiteY8" fmla="*/ 379856 h 379855"/>
                      <a:gd name="connsiteX9" fmla="*/ 39260 w 86059"/>
                      <a:gd name="connsiteY9" fmla="*/ 379856 h 379855"/>
                      <a:gd name="connsiteX10" fmla="*/ 36140 w 86059"/>
                      <a:gd name="connsiteY10" fmla="*/ 379856 h 379855"/>
                      <a:gd name="connsiteX11" fmla="*/ 39260 w 86059"/>
                      <a:gd name="connsiteY11" fmla="*/ 10400 h 379855"/>
                      <a:gd name="connsiteX12" fmla="*/ 10660 w 86059"/>
                      <a:gd name="connsiteY12" fmla="*/ 39000 h 379855"/>
                      <a:gd name="connsiteX13" fmla="*/ 10660 w 86059"/>
                      <a:gd name="connsiteY13" fmla="*/ 340336 h 379855"/>
                      <a:gd name="connsiteX14" fmla="*/ 20280 w 86059"/>
                      <a:gd name="connsiteY14" fmla="*/ 362696 h 379855"/>
                      <a:gd name="connsiteX15" fmla="*/ 38220 w 86059"/>
                      <a:gd name="connsiteY15" fmla="*/ 368936 h 379855"/>
                      <a:gd name="connsiteX16" fmla="*/ 46799 w 86059"/>
                      <a:gd name="connsiteY16" fmla="*/ 368936 h 379855"/>
                      <a:gd name="connsiteX17" fmla="*/ 75399 w 86059"/>
                      <a:gd name="connsiteY17" fmla="*/ 340336 h 379855"/>
                      <a:gd name="connsiteX18" fmla="*/ 75399 w 86059"/>
                      <a:gd name="connsiteY18" fmla="*/ 39000 h 379855"/>
                      <a:gd name="connsiteX19" fmla="*/ 46799 w 86059"/>
                      <a:gd name="connsiteY19" fmla="*/ 10400 h 379855"/>
                      <a:gd name="connsiteX20" fmla="*/ 39260 w 86059"/>
                      <a:gd name="connsiteY20" fmla="*/ 10400 h 37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6059" h="379855">
                        <a:moveTo>
                          <a:pt x="36140" y="379856"/>
                        </a:moveTo>
                        <a:cubicBezTo>
                          <a:pt x="27560" y="379856"/>
                          <a:pt x="20280" y="376736"/>
                          <a:pt x="13780" y="371276"/>
                        </a:cubicBezTo>
                        <a:cubicBezTo>
                          <a:pt x="5200" y="363736"/>
                          <a:pt x="0" y="352296"/>
                          <a:pt x="0" y="340596"/>
                        </a:cubicBezTo>
                        <a:lnTo>
                          <a:pt x="0" y="39259"/>
                        </a:lnTo>
                        <a:cubicBezTo>
                          <a:pt x="0" y="17940"/>
                          <a:pt x="17940" y="0"/>
                          <a:pt x="39260" y="0"/>
                        </a:cubicBezTo>
                        <a:lnTo>
                          <a:pt x="46799" y="0"/>
                        </a:lnTo>
                        <a:cubicBezTo>
                          <a:pt x="68119" y="0"/>
                          <a:pt x="86059" y="17940"/>
                          <a:pt x="86059" y="39259"/>
                        </a:cubicBezTo>
                        <a:lnTo>
                          <a:pt x="86059" y="340596"/>
                        </a:lnTo>
                        <a:cubicBezTo>
                          <a:pt x="86059" y="361916"/>
                          <a:pt x="68119" y="379856"/>
                          <a:pt x="46799" y="379856"/>
                        </a:cubicBezTo>
                        <a:lnTo>
                          <a:pt x="39260" y="379856"/>
                        </a:lnTo>
                        <a:cubicBezTo>
                          <a:pt x="38220" y="379856"/>
                          <a:pt x="37180" y="379856"/>
                          <a:pt x="36140" y="379856"/>
                        </a:cubicBezTo>
                        <a:close/>
                        <a:moveTo>
                          <a:pt x="39260" y="10400"/>
                        </a:moveTo>
                        <a:cubicBezTo>
                          <a:pt x="23400" y="10400"/>
                          <a:pt x="10660" y="23140"/>
                          <a:pt x="10660" y="39000"/>
                        </a:cubicBezTo>
                        <a:lnTo>
                          <a:pt x="10660" y="340336"/>
                        </a:lnTo>
                        <a:cubicBezTo>
                          <a:pt x="10660" y="348916"/>
                          <a:pt x="13780" y="357236"/>
                          <a:pt x="20280" y="362696"/>
                        </a:cubicBezTo>
                        <a:cubicBezTo>
                          <a:pt x="23400" y="365816"/>
                          <a:pt x="29900" y="370236"/>
                          <a:pt x="38220" y="368936"/>
                        </a:cubicBezTo>
                        <a:lnTo>
                          <a:pt x="46799" y="368936"/>
                        </a:lnTo>
                        <a:cubicBezTo>
                          <a:pt x="62660" y="368936"/>
                          <a:pt x="75399" y="356196"/>
                          <a:pt x="75399" y="340336"/>
                        </a:cubicBezTo>
                        <a:lnTo>
                          <a:pt x="75399" y="39000"/>
                        </a:lnTo>
                        <a:cubicBezTo>
                          <a:pt x="75399" y="23140"/>
                          <a:pt x="62660" y="10400"/>
                          <a:pt x="46799" y="10400"/>
                        </a:cubicBezTo>
                        <a:lnTo>
                          <a:pt x="39260" y="10400"/>
                        </a:lnTo>
                        <a:close/>
                      </a:path>
                    </a:pathLst>
                  </a:custGeom>
                  <a:solidFill>
                    <a:srgbClr val="0069FF"/>
                  </a:solidFill>
                  <a:ln w="2597" cap="flat">
                    <a:noFill/>
                    <a:prstDash val="solid"/>
                    <a:miter/>
                  </a:ln>
                </p:spPr>
                <p:txBody>
                  <a:bodyPr rtlCol="0" anchor="ctr"/>
                  <a:lstStyle/>
                  <a:p>
                    <a:endParaRPr lang="en-GB"/>
                  </a:p>
                </p:txBody>
              </p:sp>
            </p:grpSp>
            <p:grpSp>
              <p:nvGrpSpPr>
                <p:cNvPr id="340" name="Graphic 6">
                  <a:extLst>
                    <a:ext uri="{FF2B5EF4-FFF2-40B4-BE49-F238E27FC236}">
                      <a16:creationId xmlns:a16="http://schemas.microsoft.com/office/drawing/2014/main" id="{0570EFCD-68BB-EC5C-C9DA-F9ADA627A9BE}"/>
                    </a:ext>
                  </a:extLst>
                </p:cNvPr>
                <p:cNvGrpSpPr/>
                <p:nvPr/>
              </p:nvGrpSpPr>
              <p:grpSpPr>
                <a:xfrm>
                  <a:off x="5530669" y="3775188"/>
                  <a:ext cx="86058" cy="379855"/>
                  <a:chOff x="5530669" y="3775188"/>
                  <a:chExt cx="86058" cy="379855"/>
                </a:xfrm>
                <a:solidFill>
                  <a:srgbClr val="0069FF"/>
                </a:solidFill>
              </p:grpSpPr>
              <p:sp>
                <p:nvSpPr>
                  <p:cNvPr id="347" name="Freeform: Shape 346">
                    <a:extLst>
                      <a:ext uri="{FF2B5EF4-FFF2-40B4-BE49-F238E27FC236}">
                        <a16:creationId xmlns:a16="http://schemas.microsoft.com/office/drawing/2014/main" id="{1C9FD592-FECD-5EF1-24D9-A08159A610A8}"/>
                      </a:ext>
                    </a:extLst>
                  </p:cNvPr>
                  <p:cNvSpPr/>
                  <p:nvPr/>
                </p:nvSpPr>
                <p:spPr>
                  <a:xfrm>
                    <a:off x="5536129" y="3780388"/>
                    <a:ext cx="75659" cy="369590"/>
                  </a:xfrm>
                  <a:custGeom>
                    <a:avLst/>
                    <a:gdLst>
                      <a:gd name="connsiteX0" fmla="*/ 0 w 75659"/>
                      <a:gd name="connsiteY0" fmla="*/ 335396 h 369590"/>
                      <a:gd name="connsiteX1" fmla="*/ 0 w 75659"/>
                      <a:gd name="connsiteY1" fmla="*/ 34060 h 369590"/>
                      <a:gd name="connsiteX2" fmla="*/ 34060 w 75659"/>
                      <a:gd name="connsiteY2" fmla="*/ 0 h 369590"/>
                      <a:gd name="connsiteX3" fmla="*/ 41600 w 75659"/>
                      <a:gd name="connsiteY3" fmla="*/ 0 h 369590"/>
                      <a:gd name="connsiteX4" fmla="*/ 75659 w 75659"/>
                      <a:gd name="connsiteY4" fmla="*/ 34060 h 369590"/>
                      <a:gd name="connsiteX5" fmla="*/ 75659 w 75659"/>
                      <a:gd name="connsiteY5" fmla="*/ 335396 h 369590"/>
                      <a:gd name="connsiteX6" fmla="*/ 41600 w 75659"/>
                      <a:gd name="connsiteY6" fmla="*/ 369456 h 369590"/>
                      <a:gd name="connsiteX7" fmla="*/ 34060 w 75659"/>
                      <a:gd name="connsiteY7" fmla="*/ 369456 h 369590"/>
                      <a:gd name="connsiteX8" fmla="*/ 0 w 75659"/>
                      <a:gd name="connsiteY8" fmla="*/ 335396 h 36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59" h="369590">
                        <a:moveTo>
                          <a:pt x="0" y="335396"/>
                        </a:moveTo>
                        <a:lnTo>
                          <a:pt x="0" y="34060"/>
                        </a:lnTo>
                        <a:cubicBezTo>
                          <a:pt x="0" y="15080"/>
                          <a:pt x="15860" y="0"/>
                          <a:pt x="34060" y="0"/>
                        </a:cubicBezTo>
                        <a:lnTo>
                          <a:pt x="41600" y="0"/>
                        </a:lnTo>
                        <a:cubicBezTo>
                          <a:pt x="60579" y="0"/>
                          <a:pt x="75659" y="15860"/>
                          <a:pt x="75659" y="34060"/>
                        </a:cubicBezTo>
                        <a:lnTo>
                          <a:pt x="75659" y="335396"/>
                        </a:lnTo>
                        <a:cubicBezTo>
                          <a:pt x="75659" y="354376"/>
                          <a:pt x="59799" y="369456"/>
                          <a:pt x="41600" y="369456"/>
                        </a:cubicBezTo>
                        <a:lnTo>
                          <a:pt x="34060" y="369456"/>
                        </a:lnTo>
                        <a:cubicBezTo>
                          <a:pt x="15860" y="371276"/>
                          <a:pt x="0" y="354376"/>
                          <a:pt x="0" y="335396"/>
                        </a:cubicBezTo>
                        <a:close/>
                      </a:path>
                    </a:pathLst>
                  </a:custGeom>
                  <a:solidFill>
                    <a:srgbClr val="0069FF"/>
                  </a:solidFill>
                  <a:ln w="2597" cap="flat">
                    <a:noFill/>
                    <a:prstDash val="solid"/>
                    <a:miter/>
                  </a:ln>
                </p:spPr>
                <p:txBody>
                  <a:bodyPr rtlCol="0" anchor="ctr"/>
                  <a:lstStyle/>
                  <a:p>
                    <a:endParaRPr lang="en-GB"/>
                  </a:p>
                </p:txBody>
              </p:sp>
              <p:sp>
                <p:nvSpPr>
                  <p:cNvPr id="348" name="Freeform: Shape 347">
                    <a:extLst>
                      <a:ext uri="{FF2B5EF4-FFF2-40B4-BE49-F238E27FC236}">
                        <a16:creationId xmlns:a16="http://schemas.microsoft.com/office/drawing/2014/main" id="{B5A683C1-45E1-3BFE-CEF0-A3C6DECB6017}"/>
                      </a:ext>
                    </a:extLst>
                  </p:cNvPr>
                  <p:cNvSpPr/>
                  <p:nvPr/>
                </p:nvSpPr>
                <p:spPr>
                  <a:xfrm>
                    <a:off x="5530669" y="3775188"/>
                    <a:ext cx="86058" cy="379855"/>
                  </a:xfrm>
                  <a:custGeom>
                    <a:avLst/>
                    <a:gdLst>
                      <a:gd name="connsiteX0" fmla="*/ 36140 w 86058"/>
                      <a:gd name="connsiteY0" fmla="*/ 379856 h 379855"/>
                      <a:gd name="connsiteX1" fmla="*/ 13780 w 86058"/>
                      <a:gd name="connsiteY1" fmla="*/ 371276 h 379855"/>
                      <a:gd name="connsiteX2" fmla="*/ 0 w 86058"/>
                      <a:gd name="connsiteY2" fmla="*/ 340596 h 379855"/>
                      <a:gd name="connsiteX3" fmla="*/ 0 w 86058"/>
                      <a:gd name="connsiteY3" fmla="*/ 39259 h 379855"/>
                      <a:gd name="connsiteX4" fmla="*/ 39259 w 86058"/>
                      <a:gd name="connsiteY4" fmla="*/ 0 h 379855"/>
                      <a:gd name="connsiteX5" fmla="*/ 46799 w 86058"/>
                      <a:gd name="connsiteY5" fmla="*/ 0 h 379855"/>
                      <a:gd name="connsiteX6" fmla="*/ 86059 w 86058"/>
                      <a:gd name="connsiteY6" fmla="*/ 39259 h 379855"/>
                      <a:gd name="connsiteX7" fmla="*/ 86059 w 86058"/>
                      <a:gd name="connsiteY7" fmla="*/ 340596 h 379855"/>
                      <a:gd name="connsiteX8" fmla="*/ 46799 w 86058"/>
                      <a:gd name="connsiteY8" fmla="*/ 379856 h 379855"/>
                      <a:gd name="connsiteX9" fmla="*/ 39259 w 86058"/>
                      <a:gd name="connsiteY9" fmla="*/ 379856 h 379855"/>
                      <a:gd name="connsiteX10" fmla="*/ 36140 w 86058"/>
                      <a:gd name="connsiteY10" fmla="*/ 379856 h 379855"/>
                      <a:gd name="connsiteX11" fmla="*/ 39519 w 86058"/>
                      <a:gd name="connsiteY11" fmla="*/ 10400 h 379855"/>
                      <a:gd name="connsiteX12" fmla="*/ 10920 w 86058"/>
                      <a:gd name="connsiteY12" fmla="*/ 39000 h 379855"/>
                      <a:gd name="connsiteX13" fmla="*/ 10920 w 86058"/>
                      <a:gd name="connsiteY13" fmla="*/ 340336 h 379855"/>
                      <a:gd name="connsiteX14" fmla="*/ 21580 w 86058"/>
                      <a:gd name="connsiteY14" fmla="*/ 362696 h 379855"/>
                      <a:gd name="connsiteX15" fmla="*/ 39519 w 86058"/>
                      <a:gd name="connsiteY15" fmla="*/ 368936 h 379855"/>
                      <a:gd name="connsiteX16" fmla="*/ 48099 w 86058"/>
                      <a:gd name="connsiteY16" fmla="*/ 368936 h 379855"/>
                      <a:gd name="connsiteX17" fmla="*/ 76699 w 86058"/>
                      <a:gd name="connsiteY17" fmla="*/ 340336 h 379855"/>
                      <a:gd name="connsiteX18" fmla="*/ 76699 w 86058"/>
                      <a:gd name="connsiteY18" fmla="*/ 39000 h 379855"/>
                      <a:gd name="connsiteX19" fmla="*/ 48099 w 86058"/>
                      <a:gd name="connsiteY19" fmla="*/ 10400 h 379855"/>
                      <a:gd name="connsiteX20" fmla="*/ 39519 w 86058"/>
                      <a:gd name="connsiteY20" fmla="*/ 10400 h 37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6058" h="379855">
                        <a:moveTo>
                          <a:pt x="36140" y="379856"/>
                        </a:moveTo>
                        <a:cubicBezTo>
                          <a:pt x="28600" y="379856"/>
                          <a:pt x="20280" y="376736"/>
                          <a:pt x="13780" y="371276"/>
                        </a:cubicBezTo>
                        <a:cubicBezTo>
                          <a:pt x="5200" y="363736"/>
                          <a:pt x="0" y="352296"/>
                          <a:pt x="0" y="340596"/>
                        </a:cubicBezTo>
                        <a:lnTo>
                          <a:pt x="0" y="39259"/>
                        </a:lnTo>
                        <a:cubicBezTo>
                          <a:pt x="0" y="17940"/>
                          <a:pt x="17940" y="0"/>
                          <a:pt x="39259" y="0"/>
                        </a:cubicBezTo>
                        <a:lnTo>
                          <a:pt x="46799" y="0"/>
                        </a:lnTo>
                        <a:cubicBezTo>
                          <a:pt x="68119" y="0"/>
                          <a:pt x="86059" y="17940"/>
                          <a:pt x="86059" y="39259"/>
                        </a:cubicBezTo>
                        <a:lnTo>
                          <a:pt x="86059" y="340596"/>
                        </a:lnTo>
                        <a:cubicBezTo>
                          <a:pt x="86059" y="361916"/>
                          <a:pt x="68119" y="379856"/>
                          <a:pt x="46799" y="379856"/>
                        </a:cubicBezTo>
                        <a:lnTo>
                          <a:pt x="39259" y="379856"/>
                        </a:lnTo>
                        <a:cubicBezTo>
                          <a:pt x="38480" y="379856"/>
                          <a:pt x="37180" y="379856"/>
                          <a:pt x="36140" y="379856"/>
                        </a:cubicBezTo>
                        <a:close/>
                        <a:moveTo>
                          <a:pt x="39519" y="10400"/>
                        </a:moveTo>
                        <a:cubicBezTo>
                          <a:pt x="23660" y="10400"/>
                          <a:pt x="10920" y="23140"/>
                          <a:pt x="10920" y="39000"/>
                        </a:cubicBezTo>
                        <a:lnTo>
                          <a:pt x="10920" y="340336"/>
                        </a:lnTo>
                        <a:cubicBezTo>
                          <a:pt x="10920" y="348916"/>
                          <a:pt x="15080" y="357236"/>
                          <a:pt x="21580" y="362696"/>
                        </a:cubicBezTo>
                        <a:cubicBezTo>
                          <a:pt x="26780" y="366856"/>
                          <a:pt x="33280" y="368936"/>
                          <a:pt x="39519" y="368936"/>
                        </a:cubicBezTo>
                        <a:lnTo>
                          <a:pt x="48099" y="368936"/>
                        </a:lnTo>
                        <a:cubicBezTo>
                          <a:pt x="63959" y="368936"/>
                          <a:pt x="76699" y="356196"/>
                          <a:pt x="76699" y="340336"/>
                        </a:cubicBezTo>
                        <a:lnTo>
                          <a:pt x="76699" y="39000"/>
                        </a:lnTo>
                        <a:cubicBezTo>
                          <a:pt x="76699" y="23140"/>
                          <a:pt x="63959" y="10400"/>
                          <a:pt x="48099" y="10400"/>
                        </a:cubicBezTo>
                        <a:lnTo>
                          <a:pt x="39519" y="10400"/>
                        </a:lnTo>
                        <a:close/>
                      </a:path>
                    </a:pathLst>
                  </a:custGeom>
                  <a:solidFill>
                    <a:srgbClr val="0069FF"/>
                  </a:solidFill>
                  <a:ln w="2597" cap="flat">
                    <a:noFill/>
                    <a:prstDash val="solid"/>
                    <a:miter/>
                  </a:ln>
                </p:spPr>
                <p:txBody>
                  <a:bodyPr rtlCol="0" anchor="ctr"/>
                  <a:lstStyle/>
                  <a:p>
                    <a:endParaRPr lang="en-GB"/>
                  </a:p>
                </p:txBody>
              </p:sp>
            </p:grpSp>
            <p:grpSp>
              <p:nvGrpSpPr>
                <p:cNvPr id="341" name="Graphic 6">
                  <a:extLst>
                    <a:ext uri="{FF2B5EF4-FFF2-40B4-BE49-F238E27FC236}">
                      <a16:creationId xmlns:a16="http://schemas.microsoft.com/office/drawing/2014/main" id="{0630B15F-7AA9-5376-1435-1C3680DEDECF}"/>
                    </a:ext>
                  </a:extLst>
                </p:cNvPr>
                <p:cNvGrpSpPr/>
                <p:nvPr/>
              </p:nvGrpSpPr>
              <p:grpSpPr>
                <a:xfrm>
                  <a:off x="5606068" y="3775188"/>
                  <a:ext cx="86058" cy="379855"/>
                  <a:chOff x="5606068" y="3775188"/>
                  <a:chExt cx="86058" cy="379855"/>
                </a:xfrm>
                <a:solidFill>
                  <a:srgbClr val="0069FF"/>
                </a:solidFill>
              </p:grpSpPr>
              <p:sp>
                <p:nvSpPr>
                  <p:cNvPr id="345" name="Freeform: Shape 344">
                    <a:extLst>
                      <a:ext uri="{FF2B5EF4-FFF2-40B4-BE49-F238E27FC236}">
                        <a16:creationId xmlns:a16="http://schemas.microsoft.com/office/drawing/2014/main" id="{C53FFF3B-4942-24E2-75A9-925229C5B459}"/>
                      </a:ext>
                    </a:extLst>
                  </p:cNvPr>
                  <p:cNvSpPr/>
                  <p:nvPr/>
                </p:nvSpPr>
                <p:spPr>
                  <a:xfrm>
                    <a:off x="5611528" y="3780388"/>
                    <a:ext cx="75659" cy="369590"/>
                  </a:xfrm>
                  <a:custGeom>
                    <a:avLst/>
                    <a:gdLst>
                      <a:gd name="connsiteX0" fmla="*/ 0 w 75659"/>
                      <a:gd name="connsiteY0" fmla="*/ 335396 h 369590"/>
                      <a:gd name="connsiteX1" fmla="*/ 0 w 75659"/>
                      <a:gd name="connsiteY1" fmla="*/ 34060 h 369590"/>
                      <a:gd name="connsiteX2" fmla="*/ 34060 w 75659"/>
                      <a:gd name="connsiteY2" fmla="*/ 0 h 369590"/>
                      <a:gd name="connsiteX3" fmla="*/ 41600 w 75659"/>
                      <a:gd name="connsiteY3" fmla="*/ 0 h 369590"/>
                      <a:gd name="connsiteX4" fmla="*/ 75659 w 75659"/>
                      <a:gd name="connsiteY4" fmla="*/ 34060 h 369590"/>
                      <a:gd name="connsiteX5" fmla="*/ 75659 w 75659"/>
                      <a:gd name="connsiteY5" fmla="*/ 335396 h 369590"/>
                      <a:gd name="connsiteX6" fmla="*/ 41600 w 75659"/>
                      <a:gd name="connsiteY6" fmla="*/ 369456 h 369590"/>
                      <a:gd name="connsiteX7" fmla="*/ 34060 w 75659"/>
                      <a:gd name="connsiteY7" fmla="*/ 369456 h 369590"/>
                      <a:gd name="connsiteX8" fmla="*/ 0 w 75659"/>
                      <a:gd name="connsiteY8" fmla="*/ 335396 h 36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59" h="369590">
                        <a:moveTo>
                          <a:pt x="0" y="335396"/>
                        </a:moveTo>
                        <a:lnTo>
                          <a:pt x="0" y="34060"/>
                        </a:lnTo>
                        <a:cubicBezTo>
                          <a:pt x="0" y="15080"/>
                          <a:pt x="15860" y="0"/>
                          <a:pt x="34060" y="0"/>
                        </a:cubicBezTo>
                        <a:lnTo>
                          <a:pt x="41600" y="0"/>
                        </a:lnTo>
                        <a:cubicBezTo>
                          <a:pt x="60579" y="0"/>
                          <a:pt x="75659" y="15860"/>
                          <a:pt x="75659" y="34060"/>
                        </a:cubicBezTo>
                        <a:lnTo>
                          <a:pt x="75659" y="335396"/>
                        </a:lnTo>
                        <a:cubicBezTo>
                          <a:pt x="75659" y="354376"/>
                          <a:pt x="59799" y="369456"/>
                          <a:pt x="41600" y="369456"/>
                        </a:cubicBezTo>
                        <a:lnTo>
                          <a:pt x="34060" y="369456"/>
                        </a:lnTo>
                        <a:cubicBezTo>
                          <a:pt x="14820" y="371276"/>
                          <a:pt x="0" y="354376"/>
                          <a:pt x="0" y="335396"/>
                        </a:cubicBezTo>
                        <a:close/>
                      </a:path>
                    </a:pathLst>
                  </a:custGeom>
                  <a:solidFill>
                    <a:srgbClr val="0069FF"/>
                  </a:solidFill>
                  <a:ln w="2597" cap="flat">
                    <a:noFill/>
                    <a:prstDash val="solid"/>
                    <a:miter/>
                  </a:ln>
                </p:spPr>
                <p:txBody>
                  <a:bodyPr rtlCol="0" anchor="ctr"/>
                  <a:lstStyle/>
                  <a:p>
                    <a:endParaRPr lang="en-GB"/>
                  </a:p>
                </p:txBody>
              </p:sp>
              <p:sp>
                <p:nvSpPr>
                  <p:cNvPr id="346" name="Freeform: Shape 345">
                    <a:extLst>
                      <a:ext uri="{FF2B5EF4-FFF2-40B4-BE49-F238E27FC236}">
                        <a16:creationId xmlns:a16="http://schemas.microsoft.com/office/drawing/2014/main" id="{A2A84398-32BC-AABA-109E-82D556723E5C}"/>
                      </a:ext>
                    </a:extLst>
                  </p:cNvPr>
                  <p:cNvSpPr/>
                  <p:nvPr/>
                </p:nvSpPr>
                <p:spPr>
                  <a:xfrm>
                    <a:off x="5606068" y="3775188"/>
                    <a:ext cx="86058" cy="379855"/>
                  </a:xfrm>
                  <a:custGeom>
                    <a:avLst/>
                    <a:gdLst>
                      <a:gd name="connsiteX0" fmla="*/ 36140 w 86058"/>
                      <a:gd name="connsiteY0" fmla="*/ 379856 h 379855"/>
                      <a:gd name="connsiteX1" fmla="*/ 13780 w 86058"/>
                      <a:gd name="connsiteY1" fmla="*/ 371276 h 379855"/>
                      <a:gd name="connsiteX2" fmla="*/ 0 w 86058"/>
                      <a:gd name="connsiteY2" fmla="*/ 340596 h 379855"/>
                      <a:gd name="connsiteX3" fmla="*/ 0 w 86058"/>
                      <a:gd name="connsiteY3" fmla="*/ 39259 h 379855"/>
                      <a:gd name="connsiteX4" fmla="*/ 39259 w 86058"/>
                      <a:gd name="connsiteY4" fmla="*/ 0 h 379855"/>
                      <a:gd name="connsiteX5" fmla="*/ 46799 w 86058"/>
                      <a:gd name="connsiteY5" fmla="*/ 0 h 379855"/>
                      <a:gd name="connsiteX6" fmla="*/ 86059 w 86058"/>
                      <a:gd name="connsiteY6" fmla="*/ 39259 h 379855"/>
                      <a:gd name="connsiteX7" fmla="*/ 86059 w 86058"/>
                      <a:gd name="connsiteY7" fmla="*/ 340596 h 379855"/>
                      <a:gd name="connsiteX8" fmla="*/ 46799 w 86058"/>
                      <a:gd name="connsiteY8" fmla="*/ 379856 h 379855"/>
                      <a:gd name="connsiteX9" fmla="*/ 39259 w 86058"/>
                      <a:gd name="connsiteY9" fmla="*/ 379856 h 379855"/>
                      <a:gd name="connsiteX10" fmla="*/ 36140 w 86058"/>
                      <a:gd name="connsiteY10" fmla="*/ 379856 h 379855"/>
                      <a:gd name="connsiteX11" fmla="*/ 39259 w 86058"/>
                      <a:gd name="connsiteY11" fmla="*/ 10400 h 379855"/>
                      <a:gd name="connsiteX12" fmla="*/ 10660 w 86058"/>
                      <a:gd name="connsiteY12" fmla="*/ 39000 h 379855"/>
                      <a:gd name="connsiteX13" fmla="*/ 10660 w 86058"/>
                      <a:gd name="connsiteY13" fmla="*/ 340336 h 379855"/>
                      <a:gd name="connsiteX14" fmla="*/ 20280 w 86058"/>
                      <a:gd name="connsiteY14" fmla="*/ 362696 h 379855"/>
                      <a:gd name="connsiteX15" fmla="*/ 38219 w 86058"/>
                      <a:gd name="connsiteY15" fmla="*/ 368936 h 379855"/>
                      <a:gd name="connsiteX16" fmla="*/ 46799 w 86058"/>
                      <a:gd name="connsiteY16" fmla="*/ 368936 h 379855"/>
                      <a:gd name="connsiteX17" fmla="*/ 75399 w 86058"/>
                      <a:gd name="connsiteY17" fmla="*/ 340336 h 379855"/>
                      <a:gd name="connsiteX18" fmla="*/ 75399 w 86058"/>
                      <a:gd name="connsiteY18" fmla="*/ 39000 h 379855"/>
                      <a:gd name="connsiteX19" fmla="*/ 46799 w 86058"/>
                      <a:gd name="connsiteY19" fmla="*/ 10400 h 379855"/>
                      <a:gd name="connsiteX20" fmla="*/ 39259 w 86058"/>
                      <a:gd name="connsiteY20" fmla="*/ 10400 h 37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6058" h="379855">
                        <a:moveTo>
                          <a:pt x="36140" y="379856"/>
                        </a:moveTo>
                        <a:cubicBezTo>
                          <a:pt x="27560" y="379856"/>
                          <a:pt x="20280" y="376736"/>
                          <a:pt x="13780" y="371276"/>
                        </a:cubicBezTo>
                        <a:cubicBezTo>
                          <a:pt x="5200" y="363736"/>
                          <a:pt x="0" y="352296"/>
                          <a:pt x="0" y="340596"/>
                        </a:cubicBezTo>
                        <a:lnTo>
                          <a:pt x="0" y="39259"/>
                        </a:lnTo>
                        <a:cubicBezTo>
                          <a:pt x="0" y="17940"/>
                          <a:pt x="17940" y="0"/>
                          <a:pt x="39259" y="0"/>
                        </a:cubicBezTo>
                        <a:lnTo>
                          <a:pt x="46799" y="0"/>
                        </a:lnTo>
                        <a:cubicBezTo>
                          <a:pt x="68119" y="0"/>
                          <a:pt x="86059" y="17940"/>
                          <a:pt x="86059" y="39259"/>
                        </a:cubicBezTo>
                        <a:lnTo>
                          <a:pt x="86059" y="340596"/>
                        </a:lnTo>
                        <a:cubicBezTo>
                          <a:pt x="86059" y="361916"/>
                          <a:pt x="68119" y="379856"/>
                          <a:pt x="46799" y="379856"/>
                        </a:cubicBezTo>
                        <a:lnTo>
                          <a:pt x="39259" y="379856"/>
                        </a:lnTo>
                        <a:cubicBezTo>
                          <a:pt x="38219" y="379856"/>
                          <a:pt x="37180" y="379856"/>
                          <a:pt x="36140" y="379856"/>
                        </a:cubicBezTo>
                        <a:close/>
                        <a:moveTo>
                          <a:pt x="39259" y="10400"/>
                        </a:moveTo>
                        <a:cubicBezTo>
                          <a:pt x="23400" y="10400"/>
                          <a:pt x="10660" y="23140"/>
                          <a:pt x="10660" y="39000"/>
                        </a:cubicBezTo>
                        <a:lnTo>
                          <a:pt x="10660" y="340336"/>
                        </a:lnTo>
                        <a:cubicBezTo>
                          <a:pt x="10660" y="348916"/>
                          <a:pt x="13780" y="357236"/>
                          <a:pt x="20280" y="362696"/>
                        </a:cubicBezTo>
                        <a:cubicBezTo>
                          <a:pt x="23400" y="365816"/>
                          <a:pt x="29900" y="370236"/>
                          <a:pt x="38219" y="368936"/>
                        </a:cubicBezTo>
                        <a:lnTo>
                          <a:pt x="46799" y="368936"/>
                        </a:lnTo>
                        <a:cubicBezTo>
                          <a:pt x="62659" y="368936"/>
                          <a:pt x="75399" y="356196"/>
                          <a:pt x="75399" y="340336"/>
                        </a:cubicBezTo>
                        <a:lnTo>
                          <a:pt x="75399" y="39000"/>
                        </a:lnTo>
                        <a:cubicBezTo>
                          <a:pt x="75399" y="23140"/>
                          <a:pt x="62659" y="10400"/>
                          <a:pt x="46799" y="10400"/>
                        </a:cubicBezTo>
                        <a:lnTo>
                          <a:pt x="39259" y="10400"/>
                        </a:lnTo>
                        <a:close/>
                      </a:path>
                    </a:pathLst>
                  </a:custGeom>
                  <a:solidFill>
                    <a:srgbClr val="0069FF"/>
                  </a:solidFill>
                  <a:ln w="2597" cap="flat">
                    <a:noFill/>
                    <a:prstDash val="solid"/>
                    <a:miter/>
                  </a:ln>
                </p:spPr>
                <p:txBody>
                  <a:bodyPr rtlCol="0" anchor="ctr"/>
                  <a:lstStyle/>
                  <a:p>
                    <a:endParaRPr lang="en-GB"/>
                  </a:p>
                </p:txBody>
              </p:sp>
            </p:grpSp>
            <p:grpSp>
              <p:nvGrpSpPr>
                <p:cNvPr id="342" name="Graphic 6">
                  <a:extLst>
                    <a:ext uri="{FF2B5EF4-FFF2-40B4-BE49-F238E27FC236}">
                      <a16:creationId xmlns:a16="http://schemas.microsoft.com/office/drawing/2014/main" id="{8B41ED33-89BF-BBEB-06BC-642013B639D3}"/>
                    </a:ext>
                  </a:extLst>
                </p:cNvPr>
                <p:cNvGrpSpPr/>
                <p:nvPr/>
              </p:nvGrpSpPr>
              <p:grpSpPr>
                <a:xfrm>
                  <a:off x="5682508" y="3775188"/>
                  <a:ext cx="86058" cy="379855"/>
                  <a:chOff x="5682508" y="3775188"/>
                  <a:chExt cx="86058" cy="379855"/>
                </a:xfrm>
                <a:solidFill>
                  <a:srgbClr val="0069FF"/>
                </a:solidFill>
              </p:grpSpPr>
              <p:sp>
                <p:nvSpPr>
                  <p:cNvPr id="343" name="Freeform: Shape 342">
                    <a:extLst>
                      <a:ext uri="{FF2B5EF4-FFF2-40B4-BE49-F238E27FC236}">
                        <a16:creationId xmlns:a16="http://schemas.microsoft.com/office/drawing/2014/main" id="{7BD413E1-0FC0-752B-6A72-67D14EEBD7E4}"/>
                      </a:ext>
                    </a:extLst>
                  </p:cNvPr>
                  <p:cNvSpPr/>
                  <p:nvPr/>
                </p:nvSpPr>
                <p:spPr>
                  <a:xfrm>
                    <a:off x="5687968" y="3780388"/>
                    <a:ext cx="75659" cy="369590"/>
                  </a:xfrm>
                  <a:custGeom>
                    <a:avLst/>
                    <a:gdLst>
                      <a:gd name="connsiteX0" fmla="*/ 0 w 75659"/>
                      <a:gd name="connsiteY0" fmla="*/ 335396 h 369590"/>
                      <a:gd name="connsiteX1" fmla="*/ 0 w 75659"/>
                      <a:gd name="connsiteY1" fmla="*/ 34060 h 369590"/>
                      <a:gd name="connsiteX2" fmla="*/ 34060 w 75659"/>
                      <a:gd name="connsiteY2" fmla="*/ 0 h 369590"/>
                      <a:gd name="connsiteX3" fmla="*/ 41600 w 75659"/>
                      <a:gd name="connsiteY3" fmla="*/ 0 h 369590"/>
                      <a:gd name="connsiteX4" fmla="*/ 75659 w 75659"/>
                      <a:gd name="connsiteY4" fmla="*/ 34060 h 369590"/>
                      <a:gd name="connsiteX5" fmla="*/ 75659 w 75659"/>
                      <a:gd name="connsiteY5" fmla="*/ 335396 h 369590"/>
                      <a:gd name="connsiteX6" fmla="*/ 41600 w 75659"/>
                      <a:gd name="connsiteY6" fmla="*/ 369456 h 369590"/>
                      <a:gd name="connsiteX7" fmla="*/ 34060 w 75659"/>
                      <a:gd name="connsiteY7" fmla="*/ 369456 h 369590"/>
                      <a:gd name="connsiteX8" fmla="*/ 0 w 75659"/>
                      <a:gd name="connsiteY8" fmla="*/ 335396 h 36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59" h="369590">
                        <a:moveTo>
                          <a:pt x="0" y="335396"/>
                        </a:moveTo>
                        <a:lnTo>
                          <a:pt x="0" y="34060"/>
                        </a:lnTo>
                        <a:cubicBezTo>
                          <a:pt x="0" y="15080"/>
                          <a:pt x="15860" y="0"/>
                          <a:pt x="34060" y="0"/>
                        </a:cubicBezTo>
                        <a:lnTo>
                          <a:pt x="41600" y="0"/>
                        </a:lnTo>
                        <a:cubicBezTo>
                          <a:pt x="60579" y="0"/>
                          <a:pt x="75659" y="15860"/>
                          <a:pt x="75659" y="34060"/>
                        </a:cubicBezTo>
                        <a:lnTo>
                          <a:pt x="75659" y="335396"/>
                        </a:lnTo>
                        <a:cubicBezTo>
                          <a:pt x="75659" y="354376"/>
                          <a:pt x="59799" y="369456"/>
                          <a:pt x="41600" y="369456"/>
                        </a:cubicBezTo>
                        <a:lnTo>
                          <a:pt x="34060" y="369456"/>
                        </a:lnTo>
                        <a:cubicBezTo>
                          <a:pt x="15860" y="371276"/>
                          <a:pt x="0" y="354376"/>
                          <a:pt x="0" y="335396"/>
                        </a:cubicBezTo>
                        <a:close/>
                      </a:path>
                    </a:pathLst>
                  </a:custGeom>
                  <a:solidFill>
                    <a:srgbClr val="0069FF"/>
                  </a:solidFill>
                  <a:ln w="2597" cap="flat">
                    <a:noFill/>
                    <a:prstDash val="solid"/>
                    <a:miter/>
                  </a:ln>
                </p:spPr>
                <p:txBody>
                  <a:bodyPr rtlCol="0" anchor="ctr"/>
                  <a:lstStyle/>
                  <a:p>
                    <a:endParaRPr lang="en-GB"/>
                  </a:p>
                </p:txBody>
              </p:sp>
              <p:sp>
                <p:nvSpPr>
                  <p:cNvPr id="344" name="Freeform: Shape 343">
                    <a:extLst>
                      <a:ext uri="{FF2B5EF4-FFF2-40B4-BE49-F238E27FC236}">
                        <a16:creationId xmlns:a16="http://schemas.microsoft.com/office/drawing/2014/main" id="{54C5D211-1710-1210-C5CA-85E83817459A}"/>
                      </a:ext>
                    </a:extLst>
                  </p:cNvPr>
                  <p:cNvSpPr/>
                  <p:nvPr/>
                </p:nvSpPr>
                <p:spPr>
                  <a:xfrm>
                    <a:off x="5682508" y="3775188"/>
                    <a:ext cx="86058" cy="379855"/>
                  </a:xfrm>
                  <a:custGeom>
                    <a:avLst/>
                    <a:gdLst>
                      <a:gd name="connsiteX0" fmla="*/ 36140 w 86058"/>
                      <a:gd name="connsiteY0" fmla="*/ 379856 h 379855"/>
                      <a:gd name="connsiteX1" fmla="*/ 13780 w 86058"/>
                      <a:gd name="connsiteY1" fmla="*/ 371276 h 379855"/>
                      <a:gd name="connsiteX2" fmla="*/ 0 w 86058"/>
                      <a:gd name="connsiteY2" fmla="*/ 340596 h 379855"/>
                      <a:gd name="connsiteX3" fmla="*/ 0 w 86058"/>
                      <a:gd name="connsiteY3" fmla="*/ 39259 h 379855"/>
                      <a:gd name="connsiteX4" fmla="*/ 39259 w 86058"/>
                      <a:gd name="connsiteY4" fmla="*/ 0 h 379855"/>
                      <a:gd name="connsiteX5" fmla="*/ 46799 w 86058"/>
                      <a:gd name="connsiteY5" fmla="*/ 0 h 379855"/>
                      <a:gd name="connsiteX6" fmla="*/ 86059 w 86058"/>
                      <a:gd name="connsiteY6" fmla="*/ 39259 h 379855"/>
                      <a:gd name="connsiteX7" fmla="*/ 86059 w 86058"/>
                      <a:gd name="connsiteY7" fmla="*/ 340596 h 379855"/>
                      <a:gd name="connsiteX8" fmla="*/ 46799 w 86058"/>
                      <a:gd name="connsiteY8" fmla="*/ 379856 h 379855"/>
                      <a:gd name="connsiteX9" fmla="*/ 39259 w 86058"/>
                      <a:gd name="connsiteY9" fmla="*/ 379856 h 379855"/>
                      <a:gd name="connsiteX10" fmla="*/ 36140 w 86058"/>
                      <a:gd name="connsiteY10" fmla="*/ 379856 h 379855"/>
                      <a:gd name="connsiteX11" fmla="*/ 39259 w 86058"/>
                      <a:gd name="connsiteY11" fmla="*/ 10400 h 379855"/>
                      <a:gd name="connsiteX12" fmla="*/ 10660 w 86058"/>
                      <a:gd name="connsiteY12" fmla="*/ 39000 h 379855"/>
                      <a:gd name="connsiteX13" fmla="*/ 10660 w 86058"/>
                      <a:gd name="connsiteY13" fmla="*/ 340336 h 379855"/>
                      <a:gd name="connsiteX14" fmla="*/ 21320 w 86058"/>
                      <a:gd name="connsiteY14" fmla="*/ 362696 h 379855"/>
                      <a:gd name="connsiteX15" fmla="*/ 39259 w 86058"/>
                      <a:gd name="connsiteY15" fmla="*/ 368936 h 379855"/>
                      <a:gd name="connsiteX16" fmla="*/ 47840 w 86058"/>
                      <a:gd name="connsiteY16" fmla="*/ 368936 h 379855"/>
                      <a:gd name="connsiteX17" fmla="*/ 76439 w 86058"/>
                      <a:gd name="connsiteY17" fmla="*/ 340336 h 379855"/>
                      <a:gd name="connsiteX18" fmla="*/ 76439 w 86058"/>
                      <a:gd name="connsiteY18" fmla="*/ 39000 h 379855"/>
                      <a:gd name="connsiteX19" fmla="*/ 47840 w 86058"/>
                      <a:gd name="connsiteY19" fmla="*/ 10400 h 379855"/>
                      <a:gd name="connsiteX20" fmla="*/ 39259 w 86058"/>
                      <a:gd name="connsiteY20" fmla="*/ 10400 h 37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6058" h="379855">
                        <a:moveTo>
                          <a:pt x="36140" y="379856"/>
                        </a:moveTo>
                        <a:cubicBezTo>
                          <a:pt x="28600" y="379856"/>
                          <a:pt x="20280" y="376736"/>
                          <a:pt x="13780" y="371276"/>
                        </a:cubicBezTo>
                        <a:cubicBezTo>
                          <a:pt x="5200" y="363736"/>
                          <a:pt x="0" y="352296"/>
                          <a:pt x="0" y="340596"/>
                        </a:cubicBezTo>
                        <a:lnTo>
                          <a:pt x="0" y="39259"/>
                        </a:lnTo>
                        <a:cubicBezTo>
                          <a:pt x="0" y="17940"/>
                          <a:pt x="17940" y="0"/>
                          <a:pt x="39259" y="0"/>
                        </a:cubicBezTo>
                        <a:lnTo>
                          <a:pt x="46799" y="0"/>
                        </a:lnTo>
                        <a:cubicBezTo>
                          <a:pt x="68119" y="0"/>
                          <a:pt x="86059" y="17940"/>
                          <a:pt x="86059" y="39259"/>
                        </a:cubicBezTo>
                        <a:lnTo>
                          <a:pt x="86059" y="340596"/>
                        </a:lnTo>
                        <a:cubicBezTo>
                          <a:pt x="86059" y="361916"/>
                          <a:pt x="68119" y="379856"/>
                          <a:pt x="46799" y="379856"/>
                        </a:cubicBezTo>
                        <a:lnTo>
                          <a:pt x="39259" y="379856"/>
                        </a:lnTo>
                        <a:cubicBezTo>
                          <a:pt x="38219" y="379856"/>
                          <a:pt x="37179" y="379856"/>
                          <a:pt x="36140" y="379856"/>
                        </a:cubicBezTo>
                        <a:close/>
                        <a:moveTo>
                          <a:pt x="39259" y="10400"/>
                        </a:moveTo>
                        <a:cubicBezTo>
                          <a:pt x="23400" y="10400"/>
                          <a:pt x="10660" y="23140"/>
                          <a:pt x="10660" y="39000"/>
                        </a:cubicBezTo>
                        <a:lnTo>
                          <a:pt x="10660" y="340336"/>
                        </a:lnTo>
                        <a:cubicBezTo>
                          <a:pt x="10660" y="348916"/>
                          <a:pt x="14820" y="357236"/>
                          <a:pt x="21320" y="362696"/>
                        </a:cubicBezTo>
                        <a:cubicBezTo>
                          <a:pt x="26520" y="366856"/>
                          <a:pt x="33019" y="368936"/>
                          <a:pt x="39259" y="368936"/>
                        </a:cubicBezTo>
                        <a:lnTo>
                          <a:pt x="47840" y="368936"/>
                        </a:lnTo>
                        <a:cubicBezTo>
                          <a:pt x="63699" y="368936"/>
                          <a:pt x="76439" y="356196"/>
                          <a:pt x="76439" y="340336"/>
                        </a:cubicBezTo>
                        <a:lnTo>
                          <a:pt x="76439" y="39000"/>
                        </a:lnTo>
                        <a:cubicBezTo>
                          <a:pt x="76439" y="23140"/>
                          <a:pt x="63699" y="10400"/>
                          <a:pt x="47840" y="10400"/>
                        </a:cubicBezTo>
                        <a:lnTo>
                          <a:pt x="39259" y="10400"/>
                        </a:lnTo>
                        <a:close/>
                      </a:path>
                    </a:pathLst>
                  </a:custGeom>
                  <a:solidFill>
                    <a:srgbClr val="0069FF"/>
                  </a:solidFill>
                  <a:ln w="2597" cap="flat">
                    <a:noFill/>
                    <a:prstDash val="solid"/>
                    <a:miter/>
                  </a:ln>
                </p:spPr>
                <p:txBody>
                  <a:bodyPr rtlCol="0" anchor="ctr"/>
                  <a:lstStyle/>
                  <a:p>
                    <a:endParaRPr lang="en-GB"/>
                  </a:p>
                </p:txBody>
              </p:sp>
            </p:grpSp>
          </p:grpSp>
          <p:grpSp>
            <p:nvGrpSpPr>
              <p:cNvPr id="327" name="Graphic 6">
                <a:extLst>
                  <a:ext uri="{FF2B5EF4-FFF2-40B4-BE49-F238E27FC236}">
                    <a16:creationId xmlns:a16="http://schemas.microsoft.com/office/drawing/2014/main" id="{E093FF2B-602B-158E-73E4-1328D6247EB8}"/>
                  </a:ext>
                </a:extLst>
              </p:cNvPr>
              <p:cNvGrpSpPr/>
              <p:nvPr/>
            </p:nvGrpSpPr>
            <p:grpSpPr>
              <a:xfrm>
                <a:off x="5346071" y="3747629"/>
                <a:ext cx="398055" cy="385055"/>
                <a:chOff x="5346071" y="3747629"/>
                <a:chExt cx="398055" cy="385055"/>
              </a:xfrm>
              <a:solidFill>
                <a:srgbClr val="00005A"/>
              </a:solidFill>
            </p:grpSpPr>
            <p:sp>
              <p:nvSpPr>
                <p:cNvPr id="333" name="Freeform: Shape 332">
                  <a:extLst>
                    <a:ext uri="{FF2B5EF4-FFF2-40B4-BE49-F238E27FC236}">
                      <a16:creationId xmlns:a16="http://schemas.microsoft.com/office/drawing/2014/main" id="{1729040D-FAA1-524F-2566-451860FAC5B7}"/>
                    </a:ext>
                  </a:extLst>
                </p:cNvPr>
                <p:cNvSpPr/>
                <p:nvPr/>
              </p:nvSpPr>
              <p:spPr>
                <a:xfrm>
                  <a:off x="5346071" y="3747629"/>
                  <a:ext cx="91258" cy="385055"/>
                </a:xfrm>
                <a:custGeom>
                  <a:avLst/>
                  <a:gdLst>
                    <a:gd name="connsiteX0" fmla="*/ 49919 w 91258"/>
                    <a:gd name="connsiteY0" fmla="*/ 385056 h 385055"/>
                    <a:gd name="connsiteX1" fmla="*/ 42380 w 91258"/>
                    <a:gd name="connsiteY1" fmla="*/ 385056 h 385055"/>
                    <a:gd name="connsiteX2" fmla="*/ 0 w 91258"/>
                    <a:gd name="connsiteY2" fmla="*/ 342676 h 385055"/>
                    <a:gd name="connsiteX3" fmla="*/ 0 w 91258"/>
                    <a:gd name="connsiteY3" fmla="*/ 41340 h 385055"/>
                    <a:gd name="connsiteX4" fmla="*/ 42380 w 91258"/>
                    <a:gd name="connsiteY4" fmla="*/ 0 h 385055"/>
                    <a:gd name="connsiteX5" fmla="*/ 49919 w 91258"/>
                    <a:gd name="connsiteY5" fmla="*/ 0 h 385055"/>
                    <a:gd name="connsiteX6" fmla="*/ 91259 w 91258"/>
                    <a:gd name="connsiteY6" fmla="*/ 41340 h 385055"/>
                    <a:gd name="connsiteX7" fmla="*/ 91259 w 91258"/>
                    <a:gd name="connsiteY7" fmla="*/ 342676 h 385055"/>
                    <a:gd name="connsiteX8" fmla="*/ 49919 w 91258"/>
                    <a:gd name="connsiteY8" fmla="*/ 385056 h 385055"/>
                    <a:gd name="connsiteX9" fmla="*/ 42640 w 91258"/>
                    <a:gd name="connsiteY9" fmla="*/ 15600 h 385055"/>
                    <a:gd name="connsiteX10" fmla="*/ 16120 w 91258"/>
                    <a:gd name="connsiteY10" fmla="*/ 41080 h 385055"/>
                    <a:gd name="connsiteX11" fmla="*/ 16120 w 91258"/>
                    <a:gd name="connsiteY11" fmla="*/ 342416 h 385055"/>
                    <a:gd name="connsiteX12" fmla="*/ 42640 w 91258"/>
                    <a:gd name="connsiteY12" fmla="*/ 368936 h 385055"/>
                    <a:gd name="connsiteX13" fmla="*/ 50180 w 91258"/>
                    <a:gd name="connsiteY13" fmla="*/ 368936 h 385055"/>
                    <a:gd name="connsiteX14" fmla="*/ 75659 w 91258"/>
                    <a:gd name="connsiteY14" fmla="*/ 342416 h 385055"/>
                    <a:gd name="connsiteX15" fmla="*/ 75659 w 91258"/>
                    <a:gd name="connsiteY15" fmla="*/ 41080 h 385055"/>
                    <a:gd name="connsiteX16" fmla="*/ 50180 w 91258"/>
                    <a:gd name="connsiteY16" fmla="*/ 15600 h 385055"/>
                    <a:gd name="connsiteX17" fmla="*/ 42640 w 91258"/>
                    <a:gd name="connsiteY17" fmla="*/ 15600 h 38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1258" h="385055">
                      <a:moveTo>
                        <a:pt x="49919" y="385056"/>
                      </a:moveTo>
                      <a:lnTo>
                        <a:pt x="42380" y="385056"/>
                      </a:lnTo>
                      <a:cubicBezTo>
                        <a:pt x="17940" y="385056"/>
                        <a:pt x="0" y="367116"/>
                        <a:pt x="0" y="342676"/>
                      </a:cubicBezTo>
                      <a:lnTo>
                        <a:pt x="0" y="41340"/>
                      </a:lnTo>
                      <a:cubicBezTo>
                        <a:pt x="0" y="17940"/>
                        <a:pt x="18980" y="0"/>
                        <a:pt x="42380" y="0"/>
                      </a:cubicBezTo>
                      <a:lnTo>
                        <a:pt x="49919" y="0"/>
                      </a:lnTo>
                      <a:cubicBezTo>
                        <a:pt x="73319" y="0"/>
                        <a:pt x="91259" y="18980"/>
                        <a:pt x="91259" y="41340"/>
                      </a:cubicBezTo>
                      <a:lnTo>
                        <a:pt x="91259" y="342676"/>
                      </a:lnTo>
                      <a:cubicBezTo>
                        <a:pt x="91259" y="365816"/>
                        <a:pt x="73319" y="385056"/>
                        <a:pt x="49919" y="385056"/>
                      </a:cubicBezTo>
                      <a:close/>
                      <a:moveTo>
                        <a:pt x="42640" y="15600"/>
                      </a:moveTo>
                      <a:cubicBezTo>
                        <a:pt x="28860" y="15600"/>
                        <a:pt x="16120" y="27300"/>
                        <a:pt x="16120" y="41080"/>
                      </a:cubicBezTo>
                      <a:lnTo>
                        <a:pt x="16120" y="342416"/>
                      </a:lnTo>
                      <a:cubicBezTo>
                        <a:pt x="16120" y="357236"/>
                        <a:pt x="26780" y="368936"/>
                        <a:pt x="42640" y="368936"/>
                      </a:cubicBezTo>
                      <a:lnTo>
                        <a:pt x="50180" y="368936"/>
                      </a:lnTo>
                      <a:cubicBezTo>
                        <a:pt x="63959" y="368936"/>
                        <a:pt x="75659" y="357236"/>
                        <a:pt x="75659" y="342416"/>
                      </a:cubicBezTo>
                      <a:lnTo>
                        <a:pt x="75659" y="41080"/>
                      </a:lnTo>
                      <a:cubicBezTo>
                        <a:pt x="75659" y="27300"/>
                        <a:pt x="63959" y="15600"/>
                        <a:pt x="50180" y="15600"/>
                      </a:cubicBezTo>
                      <a:lnTo>
                        <a:pt x="42640" y="15600"/>
                      </a:lnTo>
                      <a:close/>
                    </a:path>
                  </a:pathLst>
                </a:custGeom>
                <a:solidFill>
                  <a:srgbClr val="00005A"/>
                </a:solidFill>
                <a:ln w="2597" cap="flat">
                  <a:noFill/>
                  <a:prstDash val="solid"/>
                  <a:miter/>
                </a:ln>
              </p:spPr>
              <p:txBody>
                <a:bodyPr rtlCol="0" anchor="ctr"/>
                <a:lstStyle/>
                <a:p>
                  <a:endParaRPr lang="en-GB"/>
                </a:p>
              </p:txBody>
            </p:sp>
            <p:sp>
              <p:nvSpPr>
                <p:cNvPr id="334" name="Freeform: Shape 333">
                  <a:extLst>
                    <a:ext uri="{FF2B5EF4-FFF2-40B4-BE49-F238E27FC236}">
                      <a16:creationId xmlns:a16="http://schemas.microsoft.com/office/drawing/2014/main" id="{4E045E18-262C-6EEB-C3BC-5619AD14E44D}"/>
                    </a:ext>
                  </a:extLst>
                </p:cNvPr>
                <p:cNvSpPr/>
                <p:nvPr/>
              </p:nvSpPr>
              <p:spPr>
                <a:xfrm>
                  <a:off x="5422511" y="3747629"/>
                  <a:ext cx="92298" cy="385055"/>
                </a:xfrm>
                <a:custGeom>
                  <a:avLst/>
                  <a:gdLst>
                    <a:gd name="connsiteX0" fmla="*/ 49919 w 92298"/>
                    <a:gd name="connsiteY0" fmla="*/ 385056 h 385055"/>
                    <a:gd name="connsiteX1" fmla="*/ 42379 w 92298"/>
                    <a:gd name="connsiteY1" fmla="*/ 385056 h 385055"/>
                    <a:gd name="connsiteX2" fmla="*/ 0 w 92298"/>
                    <a:gd name="connsiteY2" fmla="*/ 342676 h 385055"/>
                    <a:gd name="connsiteX3" fmla="*/ 0 w 92298"/>
                    <a:gd name="connsiteY3" fmla="*/ 41340 h 385055"/>
                    <a:gd name="connsiteX4" fmla="*/ 42379 w 92298"/>
                    <a:gd name="connsiteY4" fmla="*/ 0 h 385055"/>
                    <a:gd name="connsiteX5" fmla="*/ 49919 w 92298"/>
                    <a:gd name="connsiteY5" fmla="*/ 0 h 385055"/>
                    <a:gd name="connsiteX6" fmla="*/ 92299 w 92298"/>
                    <a:gd name="connsiteY6" fmla="*/ 41340 h 385055"/>
                    <a:gd name="connsiteX7" fmla="*/ 92299 w 92298"/>
                    <a:gd name="connsiteY7" fmla="*/ 342676 h 385055"/>
                    <a:gd name="connsiteX8" fmla="*/ 49919 w 92298"/>
                    <a:gd name="connsiteY8" fmla="*/ 385056 h 385055"/>
                    <a:gd name="connsiteX9" fmla="*/ 42640 w 92298"/>
                    <a:gd name="connsiteY9" fmla="*/ 15600 h 385055"/>
                    <a:gd name="connsiteX10" fmla="*/ 16120 w 92298"/>
                    <a:gd name="connsiteY10" fmla="*/ 41080 h 385055"/>
                    <a:gd name="connsiteX11" fmla="*/ 16120 w 92298"/>
                    <a:gd name="connsiteY11" fmla="*/ 342416 h 385055"/>
                    <a:gd name="connsiteX12" fmla="*/ 42640 w 92298"/>
                    <a:gd name="connsiteY12" fmla="*/ 368936 h 385055"/>
                    <a:gd name="connsiteX13" fmla="*/ 50179 w 92298"/>
                    <a:gd name="connsiteY13" fmla="*/ 368936 h 385055"/>
                    <a:gd name="connsiteX14" fmla="*/ 76699 w 92298"/>
                    <a:gd name="connsiteY14" fmla="*/ 342416 h 385055"/>
                    <a:gd name="connsiteX15" fmla="*/ 76699 w 92298"/>
                    <a:gd name="connsiteY15" fmla="*/ 41080 h 385055"/>
                    <a:gd name="connsiteX16" fmla="*/ 50179 w 92298"/>
                    <a:gd name="connsiteY16" fmla="*/ 15600 h 385055"/>
                    <a:gd name="connsiteX17" fmla="*/ 42640 w 92298"/>
                    <a:gd name="connsiteY17" fmla="*/ 15600 h 38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2298" h="385055">
                      <a:moveTo>
                        <a:pt x="49919" y="385056"/>
                      </a:moveTo>
                      <a:lnTo>
                        <a:pt x="42379" y="385056"/>
                      </a:lnTo>
                      <a:cubicBezTo>
                        <a:pt x="18980" y="385056"/>
                        <a:pt x="0" y="367116"/>
                        <a:pt x="0" y="342676"/>
                      </a:cubicBezTo>
                      <a:lnTo>
                        <a:pt x="0" y="41340"/>
                      </a:lnTo>
                      <a:cubicBezTo>
                        <a:pt x="0" y="17940"/>
                        <a:pt x="18980" y="0"/>
                        <a:pt x="42379" y="0"/>
                      </a:cubicBezTo>
                      <a:lnTo>
                        <a:pt x="49919" y="0"/>
                      </a:lnTo>
                      <a:cubicBezTo>
                        <a:pt x="73319" y="0"/>
                        <a:pt x="92299" y="18980"/>
                        <a:pt x="92299" y="41340"/>
                      </a:cubicBezTo>
                      <a:lnTo>
                        <a:pt x="92299" y="342676"/>
                      </a:lnTo>
                      <a:cubicBezTo>
                        <a:pt x="91259" y="365816"/>
                        <a:pt x="73319" y="385056"/>
                        <a:pt x="49919" y="385056"/>
                      </a:cubicBezTo>
                      <a:close/>
                      <a:moveTo>
                        <a:pt x="42640" y="15600"/>
                      </a:moveTo>
                      <a:cubicBezTo>
                        <a:pt x="28860" y="15600"/>
                        <a:pt x="16120" y="27300"/>
                        <a:pt x="16120" y="41080"/>
                      </a:cubicBezTo>
                      <a:lnTo>
                        <a:pt x="16120" y="342416"/>
                      </a:lnTo>
                      <a:cubicBezTo>
                        <a:pt x="16120" y="359316"/>
                        <a:pt x="29900" y="368936"/>
                        <a:pt x="42640" y="368936"/>
                      </a:cubicBezTo>
                      <a:lnTo>
                        <a:pt x="50179" y="368936"/>
                      </a:lnTo>
                      <a:cubicBezTo>
                        <a:pt x="63959" y="368936"/>
                        <a:pt x="76699" y="357236"/>
                        <a:pt x="76699" y="342416"/>
                      </a:cubicBezTo>
                      <a:lnTo>
                        <a:pt x="76699" y="41080"/>
                      </a:lnTo>
                      <a:cubicBezTo>
                        <a:pt x="76699" y="27300"/>
                        <a:pt x="64999" y="15600"/>
                        <a:pt x="50179" y="15600"/>
                      </a:cubicBezTo>
                      <a:lnTo>
                        <a:pt x="42640" y="15600"/>
                      </a:lnTo>
                      <a:close/>
                    </a:path>
                  </a:pathLst>
                </a:custGeom>
                <a:solidFill>
                  <a:srgbClr val="00005A"/>
                </a:solidFill>
                <a:ln w="2597" cap="flat">
                  <a:noFill/>
                  <a:prstDash val="solid"/>
                  <a:miter/>
                </a:ln>
              </p:spPr>
              <p:txBody>
                <a:bodyPr rtlCol="0" anchor="ctr"/>
                <a:lstStyle/>
                <a:p>
                  <a:endParaRPr lang="en-GB"/>
                </a:p>
              </p:txBody>
            </p:sp>
            <p:sp>
              <p:nvSpPr>
                <p:cNvPr id="335" name="Freeform: Shape 334">
                  <a:extLst>
                    <a:ext uri="{FF2B5EF4-FFF2-40B4-BE49-F238E27FC236}">
                      <a16:creationId xmlns:a16="http://schemas.microsoft.com/office/drawing/2014/main" id="{A102402E-4780-ADC8-6022-A3BC2A79EE6D}"/>
                    </a:ext>
                  </a:extLst>
                </p:cNvPr>
                <p:cNvSpPr/>
                <p:nvPr/>
              </p:nvSpPr>
              <p:spPr>
                <a:xfrm>
                  <a:off x="5499990" y="3747629"/>
                  <a:ext cx="91259" cy="385055"/>
                </a:xfrm>
                <a:custGeom>
                  <a:avLst/>
                  <a:gdLst>
                    <a:gd name="connsiteX0" fmla="*/ 48880 w 91259"/>
                    <a:gd name="connsiteY0" fmla="*/ 385056 h 385055"/>
                    <a:gd name="connsiteX1" fmla="*/ 41340 w 91259"/>
                    <a:gd name="connsiteY1" fmla="*/ 385056 h 385055"/>
                    <a:gd name="connsiteX2" fmla="*/ 0 w 91259"/>
                    <a:gd name="connsiteY2" fmla="*/ 342676 h 385055"/>
                    <a:gd name="connsiteX3" fmla="*/ 0 w 91259"/>
                    <a:gd name="connsiteY3" fmla="*/ 41340 h 385055"/>
                    <a:gd name="connsiteX4" fmla="*/ 41340 w 91259"/>
                    <a:gd name="connsiteY4" fmla="*/ 0 h 385055"/>
                    <a:gd name="connsiteX5" fmla="*/ 48880 w 91259"/>
                    <a:gd name="connsiteY5" fmla="*/ 0 h 385055"/>
                    <a:gd name="connsiteX6" fmla="*/ 91259 w 91259"/>
                    <a:gd name="connsiteY6" fmla="*/ 41340 h 385055"/>
                    <a:gd name="connsiteX7" fmla="*/ 91259 w 91259"/>
                    <a:gd name="connsiteY7" fmla="*/ 342676 h 385055"/>
                    <a:gd name="connsiteX8" fmla="*/ 48880 w 91259"/>
                    <a:gd name="connsiteY8" fmla="*/ 385056 h 385055"/>
                    <a:gd name="connsiteX9" fmla="*/ 41340 w 91259"/>
                    <a:gd name="connsiteY9" fmla="*/ 15600 h 385055"/>
                    <a:gd name="connsiteX10" fmla="*/ 15860 w 91259"/>
                    <a:gd name="connsiteY10" fmla="*/ 41080 h 385055"/>
                    <a:gd name="connsiteX11" fmla="*/ 15860 w 91259"/>
                    <a:gd name="connsiteY11" fmla="*/ 342416 h 385055"/>
                    <a:gd name="connsiteX12" fmla="*/ 41340 w 91259"/>
                    <a:gd name="connsiteY12" fmla="*/ 368936 h 385055"/>
                    <a:gd name="connsiteX13" fmla="*/ 48880 w 91259"/>
                    <a:gd name="connsiteY13" fmla="*/ 368936 h 385055"/>
                    <a:gd name="connsiteX14" fmla="*/ 75399 w 91259"/>
                    <a:gd name="connsiteY14" fmla="*/ 342416 h 385055"/>
                    <a:gd name="connsiteX15" fmla="*/ 75399 w 91259"/>
                    <a:gd name="connsiteY15" fmla="*/ 41080 h 385055"/>
                    <a:gd name="connsiteX16" fmla="*/ 48880 w 91259"/>
                    <a:gd name="connsiteY16" fmla="*/ 15600 h 385055"/>
                    <a:gd name="connsiteX17" fmla="*/ 41340 w 91259"/>
                    <a:gd name="connsiteY17" fmla="*/ 15600 h 38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1259" h="385055">
                      <a:moveTo>
                        <a:pt x="48880" y="385056"/>
                      </a:moveTo>
                      <a:lnTo>
                        <a:pt x="41340" y="385056"/>
                      </a:lnTo>
                      <a:cubicBezTo>
                        <a:pt x="16900" y="385056"/>
                        <a:pt x="0" y="367116"/>
                        <a:pt x="0" y="342676"/>
                      </a:cubicBezTo>
                      <a:lnTo>
                        <a:pt x="0" y="41340"/>
                      </a:lnTo>
                      <a:cubicBezTo>
                        <a:pt x="0" y="17940"/>
                        <a:pt x="18980" y="0"/>
                        <a:pt x="41340" y="0"/>
                      </a:cubicBezTo>
                      <a:lnTo>
                        <a:pt x="48880" y="0"/>
                      </a:lnTo>
                      <a:cubicBezTo>
                        <a:pt x="72279" y="0"/>
                        <a:pt x="91259" y="18980"/>
                        <a:pt x="91259" y="41340"/>
                      </a:cubicBezTo>
                      <a:lnTo>
                        <a:pt x="91259" y="342676"/>
                      </a:lnTo>
                      <a:cubicBezTo>
                        <a:pt x="90219" y="365816"/>
                        <a:pt x="72279" y="385056"/>
                        <a:pt x="48880" y="385056"/>
                      </a:cubicBezTo>
                      <a:close/>
                      <a:moveTo>
                        <a:pt x="41340" y="15600"/>
                      </a:moveTo>
                      <a:cubicBezTo>
                        <a:pt x="27560" y="15600"/>
                        <a:pt x="15860" y="27300"/>
                        <a:pt x="15860" y="41080"/>
                      </a:cubicBezTo>
                      <a:lnTo>
                        <a:pt x="15860" y="342416"/>
                      </a:lnTo>
                      <a:cubicBezTo>
                        <a:pt x="15860" y="357236"/>
                        <a:pt x="26520" y="368936"/>
                        <a:pt x="41340" y="368936"/>
                      </a:cubicBezTo>
                      <a:lnTo>
                        <a:pt x="48880" y="368936"/>
                      </a:lnTo>
                      <a:cubicBezTo>
                        <a:pt x="62660" y="368936"/>
                        <a:pt x="75399" y="357236"/>
                        <a:pt x="75399" y="342416"/>
                      </a:cubicBezTo>
                      <a:lnTo>
                        <a:pt x="75399" y="41080"/>
                      </a:lnTo>
                      <a:cubicBezTo>
                        <a:pt x="75399" y="27300"/>
                        <a:pt x="63699" y="15600"/>
                        <a:pt x="48880" y="15600"/>
                      </a:cubicBezTo>
                      <a:lnTo>
                        <a:pt x="41340" y="15600"/>
                      </a:lnTo>
                      <a:close/>
                    </a:path>
                  </a:pathLst>
                </a:custGeom>
                <a:solidFill>
                  <a:srgbClr val="00005A"/>
                </a:solidFill>
                <a:ln w="2597" cap="flat">
                  <a:noFill/>
                  <a:prstDash val="solid"/>
                  <a:miter/>
                </a:ln>
              </p:spPr>
              <p:txBody>
                <a:bodyPr rtlCol="0" anchor="ctr"/>
                <a:lstStyle/>
                <a:p>
                  <a:endParaRPr lang="en-GB"/>
                </a:p>
              </p:txBody>
            </p:sp>
            <p:sp>
              <p:nvSpPr>
                <p:cNvPr id="336" name="Freeform: Shape 335">
                  <a:extLst>
                    <a:ext uri="{FF2B5EF4-FFF2-40B4-BE49-F238E27FC236}">
                      <a16:creationId xmlns:a16="http://schemas.microsoft.com/office/drawing/2014/main" id="{90F735B4-D1B9-9EEF-310A-F8FE3E1FEE1B}"/>
                    </a:ext>
                  </a:extLst>
                </p:cNvPr>
                <p:cNvSpPr/>
                <p:nvPr/>
              </p:nvSpPr>
              <p:spPr>
                <a:xfrm>
                  <a:off x="5575389" y="3747629"/>
                  <a:ext cx="92298" cy="385055"/>
                </a:xfrm>
                <a:custGeom>
                  <a:avLst/>
                  <a:gdLst>
                    <a:gd name="connsiteX0" fmla="*/ 49920 w 92298"/>
                    <a:gd name="connsiteY0" fmla="*/ 385056 h 385055"/>
                    <a:gd name="connsiteX1" fmla="*/ 42380 w 92298"/>
                    <a:gd name="connsiteY1" fmla="*/ 385056 h 385055"/>
                    <a:gd name="connsiteX2" fmla="*/ 0 w 92298"/>
                    <a:gd name="connsiteY2" fmla="*/ 342676 h 385055"/>
                    <a:gd name="connsiteX3" fmla="*/ 0 w 92298"/>
                    <a:gd name="connsiteY3" fmla="*/ 41340 h 385055"/>
                    <a:gd name="connsiteX4" fmla="*/ 42380 w 92298"/>
                    <a:gd name="connsiteY4" fmla="*/ 0 h 385055"/>
                    <a:gd name="connsiteX5" fmla="*/ 49920 w 92298"/>
                    <a:gd name="connsiteY5" fmla="*/ 0 h 385055"/>
                    <a:gd name="connsiteX6" fmla="*/ 92299 w 92298"/>
                    <a:gd name="connsiteY6" fmla="*/ 41340 h 385055"/>
                    <a:gd name="connsiteX7" fmla="*/ 92299 w 92298"/>
                    <a:gd name="connsiteY7" fmla="*/ 342676 h 385055"/>
                    <a:gd name="connsiteX8" fmla="*/ 49920 w 92298"/>
                    <a:gd name="connsiteY8" fmla="*/ 385056 h 385055"/>
                    <a:gd name="connsiteX9" fmla="*/ 42380 w 92298"/>
                    <a:gd name="connsiteY9" fmla="*/ 15600 h 385055"/>
                    <a:gd name="connsiteX10" fmla="*/ 15860 w 92298"/>
                    <a:gd name="connsiteY10" fmla="*/ 41080 h 385055"/>
                    <a:gd name="connsiteX11" fmla="*/ 15860 w 92298"/>
                    <a:gd name="connsiteY11" fmla="*/ 342416 h 385055"/>
                    <a:gd name="connsiteX12" fmla="*/ 42380 w 92298"/>
                    <a:gd name="connsiteY12" fmla="*/ 368936 h 385055"/>
                    <a:gd name="connsiteX13" fmla="*/ 49920 w 92298"/>
                    <a:gd name="connsiteY13" fmla="*/ 368936 h 385055"/>
                    <a:gd name="connsiteX14" fmla="*/ 76439 w 92298"/>
                    <a:gd name="connsiteY14" fmla="*/ 342416 h 385055"/>
                    <a:gd name="connsiteX15" fmla="*/ 76439 w 92298"/>
                    <a:gd name="connsiteY15" fmla="*/ 41080 h 385055"/>
                    <a:gd name="connsiteX16" fmla="*/ 49920 w 92298"/>
                    <a:gd name="connsiteY16" fmla="*/ 15600 h 385055"/>
                    <a:gd name="connsiteX17" fmla="*/ 42380 w 92298"/>
                    <a:gd name="connsiteY17" fmla="*/ 15600 h 38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2298" h="385055">
                      <a:moveTo>
                        <a:pt x="49920" y="385056"/>
                      </a:moveTo>
                      <a:lnTo>
                        <a:pt x="42380" y="385056"/>
                      </a:lnTo>
                      <a:cubicBezTo>
                        <a:pt x="18980" y="385056"/>
                        <a:pt x="0" y="367116"/>
                        <a:pt x="0" y="342676"/>
                      </a:cubicBezTo>
                      <a:lnTo>
                        <a:pt x="0" y="41340"/>
                      </a:lnTo>
                      <a:cubicBezTo>
                        <a:pt x="0" y="17940"/>
                        <a:pt x="18980" y="0"/>
                        <a:pt x="42380" y="0"/>
                      </a:cubicBezTo>
                      <a:lnTo>
                        <a:pt x="49920" y="0"/>
                      </a:lnTo>
                      <a:cubicBezTo>
                        <a:pt x="73319" y="0"/>
                        <a:pt x="92299" y="18980"/>
                        <a:pt x="92299" y="41340"/>
                      </a:cubicBezTo>
                      <a:lnTo>
                        <a:pt x="92299" y="342676"/>
                      </a:lnTo>
                      <a:cubicBezTo>
                        <a:pt x="92299" y="365816"/>
                        <a:pt x="73319" y="385056"/>
                        <a:pt x="49920" y="385056"/>
                      </a:cubicBezTo>
                      <a:close/>
                      <a:moveTo>
                        <a:pt x="42380" y="15600"/>
                      </a:moveTo>
                      <a:cubicBezTo>
                        <a:pt x="28600" y="15600"/>
                        <a:pt x="15860" y="27300"/>
                        <a:pt x="15860" y="41080"/>
                      </a:cubicBezTo>
                      <a:lnTo>
                        <a:pt x="15860" y="342416"/>
                      </a:lnTo>
                      <a:cubicBezTo>
                        <a:pt x="15860" y="359316"/>
                        <a:pt x="29640" y="368936"/>
                        <a:pt x="42380" y="368936"/>
                      </a:cubicBezTo>
                      <a:lnTo>
                        <a:pt x="49920" y="368936"/>
                      </a:lnTo>
                      <a:cubicBezTo>
                        <a:pt x="63699" y="368936"/>
                        <a:pt x="76439" y="357236"/>
                        <a:pt x="76439" y="342416"/>
                      </a:cubicBezTo>
                      <a:lnTo>
                        <a:pt x="76439" y="41080"/>
                      </a:lnTo>
                      <a:cubicBezTo>
                        <a:pt x="76439" y="27300"/>
                        <a:pt x="64739" y="15600"/>
                        <a:pt x="49920" y="15600"/>
                      </a:cubicBezTo>
                      <a:lnTo>
                        <a:pt x="42380" y="15600"/>
                      </a:lnTo>
                      <a:close/>
                    </a:path>
                  </a:pathLst>
                </a:custGeom>
                <a:solidFill>
                  <a:srgbClr val="00005A"/>
                </a:solidFill>
                <a:ln w="2597" cap="flat">
                  <a:noFill/>
                  <a:prstDash val="solid"/>
                  <a:miter/>
                </a:ln>
              </p:spPr>
              <p:txBody>
                <a:bodyPr rtlCol="0" anchor="ctr"/>
                <a:lstStyle/>
                <a:p>
                  <a:endParaRPr lang="en-GB"/>
                </a:p>
              </p:txBody>
            </p:sp>
            <p:sp>
              <p:nvSpPr>
                <p:cNvPr id="337" name="Freeform: Shape 336">
                  <a:extLst>
                    <a:ext uri="{FF2B5EF4-FFF2-40B4-BE49-F238E27FC236}">
                      <a16:creationId xmlns:a16="http://schemas.microsoft.com/office/drawing/2014/main" id="{FE553C35-F675-BAAA-E831-F4FC244C3E51}"/>
                    </a:ext>
                  </a:extLst>
                </p:cNvPr>
                <p:cNvSpPr/>
                <p:nvPr/>
              </p:nvSpPr>
              <p:spPr>
                <a:xfrm>
                  <a:off x="5651828" y="3747629"/>
                  <a:ext cx="92298" cy="385055"/>
                </a:xfrm>
                <a:custGeom>
                  <a:avLst/>
                  <a:gdLst>
                    <a:gd name="connsiteX0" fmla="*/ 49920 w 92298"/>
                    <a:gd name="connsiteY0" fmla="*/ 385056 h 385055"/>
                    <a:gd name="connsiteX1" fmla="*/ 42380 w 92298"/>
                    <a:gd name="connsiteY1" fmla="*/ 385056 h 385055"/>
                    <a:gd name="connsiteX2" fmla="*/ 0 w 92298"/>
                    <a:gd name="connsiteY2" fmla="*/ 342676 h 385055"/>
                    <a:gd name="connsiteX3" fmla="*/ 0 w 92298"/>
                    <a:gd name="connsiteY3" fmla="*/ 41340 h 385055"/>
                    <a:gd name="connsiteX4" fmla="*/ 42380 w 92298"/>
                    <a:gd name="connsiteY4" fmla="*/ 0 h 385055"/>
                    <a:gd name="connsiteX5" fmla="*/ 49920 w 92298"/>
                    <a:gd name="connsiteY5" fmla="*/ 0 h 385055"/>
                    <a:gd name="connsiteX6" fmla="*/ 92299 w 92298"/>
                    <a:gd name="connsiteY6" fmla="*/ 41340 h 385055"/>
                    <a:gd name="connsiteX7" fmla="*/ 92299 w 92298"/>
                    <a:gd name="connsiteY7" fmla="*/ 342676 h 385055"/>
                    <a:gd name="connsiteX8" fmla="*/ 49920 w 92298"/>
                    <a:gd name="connsiteY8" fmla="*/ 385056 h 385055"/>
                    <a:gd name="connsiteX9" fmla="*/ 42380 w 92298"/>
                    <a:gd name="connsiteY9" fmla="*/ 15600 h 385055"/>
                    <a:gd name="connsiteX10" fmla="*/ 15860 w 92298"/>
                    <a:gd name="connsiteY10" fmla="*/ 41080 h 385055"/>
                    <a:gd name="connsiteX11" fmla="*/ 15860 w 92298"/>
                    <a:gd name="connsiteY11" fmla="*/ 342416 h 385055"/>
                    <a:gd name="connsiteX12" fmla="*/ 42380 w 92298"/>
                    <a:gd name="connsiteY12" fmla="*/ 368936 h 385055"/>
                    <a:gd name="connsiteX13" fmla="*/ 49920 w 92298"/>
                    <a:gd name="connsiteY13" fmla="*/ 368936 h 385055"/>
                    <a:gd name="connsiteX14" fmla="*/ 76439 w 92298"/>
                    <a:gd name="connsiteY14" fmla="*/ 342416 h 385055"/>
                    <a:gd name="connsiteX15" fmla="*/ 76439 w 92298"/>
                    <a:gd name="connsiteY15" fmla="*/ 41080 h 385055"/>
                    <a:gd name="connsiteX16" fmla="*/ 49920 w 92298"/>
                    <a:gd name="connsiteY16" fmla="*/ 15600 h 385055"/>
                    <a:gd name="connsiteX17" fmla="*/ 42380 w 92298"/>
                    <a:gd name="connsiteY17" fmla="*/ 15600 h 38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2298" h="385055">
                      <a:moveTo>
                        <a:pt x="49920" y="385056"/>
                      </a:moveTo>
                      <a:lnTo>
                        <a:pt x="42380" y="385056"/>
                      </a:lnTo>
                      <a:cubicBezTo>
                        <a:pt x="17940" y="385056"/>
                        <a:pt x="0" y="367116"/>
                        <a:pt x="0" y="342676"/>
                      </a:cubicBezTo>
                      <a:lnTo>
                        <a:pt x="0" y="41340"/>
                      </a:lnTo>
                      <a:cubicBezTo>
                        <a:pt x="0" y="17940"/>
                        <a:pt x="18980" y="0"/>
                        <a:pt x="42380" y="0"/>
                      </a:cubicBezTo>
                      <a:lnTo>
                        <a:pt x="49920" y="0"/>
                      </a:lnTo>
                      <a:cubicBezTo>
                        <a:pt x="73319" y="0"/>
                        <a:pt x="92299" y="18980"/>
                        <a:pt x="92299" y="41340"/>
                      </a:cubicBezTo>
                      <a:lnTo>
                        <a:pt x="92299" y="342676"/>
                      </a:lnTo>
                      <a:cubicBezTo>
                        <a:pt x="92299" y="365816"/>
                        <a:pt x="73319" y="385056"/>
                        <a:pt x="49920" y="385056"/>
                      </a:cubicBezTo>
                      <a:close/>
                      <a:moveTo>
                        <a:pt x="42380" y="15600"/>
                      </a:moveTo>
                      <a:cubicBezTo>
                        <a:pt x="28600" y="15600"/>
                        <a:pt x="15860" y="27300"/>
                        <a:pt x="15860" y="41080"/>
                      </a:cubicBezTo>
                      <a:lnTo>
                        <a:pt x="15860" y="342416"/>
                      </a:lnTo>
                      <a:cubicBezTo>
                        <a:pt x="15860" y="357236"/>
                        <a:pt x="26520" y="368936"/>
                        <a:pt x="42380" y="368936"/>
                      </a:cubicBezTo>
                      <a:lnTo>
                        <a:pt x="49920" y="368936"/>
                      </a:lnTo>
                      <a:cubicBezTo>
                        <a:pt x="63699" y="368936"/>
                        <a:pt x="76439" y="357236"/>
                        <a:pt x="76439" y="342416"/>
                      </a:cubicBezTo>
                      <a:lnTo>
                        <a:pt x="76439" y="41080"/>
                      </a:lnTo>
                      <a:cubicBezTo>
                        <a:pt x="76439" y="27300"/>
                        <a:pt x="64739" y="15600"/>
                        <a:pt x="49920" y="15600"/>
                      </a:cubicBezTo>
                      <a:lnTo>
                        <a:pt x="42380" y="15600"/>
                      </a:lnTo>
                      <a:close/>
                    </a:path>
                  </a:pathLst>
                </a:custGeom>
                <a:solidFill>
                  <a:srgbClr val="00005A"/>
                </a:solidFill>
                <a:ln w="2597" cap="flat">
                  <a:noFill/>
                  <a:prstDash val="solid"/>
                  <a:miter/>
                </a:ln>
              </p:spPr>
              <p:txBody>
                <a:bodyPr rtlCol="0" anchor="ctr"/>
                <a:lstStyle/>
                <a:p>
                  <a:endParaRPr lang="en-GB"/>
                </a:p>
              </p:txBody>
            </p:sp>
          </p:grpSp>
          <p:grpSp>
            <p:nvGrpSpPr>
              <p:cNvPr id="328" name="Graphic 6">
                <a:extLst>
                  <a:ext uri="{FF2B5EF4-FFF2-40B4-BE49-F238E27FC236}">
                    <a16:creationId xmlns:a16="http://schemas.microsoft.com/office/drawing/2014/main" id="{EA7278F1-F3DC-F04C-F3F7-B3F3C94EFFE2}"/>
                  </a:ext>
                </a:extLst>
              </p:cNvPr>
              <p:cNvGrpSpPr/>
              <p:nvPr/>
            </p:nvGrpSpPr>
            <p:grpSpPr>
              <a:xfrm>
                <a:off x="5400411" y="3583051"/>
                <a:ext cx="290676" cy="289636"/>
                <a:chOff x="5400411" y="3583051"/>
                <a:chExt cx="290676" cy="289636"/>
              </a:xfrm>
            </p:grpSpPr>
            <p:sp>
              <p:nvSpPr>
                <p:cNvPr id="331" name="Freeform: Shape 330">
                  <a:extLst>
                    <a:ext uri="{FF2B5EF4-FFF2-40B4-BE49-F238E27FC236}">
                      <a16:creationId xmlns:a16="http://schemas.microsoft.com/office/drawing/2014/main" id="{2DCB7092-B4EC-76B1-1B01-4756A2706D48}"/>
                    </a:ext>
                  </a:extLst>
                </p:cNvPr>
                <p:cNvSpPr/>
                <p:nvPr/>
              </p:nvSpPr>
              <p:spPr>
                <a:xfrm>
                  <a:off x="5408731" y="3590330"/>
                  <a:ext cx="274036" cy="274036"/>
                </a:xfrm>
                <a:custGeom>
                  <a:avLst/>
                  <a:gdLst>
                    <a:gd name="connsiteX0" fmla="*/ 274037 w 274036"/>
                    <a:gd name="connsiteY0" fmla="*/ 137018 h 274036"/>
                    <a:gd name="connsiteX1" fmla="*/ 137019 w 274036"/>
                    <a:gd name="connsiteY1" fmla="*/ 274037 h 274036"/>
                    <a:gd name="connsiteX2" fmla="*/ 0 w 274036"/>
                    <a:gd name="connsiteY2" fmla="*/ 137018 h 274036"/>
                    <a:gd name="connsiteX3" fmla="*/ 137019 w 274036"/>
                    <a:gd name="connsiteY3" fmla="*/ 0 h 274036"/>
                    <a:gd name="connsiteX4" fmla="*/ 274037 w 274036"/>
                    <a:gd name="connsiteY4" fmla="*/ 137018 h 274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036" h="274036">
                      <a:moveTo>
                        <a:pt x="274037" y="137018"/>
                      </a:moveTo>
                      <a:cubicBezTo>
                        <a:pt x="274037" y="212691"/>
                        <a:pt x="212692" y="274037"/>
                        <a:pt x="137019" y="274037"/>
                      </a:cubicBezTo>
                      <a:cubicBezTo>
                        <a:pt x="61346" y="274037"/>
                        <a:pt x="0" y="212691"/>
                        <a:pt x="0" y="137018"/>
                      </a:cubicBezTo>
                      <a:cubicBezTo>
                        <a:pt x="0" y="61345"/>
                        <a:pt x="61346" y="0"/>
                        <a:pt x="137019" y="0"/>
                      </a:cubicBezTo>
                      <a:cubicBezTo>
                        <a:pt x="212692" y="0"/>
                        <a:pt x="274037" y="61345"/>
                        <a:pt x="274037" y="137018"/>
                      </a:cubicBezTo>
                      <a:close/>
                    </a:path>
                  </a:pathLst>
                </a:custGeom>
                <a:solidFill>
                  <a:srgbClr val="0069FF"/>
                </a:solidFill>
                <a:ln w="2597" cap="flat">
                  <a:noFill/>
                  <a:prstDash val="solid"/>
                  <a:miter/>
                </a:ln>
              </p:spPr>
              <p:txBody>
                <a:bodyPr rtlCol="0" anchor="ctr"/>
                <a:lstStyle/>
                <a:p>
                  <a:endParaRPr lang="en-GB"/>
                </a:p>
              </p:txBody>
            </p:sp>
            <p:sp>
              <p:nvSpPr>
                <p:cNvPr id="332" name="Freeform: Shape 331">
                  <a:extLst>
                    <a:ext uri="{FF2B5EF4-FFF2-40B4-BE49-F238E27FC236}">
                      <a16:creationId xmlns:a16="http://schemas.microsoft.com/office/drawing/2014/main" id="{8527B9E4-2CD7-E469-766C-13EEE24DCC99}"/>
                    </a:ext>
                  </a:extLst>
                </p:cNvPr>
                <p:cNvSpPr/>
                <p:nvPr/>
              </p:nvSpPr>
              <p:spPr>
                <a:xfrm>
                  <a:off x="5400411" y="3583051"/>
                  <a:ext cx="290676" cy="289636"/>
                </a:xfrm>
                <a:custGeom>
                  <a:avLst/>
                  <a:gdLst>
                    <a:gd name="connsiteX0" fmla="*/ 145338 w 290676"/>
                    <a:gd name="connsiteY0" fmla="*/ 289637 h 289636"/>
                    <a:gd name="connsiteX1" fmla="*/ 0 w 290676"/>
                    <a:gd name="connsiteY1" fmla="*/ 144298 h 289636"/>
                    <a:gd name="connsiteX2" fmla="*/ 145338 w 290676"/>
                    <a:gd name="connsiteY2" fmla="*/ 0 h 289636"/>
                    <a:gd name="connsiteX3" fmla="*/ 290676 w 290676"/>
                    <a:gd name="connsiteY3" fmla="*/ 144298 h 289636"/>
                    <a:gd name="connsiteX4" fmla="*/ 145338 w 290676"/>
                    <a:gd name="connsiteY4" fmla="*/ 289637 h 289636"/>
                    <a:gd name="connsiteX5" fmla="*/ 145338 w 290676"/>
                    <a:gd name="connsiteY5" fmla="*/ 14820 h 289636"/>
                    <a:gd name="connsiteX6" fmla="*/ 15860 w 290676"/>
                    <a:gd name="connsiteY6" fmla="*/ 143258 h 289636"/>
                    <a:gd name="connsiteX7" fmla="*/ 145338 w 290676"/>
                    <a:gd name="connsiteY7" fmla="*/ 272737 h 289636"/>
                    <a:gd name="connsiteX8" fmla="*/ 274817 w 290676"/>
                    <a:gd name="connsiteY8" fmla="*/ 143258 h 289636"/>
                    <a:gd name="connsiteX9" fmla="*/ 145338 w 290676"/>
                    <a:gd name="connsiteY9" fmla="*/ 14820 h 289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676" h="289636">
                      <a:moveTo>
                        <a:pt x="145338" y="289637"/>
                      </a:moveTo>
                      <a:cubicBezTo>
                        <a:pt x="65779" y="289637"/>
                        <a:pt x="0" y="224897"/>
                        <a:pt x="0" y="144298"/>
                      </a:cubicBezTo>
                      <a:cubicBezTo>
                        <a:pt x="0" y="63699"/>
                        <a:pt x="64739" y="0"/>
                        <a:pt x="145338" y="0"/>
                      </a:cubicBezTo>
                      <a:cubicBezTo>
                        <a:pt x="225937" y="0"/>
                        <a:pt x="290676" y="64739"/>
                        <a:pt x="290676" y="144298"/>
                      </a:cubicBezTo>
                      <a:cubicBezTo>
                        <a:pt x="290676" y="223858"/>
                        <a:pt x="224897" y="289637"/>
                        <a:pt x="145338" y="289637"/>
                      </a:cubicBezTo>
                      <a:close/>
                      <a:moveTo>
                        <a:pt x="145338" y="14820"/>
                      </a:moveTo>
                      <a:cubicBezTo>
                        <a:pt x="74359" y="14820"/>
                        <a:pt x="15860" y="73319"/>
                        <a:pt x="15860" y="143258"/>
                      </a:cubicBezTo>
                      <a:cubicBezTo>
                        <a:pt x="15860" y="214237"/>
                        <a:pt x="74359" y="272737"/>
                        <a:pt x="145338" y="272737"/>
                      </a:cubicBezTo>
                      <a:cubicBezTo>
                        <a:pt x="216317" y="272737"/>
                        <a:pt x="274817" y="214237"/>
                        <a:pt x="274817" y="143258"/>
                      </a:cubicBezTo>
                      <a:cubicBezTo>
                        <a:pt x="274817" y="73059"/>
                        <a:pt x="216317" y="14820"/>
                        <a:pt x="145338" y="14820"/>
                      </a:cubicBezTo>
                      <a:close/>
                    </a:path>
                  </a:pathLst>
                </a:custGeom>
                <a:solidFill>
                  <a:srgbClr val="FFFFFF"/>
                </a:solidFill>
                <a:ln w="2597" cap="flat">
                  <a:noFill/>
                  <a:prstDash val="solid"/>
                  <a:miter/>
                </a:ln>
              </p:spPr>
              <p:txBody>
                <a:bodyPr rtlCol="0" anchor="ctr"/>
                <a:lstStyle/>
                <a:p>
                  <a:endParaRPr lang="en-GB"/>
                </a:p>
              </p:txBody>
            </p:sp>
          </p:grpSp>
          <p:sp>
            <p:nvSpPr>
              <p:cNvPr id="329" name="Freeform: Shape 328">
                <a:extLst>
                  <a:ext uri="{FF2B5EF4-FFF2-40B4-BE49-F238E27FC236}">
                    <a16:creationId xmlns:a16="http://schemas.microsoft.com/office/drawing/2014/main" id="{41E5A798-9B06-2A99-9156-D732F01EE225}"/>
                  </a:ext>
                </a:extLst>
              </p:cNvPr>
              <p:cNvSpPr/>
              <p:nvPr/>
            </p:nvSpPr>
            <p:spPr>
              <a:xfrm>
                <a:off x="5484689" y="3625802"/>
                <a:ext cx="120339" cy="175645"/>
              </a:xfrm>
              <a:custGeom>
                <a:avLst/>
                <a:gdLst>
                  <a:gd name="connsiteX0" fmla="*/ 61060 w 120339"/>
                  <a:gd name="connsiteY0" fmla="*/ 175646 h 175645"/>
                  <a:gd name="connsiteX1" fmla="*/ 37660 w 120339"/>
                  <a:gd name="connsiteY1" fmla="*/ 172526 h 175645"/>
                  <a:gd name="connsiteX2" fmla="*/ 17380 w 120339"/>
                  <a:gd name="connsiteY2" fmla="*/ 159786 h 175645"/>
                  <a:gd name="connsiteX3" fmla="*/ 4641 w 120339"/>
                  <a:gd name="connsiteY3" fmla="*/ 139507 h 175645"/>
                  <a:gd name="connsiteX4" fmla="*/ 14261 w 120339"/>
                  <a:gd name="connsiteY4" fmla="*/ 63067 h 175645"/>
                  <a:gd name="connsiteX5" fmla="*/ 15300 w 120339"/>
                  <a:gd name="connsiteY5" fmla="*/ 60987 h 175645"/>
                  <a:gd name="connsiteX6" fmla="*/ 22840 w 120339"/>
                  <a:gd name="connsiteY6" fmla="*/ 57867 h 175645"/>
                  <a:gd name="connsiteX7" fmla="*/ 31420 w 120339"/>
                  <a:gd name="connsiteY7" fmla="*/ 63067 h 175645"/>
                  <a:gd name="connsiteX8" fmla="*/ 71720 w 120339"/>
                  <a:gd name="connsiteY8" fmla="*/ 1448 h 175645"/>
                  <a:gd name="connsiteX9" fmla="*/ 72760 w 120339"/>
                  <a:gd name="connsiteY9" fmla="*/ 408 h 175645"/>
                  <a:gd name="connsiteX10" fmla="*/ 74840 w 120339"/>
                  <a:gd name="connsiteY10" fmla="*/ 408 h 175645"/>
                  <a:gd name="connsiteX11" fmla="*/ 83420 w 120339"/>
                  <a:gd name="connsiteY11" fmla="*/ 2488 h 175645"/>
                  <a:gd name="connsiteX12" fmla="*/ 86540 w 120339"/>
                  <a:gd name="connsiteY12" fmla="*/ 18348 h 175645"/>
                  <a:gd name="connsiteX13" fmla="*/ 104479 w 120339"/>
                  <a:gd name="connsiteY13" fmla="*/ 71387 h 175645"/>
                  <a:gd name="connsiteX14" fmla="*/ 117219 w 120339"/>
                  <a:gd name="connsiteY14" fmla="*/ 91667 h 175645"/>
                  <a:gd name="connsiteX15" fmla="*/ 120339 w 120339"/>
                  <a:gd name="connsiteY15" fmla="*/ 115067 h 175645"/>
                  <a:gd name="connsiteX16" fmla="*/ 117219 w 120339"/>
                  <a:gd name="connsiteY16" fmla="*/ 138466 h 175645"/>
                  <a:gd name="connsiteX17" fmla="*/ 104479 w 120339"/>
                  <a:gd name="connsiteY17" fmla="*/ 158746 h 175645"/>
                  <a:gd name="connsiteX18" fmla="*/ 84200 w 120339"/>
                  <a:gd name="connsiteY18" fmla="*/ 171486 h 175645"/>
                  <a:gd name="connsiteX19" fmla="*/ 61060 w 120339"/>
                  <a:gd name="connsiteY19" fmla="*/ 175646 h 175645"/>
                  <a:gd name="connsiteX20" fmla="*/ 23880 w 120339"/>
                  <a:gd name="connsiteY20" fmla="*/ 79187 h 175645"/>
                  <a:gd name="connsiteX21" fmla="*/ 19721 w 120339"/>
                  <a:gd name="connsiteY21" fmla="*/ 133267 h 175645"/>
                  <a:gd name="connsiteX22" fmla="*/ 28300 w 120339"/>
                  <a:gd name="connsiteY22" fmla="*/ 148086 h 175645"/>
                  <a:gd name="connsiteX23" fmla="*/ 42080 w 120339"/>
                  <a:gd name="connsiteY23" fmla="*/ 156666 h 175645"/>
                  <a:gd name="connsiteX24" fmla="*/ 79260 w 120339"/>
                  <a:gd name="connsiteY24" fmla="*/ 156666 h 175645"/>
                  <a:gd name="connsiteX25" fmla="*/ 93040 w 120339"/>
                  <a:gd name="connsiteY25" fmla="*/ 148086 h 175645"/>
                  <a:gd name="connsiteX26" fmla="*/ 101620 w 120339"/>
                  <a:gd name="connsiteY26" fmla="*/ 134307 h 175645"/>
                  <a:gd name="connsiteX27" fmla="*/ 104739 w 120339"/>
                  <a:gd name="connsiteY27" fmla="*/ 115327 h 175645"/>
                  <a:gd name="connsiteX28" fmla="*/ 101620 w 120339"/>
                  <a:gd name="connsiteY28" fmla="*/ 96347 h 175645"/>
                  <a:gd name="connsiteX29" fmla="*/ 93040 w 120339"/>
                  <a:gd name="connsiteY29" fmla="*/ 82567 h 175645"/>
                  <a:gd name="connsiteX30" fmla="*/ 70680 w 120339"/>
                  <a:gd name="connsiteY30" fmla="*/ 23028 h 175645"/>
                  <a:gd name="connsiteX31" fmla="*/ 54820 w 120339"/>
                  <a:gd name="connsiteY31" fmla="*/ 94007 h 175645"/>
                  <a:gd name="connsiteX32" fmla="*/ 54820 w 120339"/>
                  <a:gd name="connsiteY32" fmla="*/ 108827 h 175645"/>
                  <a:gd name="connsiteX33" fmla="*/ 53780 w 120339"/>
                  <a:gd name="connsiteY33" fmla="*/ 109867 h 175645"/>
                  <a:gd name="connsiteX34" fmla="*/ 51700 w 120339"/>
                  <a:gd name="connsiteY34" fmla="*/ 110907 h 175645"/>
                  <a:gd name="connsiteX35" fmla="*/ 32720 w 120339"/>
                  <a:gd name="connsiteY35" fmla="*/ 92967 h 175645"/>
                  <a:gd name="connsiteX36" fmla="*/ 23880 w 120339"/>
                  <a:gd name="connsiteY36" fmla="*/ 79187 h 175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0339" h="175645">
                    <a:moveTo>
                      <a:pt x="61060" y="175646"/>
                    </a:moveTo>
                    <a:cubicBezTo>
                      <a:pt x="52480" y="175646"/>
                      <a:pt x="44160" y="174606"/>
                      <a:pt x="37660" y="172526"/>
                    </a:cubicBezTo>
                    <a:cubicBezTo>
                      <a:pt x="30120" y="170446"/>
                      <a:pt x="22840" y="164986"/>
                      <a:pt x="17380" y="159786"/>
                    </a:cubicBezTo>
                    <a:cubicBezTo>
                      <a:pt x="12181" y="154586"/>
                      <a:pt x="6721" y="147046"/>
                      <a:pt x="4641" y="139507"/>
                    </a:cubicBezTo>
                    <a:cubicBezTo>
                      <a:pt x="-3939" y="114027"/>
                      <a:pt x="-559" y="88547"/>
                      <a:pt x="14261" y="63067"/>
                    </a:cubicBezTo>
                    <a:lnTo>
                      <a:pt x="15300" y="60987"/>
                    </a:lnTo>
                    <a:cubicBezTo>
                      <a:pt x="17380" y="58907"/>
                      <a:pt x="20500" y="57867"/>
                      <a:pt x="22840" y="57867"/>
                    </a:cubicBezTo>
                    <a:cubicBezTo>
                      <a:pt x="25960" y="57867"/>
                      <a:pt x="28040" y="59947"/>
                      <a:pt x="31420" y="63067"/>
                    </a:cubicBezTo>
                    <a:cubicBezTo>
                      <a:pt x="33500" y="46168"/>
                      <a:pt x="43120" y="23808"/>
                      <a:pt x="71720" y="1448"/>
                    </a:cubicBezTo>
                    <a:lnTo>
                      <a:pt x="72760" y="408"/>
                    </a:lnTo>
                    <a:lnTo>
                      <a:pt x="74840" y="408"/>
                    </a:lnTo>
                    <a:cubicBezTo>
                      <a:pt x="77960" y="-632"/>
                      <a:pt x="81080" y="408"/>
                      <a:pt x="83420" y="2488"/>
                    </a:cubicBezTo>
                    <a:cubicBezTo>
                      <a:pt x="87580" y="5608"/>
                      <a:pt x="87580" y="11068"/>
                      <a:pt x="86540" y="18348"/>
                    </a:cubicBezTo>
                    <a:cubicBezTo>
                      <a:pt x="85500" y="31088"/>
                      <a:pt x="84460" y="53447"/>
                      <a:pt x="104479" y="71387"/>
                    </a:cubicBezTo>
                    <a:cubicBezTo>
                      <a:pt x="110719" y="77627"/>
                      <a:pt x="115139" y="84127"/>
                      <a:pt x="117219" y="91667"/>
                    </a:cubicBezTo>
                    <a:cubicBezTo>
                      <a:pt x="119299" y="99207"/>
                      <a:pt x="120339" y="106487"/>
                      <a:pt x="120339" y="115067"/>
                    </a:cubicBezTo>
                    <a:cubicBezTo>
                      <a:pt x="120339" y="123646"/>
                      <a:pt x="119299" y="131967"/>
                      <a:pt x="117219" y="138466"/>
                    </a:cubicBezTo>
                    <a:cubicBezTo>
                      <a:pt x="115139" y="146006"/>
                      <a:pt x="109679" y="153286"/>
                      <a:pt x="104479" y="158746"/>
                    </a:cubicBezTo>
                    <a:cubicBezTo>
                      <a:pt x="99280" y="164206"/>
                      <a:pt x="91740" y="169406"/>
                      <a:pt x="84200" y="171486"/>
                    </a:cubicBezTo>
                    <a:cubicBezTo>
                      <a:pt x="77960" y="174606"/>
                      <a:pt x="69380" y="175646"/>
                      <a:pt x="61060" y="175646"/>
                    </a:cubicBezTo>
                    <a:close/>
                    <a:moveTo>
                      <a:pt x="23880" y="79187"/>
                    </a:moveTo>
                    <a:cubicBezTo>
                      <a:pt x="11140" y="106747"/>
                      <a:pt x="17640" y="127027"/>
                      <a:pt x="19721" y="133267"/>
                    </a:cubicBezTo>
                    <a:cubicBezTo>
                      <a:pt x="21800" y="138466"/>
                      <a:pt x="24920" y="144966"/>
                      <a:pt x="28300" y="148086"/>
                    </a:cubicBezTo>
                    <a:cubicBezTo>
                      <a:pt x="31420" y="151206"/>
                      <a:pt x="37920" y="155626"/>
                      <a:pt x="42080" y="156666"/>
                    </a:cubicBezTo>
                    <a:cubicBezTo>
                      <a:pt x="52740" y="159786"/>
                      <a:pt x="68600" y="159786"/>
                      <a:pt x="79260" y="156666"/>
                    </a:cubicBezTo>
                    <a:cubicBezTo>
                      <a:pt x="83420" y="155626"/>
                      <a:pt x="89920" y="151466"/>
                      <a:pt x="93040" y="148086"/>
                    </a:cubicBezTo>
                    <a:cubicBezTo>
                      <a:pt x="97199" y="144966"/>
                      <a:pt x="100580" y="138466"/>
                      <a:pt x="101620" y="134307"/>
                    </a:cubicBezTo>
                    <a:cubicBezTo>
                      <a:pt x="103699" y="129107"/>
                      <a:pt x="104739" y="122607"/>
                      <a:pt x="104739" y="115327"/>
                    </a:cubicBezTo>
                    <a:cubicBezTo>
                      <a:pt x="104739" y="109087"/>
                      <a:pt x="103699" y="101547"/>
                      <a:pt x="101620" y="96347"/>
                    </a:cubicBezTo>
                    <a:cubicBezTo>
                      <a:pt x="99539" y="91147"/>
                      <a:pt x="97460" y="86727"/>
                      <a:pt x="93040" y="82567"/>
                    </a:cubicBezTo>
                    <a:cubicBezTo>
                      <a:pt x="71720" y="62287"/>
                      <a:pt x="69640" y="39147"/>
                      <a:pt x="70680" y="23028"/>
                    </a:cubicBezTo>
                    <a:cubicBezTo>
                      <a:pt x="35580" y="57087"/>
                      <a:pt x="48320" y="82567"/>
                      <a:pt x="54820" y="94007"/>
                    </a:cubicBezTo>
                    <a:cubicBezTo>
                      <a:pt x="56900" y="98167"/>
                      <a:pt x="60020" y="103627"/>
                      <a:pt x="54820" y="108827"/>
                    </a:cubicBezTo>
                    <a:lnTo>
                      <a:pt x="53780" y="109867"/>
                    </a:lnTo>
                    <a:lnTo>
                      <a:pt x="51700" y="110907"/>
                    </a:lnTo>
                    <a:cubicBezTo>
                      <a:pt x="44160" y="112987"/>
                      <a:pt x="41040" y="107787"/>
                      <a:pt x="32720" y="92967"/>
                    </a:cubicBezTo>
                    <a:cubicBezTo>
                      <a:pt x="30120" y="90887"/>
                      <a:pt x="25960" y="84387"/>
                      <a:pt x="23880" y="79187"/>
                    </a:cubicBezTo>
                    <a:close/>
                  </a:path>
                </a:pathLst>
              </a:custGeom>
              <a:solidFill>
                <a:srgbClr val="FFFFFF"/>
              </a:solidFill>
              <a:ln w="2597" cap="flat">
                <a:noFill/>
                <a:prstDash val="solid"/>
                <a:miter/>
              </a:ln>
            </p:spPr>
            <p:txBody>
              <a:bodyPr rtlCol="0" anchor="ctr"/>
              <a:lstStyle/>
              <a:p>
                <a:endParaRPr lang="en-GB"/>
              </a:p>
            </p:txBody>
          </p:sp>
          <p:sp>
            <p:nvSpPr>
              <p:cNvPr id="330" name="Freeform: Shape 329">
                <a:extLst>
                  <a:ext uri="{FF2B5EF4-FFF2-40B4-BE49-F238E27FC236}">
                    <a16:creationId xmlns:a16="http://schemas.microsoft.com/office/drawing/2014/main" id="{7CCE3964-25F9-F100-78C0-437B6DEBEAD7}"/>
                  </a:ext>
                </a:extLst>
              </p:cNvPr>
              <p:cNvSpPr/>
              <p:nvPr/>
            </p:nvSpPr>
            <p:spPr>
              <a:xfrm>
                <a:off x="5728267" y="4012566"/>
                <a:ext cx="49139" cy="56419"/>
              </a:xfrm>
              <a:custGeom>
                <a:avLst/>
                <a:gdLst>
                  <a:gd name="connsiteX0" fmla="*/ 40300 w 49139"/>
                  <a:gd name="connsiteY0" fmla="*/ 56419 h 56419"/>
                  <a:gd name="connsiteX1" fmla="*/ 8580 w 49139"/>
                  <a:gd name="connsiteY1" fmla="*/ 56419 h 56419"/>
                  <a:gd name="connsiteX2" fmla="*/ 0 w 49139"/>
                  <a:gd name="connsiteY2" fmla="*/ 47840 h 56419"/>
                  <a:gd name="connsiteX3" fmla="*/ 8580 w 49139"/>
                  <a:gd name="connsiteY3" fmla="*/ 39259 h 56419"/>
                  <a:gd name="connsiteX4" fmla="*/ 31980 w 49139"/>
                  <a:gd name="connsiteY4" fmla="*/ 39259 h 56419"/>
                  <a:gd name="connsiteX5" fmla="*/ 31980 w 49139"/>
                  <a:gd name="connsiteY5" fmla="*/ 8580 h 56419"/>
                  <a:gd name="connsiteX6" fmla="*/ 40559 w 49139"/>
                  <a:gd name="connsiteY6" fmla="*/ 0 h 56419"/>
                  <a:gd name="connsiteX7" fmla="*/ 49139 w 49139"/>
                  <a:gd name="connsiteY7" fmla="*/ 8580 h 56419"/>
                  <a:gd name="connsiteX8" fmla="*/ 49139 w 49139"/>
                  <a:gd name="connsiteY8" fmla="*/ 46799 h 56419"/>
                  <a:gd name="connsiteX9" fmla="*/ 40300 w 49139"/>
                  <a:gd name="connsiteY9" fmla="*/ 56419 h 56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139" h="56419">
                    <a:moveTo>
                      <a:pt x="40300" y="56419"/>
                    </a:moveTo>
                    <a:lnTo>
                      <a:pt x="8580" y="56419"/>
                    </a:lnTo>
                    <a:cubicBezTo>
                      <a:pt x="4420" y="56419"/>
                      <a:pt x="0" y="53299"/>
                      <a:pt x="0" y="47840"/>
                    </a:cubicBezTo>
                    <a:cubicBezTo>
                      <a:pt x="0" y="42379"/>
                      <a:pt x="3120" y="39259"/>
                      <a:pt x="8580" y="39259"/>
                    </a:cubicBezTo>
                    <a:lnTo>
                      <a:pt x="31980" y="39259"/>
                    </a:lnTo>
                    <a:lnTo>
                      <a:pt x="31980" y="8580"/>
                    </a:lnTo>
                    <a:cubicBezTo>
                      <a:pt x="31980" y="4420"/>
                      <a:pt x="35100" y="0"/>
                      <a:pt x="40559" y="0"/>
                    </a:cubicBezTo>
                    <a:cubicBezTo>
                      <a:pt x="46019" y="0"/>
                      <a:pt x="49139" y="3120"/>
                      <a:pt x="49139" y="8580"/>
                    </a:cubicBezTo>
                    <a:lnTo>
                      <a:pt x="49139" y="46799"/>
                    </a:lnTo>
                    <a:cubicBezTo>
                      <a:pt x="48880" y="52259"/>
                      <a:pt x="44459" y="56419"/>
                      <a:pt x="40300" y="56419"/>
                    </a:cubicBezTo>
                    <a:close/>
                  </a:path>
                </a:pathLst>
              </a:custGeom>
              <a:solidFill>
                <a:srgbClr val="00005A"/>
              </a:solidFill>
              <a:ln w="2597" cap="flat">
                <a:noFill/>
                <a:prstDash val="solid"/>
                <a:miter/>
              </a:ln>
            </p:spPr>
            <p:txBody>
              <a:bodyPr rtlCol="0" anchor="ctr"/>
              <a:lstStyle/>
              <a:p>
                <a:endParaRPr lang="en-GB"/>
              </a:p>
            </p:txBody>
          </p:sp>
        </p:grpSp>
        <p:sp>
          <p:nvSpPr>
            <p:cNvPr id="325" name="Freeform: Shape 324">
              <a:extLst>
                <a:ext uri="{FF2B5EF4-FFF2-40B4-BE49-F238E27FC236}">
                  <a16:creationId xmlns:a16="http://schemas.microsoft.com/office/drawing/2014/main" id="{CB33F426-3130-A8A5-F6EA-936118DFD9CC}"/>
                </a:ext>
              </a:extLst>
            </p:cNvPr>
            <p:cNvSpPr/>
            <p:nvPr/>
          </p:nvSpPr>
          <p:spPr>
            <a:xfrm>
              <a:off x="4962925" y="3931944"/>
              <a:ext cx="53640" cy="128460"/>
            </a:xfrm>
            <a:custGeom>
              <a:avLst/>
              <a:gdLst>
                <a:gd name="connsiteX0" fmla="*/ 25650 w 53640"/>
                <a:gd name="connsiteY0" fmla="*/ 128461 h 128460"/>
                <a:gd name="connsiteX1" fmla="*/ 22531 w 53640"/>
                <a:gd name="connsiteY1" fmla="*/ 128461 h 128460"/>
                <a:gd name="connsiteX2" fmla="*/ 17331 w 53640"/>
                <a:gd name="connsiteY2" fmla="*/ 117801 h 128460"/>
                <a:gd name="connsiteX3" fmla="*/ 33190 w 53640"/>
                <a:gd name="connsiteY3" fmla="*/ 72041 h 128460"/>
                <a:gd name="connsiteX4" fmla="*/ 7711 w 53640"/>
                <a:gd name="connsiteY4" fmla="*/ 72041 h 128460"/>
                <a:gd name="connsiteX5" fmla="*/ 1471 w 53640"/>
                <a:gd name="connsiteY5" fmla="*/ 68922 h 128460"/>
                <a:gd name="connsiteX6" fmla="*/ 431 w 53640"/>
                <a:gd name="connsiteY6" fmla="*/ 62682 h 128460"/>
                <a:gd name="connsiteX7" fmla="*/ 13170 w 53640"/>
                <a:gd name="connsiteY7" fmla="*/ 6522 h 128460"/>
                <a:gd name="connsiteX8" fmla="*/ 22790 w 53640"/>
                <a:gd name="connsiteY8" fmla="*/ 282 h 128460"/>
                <a:gd name="connsiteX9" fmla="*/ 29030 w 53640"/>
                <a:gd name="connsiteY9" fmla="*/ 9902 h 128460"/>
                <a:gd name="connsiteX10" fmla="*/ 18370 w 53640"/>
                <a:gd name="connsiteY10" fmla="*/ 56702 h 128460"/>
                <a:gd name="connsiteX11" fmla="*/ 45930 w 53640"/>
                <a:gd name="connsiteY11" fmla="*/ 56702 h 128460"/>
                <a:gd name="connsiteX12" fmla="*/ 52170 w 53640"/>
                <a:gd name="connsiteY12" fmla="*/ 59822 h 128460"/>
                <a:gd name="connsiteX13" fmla="*/ 53210 w 53640"/>
                <a:gd name="connsiteY13" fmla="*/ 67362 h 128460"/>
                <a:gd name="connsiteX14" fmla="*/ 32930 w 53640"/>
                <a:gd name="connsiteY14" fmla="*/ 123521 h 128460"/>
                <a:gd name="connsiteX15" fmla="*/ 25650 w 53640"/>
                <a:gd name="connsiteY15" fmla="*/ 128461 h 12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640" h="128460">
                  <a:moveTo>
                    <a:pt x="25650" y="128461"/>
                  </a:moveTo>
                  <a:cubicBezTo>
                    <a:pt x="24610" y="128461"/>
                    <a:pt x="23570" y="128461"/>
                    <a:pt x="22531" y="128461"/>
                  </a:cubicBezTo>
                  <a:cubicBezTo>
                    <a:pt x="18370" y="127421"/>
                    <a:pt x="16291" y="122221"/>
                    <a:pt x="17331" y="117801"/>
                  </a:cubicBezTo>
                  <a:lnTo>
                    <a:pt x="33190" y="72041"/>
                  </a:lnTo>
                  <a:lnTo>
                    <a:pt x="7711" y="72041"/>
                  </a:lnTo>
                  <a:cubicBezTo>
                    <a:pt x="5631" y="72041"/>
                    <a:pt x="3551" y="71001"/>
                    <a:pt x="1471" y="68922"/>
                  </a:cubicBezTo>
                  <a:cubicBezTo>
                    <a:pt x="431" y="66841"/>
                    <a:pt x="-609" y="64762"/>
                    <a:pt x="431" y="62682"/>
                  </a:cubicBezTo>
                  <a:lnTo>
                    <a:pt x="13170" y="6522"/>
                  </a:lnTo>
                  <a:cubicBezTo>
                    <a:pt x="14210" y="2362"/>
                    <a:pt x="18370" y="-1018"/>
                    <a:pt x="22790" y="282"/>
                  </a:cubicBezTo>
                  <a:cubicBezTo>
                    <a:pt x="26950" y="1322"/>
                    <a:pt x="30330" y="5482"/>
                    <a:pt x="29030" y="9902"/>
                  </a:cubicBezTo>
                  <a:lnTo>
                    <a:pt x="18370" y="56702"/>
                  </a:lnTo>
                  <a:lnTo>
                    <a:pt x="45930" y="56702"/>
                  </a:lnTo>
                  <a:cubicBezTo>
                    <a:pt x="48010" y="56702"/>
                    <a:pt x="51130" y="57742"/>
                    <a:pt x="52170" y="59822"/>
                  </a:cubicBezTo>
                  <a:cubicBezTo>
                    <a:pt x="53210" y="61901"/>
                    <a:pt x="54250" y="65022"/>
                    <a:pt x="53210" y="67362"/>
                  </a:cubicBezTo>
                  <a:lnTo>
                    <a:pt x="32930" y="123521"/>
                  </a:lnTo>
                  <a:cubicBezTo>
                    <a:pt x="31890" y="126381"/>
                    <a:pt x="28770" y="128461"/>
                    <a:pt x="25650" y="128461"/>
                  </a:cubicBezTo>
                  <a:close/>
                </a:path>
              </a:pathLst>
            </a:custGeom>
            <a:solidFill>
              <a:srgbClr val="FFFFFF"/>
            </a:solidFill>
            <a:ln w="2597" cap="flat">
              <a:noFill/>
              <a:prstDash val="solid"/>
              <a:miter/>
            </a:ln>
          </p:spPr>
          <p:txBody>
            <a:bodyPr rtlCol="0" anchor="ctr"/>
            <a:lstStyle/>
            <a:p>
              <a:endParaRPr lang="en-GB"/>
            </a:p>
          </p:txBody>
        </p:sp>
      </p:grpSp>
      <p:grpSp>
        <p:nvGrpSpPr>
          <p:cNvPr id="357" name="Graphic 6">
            <a:extLst>
              <a:ext uri="{FF2B5EF4-FFF2-40B4-BE49-F238E27FC236}">
                <a16:creationId xmlns:a16="http://schemas.microsoft.com/office/drawing/2014/main" id="{1A8C1102-750B-30B2-C0C9-C3CF730F7D97}"/>
              </a:ext>
            </a:extLst>
          </p:cNvPr>
          <p:cNvGrpSpPr/>
          <p:nvPr/>
        </p:nvGrpSpPr>
        <p:grpSpPr>
          <a:xfrm>
            <a:off x="1237331" y="4919110"/>
            <a:ext cx="467342" cy="350401"/>
            <a:chOff x="3578850" y="4697138"/>
            <a:chExt cx="937311" cy="702772"/>
          </a:xfrm>
        </p:grpSpPr>
        <p:grpSp>
          <p:nvGrpSpPr>
            <p:cNvPr id="358" name="Graphic 6">
              <a:extLst>
                <a:ext uri="{FF2B5EF4-FFF2-40B4-BE49-F238E27FC236}">
                  <a16:creationId xmlns:a16="http://schemas.microsoft.com/office/drawing/2014/main" id="{33E3D999-DA67-9BB5-8782-2608DC8D8385}"/>
                </a:ext>
              </a:extLst>
            </p:cNvPr>
            <p:cNvGrpSpPr/>
            <p:nvPr/>
          </p:nvGrpSpPr>
          <p:grpSpPr>
            <a:xfrm>
              <a:off x="4045827" y="4697138"/>
              <a:ext cx="470334" cy="542354"/>
              <a:chOff x="4045827" y="4697138"/>
              <a:chExt cx="470334" cy="542354"/>
            </a:xfrm>
          </p:grpSpPr>
          <p:grpSp>
            <p:nvGrpSpPr>
              <p:cNvPr id="381" name="Graphic 6">
                <a:extLst>
                  <a:ext uri="{FF2B5EF4-FFF2-40B4-BE49-F238E27FC236}">
                    <a16:creationId xmlns:a16="http://schemas.microsoft.com/office/drawing/2014/main" id="{46A3C2CB-7C9F-CAB3-DCF2-DF6A024839EC}"/>
                  </a:ext>
                </a:extLst>
              </p:cNvPr>
              <p:cNvGrpSpPr/>
              <p:nvPr/>
            </p:nvGrpSpPr>
            <p:grpSpPr>
              <a:xfrm>
                <a:off x="4071566" y="4723917"/>
                <a:ext cx="444594" cy="515574"/>
                <a:chOff x="4071566" y="4723917"/>
                <a:chExt cx="444594" cy="515574"/>
              </a:xfrm>
              <a:solidFill>
                <a:srgbClr val="0069FF"/>
              </a:solidFill>
            </p:grpSpPr>
            <p:grpSp>
              <p:nvGrpSpPr>
                <p:cNvPr id="409" name="Graphic 6">
                  <a:extLst>
                    <a:ext uri="{FF2B5EF4-FFF2-40B4-BE49-F238E27FC236}">
                      <a16:creationId xmlns:a16="http://schemas.microsoft.com/office/drawing/2014/main" id="{B2B2E6DC-13F0-9C59-6C48-467A97B00D23}"/>
                    </a:ext>
                  </a:extLst>
                </p:cNvPr>
                <p:cNvGrpSpPr/>
                <p:nvPr/>
              </p:nvGrpSpPr>
              <p:grpSpPr>
                <a:xfrm>
                  <a:off x="4071566" y="4723917"/>
                  <a:ext cx="444594" cy="477354"/>
                  <a:chOff x="4071566" y="4723917"/>
                  <a:chExt cx="444594" cy="477354"/>
                </a:xfrm>
                <a:solidFill>
                  <a:srgbClr val="0069FF"/>
                </a:solidFill>
              </p:grpSpPr>
              <p:sp>
                <p:nvSpPr>
                  <p:cNvPr id="414" name="Freeform: Shape 413">
                    <a:extLst>
                      <a:ext uri="{FF2B5EF4-FFF2-40B4-BE49-F238E27FC236}">
                        <a16:creationId xmlns:a16="http://schemas.microsoft.com/office/drawing/2014/main" id="{F591EDCF-3801-64C3-D160-583E4DCA5A1A}"/>
                      </a:ext>
                    </a:extLst>
                  </p:cNvPr>
                  <p:cNvSpPr/>
                  <p:nvPr/>
                </p:nvSpPr>
                <p:spPr>
                  <a:xfrm>
                    <a:off x="4076766" y="4729117"/>
                    <a:ext cx="434194" cy="466954"/>
                  </a:xfrm>
                  <a:custGeom>
                    <a:avLst/>
                    <a:gdLst>
                      <a:gd name="connsiteX0" fmla="*/ 0 w 434194"/>
                      <a:gd name="connsiteY0" fmla="*/ 0 h 466954"/>
                      <a:gd name="connsiteX1" fmla="*/ 434195 w 434194"/>
                      <a:gd name="connsiteY1" fmla="*/ 0 h 466954"/>
                      <a:gd name="connsiteX2" fmla="*/ 434195 w 434194"/>
                      <a:gd name="connsiteY2" fmla="*/ 466955 h 466954"/>
                      <a:gd name="connsiteX3" fmla="*/ 0 w 434194"/>
                      <a:gd name="connsiteY3" fmla="*/ 466955 h 466954"/>
                    </a:gdLst>
                    <a:ahLst/>
                    <a:cxnLst>
                      <a:cxn ang="0">
                        <a:pos x="connsiteX0" y="connsiteY0"/>
                      </a:cxn>
                      <a:cxn ang="0">
                        <a:pos x="connsiteX1" y="connsiteY1"/>
                      </a:cxn>
                      <a:cxn ang="0">
                        <a:pos x="connsiteX2" y="connsiteY2"/>
                      </a:cxn>
                      <a:cxn ang="0">
                        <a:pos x="connsiteX3" y="connsiteY3"/>
                      </a:cxn>
                    </a:cxnLst>
                    <a:rect l="l" t="t" r="r" b="b"/>
                    <a:pathLst>
                      <a:path w="434194" h="466954">
                        <a:moveTo>
                          <a:pt x="0" y="0"/>
                        </a:moveTo>
                        <a:lnTo>
                          <a:pt x="434195" y="0"/>
                        </a:lnTo>
                        <a:lnTo>
                          <a:pt x="434195" y="466955"/>
                        </a:lnTo>
                        <a:lnTo>
                          <a:pt x="0" y="466955"/>
                        </a:lnTo>
                        <a:close/>
                      </a:path>
                    </a:pathLst>
                  </a:custGeom>
                  <a:solidFill>
                    <a:srgbClr val="0069FF"/>
                  </a:solidFill>
                  <a:ln w="2597" cap="flat">
                    <a:noFill/>
                    <a:prstDash val="solid"/>
                    <a:miter/>
                  </a:ln>
                </p:spPr>
                <p:txBody>
                  <a:bodyPr rtlCol="0" anchor="ctr"/>
                  <a:lstStyle/>
                  <a:p>
                    <a:endParaRPr lang="en-GB"/>
                  </a:p>
                </p:txBody>
              </p:sp>
              <p:sp>
                <p:nvSpPr>
                  <p:cNvPr id="415" name="Freeform: Shape 414">
                    <a:extLst>
                      <a:ext uri="{FF2B5EF4-FFF2-40B4-BE49-F238E27FC236}">
                        <a16:creationId xmlns:a16="http://schemas.microsoft.com/office/drawing/2014/main" id="{212C4432-B31D-5BAF-D383-BF813F6B954D}"/>
                      </a:ext>
                    </a:extLst>
                  </p:cNvPr>
                  <p:cNvSpPr/>
                  <p:nvPr/>
                </p:nvSpPr>
                <p:spPr>
                  <a:xfrm>
                    <a:off x="4071566" y="4723917"/>
                    <a:ext cx="444594" cy="477354"/>
                  </a:xfrm>
                  <a:custGeom>
                    <a:avLst/>
                    <a:gdLst>
                      <a:gd name="connsiteX0" fmla="*/ 439395 w 444594"/>
                      <a:gd name="connsiteY0" fmla="*/ 477354 h 477354"/>
                      <a:gd name="connsiteX1" fmla="*/ 5200 w 444594"/>
                      <a:gd name="connsiteY1" fmla="*/ 477354 h 477354"/>
                      <a:gd name="connsiteX2" fmla="*/ 0 w 444594"/>
                      <a:gd name="connsiteY2" fmla="*/ 472155 h 477354"/>
                      <a:gd name="connsiteX3" fmla="*/ 0 w 444594"/>
                      <a:gd name="connsiteY3" fmla="*/ 5200 h 477354"/>
                      <a:gd name="connsiteX4" fmla="*/ 5200 w 444594"/>
                      <a:gd name="connsiteY4" fmla="*/ 0 h 477354"/>
                      <a:gd name="connsiteX5" fmla="*/ 439395 w 444594"/>
                      <a:gd name="connsiteY5" fmla="*/ 0 h 477354"/>
                      <a:gd name="connsiteX6" fmla="*/ 444595 w 444594"/>
                      <a:gd name="connsiteY6" fmla="*/ 5200 h 477354"/>
                      <a:gd name="connsiteX7" fmla="*/ 444595 w 444594"/>
                      <a:gd name="connsiteY7" fmla="*/ 472155 h 477354"/>
                      <a:gd name="connsiteX8" fmla="*/ 439395 w 444594"/>
                      <a:gd name="connsiteY8" fmla="*/ 477354 h 477354"/>
                      <a:gd name="connsiteX9" fmla="*/ 10660 w 444594"/>
                      <a:gd name="connsiteY9" fmla="*/ 466955 h 477354"/>
                      <a:gd name="connsiteX10" fmla="*/ 434195 w 444594"/>
                      <a:gd name="connsiteY10" fmla="*/ 466955 h 477354"/>
                      <a:gd name="connsiteX11" fmla="*/ 434195 w 444594"/>
                      <a:gd name="connsiteY11" fmla="*/ 10400 h 477354"/>
                      <a:gd name="connsiteX12" fmla="*/ 10660 w 444594"/>
                      <a:gd name="connsiteY12" fmla="*/ 10400 h 477354"/>
                      <a:gd name="connsiteX13" fmla="*/ 10660 w 444594"/>
                      <a:gd name="connsiteY13" fmla="*/ 466955 h 477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4594" h="477354">
                        <a:moveTo>
                          <a:pt x="439395" y="477354"/>
                        </a:moveTo>
                        <a:lnTo>
                          <a:pt x="5200" y="477354"/>
                        </a:lnTo>
                        <a:cubicBezTo>
                          <a:pt x="2080" y="477354"/>
                          <a:pt x="0" y="475275"/>
                          <a:pt x="0" y="472155"/>
                        </a:cubicBezTo>
                        <a:lnTo>
                          <a:pt x="0" y="5200"/>
                        </a:lnTo>
                        <a:cubicBezTo>
                          <a:pt x="0" y="2080"/>
                          <a:pt x="2080" y="0"/>
                          <a:pt x="5200" y="0"/>
                        </a:cubicBezTo>
                        <a:lnTo>
                          <a:pt x="439395" y="0"/>
                        </a:lnTo>
                        <a:cubicBezTo>
                          <a:pt x="442515" y="0"/>
                          <a:pt x="444595" y="2080"/>
                          <a:pt x="444595" y="5200"/>
                        </a:cubicBezTo>
                        <a:lnTo>
                          <a:pt x="444595" y="472155"/>
                        </a:lnTo>
                        <a:cubicBezTo>
                          <a:pt x="444595" y="475275"/>
                          <a:pt x="442515" y="477354"/>
                          <a:pt x="439395" y="477354"/>
                        </a:cubicBezTo>
                        <a:close/>
                        <a:moveTo>
                          <a:pt x="10660" y="466955"/>
                        </a:moveTo>
                        <a:lnTo>
                          <a:pt x="434195" y="466955"/>
                        </a:lnTo>
                        <a:lnTo>
                          <a:pt x="434195" y="10400"/>
                        </a:lnTo>
                        <a:lnTo>
                          <a:pt x="10660" y="10400"/>
                        </a:lnTo>
                        <a:lnTo>
                          <a:pt x="10660" y="466955"/>
                        </a:lnTo>
                        <a:close/>
                      </a:path>
                    </a:pathLst>
                  </a:custGeom>
                  <a:solidFill>
                    <a:srgbClr val="0069FF"/>
                  </a:solidFill>
                  <a:ln w="2597" cap="flat">
                    <a:noFill/>
                    <a:prstDash val="solid"/>
                    <a:miter/>
                  </a:ln>
                </p:spPr>
                <p:txBody>
                  <a:bodyPr rtlCol="0" anchor="ctr"/>
                  <a:lstStyle/>
                  <a:p>
                    <a:endParaRPr lang="en-GB"/>
                  </a:p>
                </p:txBody>
              </p:sp>
            </p:grpSp>
            <p:sp>
              <p:nvSpPr>
                <p:cNvPr id="410" name="Freeform: Shape 409">
                  <a:extLst>
                    <a:ext uri="{FF2B5EF4-FFF2-40B4-BE49-F238E27FC236}">
                      <a16:creationId xmlns:a16="http://schemas.microsoft.com/office/drawing/2014/main" id="{663926A6-9609-A6D7-5EA1-A87D91418A16}"/>
                    </a:ext>
                  </a:extLst>
                </p:cNvPr>
                <p:cNvSpPr/>
                <p:nvPr/>
              </p:nvSpPr>
              <p:spPr>
                <a:xfrm>
                  <a:off x="4145925" y="5193992"/>
                  <a:ext cx="72279" cy="40299"/>
                </a:xfrm>
                <a:custGeom>
                  <a:avLst/>
                  <a:gdLst>
                    <a:gd name="connsiteX0" fmla="*/ 0 w 72279"/>
                    <a:gd name="connsiteY0" fmla="*/ 0 h 40299"/>
                    <a:gd name="connsiteX1" fmla="*/ 72279 w 72279"/>
                    <a:gd name="connsiteY1" fmla="*/ 0 h 40299"/>
                    <a:gd name="connsiteX2" fmla="*/ 72279 w 72279"/>
                    <a:gd name="connsiteY2" fmla="*/ 40300 h 40299"/>
                    <a:gd name="connsiteX3" fmla="*/ 0 w 72279"/>
                    <a:gd name="connsiteY3" fmla="*/ 40300 h 40299"/>
                  </a:gdLst>
                  <a:ahLst/>
                  <a:cxnLst>
                    <a:cxn ang="0">
                      <a:pos x="connsiteX0" y="connsiteY0"/>
                    </a:cxn>
                    <a:cxn ang="0">
                      <a:pos x="connsiteX1" y="connsiteY1"/>
                    </a:cxn>
                    <a:cxn ang="0">
                      <a:pos x="connsiteX2" y="connsiteY2"/>
                    </a:cxn>
                    <a:cxn ang="0">
                      <a:pos x="connsiteX3" y="connsiteY3"/>
                    </a:cxn>
                  </a:cxnLst>
                  <a:rect l="l" t="t" r="r" b="b"/>
                  <a:pathLst>
                    <a:path w="72279" h="40299">
                      <a:moveTo>
                        <a:pt x="0" y="0"/>
                      </a:moveTo>
                      <a:lnTo>
                        <a:pt x="72279" y="0"/>
                      </a:lnTo>
                      <a:lnTo>
                        <a:pt x="72279" y="40300"/>
                      </a:lnTo>
                      <a:lnTo>
                        <a:pt x="0" y="40300"/>
                      </a:lnTo>
                      <a:close/>
                    </a:path>
                  </a:pathLst>
                </a:custGeom>
                <a:solidFill>
                  <a:srgbClr val="0069FF"/>
                </a:solidFill>
                <a:ln w="2597" cap="flat">
                  <a:noFill/>
                  <a:prstDash val="solid"/>
                  <a:miter/>
                </a:ln>
              </p:spPr>
              <p:txBody>
                <a:bodyPr rtlCol="0" anchor="ctr"/>
                <a:lstStyle/>
                <a:p>
                  <a:endParaRPr lang="en-GB"/>
                </a:p>
              </p:txBody>
            </p:sp>
            <p:grpSp>
              <p:nvGrpSpPr>
                <p:cNvPr id="411" name="Graphic 6">
                  <a:extLst>
                    <a:ext uri="{FF2B5EF4-FFF2-40B4-BE49-F238E27FC236}">
                      <a16:creationId xmlns:a16="http://schemas.microsoft.com/office/drawing/2014/main" id="{C5EE6937-4EFB-E950-DDE9-97BDC49D2651}"/>
                    </a:ext>
                  </a:extLst>
                </p:cNvPr>
                <p:cNvGrpSpPr/>
                <p:nvPr/>
              </p:nvGrpSpPr>
              <p:grpSpPr>
                <a:xfrm>
                  <a:off x="4367703" y="5188792"/>
                  <a:ext cx="82679" cy="50699"/>
                  <a:chOff x="4367703" y="5188792"/>
                  <a:chExt cx="82679" cy="50699"/>
                </a:xfrm>
                <a:solidFill>
                  <a:srgbClr val="0069FF"/>
                </a:solidFill>
              </p:grpSpPr>
              <p:sp>
                <p:nvSpPr>
                  <p:cNvPr id="412" name="Freeform: Shape 411">
                    <a:extLst>
                      <a:ext uri="{FF2B5EF4-FFF2-40B4-BE49-F238E27FC236}">
                        <a16:creationId xmlns:a16="http://schemas.microsoft.com/office/drawing/2014/main" id="{B652B109-F70D-883F-6CF6-5E2D16653B7C}"/>
                      </a:ext>
                    </a:extLst>
                  </p:cNvPr>
                  <p:cNvSpPr/>
                  <p:nvPr/>
                </p:nvSpPr>
                <p:spPr>
                  <a:xfrm>
                    <a:off x="4372903" y="5193992"/>
                    <a:ext cx="72279" cy="40299"/>
                  </a:xfrm>
                  <a:custGeom>
                    <a:avLst/>
                    <a:gdLst>
                      <a:gd name="connsiteX0" fmla="*/ 0 w 72279"/>
                      <a:gd name="connsiteY0" fmla="*/ 0 h 40299"/>
                      <a:gd name="connsiteX1" fmla="*/ 72279 w 72279"/>
                      <a:gd name="connsiteY1" fmla="*/ 0 h 40299"/>
                      <a:gd name="connsiteX2" fmla="*/ 72279 w 72279"/>
                      <a:gd name="connsiteY2" fmla="*/ 40300 h 40299"/>
                      <a:gd name="connsiteX3" fmla="*/ 0 w 72279"/>
                      <a:gd name="connsiteY3" fmla="*/ 40300 h 40299"/>
                    </a:gdLst>
                    <a:ahLst/>
                    <a:cxnLst>
                      <a:cxn ang="0">
                        <a:pos x="connsiteX0" y="connsiteY0"/>
                      </a:cxn>
                      <a:cxn ang="0">
                        <a:pos x="connsiteX1" y="connsiteY1"/>
                      </a:cxn>
                      <a:cxn ang="0">
                        <a:pos x="connsiteX2" y="connsiteY2"/>
                      </a:cxn>
                      <a:cxn ang="0">
                        <a:pos x="connsiteX3" y="connsiteY3"/>
                      </a:cxn>
                    </a:cxnLst>
                    <a:rect l="l" t="t" r="r" b="b"/>
                    <a:pathLst>
                      <a:path w="72279" h="40299">
                        <a:moveTo>
                          <a:pt x="0" y="0"/>
                        </a:moveTo>
                        <a:lnTo>
                          <a:pt x="72279" y="0"/>
                        </a:lnTo>
                        <a:lnTo>
                          <a:pt x="72279" y="40300"/>
                        </a:lnTo>
                        <a:lnTo>
                          <a:pt x="0" y="40300"/>
                        </a:lnTo>
                        <a:close/>
                      </a:path>
                    </a:pathLst>
                  </a:custGeom>
                  <a:solidFill>
                    <a:srgbClr val="0069FF"/>
                  </a:solidFill>
                  <a:ln w="2597" cap="flat">
                    <a:noFill/>
                    <a:prstDash val="solid"/>
                    <a:miter/>
                  </a:ln>
                </p:spPr>
                <p:txBody>
                  <a:bodyPr rtlCol="0" anchor="ctr"/>
                  <a:lstStyle/>
                  <a:p>
                    <a:endParaRPr lang="en-GB"/>
                  </a:p>
                </p:txBody>
              </p:sp>
              <p:sp>
                <p:nvSpPr>
                  <p:cNvPr id="413" name="Freeform: Shape 412">
                    <a:extLst>
                      <a:ext uri="{FF2B5EF4-FFF2-40B4-BE49-F238E27FC236}">
                        <a16:creationId xmlns:a16="http://schemas.microsoft.com/office/drawing/2014/main" id="{3F43D552-4C06-C14D-1211-23533BC0DA8C}"/>
                      </a:ext>
                    </a:extLst>
                  </p:cNvPr>
                  <p:cNvSpPr/>
                  <p:nvPr/>
                </p:nvSpPr>
                <p:spPr>
                  <a:xfrm>
                    <a:off x="4367703" y="5188792"/>
                    <a:ext cx="82679" cy="50699"/>
                  </a:xfrm>
                  <a:custGeom>
                    <a:avLst/>
                    <a:gdLst>
                      <a:gd name="connsiteX0" fmla="*/ 77479 w 82679"/>
                      <a:gd name="connsiteY0" fmla="*/ 50699 h 50699"/>
                      <a:gd name="connsiteX1" fmla="*/ 5200 w 82679"/>
                      <a:gd name="connsiteY1" fmla="*/ 50699 h 50699"/>
                      <a:gd name="connsiteX2" fmla="*/ 0 w 82679"/>
                      <a:gd name="connsiteY2" fmla="*/ 45499 h 50699"/>
                      <a:gd name="connsiteX3" fmla="*/ 0 w 82679"/>
                      <a:gd name="connsiteY3" fmla="*/ 5200 h 50699"/>
                      <a:gd name="connsiteX4" fmla="*/ 5200 w 82679"/>
                      <a:gd name="connsiteY4" fmla="*/ 0 h 50699"/>
                      <a:gd name="connsiteX5" fmla="*/ 77479 w 82679"/>
                      <a:gd name="connsiteY5" fmla="*/ 0 h 50699"/>
                      <a:gd name="connsiteX6" fmla="*/ 82679 w 82679"/>
                      <a:gd name="connsiteY6" fmla="*/ 5200 h 50699"/>
                      <a:gd name="connsiteX7" fmla="*/ 82679 w 82679"/>
                      <a:gd name="connsiteY7" fmla="*/ 45499 h 50699"/>
                      <a:gd name="connsiteX8" fmla="*/ 77479 w 82679"/>
                      <a:gd name="connsiteY8" fmla="*/ 50699 h 50699"/>
                      <a:gd name="connsiteX9" fmla="*/ 10660 w 82679"/>
                      <a:gd name="connsiteY9" fmla="*/ 40300 h 50699"/>
                      <a:gd name="connsiteX10" fmla="*/ 72279 w 82679"/>
                      <a:gd name="connsiteY10" fmla="*/ 40300 h 50699"/>
                      <a:gd name="connsiteX11" fmla="*/ 72279 w 82679"/>
                      <a:gd name="connsiteY11" fmla="*/ 10660 h 50699"/>
                      <a:gd name="connsiteX12" fmla="*/ 10660 w 82679"/>
                      <a:gd name="connsiteY12" fmla="*/ 10660 h 50699"/>
                      <a:gd name="connsiteX13" fmla="*/ 10660 w 82679"/>
                      <a:gd name="connsiteY13" fmla="*/ 40300 h 50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679" h="50699">
                        <a:moveTo>
                          <a:pt x="77479" y="50699"/>
                        </a:moveTo>
                        <a:lnTo>
                          <a:pt x="5200" y="50699"/>
                        </a:lnTo>
                        <a:cubicBezTo>
                          <a:pt x="2080" y="50699"/>
                          <a:pt x="0" y="48619"/>
                          <a:pt x="0" y="45499"/>
                        </a:cubicBezTo>
                        <a:lnTo>
                          <a:pt x="0" y="5200"/>
                        </a:lnTo>
                        <a:cubicBezTo>
                          <a:pt x="0" y="2080"/>
                          <a:pt x="2080" y="0"/>
                          <a:pt x="5200" y="0"/>
                        </a:cubicBezTo>
                        <a:lnTo>
                          <a:pt x="77479" y="0"/>
                        </a:lnTo>
                        <a:cubicBezTo>
                          <a:pt x="80599" y="0"/>
                          <a:pt x="82679" y="2080"/>
                          <a:pt x="82679" y="5200"/>
                        </a:cubicBezTo>
                        <a:lnTo>
                          <a:pt x="82679" y="45499"/>
                        </a:lnTo>
                        <a:cubicBezTo>
                          <a:pt x="82679" y="48619"/>
                          <a:pt x="80599" y="50699"/>
                          <a:pt x="77479" y="50699"/>
                        </a:cubicBezTo>
                        <a:close/>
                        <a:moveTo>
                          <a:pt x="10660" y="40300"/>
                        </a:moveTo>
                        <a:lnTo>
                          <a:pt x="72279" y="40300"/>
                        </a:lnTo>
                        <a:lnTo>
                          <a:pt x="72279" y="10660"/>
                        </a:lnTo>
                        <a:lnTo>
                          <a:pt x="10660" y="10660"/>
                        </a:lnTo>
                        <a:lnTo>
                          <a:pt x="10660" y="40300"/>
                        </a:lnTo>
                        <a:close/>
                      </a:path>
                    </a:pathLst>
                  </a:custGeom>
                  <a:solidFill>
                    <a:srgbClr val="0069FF"/>
                  </a:solidFill>
                  <a:ln w="2597" cap="flat">
                    <a:noFill/>
                    <a:prstDash val="solid"/>
                    <a:miter/>
                  </a:ln>
                </p:spPr>
                <p:txBody>
                  <a:bodyPr rtlCol="0" anchor="ctr"/>
                  <a:lstStyle/>
                  <a:p>
                    <a:endParaRPr lang="en-GB"/>
                  </a:p>
                </p:txBody>
              </p:sp>
            </p:grpSp>
          </p:grpSp>
          <p:sp>
            <p:nvSpPr>
              <p:cNvPr id="382" name="Freeform: Shape 381">
                <a:extLst>
                  <a:ext uri="{FF2B5EF4-FFF2-40B4-BE49-F238E27FC236}">
                    <a16:creationId xmlns:a16="http://schemas.microsoft.com/office/drawing/2014/main" id="{BEF1510C-E342-ECD5-7A89-8A9D8EC704F7}"/>
                  </a:ext>
                </a:extLst>
              </p:cNvPr>
              <p:cNvSpPr/>
              <p:nvPr/>
            </p:nvSpPr>
            <p:spPr>
              <a:xfrm>
                <a:off x="4045827" y="4697138"/>
                <a:ext cx="451354" cy="484114"/>
              </a:xfrm>
              <a:custGeom>
                <a:avLst/>
                <a:gdLst>
                  <a:gd name="connsiteX0" fmla="*/ 442775 w 451354"/>
                  <a:gd name="connsiteY0" fmla="*/ 484115 h 484114"/>
                  <a:gd name="connsiteX1" fmla="*/ 8580 w 451354"/>
                  <a:gd name="connsiteY1" fmla="*/ 484115 h 484114"/>
                  <a:gd name="connsiteX2" fmla="*/ 0 w 451354"/>
                  <a:gd name="connsiteY2" fmla="*/ 475535 h 484114"/>
                  <a:gd name="connsiteX3" fmla="*/ 0 w 451354"/>
                  <a:gd name="connsiteY3" fmla="*/ 8580 h 484114"/>
                  <a:gd name="connsiteX4" fmla="*/ 8580 w 451354"/>
                  <a:gd name="connsiteY4" fmla="*/ 0 h 484114"/>
                  <a:gd name="connsiteX5" fmla="*/ 442775 w 451354"/>
                  <a:gd name="connsiteY5" fmla="*/ 0 h 484114"/>
                  <a:gd name="connsiteX6" fmla="*/ 451355 w 451354"/>
                  <a:gd name="connsiteY6" fmla="*/ 8580 h 484114"/>
                  <a:gd name="connsiteX7" fmla="*/ 451355 w 451354"/>
                  <a:gd name="connsiteY7" fmla="*/ 475535 h 484114"/>
                  <a:gd name="connsiteX8" fmla="*/ 442775 w 451354"/>
                  <a:gd name="connsiteY8" fmla="*/ 484115 h 484114"/>
                  <a:gd name="connsiteX9" fmla="*/ 16120 w 451354"/>
                  <a:gd name="connsiteY9" fmla="*/ 467215 h 484114"/>
                  <a:gd name="connsiteX10" fmla="*/ 434195 w 451354"/>
                  <a:gd name="connsiteY10" fmla="*/ 467215 h 484114"/>
                  <a:gd name="connsiteX11" fmla="*/ 434195 w 451354"/>
                  <a:gd name="connsiteY11" fmla="*/ 16120 h 484114"/>
                  <a:gd name="connsiteX12" fmla="*/ 16120 w 451354"/>
                  <a:gd name="connsiteY12" fmla="*/ 16120 h 484114"/>
                  <a:gd name="connsiteX13" fmla="*/ 16120 w 451354"/>
                  <a:gd name="connsiteY13" fmla="*/ 467215 h 484114"/>
                  <a:gd name="connsiteX14" fmla="*/ 16120 w 451354"/>
                  <a:gd name="connsiteY14" fmla="*/ 467215 h 48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1354" h="484114">
                    <a:moveTo>
                      <a:pt x="442775" y="484115"/>
                    </a:moveTo>
                    <a:lnTo>
                      <a:pt x="8580" y="484115"/>
                    </a:lnTo>
                    <a:cubicBezTo>
                      <a:pt x="4420" y="484115"/>
                      <a:pt x="0" y="480994"/>
                      <a:pt x="0" y="475535"/>
                    </a:cubicBezTo>
                    <a:lnTo>
                      <a:pt x="0" y="8580"/>
                    </a:lnTo>
                    <a:cubicBezTo>
                      <a:pt x="0" y="4420"/>
                      <a:pt x="3120" y="0"/>
                      <a:pt x="8580" y="0"/>
                    </a:cubicBezTo>
                    <a:lnTo>
                      <a:pt x="442775" y="0"/>
                    </a:lnTo>
                    <a:cubicBezTo>
                      <a:pt x="446935" y="0"/>
                      <a:pt x="451355" y="3120"/>
                      <a:pt x="451355" y="8580"/>
                    </a:cubicBezTo>
                    <a:lnTo>
                      <a:pt x="451355" y="475535"/>
                    </a:lnTo>
                    <a:cubicBezTo>
                      <a:pt x="450315" y="479955"/>
                      <a:pt x="446935" y="484115"/>
                      <a:pt x="442775" y="484115"/>
                    </a:cubicBezTo>
                    <a:close/>
                    <a:moveTo>
                      <a:pt x="16120" y="467215"/>
                    </a:moveTo>
                    <a:lnTo>
                      <a:pt x="434195" y="467215"/>
                    </a:lnTo>
                    <a:lnTo>
                      <a:pt x="434195" y="16120"/>
                    </a:lnTo>
                    <a:lnTo>
                      <a:pt x="16120" y="16120"/>
                    </a:lnTo>
                    <a:lnTo>
                      <a:pt x="16120" y="467215"/>
                    </a:lnTo>
                    <a:lnTo>
                      <a:pt x="16120" y="467215"/>
                    </a:lnTo>
                    <a:close/>
                  </a:path>
                </a:pathLst>
              </a:custGeom>
              <a:solidFill>
                <a:srgbClr val="00005A"/>
              </a:solidFill>
              <a:ln w="2597" cap="flat">
                <a:noFill/>
                <a:prstDash val="solid"/>
                <a:miter/>
              </a:ln>
            </p:spPr>
            <p:txBody>
              <a:bodyPr rtlCol="0" anchor="ctr"/>
              <a:lstStyle/>
              <a:p>
                <a:endParaRPr lang="en-GB"/>
              </a:p>
            </p:txBody>
          </p:sp>
          <p:grpSp>
            <p:nvGrpSpPr>
              <p:cNvPr id="383" name="Graphic 6">
                <a:extLst>
                  <a:ext uri="{FF2B5EF4-FFF2-40B4-BE49-F238E27FC236}">
                    <a16:creationId xmlns:a16="http://schemas.microsoft.com/office/drawing/2014/main" id="{E1449CA3-1F48-0DBD-2A98-D4162FDEB299}"/>
                  </a:ext>
                </a:extLst>
              </p:cNvPr>
              <p:cNvGrpSpPr/>
              <p:nvPr/>
            </p:nvGrpSpPr>
            <p:grpSpPr>
              <a:xfrm>
                <a:off x="4330523" y="4791517"/>
                <a:ext cx="99838" cy="315376"/>
                <a:chOff x="4330523" y="4791517"/>
                <a:chExt cx="99838" cy="315376"/>
              </a:xfrm>
              <a:solidFill>
                <a:srgbClr val="FFFFFF"/>
              </a:solidFill>
            </p:grpSpPr>
            <p:sp>
              <p:nvSpPr>
                <p:cNvPr id="402" name="Freeform: Shape 401">
                  <a:extLst>
                    <a:ext uri="{FF2B5EF4-FFF2-40B4-BE49-F238E27FC236}">
                      <a16:creationId xmlns:a16="http://schemas.microsoft.com/office/drawing/2014/main" id="{92615967-1CE2-AB76-B398-F5BBE7B6BE64}"/>
                    </a:ext>
                  </a:extLst>
                </p:cNvPr>
                <p:cNvSpPr/>
                <p:nvPr/>
              </p:nvSpPr>
              <p:spPr>
                <a:xfrm>
                  <a:off x="4330523" y="4791517"/>
                  <a:ext cx="99838" cy="17159"/>
                </a:xfrm>
                <a:custGeom>
                  <a:avLst/>
                  <a:gdLst>
                    <a:gd name="connsiteX0" fmla="*/ 91259 w 99838"/>
                    <a:gd name="connsiteY0" fmla="*/ 17160 h 17159"/>
                    <a:gd name="connsiteX1" fmla="*/ 8580 w 99838"/>
                    <a:gd name="connsiteY1" fmla="*/ 17160 h 17159"/>
                    <a:gd name="connsiteX2" fmla="*/ 0 w 99838"/>
                    <a:gd name="connsiteY2" fmla="*/ 8580 h 17159"/>
                    <a:gd name="connsiteX3" fmla="*/ 8580 w 99838"/>
                    <a:gd name="connsiteY3" fmla="*/ 0 h 17159"/>
                    <a:gd name="connsiteX4" fmla="*/ 91259 w 99838"/>
                    <a:gd name="connsiteY4" fmla="*/ 0 h 17159"/>
                    <a:gd name="connsiteX5" fmla="*/ 99839 w 99838"/>
                    <a:gd name="connsiteY5" fmla="*/ 8580 h 17159"/>
                    <a:gd name="connsiteX6" fmla="*/ 91259 w 9983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838" h="17159">
                      <a:moveTo>
                        <a:pt x="91259" y="17160"/>
                      </a:moveTo>
                      <a:lnTo>
                        <a:pt x="8580" y="17160"/>
                      </a:lnTo>
                      <a:cubicBezTo>
                        <a:pt x="4420" y="17160"/>
                        <a:pt x="0" y="14040"/>
                        <a:pt x="0" y="8580"/>
                      </a:cubicBezTo>
                      <a:cubicBezTo>
                        <a:pt x="0" y="3120"/>
                        <a:pt x="3120" y="0"/>
                        <a:pt x="8580" y="0"/>
                      </a:cubicBezTo>
                      <a:lnTo>
                        <a:pt x="91259" y="0"/>
                      </a:lnTo>
                      <a:cubicBezTo>
                        <a:pt x="95419" y="0"/>
                        <a:pt x="99839" y="3120"/>
                        <a:pt x="99839" y="8580"/>
                      </a:cubicBezTo>
                      <a:cubicBezTo>
                        <a:pt x="99839" y="14040"/>
                        <a:pt x="95419" y="17160"/>
                        <a:pt x="91259" y="17160"/>
                      </a:cubicBezTo>
                      <a:close/>
                    </a:path>
                  </a:pathLst>
                </a:custGeom>
                <a:solidFill>
                  <a:srgbClr val="FFFFFF"/>
                </a:solidFill>
                <a:ln w="2597" cap="flat">
                  <a:noFill/>
                  <a:prstDash val="solid"/>
                  <a:miter/>
                </a:ln>
              </p:spPr>
              <p:txBody>
                <a:bodyPr rtlCol="0" anchor="ctr"/>
                <a:lstStyle/>
                <a:p>
                  <a:endParaRPr lang="en-GB"/>
                </a:p>
              </p:txBody>
            </p:sp>
            <p:sp>
              <p:nvSpPr>
                <p:cNvPr id="403" name="Freeform: Shape 402">
                  <a:extLst>
                    <a:ext uri="{FF2B5EF4-FFF2-40B4-BE49-F238E27FC236}">
                      <a16:creationId xmlns:a16="http://schemas.microsoft.com/office/drawing/2014/main" id="{818155B5-84C6-A365-BDBA-40638EDD1C6C}"/>
                    </a:ext>
                  </a:extLst>
                </p:cNvPr>
                <p:cNvSpPr/>
                <p:nvPr/>
              </p:nvSpPr>
              <p:spPr>
                <a:xfrm>
                  <a:off x="4330523" y="4840396"/>
                  <a:ext cx="99838" cy="17159"/>
                </a:xfrm>
                <a:custGeom>
                  <a:avLst/>
                  <a:gdLst>
                    <a:gd name="connsiteX0" fmla="*/ 91259 w 99838"/>
                    <a:gd name="connsiteY0" fmla="*/ 17160 h 17159"/>
                    <a:gd name="connsiteX1" fmla="*/ 8580 w 99838"/>
                    <a:gd name="connsiteY1" fmla="*/ 17160 h 17159"/>
                    <a:gd name="connsiteX2" fmla="*/ 0 w 99838"/>
                    <a:gd name="connsiteY2" fmla="*/ 8580 h 17159"/>
                    <a:gd name="connsiteX3" fmla="*/ 8580 w 99838"/>
                    <a:gd name="connsiteY3" fmla="*/ 0 h 17159"/>
                    <a:gd name="connsiteX4" fmla="*/ 91259 w 99838"/>
                    <a:gd name="connsiteY4" fmla="*/ 0 h 17159"/>
                    <a:gd name="connsiteX5" fmla="*/ 99839 w 99838"/>
                    <a:gd name="connsiteY5" fmla="*/ 8580 h 17159"/>
                    <a:gd name="connsiteX6" fmla="*/ 91259 w 9983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838" h="17159">
                      <a:moveTo>
                        <a:pt x="91259" y="17160"/>
                      </a:moveTo>
                      <a:lnTo>
                        <a:pt x="8580" y="17160"/>
                      </a:lnTo>
                      <a:cubicBezTo>
                        <a:pt x="4420" y="17160"/>
                        <a:pt x="0" y="14040"/>
                        <a:pt x="0" y="8580"/>
                      </a:cubicBezTo>
                      <a:cubicBezTo>
                        <a:pt x="0" y="3380"/>
                        <a:pt x="3120" y="0"/>
                        <a:pt x="8580" y="0"/>
                      </a:cubicBezTo>
                      <a:lnTo>
                        <a:pt x="91259" y="0"/>
                      </a:lnTo>
                      <a:cubicBezTo>
                        <a:pt x="95419" y="0"/>
                        <a:pt x="99839" y="3120"/>
                        <a:pt x="99839" y="8580"/>
                      </a:cubicBezTo>
                      <a:cubicBezTo>
                        <a:pt x="99839" y="14040"/>
                        <a:pt x="95419" y="17160"/>
                        <a:pt x="91259" y="17160"/>
                      </a:cubicBezTo>
                      <a:close/>
                    </a:path>
                  </a:pathLst>
                </a:custGeom>
                <a:solidFill>
                  <a:srgbClr val="FFFFFF"/>
                </a:solidFill>
                <a:ln w="2597" cap="flat">
                  <a:noFill/>
                  <a:prstDash val="solid"/>
                  <a:miter/>
                </a:ln>
              </p:spPr>
              <p:txBody>
                <a:bodyPr rtlCol="0" anchor="ctr"/>
                <a:lstStyle/>
                <a:p>
                  <a:endParaRPr lang="en-GB"/>
                </a:p>
              </p:txBody>
            </p:sp>
            <p:sp>
              <p:nvSpPr>
                <p:cNvPr id="404" name="Freeform: Shape 403">
                  <a:extLst>
                    <a:ext uri="{FF2B5EF4-FFF2-40B4-BE49-F238E27FC236}">
                      <a16:creationId xmlns:a16="http://schemas.microsoft.com/office/drawing/2014/main" id="{7C361AE2-22D1-54A7-3009-2F3AAB5230BA}"/>
                    </a:ext>
                  </a:extLst>
                </p:cNvPr>
                <p:cNvSpPr/>
                <p:nvPr/>
              </p:nvSpPr>
              <p:spPr>
                <a:xfrm>
                  <a:off x="4330523" y="4890316"/>
                  <a:ext cx="99838" cy="17159"/>
                </a:xfrm>
                <a:custGeom>
                  <a:avLst/>
                  <a:gdLst>
                    <a:gd name="connsiteX0" fmla="*/ 91259 w 99838"/>
                    <a:gd name="connsiteY0" fmla="*/ 17160 h 17159"/>
                    <a:gd name="connsiteX1" fmla="*/ 8580 w 99838"/>
                    <a:gd name="connsiteY1" fmla="*/ 17160 h 17159"/>
                    <a:gd name="connsiteX2" fmla="*/ 0 w 99838"/>
                    <a:gd name="connsiteY2" fmla="*/ 8580 h 17159"/>
                    <a:gd name="connsiteX3" fmla="*/ 8580 w 99838"/>
                    <a:gd name="connsiteY3" fmla="*/ 0 h 17159"/>
                    <a:gd name="connsiteX4" fmla="*/ 91259 w 99838"/>
                    <a:gd name="connsiteY4" fmla="*/ 0 h 17159"/>
                    <a:gd name="connsiteX5" fmla="*/ 99839 w 99838"/>
                    <a:gd name="connsiteY5" fmla="*/ 8580 h 17159"/>
                    <a:gd name="connsiteX6" fmla="*/ 91259 w 9983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838" h="17159">
                      <a:moveTo>
                        <a:pt x="91259" y="17160"/>
                      </a:moveTo>
                      <a:lnTo>
                        <a:pt x="8580" y="17160"/>
                      </a:lnTo>
                      <a:cubicBezTo>
                        <a:pt x="4420" y="17160"/>
                        <a:pt x="0" y="14040"/>
                        <a:pt x="0" y="8580"/>
                      </a:cubicBezTo>
                      <a:cubicBezTo>
                        <a:pt x="0" y="3120"/>
                        <a:pt x="3120" y="0"/>
                        <a:pt x="8580" y="0"/>
                      </a:cubicBezTo>
                      <a:lnTo>
                        <a:pt x="91259" y="0"/>
                      </a:lnTo>
                      <a:cubicBezTo>
                        <a:pt x="95419" y="0"/>
                        <a:pt x="99839" y="3120"/>
                        <a:pt x="99839" y="8580"/>
                      </a:cubicBezTo>
                      <a:cubicBezTo>
                        <a:pt x="99839" y="14040"/>
                        <a:pt x="95419" y="17160"/>
                        <a:pt x="91259" y="17160"/>
                      </a:cubicBezTo>
                      <a:close/>
                    </a:path>
                  </a:pathLst>
                </a:custGeom>
                <a:solidFill>
                  <a:srgbClr val="FFFFFF"/>
                </a:solidFill>
                <a:ln w="2597" cap="flat">
                  <a:noFill/>
                  <a:prstDash val="solid"/>
                  <a:miter/>
                </a:ln>
              </p:spPr>
              <p:txBody>
                <a:bodyPr rtlCol="0" anchor="ctr"/>
                <a:lstStyle/>
                <a:p>
                  <a:endParaRPr lang="en-GB"/>
                </a:p>
              </p:txBody>
            </p:sp>
            <p:sp>
              <p:nvSpPr>
                <p:cNvPr id="405" name="Freeform: Shape 404">
                  <a:extLst>
                    <a:ext uri="{FF2B5EF4-FFF2-40B4-BE49-F238E27FC236}">
                      <a16:creationId xmlns:a16="http://schemas.microsoft.com/office/drawing/2014/main" id="{AE5888AF-F813-592C-4813-ADE7AC2BBE69}"/>
                    </a:ext>
                  </a:extLst>
                </p:cNvPr>
                <p:cNvSpPr/>
                <p:nvPr/>
              </p:nvSpPr>
              <p:spPr>
                <a:xfrm>
                  <a:off x="4330523" y="4940235"/>
                  <a:ext cx="99838" cy="17160"/>
                </a:xfrm>
                <a:custGeom>
                  <a:avLst/>
                  <a:gdLst>
                    <a:gd name="connsiteX0" fmla="*/ 91259 w 99838"/>
                    <a:gd name="connsiteY0" fmla="*/ 17160 h 17160"/>
                    <a:gd name="connsiteX1" fmla="*/ 8580 w 99838"/>
                    <a:gd name="connsiteY1" fmla="*/ 17160 h 17160"/>
                    <a:gd name="connsiteX2" fmla="*/ 0 w 99838"/>
                    <a:gd name="connsiteY2" fmla="*/ 8580 h 17160"/>
                    <a:gd name="connsiteX3" fmla="*/ 8580 w 99838"/>
                    <a:gd name="connsiteY3" fmla="*/ 0 h 17160"/>
                    <a:gd name="connsiteX4" fmla="*/ 91259 w 99838"/>
                    <a:gd name="connsiteY4" fmla="*/ 0 h 17160"/>
                    <a:gd name="connsiteX5" fmla="*/ 99839 w 99838"/>
                    <a:gd name="connsiteY5" fmla="*/ 8580 h 17160"/>
                    <a:gd name="connsiteX6" fmla="*/ 91259 w 99838"/>
                    <a:gd name="connsiteY6" fmla="*/ 17160 h 1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838" h="17160">
                      <a:moveTo>
                        <a:pt x="91259" y="17160"/>
                      </a:moveTo>
                      <a:lnTo>
                        <a:pt x="8580" y="17160"/>
                      </a:lnTo>
                      <a:cubicBezTo>
                        <a:pt x="4420" y="17160"/>
                        <a:pt x="0" y="14040"/>
                        <a:pt x="0" y="8580"/>
                      </a:cubicBezTo>
                      <a:cubicBezTo>
                        <a:pt x="0" y="3120"/>
                        <a:pt x="3120" y="0"/>
                        <a:pt x="8580" y="0"/>
                      </a:cubicBezTo>
                      <a:lnTo>
                        <a:pt x="91259" y="0"/>
                      </a:lnTo>
                      <a:cubicBezTo>
                        <a:pt x="95419" y="0"/>
                        <a:pt x="99839" y="3120"/>
                        <a:pt x="99839" y="8580"/>
                      </a:cubicBezTo>
                      <a:cubicBezTo>
                        <a:pt x="99839" y="14040"/>
                        <a:pt x="95419" y="17160"/>
                        <a:pt x="91259" y="17160"/>
                      </a:cubicBezTo>
                      <a:close/>
                    </a:path>
                  </a:pathLst>
                </a:custGeom>
                <a:solidFill>
                  <a:srgbClr val="FFFFFF"/>
                </a:solidFill>
                <a:ln w="2597" cap="flat">
                  <a:noFill/>
                  <a:prstDash val="solid"/>
                  <a:miter/>
                </a:ln>
              </p:spPr>
              <p:txBody>
                <a:bodyPr rtlCol="0" anchor="ctr"/>
                <a:lstStyle/>
                <a:p>
                  <a:endParaRPr lang="en-GB"/>
                </a:p>
              </p:txBody>
            </p:sp>
            <p:sp>
              <p:nvSpPr>
                <p:cNvPr id="406" name="Freeform: Shape 405">
                  <a:extLst>
                    <a:ext uri="{FF2B5EF4-FFF2-40B4-BE49-F238E27FC236}">
                      <a16:creationId xmlns:a16="http://schemas.microsoft.com/office/drawing/2014/main" id="{AF0C3996-8790-2E48-E8A5-6F2A4E96F86C}"/>
                    </a:ext>
                  </a:extLst>
                </p:cNvPr>
                <p:cNvSpPr/>
                <p:nvPr/>
              </p:nvSpPr>
              <p:spPr>
                <a:xfrm>
                  <a:off x="4330523" y="4991194"/>
                  <a:ext cx="99838" cy="17159"/>
                </a:xfrm>
                <a:custGeom>
                  <a:avLst/>
                  <a:gdLst>
                    <a:gd name="connsiteX0" fmla="*/ 91259 w 99838"/>
                    <a:gd name="connsiteY0" fmla="*/ 17160 h 17159"/>
                    <a:gd name="connsiteX1" fmla="*/ 8580 w 99838"/>
                    <a:gd name="connsiteY1" fmla="*/ 17160 h 17159"/>
                    <a:gd name="connsiteX2" fmla="*/ 0 w 99838"/>
                    <a:gd name="connsiteY2" fmla="*/ 8580 h 17159"/>
                    <a:gd name="connsiteX3" fmla="*/ 8580 w 99838"/>
                    <a:gd name="connsiteY3" fmla="*/ 0 h 17159"/>
                    <a:gd name="connsiteX4" fmla="*/ 91259 w 99838"/>
                    <a:gd name="connsiteY4" fmla="*/ 0 h 17159"/>
                    <a:gd name="connsiteX5" fmla="*/ 99839 w 99838"/>
                    <a:gd name="connsiteY5" fmla="*/ 8580 h 17159"/>
                    <a:gd name="connsiteX6" fmla="*/ 91259 w 9983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838" h="17159">
                      <a:moveTo>
                        <a:pt x="91259" y="17160"/>
                      </a:moveTo>
                      <a:lnTo>
                        <a:pt x="8580" y="17160"/>
                      </a:lnTo>
                      <a:cubicBezTo>
                        <a:pt x="4420" y="17160"/>
                        <a:pt x="0" y="14040"/>
                        <a:pt x="0" y="8580"/>
                      </a:cubicBezTo>
                      <a:cubicBezTo>
                        <a:pt x="0" y="3120"/>
                        <a:pt x="3120" y="0"/>
                        <a:pt x="8580" y="0"/>
                      </a:cubicBezTo>
                      <a:lnTo>
                        <a:pt x="91259" y="0"/>
                      </a:lnTo>
                      <a:cubicBezTo>
                        <a:pt x="95419" y="0"/>
                        <a:pt x="99839" y="3120"/>
                        <a:pt x="99839" y="8580"/>
                      </a:cubicBezTo>
                      <a:cubicBezTo>
                        <a:pt x="99839" y="14040"/>
                        <a:pt x="95419" y="17160"/>
                        <a:pt x="91259" y="17160"/>
                      </a:cubicBezTo>
                      <a:close/>
                    </a:path>
                  </a:pathLst>
                </a:custGeom>
                <a:solidFill>
                  <a:srgbClr val="FFFFFF"/>
                </a:solidFill>
                <a:ln w="2597" cap="flat">
                  <a:noFill/>
                  <a:prstDash val="solid"/>
                  <a:miter/>
                </a:ln>
              </p:spPr>
              <p:txBody>
                <a:bodyPr rtlCol="0" anchor="ctr"/>
                <a:lstStyle/>
                <a:p>
                  <a:endParaRPr lang="en-GB"/>
                </a:p>
              </p:txBody>
            </p:sp>
            <p:sp>
              <p:nvSpPr>
                <p:cNvPr id="407" name="Freeform: Shape 406">
                  <a:extLst>
                    <a:ext uri="{FF2B5EF4-FFF2-40B4-BE49-F238E27FC236}">
                      <a16:creationId xmlns:a16="http://schemas.microsoft.com/office/drawing/2014/main" id="{CD6200F7-7F54-A333-2FB4-79C67112EF43}"/>
                    </a:ext>
                  </a:extLst>
                </p:cNvPr>
                <p:cNvSpPr/>
                <p:nvPr/>
              </p:nvSpPr>
              <p:spPr>
                <a:xfrm>
                  <a:off x="4330523" y="5040854"/>
                  <a:ext cx="99838" cy="17159"/>
                </a:xfrm>
                <a:custGeom>
                  <a:avLst/>
                  <a:gdLst>
                    <a:gd name="connsiteX0" fmla="*/ 91259 w 99838"/>
                    <a:gd name="connsiteY0" fmla="*/ 17160 h 17159"/>
                    <a:gd name="connsiteX1" fmla="*/ 8580 w 99838"/>
                    <a:gd name="connsiteY1" fmla="*/ 17160 h 17159"/>
                    <a:gd name="connsiteX2" fmla="*/ 0 w 99838"/>
                    <a:gd name="connsiteY2" fmla="*/ 8580 h 17159"/>
                    <a:gd name="connsiteX3" fmla="*/ 8580 w 99838"/>
                    <a:gd name="connsiteY3" fmla="*/ 0 h 17159"/>
                    <a:gd name="connsiteX4" fmla="*/ 91259 w 99838"/>
                    <a:gd name="connsiteY4" fmla="*/ 0 h 17159"/>
                    <a:gd name="connsiteX5" fmla="*/ 99839 w 99838"/>
                    <a:gd name="connsiteY5" fmla="*/ 8580 h 17159"/>
                    <a:gd name="connsiteX6" fmla="*/ 91259 w 9983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838" h="17159">
                      <a:moveTo>
                        <a:pt x="91259" y="17160"/>
                      </a:moveTo>
                      <a:lnTo>
                        <a:pt x="8580" y="17160"/>
                      </a:lnTo>
                      <a:cubicBezTo>
                        <a:pt x="4420" y="17160"/>
                        <a:pt x="0" y="14040"/>
                        <a:pt x="0" y="8580"/>
                      </a:cubicBezTo>
                      <a:cubicBezTo>
                        <a:pt x="0" y="3120"/>
                        <a:pt x="3120" y="0"/>
                        <a:pt x="8580" y="0"/>
                      </a:cubicBezTo>
                      <a:lnTo>
                        <a:pt x="91259" y="0"/>
                      </a:lnTo>
                      <a:cubicBezTo>
                        <a:pt x="95419" y="0"/>
                        <a:pt x="99839" y="3120"/>
                        <a:pt x="99839" y="8580"/>
                      </a:cubicBezTo>
                      <a:cubicBezTo>
                        <a:pt x="99839" y="14040"/>
                        <a:pt x="95419" y="17160"/>
                        <a:pt x="91259" y="17160"/>
                      </a:cubicBezTo>
                      <a:close/>
                    </a:path>
                  </a:pathLst>
                </a:custGeom>
                <a:solidFill>
                  <a:srgbClr val="FFFFFF"/>
                </a:solidFill>
                <a:ln w="2597" cap="flat">
                  <a:noFill/>
                  <a:prstDash val="solid"/>
                  <a:miter/>
                </a:ln>
              </p:spPr>
              <p:txBody>
                <a:bodyPr rtlCol="0" anchor="ctr"/>
                <a:lstStyle/>
                <a:p>
                  <a:endParaRPr lang="en-GB"/>
                </a:p>
              </p:txBody>
            </p:sp>
            <p:sp>
              <p:nvSpPr>
                <p:cNvPr id="408" name="Freeform: Shape 407">
                  <a:extLst>
                    <a:ext uri="{FF2B5EF4-FFF2-40B4-BE49-F238E27FC236}">
                      <a16:creationId xmlns:a16="http://schemas.microsoft.com/office/drawing/2014/main" id="{84B73A53-AEDE-A336-C4D9-58BA8B6DC02F}"/>
                    </a:ext>
                  </a:extLst>
                </p:cNvPr>
                <p:cNvSpPr/>
                <p:nvPr/>
              </p:nvSpPr>
              <p:spPr>
                <a:xfrm>
                  <a:off x="4330523" y="5089733"/>
                  <a:ext cx="99838" cy="17160"/>
                </a:xfrm>
                <a:custGeom>
                  <a:avLst/>
                  <a:gdLst>
                    <a:gd name="connsiteX0" fmla="*/ 91259 w 99838"/>
                    <a:gd name="connsiteY0" fmla="*/ 17160 h 17160"/>
                    <a:gd name="connsiteX1" fmla="*/ 8580 w 99838"/>
                    <a:gd name="connsiteY1" fmla="*/ 17160 h 17160"/>
                    <a:gd name="connsiteX2" fmla="*/ 0 w 99838"/>
                    <a:gd name="connsiteY2" fmla="*/ 8580 h 17160"/>
                    <a:gd name="connsiteX3" fmla="*/ 8580 w 99838"/>
                    <a:gd name="connsiteY3" fmla="*/ 0 h 17160"/>
                    <a:gd name="connsiteX4" fmla="*/ 91259 w 99838"/>
                    <a:gd name="connsiteY4" fmla="*/ 0 h 17160"/>
                    <a:gd name="connsiteX5" fmla="*/ 99839 w 99838"/>
                    <a:gd name="connsiteY5" fmla="*/ 8580 h 17160"/>
                    <a:gd name="connsiteX6" fmla="*/ 91259 w 99838"/>
                    <a:gd name="connsiteY6" fmla="*/ 17160 h 1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838" h="17160">
                      <a:moveTo>
                        <a:pt x="91259" y="17160"/>
                      </a:moveTo>
                      <a:lnTo>
                        <a:pt x="8580" y="17160"/>
                      </a:lnTo>
                      <a:cubicBezTo>
                        <a:pt x="4420" y="17160"/>
                        <a:pt x="0" y="14040"/>
                        <a:pt x="0" y="8580"/>
                      </a:cubicBezTo>
                      <a:cubicBezTo>
                        <a:pt x="0" y="3380"/>
                        <a:pt x="3120" y="0"/>
                        <a:pt x="8580" y="0"/>
                      </a:cubicBezTo>
                      <a:lnTo>
                        <a:pt x="91259" y="0"/>
                      </a:lnTo>
                      <a:cubicBezTo>
                        <a:pt x="95419" y="0"/>
                        <a:pt x="99839" y="3120"/>
                        <a:pt x="99839" y="8580"/>
                      </a:cubicBezTo>
                      <a:cubicBezTo>
                        <a:pt x="99839" y="14040"/>
                        <a:pt x="95419" y="17160"/>
                        <a:pt x="91259" y="17160"/>
                      </a:cubicBezTo>
                      <a:close/>
                    </a:path>
                  </a:pathLst>
                </a:custGeom>
                <a:solidFill>
                  <a:srgbClr val="FFFFFF"/>
                </a:solidFill>
                <a:ln w="2597" cap="flat">
                  <a:noFill/>
                  <a:prstDash val="solid"/>
                  <a:miter/>
                </a:ln>
              </p:spPr>
              <p:txBody>
                <a:bodyPr rtlCol="0" anchor="ctr"/>
                <a:lstStyle/>
                <a:p>
                  <a:endParaRPr lang="en-GB"/>
                </a:p>
              </p:txBody>
            </p:sp>
          </p:grpSp>
          <p:grpSp>
            <p:nvGrpSpPr>
              <p:cNvPr id="384" name="Graphic 6">
                <a:extLst>
                  <a:ext uri="{FF2B5EF4-FFF2-40B4-BE49-F238E27FC236}">
                    <a16:creationId xmlns:a16="http://schemas.microsoft.com/office/drawing/2014/main" id="{003DD8D4-5CB2-601C-88FC-61208E80E283}"/>
                  </a:ext>
                </a:extLst>
              </p:cNvPr>
              <p:cNvGrpSpPr/>
              <p:nvPr/>
            </p:nvGrpSpPr>
            <p:grpSpPr>
              <a:xfrm>
                <a:off x="4135005" y="4792557"/>
                <a:ext cx="146638" cy="144558"/>
                <a:chOff x="4135005" y="4792557"/>
                <a:chExt cx="146638" cy="144558"/>
              </a:xfrm>
            </p:grpSpPr>
            <p:grpSp>
              <p:nvGrpSpPr>
                <p:cNvPr id="395" name="Graphic 6">
                  <a:extLst>
                    <a:ext uri="{FF2B5EF4-FFF2-40B4-BE49-F238E27FC236}">
                      <a16:creationId xmlns:a16="http://schemas.microsoft.com/office/drawing/2014/main" id="{A5690D67-7406-3FF1-5EF4-7778B029D560}"/>
                    </a:ext>
                  </a:extLst>
                </p:cNvPr>
                <p:cNvGrpSpPr/>
                <p:nvPr/>
              </p:nvGrpSpPr>
              <p:grpSpPr>
                <a:xfrm>
                  <a:off x="4135005" y="4792557"/>
                  <a:ext cx="146638" cy="144558"/>
                  <a:chOff x="4135005" y="4792557"/>
                  <a:chExt cx="146638" cy="144558"/>
                </a:xfrm>
                <a:solidFill>
                  <a:srgbClr val="FFFFFF"/>
                </a:solidFill>
              </p:grpSpPr>
              <p:sp>
                <p:nvSpPr>
                  <p:cNvPr id="399" name="Freeform: Shape 398">
                    <a:extLst>
                      <a:ext uri="{FF2B5EF4-FFF2-40B4-BE49-F238E27FC236}">
                        <a16:creationId xmlns:a16="http://schemas.microsoft.com/office/drawing/2014/main" id="{6E0BF1E9-F216-B14E-2D6C-757221044E46}"/>
                      </a:ext>
                    </a:extLst>
                  </p:cNvPr>
                  <p:cNvSpPr/>
                  <p:nvPr/>
                </p:nvSpPr>
                <p:spPr>
                  <a:xfrm>
                    <a:off x="4135005" y="4792557"/>
                    <a:ext cx="146638" cy="144558"/>
                  </a:xfrm>
                  <a:custGeom>
                    <a:avLst/>
                    <a:gdLst>
                      <a:gd name="connsiteX0" fmla="*/ 73319 w 146638"/>
                      <a:gd name="connsiteY0" fmla="*/ 144558 h 144558"/>
                      <a:gd name="connsiteX1" fmla="*/ 0 w 146638"/>
                      <a:gd name="connsiteY1" fmla="*/ 72279 h 144558"/>
                      <a:gd name="connsiteX2" fmla="*/ 73319 w 146638"/>
                      <a:gd name="connsiteY2" fmla="*/ 0 h 144558"/>
                      <a:gd name="connsiteX3" fmla="*/ 146638 w 146638"/>
                      <a:gd name="connsiteY3" fmla="*/ 72279 h 144558"/>
                      <a:gd name="connsiteX4" fmla="*/ 73319 w 146638"/>
                      <a:gd name="connsiteY4" fmla="*/ 144558 h 144558"/>
                      <a:gd name="connsiteX5" fmla="*/ 73319 w 146638"/>
                      <a:gd name="connsiteY5" fmla="*/ 16120 h 144558"/>
                      <a:gd name="connsiteX6" fmla="*/ 16120 w 146638"/>
                      <a:gd name="connsiteY6" fmla="*/ 72279 h 144558"/>
                      <a:gd name="connsiteX7" fmla="*/ 73319 w 146638"/>
                      <a:gd name="connsiteY7" fmla="*/ 128439 h 144558"/>
                      <a:gd name="connsiteX8" fmla="*/ 130519 w 146638"/>
                      <a:gd name="connsiteY8" fmla="*/ 72279 h 144558"/>
                      <a:gd name="connsiteX9" fmla="*/ 73319 w 146638"/>
                      <a:gd name="connsiteY9" fmla="*/ 16120 h 144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638" h="144558">
                        <a:moveTo>
                          <a:pt x="73319" y="144558"/>
                        </a:moveTo>
                        <a:cubicBezTo>
                          <a:pt x="33020" y="144558"/>
                          <a:pt x="0" y="111539"/>
                          <a:pt x="0" y="72279"/>
                        </a:cubicBezTo>
                        <a:cubicBezTo>
                          <a:pt x="0" y="33019"/>
                          <a:pt x="33020" y="0"/>
                          <a:pt x="73319" y="0"/>
                        </a:cubicBezTo>
                        <a:cubicBezTo>
                          <a:pt x="113619" y="0"/>
                          <a:pt x="146638" y="33019"/>
                          <a:pt x="146638" y="72279"/>
                        </a:cubicBezTo>
                        <a:cubicBezTo>
                          <a:pt x="146638" y="111539"/>
                          <a:pt x="113879" y="144558"/>
                          <a:pt x="73319" y="144558"/>
                        </a:cubicBezTo>
                        <a:close/>
                        <a:moveTo>
                          <a:pt x="73319" y="16120"/>
                        </a:moveTo>
                        <a:cubicBezTo>
                          <a:pt x="41600" y="16120"/>
                          <a:pt x="16120" y="41600"/>
                          <a:pt x="16120" y="72279"/>
                        </a:cubicBezTo>
                        <a:cubicBezTo>
                          <a:pt x="16120" y="102959"/>
                          <a:pt x="41600" y="128439"/>
                          <a:pt x="73319" y="128439"/>
                        </a:cubicBezTo>
                        <a:cubicBezTo>
                          <a:pt x="105039" y="128439"/>
                          <a:pt x="130519" y="102959"/>
                          <a:pt x="130519" y="72279"/>
                        </a:cubicBezTo>
                        <a:cubicBezTo>
                          <a:pt x="130519" y="41600"/>
                          <a:pt x="105299" y="16120"/>
                          <a:pt x="73319" y="16120"/>
                        </a:cubicBezTo>
                        <a:close/>
                      </a:path>
                    </a:pathLst>
                  </a:custGeom>
                  <a:solidFill>
                    <a:srgbClr val="FFFFFF"/>
                  </a:solidFill>
                  <a:ln w="2597" cap="flat">
                    <a:noFill/>
                    <a:prstDash val="solid"/>
                    <a:miter/>
                  </a:ln>
                </p:spPr>
                <p:txBody>
                  <a:bodyPr rtlCol="0" anchor="ctr"/>
                  <a:lstStyle/>
                  <a:p>
                    <a:endParaRPr lang="en-GB"/>
                  </a:p>
                </p:txBody>
              </p:sp>
              <p:sp>
                <p:nvSpPr>
                  <p:cNvPr id="400" name="Freeform: Shape 399">
                    <a:extLst>
                      <a:ext uri="{FF2B5EF4-FFF2-40B4-BE49-F238E27FC236}">
                        <a16:creationId xmlns:a16="http://schemas.microsoft.com/office/drawing/2014/main" id="{4895179E-FC48-9B9F-589F-07F9A8FAE3FF}"/>
                      </a:ext>
                    </a:extLst>
                  </p:cNvPr>
                  <p:cNvSpPr/>
                  <p:nvPr/>
                </p:nvSpPr>
                <p:spPr>
                  <a:xfrm>
                    <a:off x="4157365" y="4815956"/>
                    <a:ext cx="102438" cy="99838"/>
                  </a:xfrm>
                  <a:custGeom>
                    <a:avLst/>
                    <a:gdLst>
                      <a:gd name="connsiteX0" fmla="*/ 7540 w 102438"/>
                      <a:gd name="connsiteY0" fmla="*/ 99839 h 99838"/>
                      <a:gd name="connsiteX1" fmla="*/ 2340 w 102438"/>
                      <a:gd name="connsiteY1" fmla="*/ 97759 h 99838"/>
                      <a:gd name="connsiteX2" fmla="*/ 2340 w 102438"/>
                      <a:gd name="connsiteY2" fmla="*/ 86059 h 99838"/>
                      <a:gd name="connsiteX3" fmla="*/ 88399 w 102438"/>
                      <a:gd name="connsiteY3" fmla="*/ 2340 h 99838"/>
                      <a:gd name="connsiteX4" fmla="*/ 100099 w 102438"/>
                      <a:gd name="connsiteY4" fmla="*/ 2340 h 99838"/>
                      <a:gd name="connsiteX5" fmla="*/ 100099 w 102438"/>
                      <a:gd name="connsiteY5" fmla="*/ 14040 h 99838"/>
                      <a:gd name="connsiteX6" fmla="*/ 14040 w 102438"/>
                      <a:gd name="connsiteY6" fmla="*/ 97759 h 99838"/>
                      <a:gd name="connsiteX7" fmla="*/ 7540 w 102438"/>
                      <a:gd name="connsiteY7" fmla="*/ 99839 h 99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438" h="99838">
                        <a:moveTo>
                          <a:pt x="7540" y="99839"/>
                        </a:moveTo>
                        <a:cubicBezTo>
                          <a:pt x="5460" y="99839"/>
                          <a:pt x="3380" y="98799"/>
                          <a:pt x="2340" y="97759"/>
                        </a:cubicBezTo>
                        <a:cubicBezTo>
                          <a:pt x="-780" y="94639"/>
                          <a:pt x="-780" y="89179"/>
                          <a:pt x="2340" y="86059"/>
                        </a:cubicBezTo>
                        <a:lnTo>
                          <a:pt x="88399" y="2340"/>
                        </a:lnTo>
                        <a:cubicBezTo>
                          <a:pt x="91519" y="-780"/>
                          <a:pt x="96979" y="-780"/>
                          <a:pt x="100099" y="2340"/>
                        </a:cubicBezTo>
                        <a:cubicBezTo>
                          <a:pt x="103219" y="5460"/>
                          <a:pt x="103219" y="10920"/>
                          <a:pt x="100099" y="14040"/>
                        </a:cubicBezTo>
                        <a:lnTo>
                          <a:pt x="14040" y="97759"/>
                        </a:lnTo>
                        <a:cubicBezTo>
                          <a:pt x="11700" y="98799"/>
                          <a:pt x="9620" y="99839"/>
                          <a:pt x="7540" y="99839"/>
                        </a:cubicBezTo>
                        <a:close/>
                      </a:path>
                    </a:pathLst>
                  </a:custGeom>
                  <a:solidFill>
                    <a:srgbClr val="FFFFFF"/>
                  </a:solidFill>
                  <a:ln w="2597" cap="flat">
                    <a:noFill/>
                    <a:prstDash val="solid"/>
                    <a:miter/>
                  </a:ln>
                </p:spPr>
                <p:txBody>
                  <a:bodyPr rtlCol="0" anchor="ctr"/>
                  <a:lstStyle/>
                  <a:p>
                    <a:endParaRPr lang="en-GB"/>
                  </a:p>
                </p:txBody>
              </p:sp>
              <p:sp>
                <p:nvSpPr>
                  <p:cNvPr id="401" name="Freeform: Shape 400">
                    <a:extLst>
                      <a:ext uri="{FF2B5EF4-FFF2-40B4-BE49-F238E27FC236}">
                        <a16:creationId xmlns:a16="http://schemas.microsoft.com/office/drawing/2014/main" id="{E4F910D6-7F90-4F31-80BE-28E610B9F3F2}"/>
                      </a:ext>
                    </a:extLst>
                  </p:cNvPr>
                  <p:cNvSpPr/>
                  <p:nvPr/>
                </p:nvSpPr>
                <p:spPr>
                  <a:xfrm>
                    <a:off x="4161785" y="4818296"/>
                    <a:ext cx="100099" cy="99838"/>
                  </a:xfrm>
                  <a:custGeom>
                    <a:avLst/>
                    <a:gdLst>
                      <a:gd name="connsiteX0" fmla="*/ 91259 w 100099"/>
                      <a:gd name="connsiteY0" fmla="*/ 99839 h 99838"/>
                      <a:gd name="connsiteX1" fmla="*/ 86059 w 100099"/>
                      <a:gd name="connsiteY1" fmla="*/ 97759 h 99838"/>
                      <a:gd name="connsiteX2" fmla="*/ 2340 w 100099"/>
                      <a:gd name="connsiteY2" fmla="*/ 14040 h 99838"/>
                      <a:gd name="connsiteX3" fmla="*/ 2340 w 100099"/>
                      <a:gd name="connsiteY3" fmla="*/ 2340 h 99838"/>
                      <a:gd name="connsiteX4" fmla="*/ 14040 w 100099"/>
                      <a:gd name="connsiteY4" fmla="*/ 2340 h 99838"/>
                      <a:gd name="connsiteX5" fmla="*/ 97759 w 100099"/>
                      <a:gd name="connsiteY5" fmla="*/ 86059 h 99838"/>
                      <a:gd name="connsiteX6" fmla="*/ 97759 w 100099"/>
                      <a:gd name="connsiteY6" fmla="*/ 97759 h 99838"/>
                      <a:gd name="connsiteX7" fmla="*/ 91259 w 100099"/>
                      <a:gd name="connsiteY7" fmla="*/ 99839 h 99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99" h="99838">
                        <a:moveTo>
                          <a:pt x="91259" y="99839"/>
                        </a:moveTo>
                        <a:cubicBezTo>
                          <a:pt x="89179" y="99839"/>
                          <a:pt x="87099" y="98799"/>
                          <a:pt x="86059" y="97759"/>
                        </a:cubicBezTo>
                        <a:lnTo>
                          <a:pt x="2340" y="14040"/>
                        </a:lnTo>
                        <a:cubicBezTo>
                          <a:pt x="-780" y="10920"/>
                          <a:pt x="-780" y="5460"/>
                          <a:pt x="2340" y="2340"/>
                        </a:cubicBezTo>
                        <a:cubicBezTo>
                          <a:pt x="5460" y="-780"/>
                          <a:pt x="10920" y="-780"/>
                          <a:pt x="14040" y="2340"/>
                        </a:cubicBezTo>
                        <a:lnTo>
                          <a:pt x="97759" y="86059"/>
                        </a:lnTo>
                        <a:cubicBezTo>
                          <a:pt x="100879" y="89179"/>
                          <a:pt x="100879" y="94639"/>
                          <a:pt x="97759" y="97759"/>
                        </a:cubicBezTo>
                        <a:cubicBezTo>
                          <a:pt x="95419" y="98539"/>
                          <a:pt x="93339" y="99839"/>
                          <a:pt x="91259" y="99839"/>
                        </a:cubicBezTo>
                        <a:close/>
                      </a:path>
                    </a:pathLst>
                  </a:custGeom>
                  <a:solidFill>
                    <a:srgbClr val="FFFFFF"/>
                  </a:solidFill>
                  <a:ln w="2597" cap="flat">
                    <a:noFill/>
                    <a:prstDash val="solid"/>
                    <a:miter/>
                  </a:ln>
                </p:spPr>
                <p:txBody>
                  <a:bodyPr rtlCol="0" anchor="ctr"/>
                  <a:lstStyle/>
                  <a:p>
                    <a:endParaRPr lang="en-GB"/>
                  </a:p>
                </p:txBody>
              </p:sp>
            </p:grpSp>
            <p:grpSp>
              <p:nvGrpSpPr>
                <p:cNvPr id="396" name="Graphic 6">
                  <a:extLst>
                    <a:ext uri="{FF2B5EF4-FFF2-40B4-BE49-F238E27FC236}">
                      <a16:creationId xmlns:a16="http://schemas.microsoft.com/office/drawing/2014/main" id="{C2356D19-3D6E-5C19-4823-63486F657F35}"/>
                    </a:ext>
                  </a:extLst>
                </p:cNvPr>
                <p:cNvGrpSpPr/>
                <p:nvPr/>
              </p:nvGrpSpPr>
              <p:grpSpPr>
                <a:xfrm>
                  <a:off x="4181805" y="4838316"/>
                  <a:ext cx="53039" cy="53039"/>
                  <a:chOff x="4181805" y="4838316"/>
                  <a:chExt cx="53039" cy="53039"/>
                </a:xfrm>
              </p:grpSpPr>
              <p:sp>
                <p:nvSpPr>
                  <p:cNvPr id="397" name="Freeform: Shape 396">
                    <a:extLst>
                      <a:ext uri="{FF2B5EF4-FFF2-40B4-BE49-F238E27FC236}">
                        <a16:creationId xmlns:a16="http://schemas.microsoft.com/office/drawing/2014/main" id="{94207483-143D-DEF6-B5AF-002665E616AE}"/>
                      </a:ext>
                    </a:extLst>
                  </p:cNvPr>
                  <p:cNvSpPr/>
                  <p:nvPr/>
                </p:nvSpPr>
                <p:spPr>
                  <a:xfrm>
                    <a:off x="4190385" y="4846896"/>
                    <a:ext cx="35879" cy="35879"/>
                  </a:xfrm>
                  <a:custGeom>
                    <a:avLst/>
                    <a:gdLst>
                      <a:gd name="connsiteX0" fmla="*/ 35880 w 35879"/>
                      <a:gd name="connsiteY0" fmla="*/ 17940 h 35879"/>
                      <a:gd name="connsiteX1" fmla="*/ 17940 w 35879"/>
                      <a:gd name="connsiteY1" fmla="*/ 35880 h 35879"/>
                      <a:gd name="connsiteX2" fmla="*/ 0 w 35879"/>
                      <a:gd name="connsiteY2" fmla="*/ 17940 h 35879"/>
                      <a:gd name="connsiteX3" fmla="*/ 17940 w 35879"/>
                      <a:gd name="connsiteY3" fmla="*/ 0 h 35879"/>
                      <a:gd name="connsiteX4" fmla="*/ 35880 w 35879"/>
                      <a:gd name="connsiteY4" fmla="*/ 17940 h 35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79" h="35879">
                        <a:moveTo>
                          <a:pt x="35880" y="17940"/>
                        </a:moveTo>
                        <a:cubicBezTo>
                          <a:pt x="35880" y="27848"/>
                          <a:pt x="27848" y="35880"/>
                          <a:pt x="17940" y="35880"/>
                        </a:cubicBezTo>
                        <a:cubicBezTo>
                          <a:pt x="8032" y="35880"/>
                          <a:pt x="0" y="27848"/>
                          <a:pt x="0" y="17940"/>
                        </a:cubicBezTo>
                        <a:cubicBezTo>
                          <a:pt x="0" y="8032"/>
                          <a:pt x="8032" y="0"/>
                          <a:pt x="17940" y="0"/>
                        </a:cubicBezTo>
                        <a:cubicBezTo>
                          <a:pt x="27848" y="0"/>
                          <a:pt x="35880" y="8032"/>
                          <a:pt x="35880" y="17940"/>
                        </a:cubicBezTo>
                        <a:close/>
                      </a:path>
                    </a:pathLst>
                  </a:custGeom>
                  <a:solidFill>
                    <a:srgbClr val="0069FF"/>
                  </a:solidFill>
                  <a:ln w="2597" cap="flat">
                    <a:noFill/>
                    <a:prstDash val="solid"/>
                    <a:miter/>
                  </a:ln>
                </p:spPr>
                <p:txBody>
                  <a:bodyPr rtlCol="0" anchor="ctr"/>
                  <a:lstStyle/>
                  <a:p>
                    <a:endParaRPr lang="en-GB"/>
                  </a:p>
                </p:txBody>
              </p:sp>
              <p:sp>
                <p:nvSpPr>
                  <p:cNvPr id="398" name="Freeform: Shape 397">
                    <a:extLst>
                      <a:ext uri="{FF2B5EF4-FFF2-40B4-BE49-F238E27FC236}">
                        <a16:creationId xmlns:a16="http://schemas.microsoft.com/office/drawing/2014/main" id="{7BC2A6E1-9CAF-3461-B428-B93E9FF420C8}"/>
                      </a:ext>
                    </a:extLst>
                  </p:cNvPr>
                  <p:cNvSpPr/>
                  <p:nvPr/>
                </p:nvSpPr>
                <p:spPr>
                  <a:xfrm>
                    <a:off x="4181805" y="4838316"/>
                    <a:ext cx="53039" cy="53039"/>
                  </a:xfrm>
                  <a:custGeom>
                    <a:avLst/>
                    <a:gdLst>
                      <a:gd name="connsiteX0" fmla="*/ 26520 w 53039"/>
                      <a:gd name="connsiteY0" fmla="*/ 53039 h 53039"/>
                      <a:gd name="connsiteX1" fmla="*/ 0 w 53039"/>
                      <a:gd name="connsiteY1" fmla="*/ 26520 h 53039"/>
                      <a:gd name="connsiteX2" fmla="*/ 26520 w 53039"/>
                      <a:gd name="connsiteY2" fmla="*/ 0 h 53039"/>
                      <a:gd name="connsiteX3" fmla="*/ 53039 w 53039"/>
                      <a:gd name="connsiteY3" fmla="*/ 26520 h 53039"/>
                      <a:gd name="connsiteX4" fmla="*/ 26520 w 53039"/>
                      <a:gd name="connsiteY4" fmla="*/ 53039 h 53039"/>
                      <a:gd name="connsiteX5" fmla="*/ 26520 w 53039"/>
                      <a:gd name="connsiteY5" fmla="*/ 16120 h 53039"/>
                      <a:gd name="connsiteX6" fmla="*/ 15860 w 53039"/>
                      <a:gd name="connsiteY6" fmla="*/ 26780 h 53039"/>
                      <a:gd name="connsiteX7" fmla="*/ 26520 w 53039"/>
                      <a:gd name="connsiteY7" fmla="*/ 37440 h 53039"/>
                      <a:gd name="connsiteX8" fmla="*/ 37180 w 53039"/>
                      <a:gd name="connsiteY8" fmla="*/ 26780 h 53039"/>
                      <a:gd name="connsiteX9" fmla="*/ 26520 w 53039"/>
                      <a:gd name="connsiteY9" fmla="*/ 16120 h 53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039" h="53039">
                        <a:moveTo>
                          <a:pt x="26520" y="53039"/>
                        </a:moveTo>
                        <a:cubicBezTo>
                          <a:pt x="11700" y="53039"/>
                          <a:pt x="0" y="41340"/>
                          <a:pt x="0" y="26520"/>
                        </a:cubicBezTo>
                        <a:cubicBezTo>
                          <a:pt x="0" y="11700"/>
                          <a:pt x="11700" y="0"/>
                          <a:pt x="26520" y="0"/>
                        </a:cubicBezTo>
                        <a:cubicBezTo>
                          <a:pt x="41340" y="0"/>
                          <a:pt x="53039" y="11700"/>
                          <a:pt x="53039" y="26520"/>
                        </a:cubicBezTo>
                        <a:cubicBezTo>
                          <a:pt x="53039" y="41340"/>
                          <a:pt x="41600" y="53039"/>
                          <a:pt x="26520" y="53039"/>
                        </a:cubicBezTo>
                        <a:close/>
                        <a:moveTo>
                          <a:pt x="26520" y="16120"/>
                        </a:moveTo>
                        <a:cubicBezTo>
                          <a:pt x="21320" y="16120"/>
                          <a:pt x="15860" y="20280"/>
                          <a:pt x="15860" y="26780"/>
                        </a:cubicBezTo>
                        <a:cubicBezTo>
                          <a:pt x="15860" y="33280"/>
                          <a:pt x="20020" y="37440"/>
                          <a:pt x="26520" y="37440"/>
                        </a:cubicBezTo>
                        <a:cubicBezTo>
                          <a:pt x="33020" y="37440"/>
                          <a:pt x="37180" y="33280"/>
                          <a:pt x="37180" y="26780"/>
                        </a:cubicBezTo>
                        <a:cubicBezTo>
                          <a:pt x="37180" y="20280"/>
                          <a:pt x="31980" y="16120"/>
                          <a:pt x="26520" y="16120"/>
                        </a:cubicBezTo>
                        <a:close/>
                      </a:path>
                    </a:pathLst>
                  </a:custGeom>
                  <a:solidFill>
                    <a:srgbClr val="FFFFFF"/>
                  </a:solidFill>
                  <a:ln w="2597" cap="flat">
                    <a:noFill/>
                    <a:prstDash val="solid"/>
                    <a:miter/>
                  </a:ln>
                </p:spPr>
                <p:txBody>
                  <a:bodyPr rtlCol="0" anchor="ctr"/>
                  <a:lstStyle/>
                  <a:p>
                    <a:endParaRPr lang="en-GB"/>
                  </a:p>
                </p:txBody>
              </p:sp>
            </p:grpSp>
          </p:grpSp>
          <p:grpSp>
            <p:nvGrpSpPr>
              <p:cNvPr id="385" name="Graphic 6">
                <a:extLst>
                  <a:ext uri="{FF2B5EF4-FFF2-40B4-BE49-F238E27FC236}">
                    <a16:creationId xmlns:a16="http://schemas.microsoft.com/office/drawing/2014/main" id="{D2792DC4-13A8-927D-43A4-48B1C8620350}"/>
                  </a:ext>
                </a:extLst>
              </p:cNvPr>
              <p:cNvGrpSpPr/>
              <p:nvPr/>
            </p:nvGrpSpPr>
            <p:grpSpPr>
              <a:xfrm>
                <a:off x="4135005" y="4961295"/>
                <a:ext cx="146638" cy="145598"/>
                <a:chOff x="4135005" y="4961295"/>
                <a:chExt cx="146638" cy="145598"/>
              </a:xfrm>
            </p:grpSpPr>
            <p:grpSp>
              <p:nvGrpSpPr>
                <p:cNvPr id="388" name="Graphic 6">
                  <a:extLst>
                    <a:ext uri="{FF2B5EF4-FFF2-40B4-BE49-F238E27FC236}">
                      <a16:creationId xmlns:a16="http://schemas.microsoft.com/office/drawing/2014/main" id="{456215EE-8375-C8A3-6C87-4B9B831B5BED}"/>
                    </a:ext>
                  </a:extLst>
                </p:cNvPr>
                <p:cNvGrpSpPr/>
                <p:nvPr/>
              </p:nvGrpSpPr>
              <p:grpSpPr>
                <a:xfrm>
                  <a:off x="4135005" y="4961295"/>
                  <a:ext cx="146638" cy="145598"/>
                  <a:chOff x="4135005" y="4961295"/>
                  <a:chExt cx="146638" cy="145598"/>
                </a:xfrm>
                <a:solidFill>
                  <a:srgbClr val="FFFFFF"/>
                </a:solidFill>
              </p:grpSpPr>
              <p:sp>
                <p:nvSpPr>
                  <p:cNvPr id="392" name="Freeform: Shape 391">
                    <a:extLst>
                      <a:ext uri="{FF2B5EF4-FFF2-40B4-BE49-F238E27FC236}">
                        <a16:creationId xmlns:a16="http://schemas.microsoft.com/office/drawing/2014/main" id="{F42FB7A0-C6C0-8A86-606D-C658512B97DE}"/>
                      </a:ext>
                    </a:extLst>
                  </p:cNvPr>
                  <p:cNvSpPr/>
                  <p:nvPr/>
                </p:nvSpPr>
                <p:spPr>
                  <a:xfrm>
                    <a:off x="4135005" y="4961295"/>
                    <a:ext cx="146638" cy="145598"/>
                  </a:xfrm>
                  <a:custGeom>
                    <a:avLst/>
                    <a:gdLst>
                      <a:gd name="connsiteX0" fmla="*/ 73319 w 146638"/>
                      <a:gd name="connsiteY0" fmla="*/ 145598 h 145598"/>
                      <a:gd name="connsiteX1" fmla="*/ 0 w 146638"/>
                      <a:gd name="connsiteY1" fmla="*/ 73319 h 145598"/>
                      <a:gd name="connsiteX2" fmla="*/ 73319 w 146638"/>
                      <a:gd name="connsiteY2" fmla="*/ 0 h 145598"/>
                      <a:gd name="connsiteX3" fmla="*/ 146638 w 146638"/>
                      <a:gd name="connsiteY3" fmla="*/ 73319 h 145598"/>
                      <a:gd name="connsiteX4" fmla="*/ 73319 w 146638"/>
                      <a:gd name="connsiteY4" fmla="*/ 145598 h 145598"/>
                      <a:gd name="connsiteX5" fmla="*/ 73319 w 146638"/>
                      <a:gd name="connsiteY5" fmla="*/ 15080 h 145598"/>
                      <a:gd name="connsiteX6" fmla="*/ 16120 w 146638"/>
                      <a:gd name="connsiteY6" fmla="*/ 72279 h 145598"/>
                      <a:gd name="connsiteX7" fmla="*/ 73319 w 146638"/>
                      <a:gd name="connsiteY7" fmla="*/ 128438 h 145598"/>
                      <a:gd name="connsiteX8" fmla="*/ 130519 w 146638"/>
                      <a:gd name="connsiteY8" fmla="*/ 72279 h 145598"/>
                      <a:gd name="connsiteX9" fmla="*/ 73319 w 146638"/>
                      <a:gd name="connsiteY9" fmla="*/ 15080 h 14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638" h="145598">
                        <a:moveTo>
                          <a:pt x="73319" y="145598"/>
                        </a:moveTo>
                        <a:cubicBezTo>
                          <a:pt x="33020" y="145598"/>
                          <a:pt x="0" y="112579"/>
                          <a:pt x="0" y="73319"/>
                        </a:cubicBezTo>
                        <a:cubicBezTo>
                          <a:pt x="0" y="34060"/>
                          <a:pt x="33020" y="0"/>
                          <a:pt x="73319" y="0"/>
                        </a:cubicBezTo>
                        <a:cubicBezTo>
                          <a:pt x="113619" y="0"/>
                          <a:pt x="146638" y="33019"/>
                          <a:pt x="146638" y="73319"/>
                        </a:cubicBezTo>
                        <a:cubicBezTo>
                          <a:pt x="146638" y="113879"/>
                          <a:pt x="113879" y="145598"/>
                          <a:pt x="73319" y="145598"/>
                        </a:cubicBezTo>
                        <a:close/>
                        <a:moveTo>
                          <a:pt x="73319" y="15080"/>
                        </a:moveTo>
                        <a:cubicBezTo>
                          <a:pt x="41600" y="15080"/>
                          <a:pt x="16120" y="40559"/>
                          <a:pt x="16120" y="72279"/>
                        </a:cubicBezTo>
                        <a:cubicBezTo>
                          <a:pt x="16120" y="103999"/>
                          <a:pt x="41600" y="128438"/>
                          <a:pt x="73319" y="128438"/>
                        </a:cubicBezTo>
                        <a:cubicBezTo>
                          <a:pt x="105039" y="128438"/>
                          <a:pt x="130519" y="102959"/>
                          <a:pt x="130519" y="72279"/>
                        </a:cubicBezTo>
                        <a:cubicBezTo>
                          <a:pt x="130779" y="41600"/>
                          <a:pt x="105299" y="15080"/>
                          <a:pt x="73319" y="15080"/>
                        </a:cubicBezTo>
                        <a:close/>
                      </a:path>
                    </a:pathLst>
                  </a:custGeom>
                  <a:solidFill>
                    <a:srgbClr val="FFFFFF"/>
                  </a:solidFill>
                  <a:ln w="2597" cap="flat">
                    <a:noFill/>
                    <a:prstDash val="solid"/>
                    <a:miter/>
                  </a:ln>
                </p:spPr>
                <p:txBody>
                  <a:bodyPr rtlCol="0" anchor="ctr"/>
                  <a:lstStyle/>
                  <a:p>
                    <a:endParaRPr lang="en-GB"/>
                  </a:p>
                </p:txBody>
              </p:sp>
              <p:sp>
                <p:nvSpPr>
                  <p:cNvPr id="393" name="Freeform: Shape 392">
                    <a:extLst>
                      <a:ext uri="{FF2B5EF4-FFF2-40B4-BE49-F238E27FC236}">
                        <a16:creationId xmlns:a16="http://schemas.microsoft.com/office/drawing/2014/main" id="{DD64B795-D3B5-42F6-DB9C-E4CD9D98E586}"/>
                      </a:ext>
                    </a:extLst>
                  </p:cNvPr>
                  <p:cNvSpPr/>
                  <p:nvPr/>
                </p:nvSpPr>
                <p:spPr>
                  <a:xfrm>
                    <a:off x="4157365" y="4984694"/>
                    <a:ext cx="102438" cy="99838"/>
                  </a:xfrm>
                  <a:custGeom>
                    <a:avLst/>
                    <a:gdLst>
                      <a:gd name="connsiteX0" fmla="*/ 7540 w 102438"/>
                      <a:gd name="connsiteY0" fmla="*/ 99839 h 99838"/>
                      <a:gd name="connsiteX1" fmla="*/ 2340 w 102438"/>
                      <a:gd name="connsiteY1" fmla="*/ 97759 h 99838"/>
                      <a:gd name="connsiteX2" fmla="*/ 2340 w 102438"/>
                      <a:gd name="connsiteY2" fmla="*/ 86059 h 99838"/>
                      <a:gd name="connsiteX3" fmla="*/ 88399 w 102438"/>
                      <a:gd name="connsiteY3" fmla="*/ 2340 h 99838"/>
                      <a:gd name="connsiteX4" fmla="*/ 100099 w 102438"/>
                      <a:gd name="connsiteY4" fmla="*/ 2340 h 99838"/>
                      <a:gd name="connsiteX5" fmla="*/ 100099 w 102438"/>
                      <a:gd name="connsiteY5" fmla="*/ 14040 h 99838"/>
                      <a:gd name="connsiteX6" fmla="*/ 14040 w 102438"/>
                      <a:gd name="connsiteY6" fmla="*/ 97759 h 99838"/>
                      <a:gd name="connsiteX7" fmla="*/ 7540 w 102438"/>
                      <a:gd name="connsiteY7" fmla="*/ 99839 h 99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438" h="99838">
                        <a:moveTo>
                          <a:pt x="7540" y="99839"/>
                        </a:moveTo>
                        <a:cubicBezTo>
                          <a:pt x="5460" y="99839"/>
                          <a:pt x="3380" y="98799"/>
                          <a:pt x="2340" y="97759"/>
                        </a:cubicBezTo>
                        <a:cubicBezTo>
                          <a:pt x="-780" y="94639"/>
                          <a:pt x="-780" y="89179"/>
                          <a:pt x="2340" y="86059"/>
                        </a:cubicBezTo>
                        <a:lnTo>
                          <a:pt x="88399" y="2340"/>
                        </a:lnTo>
                        <a:cubicBezTo>
                          <a:pt x="91519" y="-780"/>
                          <a:pt x="96979" y="-780"/>
                          <a:pt x="100099" y="2340"/>
                        </a:cubicBezTo>
                        <a:cubicBezTo>
                          <a:pt x="103219" y="5460"/>
                          <a:pt x="103219" y="10920"/>
                          <a:pt x="100099" y="14040"/>
                        </a:cubicBezTo>
                        <a:lnTo>
                          <a:pt x="14040" y="97759"/>
                        </a:lnTo>
                        <a:cubicBezTo>
                          <a:pt x="11700" y="98799"/>
                          <a:pt x="9620" y="99839"/>
                          <a:pt x="7540" y="99839"/>
                        </a:cubicBezTo>
                        <a:close/>
                      </a:path>
                    </a:pathLst>
                  </a:custGeom>
                  <a:solidFill>
                    <a:srgbClr val="FFFFFF"/>
                  </a:solidFill>
                  <a:ln w="2597" cap="flat">
                    <a:noFill/>
                    <a:prstDash val="solid"/>
                    <a:miter/>
                  </a:ln>
                </p:spPr>
                <p:txBody>
                  <a:bodyPr rtlCol="0" anchor="ctr"/>
                  <a:lstStyle/>
                  <a:p>
                    <a:endParaRPr lang="en-GB"/>
                  </a:p>
                </p:txBody>
              </p:sp>
              <p:sp>
                <p:nvSpPr>
                  <p:cNvPr id="394" name="Freeform: Shape 393">
                    <a:extLst>
                      <a:ext uri="{FF2B5EF4-FFF2-40B4-BE49-F238E27FC236}">
                        <a16:creationId xmlns:a16="http://schemas.microsoft.com/office/drawing/2014/main" id="{6830AF18-5DBE-637A-1AD4-63FB4868533E}"/>
                      </a:ext>
                    </a:extLst>
                  </p:cNvPr>
                  <p:cNvSpPr/>
                  <p:nvPr/>
                </p:nvSpPr>
                <p:spPr>
                  <a:xfrm>
                    <a:off x="4161785" y="4985734"/>
                    <a:ext cx="100099" cy="99838"/>
                  </a:xfrm>
                  <a:custGeom>
                    <a:avLst/>
                    <a:gdLst>
                      <a:gd name="connsiteX0" fmla="*/ 91259 w 100099"/>
                      <a:gd name="connsiteY0" fmla="*/ 99839 h 99838"/>
                      <a:gd name="connsiteX1" fmla="*/ 86059 w 100099"/>
                      <a:gd name="connsiteY1" fmla="*/ 97759 h 99838"/>
                      <a:gd name="connsiteX2" fmla="*/ 2340 w 100099"/>
                      <a:gd name="connsiteY2" fmla="*/ 14040 h 99838"/>
                      <a:gd name="connsiteX3" fmla="*/ 2340 w 100099"/>
                      <a:gd name="connsiteY3" fmla="*/ 2340 h 99838"/>
                      <a:gd name="connsiteX4" fmla="*/ 14040 w 100099"/>
                      <a:gd name="connsiteY4" fmla="*/ 2340 h 99838"/>
                      <a:gd name="connsiteX5" fmla="*/ 97759 w 100099"/>
                      <a:gd name="connsiteY5" fmla="*/ 86059 h 99838"/>
                      <a:gd name="connsiteX6" fmla="*/ 97759 w 100099"/>
                      <a:gd name="connsiteY6" fmla="*/ 97759 h 99838"/>
                      <a:gd name="connsiteX7" fmla="*/ 91259 w 100099"/>
                      <a:gd name="connsiteY7" fmla="*/ 99839 h 99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99" h="99838">
                        <a:moveTo>
                          <a:pt x="91259" y="99839"/>
                        </a:moveTo>
                        <a:cubicBezTo>
                          <a:pt x="89179" y="99839"/>
                          <a:pt x="87099" y="98799"/>
                          <a:pt x="86059" y="97759"/>
                        </a:cubicBezTo>
                        <a:lnTo>
                          <a:pt x="2340" y="14040"/>
                        </a:lnTo>
                        <a:cubicBezTo>
                          <a:pt x="-780" y="10920"/>
                          <a:pt x="-780" y="5460"/>
                          <a:pt x="2340" y="2340"/>
                        </a:cubicBezTo>
                        <a:cubicBezTo>
                          <a:pt x="5460" y="-780"/>
                          <a:pt x="10920" y="-780"/>
                          <a:pt x="14040" y="2340"/>
                        </a:cubicBezTo>
                        <a:lnTo>
                          <a:pt x="97759" y="86059"/>
                        </a:lnTo>
                        <a:cubicBezTo>
                          <a:pt x="100879" y="89179"/>
                          <a:pt x="100879" y="94639"/>
                          <a:pt x="97759" y="97759"/>
                        </a:cubicBezTo>
                        <a:cubicBezTo>
                          <a:pt x="95419" y="99839"/>
                          <a:pt x="93339" y="99839"/>
                          <a:pt x="91259" y="99839"/>
                        </a:cubicBezTo>
                        <a:close/>
                      </a:path>
                    </a:pathLst>
                  </a:custGeom>
                  <a:solidFill>
                    <a:srgbClr val="FFFFFF"/>
                  </a:solidFill>
                  <a:ln w="2597" cap="flat">
                    <a:noFill/>
                    <a:prstDash val="solid"/>
                    <a:miter/>
                  </a:ln>
                </p:spPr>
                <p:txBody>
                  <a:bodyPr rtlCol="0" anchor="ctr"/>
                  <a:lstStyle/>
                  <a:p>
                    <a:endParaRPr lang="en-GB"/>
                  </a:p>
                </p:txBody>
              </p:sp>
            </p:grpSp>
            <p:grpSp>
              <p:nvGrpSpPr>
                <p:cNvPr id="389" name="Graphic 6">
                  <a:extLst>
                    <a:ext uri="{FF2B5EF4-FFF2-40B4-BE49-F238E27FC236}">
                      <a16:creationId xmlns:a16="http://schemas.microsoft.com/office/drawing/2014/main" id="{A42E95F3-4C1F-9C8F-8853-61C686889E75}"/>
                    </a:ext>
                  </a:extLst>
                </p:cNvPr>
                <p:cNvGrpSpPr/>
                <p:nvPr/>
              </p:nvGrpSpPr>
              <p:grpSpPr>
                <a:xfrm>
                  <a:off x="4181805" y="5007054"/>
                  <a:ext cx="53043" cy="51999"/>
                  <a:chOff x="4181805" y="5007054"/>
                  <a:chExt cx="53043" cy="51999"/>
                </a:xfrm>
              </p:grpSpPr>
              <p:sp>
                <p:nvSpPr>
                  <p:cNvPr id="390" name="Freeform: Shape 389">
                    <a:extLst>
                      <a:ext uri="{FF2B5EF4-FFF2-40B4-BE49-F238E27FC236}">
                        <a16:creationId xmlns:a16="http://schemas.microsoft.com/office/drawing/2014/main" id="{16DBB739-A4EA-89AC-7E5C-DFEDE9813A99}"/>
                      </a:ext>
                    </a:extLst>
                  </p:cNvPr>
                  <p:cNvSpPr/>
                  <p:nvPr/>
                </p:nvSpPr>
                <p:spPr>
                  <a:xfrm>
                    <a:off x="4190385" y="5015634"/>
                    <a:ext cx="35879" cy="35879"/>
                  </a:xfrm>
                  <a:custGeom>
                    <a:avLst/>
                    <a:gdLst>
                      <a:gd name="connsiteX0" fmla="*/ 35880 w 35879"/>
                      <a:gd name="connsiteY0" fmla="*/ 17940 h 35879"/>
                      <a:gd name="connsiteX1" fmla="*/ 17940 w 35879"/>
                      <a:gd name="connsiteY1" fmla="*/ 35880 h 35879"/>
                      <a:gd name="connsiteX2" fmla="*/ 0 w 35879"/>
                      <a:gd name="connsiteY2" fmla="*/ 17940 h 35879"/>
                      <a:gd name="connsiteX3" fmla="*/ 17940 w 35879"/>
                      <a:gd name="connsiteY3" fmla="*/ 0 h 35879"/>
                      <a:gd name="connsiteX4" fmla="*/ 35880 w 35879"/>
                      <a:gd name="connsiteY4" fmla="*/ 17940 h 35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79" h="35879">
                        <a:moveTo>
                          <a:pt x="35880" y="17940"/>
                        </a:moveTo>
                        <a:cubicBezTo>
                          <a:pt x="35880" y="27848"/>
                          <a:pt x="27848" y="35880"/>
                          <a:pt x="17940" y="35880"/>
                        </a:cubicBezTo>
                        <a:cubicBezTo>
                          <a:pt x="8032" y="35880"/>
                          <a:pt x="0" y="27848"/>
                          <a:pt x="0" y="17940"/>
                        </a:cubicBezTo>
                        <a:cubicBezTo>
                          <a:pt x="0" y="8032"/>
                          <a:pt x="8032" y="0"/>
                          <a:pt x="17940" y="0"/>
                        </a:cubicBezTo>
                        <a:cubicBezTo>
                          <a:pt x="27848" y="0"/>
                          <a:pt x="35880" y="8032"/>
                          <a:pt x="35880" y="17940"/>
                        </a:cubicBezTo>
                        <a:close/>
                      </a:path>
                    </a:pathLst>
                  </a:custGeom>
                  <a:solidFill>
                    <a:srgbClr val="0069FF"/>
                  </a:solidFill>
                  <a:ln w="2597" cap="flat">
                    <a:noFill/>
                    <a:prstDash val="solid"/>
                    <a:miter/>
                  </a:ln>
                </p:spPr>
                <p:txBody>
                  <a:bodyPr rtlCol="0" anchor="ctr"/>
                  <a:lstStyle/>
                  <a:p>
                    <a:endParaRPr lang="en-GB"/>
                  </a:p>
                </p:txBody>
              </p:sp>
              <p:sp>
                <p:nvSpPr>
                  <p:cNvPr id="391" name="Freeform: Shape 390">
                    <a:extLst>
                      <a:ext uri="{FF2B5EF4-FFF2-40B4-BE49-F238E27FC236}">
                        <a16:creationId xmlns:a16="http://schemas.microsoft.com/office/drawing/2014/main" id="{F262BE15-F5E9-D69B-B8BA-E3A607EB3323}"/>
                      </a:ext>
                    </a:extLst>
                  </p:cNvPr>
                  <p:cNvSpPr/>
                  <p:nvPr/>
                </p:nvSpPr>
                <p:spPr>
                  <a:xfrm>
                    <a:off x="4181805" y="5007054"/>
                    <a:ext cx="53043" cy="51999"/>
                  </a:xfrm>
                  <a:custGeom>
                    <a:avLst/>
                    <a:gdLst>
                      <a:gd name="connsiteX0" fmla="*/ 26520 w 53043"/>
                      <a:gd name="connsiteY0" fmla="*/ 51999 h 51999"/>
                      <a:gd name="connsiteX1" fmla="*/ 0 w 53043"/>
                      <a:gd name="connsiteY1" fmla="*/ 26520 h 51999"/>
                      <a:gd name="connsiteX2" fmla="*/ 26520 w 53043"/>
                      <a:gd name="connsiteY2" fmla="*/ 0 h 51999"/>
                      <a:gd name="connsiteX3" fmla="*/ 53039 w 53043"/>
                      <a:gd name="connsiteY3" fmla="*/ 26520 h 51999"/>
                      <a:gd name="connsiteX4" fmla="*/ 26520 w 53043"/>
                      <a:gd name="connsiteY4" fmla="*/ 51999 h 51999"/>
                      <a:gd name="connsiteX5" fmla="*/ 26520 w 53043"/>
                      <a:gd name="connsiteY5" fmla="*/ 17160 h 51999"/>
                      <a:gd name="connsiteX6" fmla="*/ 15860 w 53043"/>
                      <a:gd name="connsiteY6" fmla="*/ 27820 h 51999"/>
                      <a:gd name="connsiteX7" fmla="*/ 26520 w 53043"/>
                      <a:gd name="connsiteY7" fmla="*/ 37440 h 51999"/>
                      <a:gd name="connsiteX8" fmla="*/ 37180 w 53043"/>
                      <a:gd name="connsiteY8" fmla="*/ 27820 h 51999"/>
                      <a:gd name="connsiteX9" fmla="*/ 26520 w 53043"/>
                      <a:gd name="connsiteY9" fmla="*/ 17160 h 5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043" h="51999">
                        <a:moveTo>
                          <a:pt x="26520" y="51999"/>
                        </a:moveTo>
                        <a:cubicBezTo>
                          <a:pt x="11700" y="51999"/>
                          <a:pt x="0" y="40300"/>
                          <a:pt x="0" y="26520"/>
                        </a:cubicBezTo>
                        <a:cubicBezTo>
                          <a:pt x="0" y="12740"/>
                          <a:pt x="11700" y="0"/>
                          <a:pt x="26520" y="0"/>
                        </a:cubicBezTo>
                        <a:cubicBezTo>
                          <a:pt x="41340" y="0"/>
                          <a:pt x="53039" y="11700"/>
                          <a:pt x="53039" y="26520"/>
                        </a:cubicBezTo>
                        <a:cubicBezTo>
                          <a:pt x="53299" y="41600"/>
                          <a:pt x="41600" y="51999"/>
                          <a:pt x="26520" y="51999"/>
                        </a:cubicBezTo>
                        <a:close/>
                        <a:moveTo>
                          <a:pt x="26520" y="17160"/>
                        </a:moveTo>
                        <a:cubicBezTo>
                          <a:pt x="21320" y="17160"/>
                          <a:pt x="15860" y="21320"/>
                          <a:pt x="15860" y="27820"/>
                        </a:cubicBezTo>
                        <a:cubicBezTo>
                          <a:pt x="15860" y="33019"/>
                          <a:pt x="20020" y="37440"/>
                          <a:pt x="26520" y="37440"/>
                        </a:cubicBezTo>
                        <a:cubicBezTo>
                          <a:pt x="33020" y="37440"/>
                          <a:pt x="37180" y="33279"/>
                          <a:pt x="37180" y="27820"/>
                        </a:cubicBezTo>
                        <a:cubicBezTo>
                          <a:pt x="37180" y="21320"/>
                          <a:pt x="31980" y="17160"/>
                          <a:pt x="26520" y="17160"/>
                        </a:cubicBezTo>
                        <a:close/>
                      </a:path>
                    </a:pathLst>
                  </a:custGeom>
                  <a:solidFill>
                    <a:srgbClr val="FFFFFF"/>
                  </a:solidFill>
                  <a:ln w="2597" cap="flat">
                    <a:noFill/>
                    <a:prstDash val="solid"/>
                    <a:miter/>
                  </a:ln>
                </p:spPr>
                <p:txBody>
                  <a:bodyPr rtlCol="0" anchor="ctr"/>
                  <a:lstStyle/>
                  <a:p>
                    <a:endParaRPr lang="en-GB"/>
                  </a:p>
                </p:txBody>
              </p:sp>
            </p:grpSp>
          </p:grpSp>
          <p:sp>
            <p:nvSpPr>
              <p:cNvPr id="386" name="Freeform: Shape 385">
                <a:extLst>
                  <a:ext uri="{FF2B5EF4-FFF2-40B4-BE49-F238E27FC236}">
                    <a16:creationId xmlns:a16="http://schemas.microsoft.com/office/drawing/2014/main" id="{A36C0558-B796-EF48-AB1E-FA8904129BDA}"/>
                  </a:ext>
                </a:extLst>
              </p:cNvPr>
              <p:cNvSpPr/>
              <p:nvPr/>
            </p:nvSpPr>
            <p:spPr>
              <a:xfrm>
                <a:off x="4114726" y="5163052"/>
                <a:ext cx="89439" cy="57459"/>
              </a:xfrm>
              <a:custGeom>
                <a:avLst/>
                <a:gdLst>
                  <a:gd name="connsiteX0" fmla="*/ 80859 w 89439"/>
                  <a:gd name="connsiteY0" fmla="*/ 57459 h 57459"/>
                  <a:gd name="connsiteX1" fmla="*/ 8580 w 89439"/>
                  <a:gd name="connsiteY1" fmla="*/ 57459 h 57459"/>
                  <a:gd name="connsiteX2" fmla="*/ 0 w 89439"/>
                  <a:gd name="connsiteY2" fmla="*/ 48879 h 57459"/>
                  <a:gd name="connsiteX3" fmla="*/ 0 w 89439"/>
                  <a:gd name="connsiteY3" fmla="*/ 8580 h 57459"/>
                  <a:gd name="connsiteX4" fmla="*/ 8580 w 89439"/>
                  <a:gd name="connsiteY4" fmla="*/ 0 h 57459"/>
                  <a:gd name="connsiteX5" fmla="*/ 80859 w 89439"/>
                  <a:gd name="connsiteY5" fmla="*/ 0 h 57459"/>
                  <a:gd name="connsiteX6" fmla="*/ 89439 w 89439"/>
                  <a:gd name="connsiteY6" fmla="*/ 8580 h 57459"/>
                  <a:gd name="connsiteX7" fmla="*/ 89439 w 89439"/>
                  <a:gd name="connsiteY7" fmla="*/ 48879 h 57459"/>
                  <a:gd name="connsiteX8" fmla="*/ 80859 w 89439"/>
                  <a:gd name="connsiteY8" fmla="*/ 57459 h 57459"/>
                  <a:gd name="connsiteX9" fmla="*/ 17420 w 89439"/>
                  <a:gd name="connsiteY9" fmla="*/ 41600 h 57459"/>
                  <a:gd name="connsiteX10" fmla="*/ 73579 w 89439"/>
                  <a:gd name="connsiteY10" fmla="*/ 41600 h 57459"/>
                  <a:gd name="connsiteX11" fmla="*/ 73579 w 89439"/>
                  <a:gd name="connsiteY11" fmla="*/ 17160 h 57459"/>
                  <a:gd name="connsiteX12" fmla="*/ 17420 w 89439"/>
                  <a:gd name="connsiteY12" fmla="*/ 17160 h 57459"/>
                  <a:gd name="connsiteX13" fmla="*/ 17420 w 89439"/>
                  <a:gd name="connsiteY13" fmla="*/ 41600 h 5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439" h="57459">
                    <a:moveTo>
                      <a:pt x="80859" y="57459"/>
                    </a:moveTo>
                    <a:lnTo>
                      <a:pt x="8580" y="57459"/>
                    </a:lnTo>
                    <a:cubicBezTo>
                      <a:pt x="4420" y="57459"/>
                      <a:pt x="0" y="54339"/>
                      <a:pt x="0" y="48879"/>
                    </a:cubicBezTo>
                    <a:lnTo>
                      <a:pt x="0" y="8580"/>
                    </a:lnTo>
                    <a:cubicBezTo>
                      <a:pt x="0" y="4420"/>
                      <a:pt x="3120" y="0"/>
                      <a:pt x="8580" y="0"/>
                    </a:cubicBezTo>
                    <a:lnTo>
                      <a:pt x="80859" y="0"/>
                    </a:lnTo>
                    <a:cubicBezTo>
                      <a:pt x="85019" y="0"/>
                      <a:pt x="89439" y="3120"/>
                      <a:pt x="89439" y="8580"/>
                    </a:cubicBezTo>
                    <a:lnTo>
                      <a:pt x="89439" y="48879"/>
                    </a:lnTo>
                    <a:cubicBezTo>
                      <a:pt x="88399" y="53299"/>
                      <a:pt x="85279" y="57459"/>
                      <a:pt x="80859" y="57459"/>
                    </a:cubicBezTo>
                    <a:close/>
                    <a:moveTo>
                      <a:pt x="17420" y="41600"/>
                    </a:moveTo>
                    <a:lnTo>
                      <a:pt x="73579" y="41600"/>
                    </a:lnTo>
                    <a:lnTo>
                      <a:pt x="73579" y="17160"/>
                    </a:lnTo>
                    <a:lnTo>
                      <a:pt x="17420" y="17160"/>
                    </a:lnTo>
                    <a:lnTo>
                      <a:pt x="17420" y="41600"/>
                    </a:lnTo>
                    <a:close/>
                  </a:path>
                </a:pathLst>
              </a:custGeom>
              <a:solidFill>
                <a:srgbClr val="00005A"/>
              </a:solidFill>
              <a:ln w="2597" cap="flat">
                <a:noFill/>
                <a:prstDash val="solid"/>
                <a:miter/>
              </a:ln>
            </p:spPr>
            <p:txBody>
              <a:bodyPr rtlCol="0" anchor="ctr"/>
              <a:lstStyle/>
              <a:p>
                <a:endParaRPr lang="en-GB"/>
              </a:p>
            </p:txBody>
          </p:sp>
          <p:sp>
            <p:nvSpPr>
              <p:cNvPr id="387" name="Freeform: Shape 386">
                <a:extLst>
                  <a:ext uri="{FF2B5EF4-FFF2-40B4-BE49-F238E27FC236}">
                    <a16:creationId xmlns:a16="http://schemas.microsoft.com/office/drawing/2014/main" id="{2A10395A-137C-DB35-E418-2BF0DA587D78}"/>
                  </a:ext>
                </a:extLst>
              </p:cNvPr>
              <p:cNvSpPr/>
              <p:nvPr/>
            </p:nvSpPr>
            <p:spPr>
              <a:xfrm>
                <a:off x="4343003" y="5163052"/>
                <a:ext cx="89439" cy="57459"/>
              </a:xfrm>
              <a:custGeom>
                <a:avLst/>
                <a:gdLst>
                  <a:gd name="connsiteX0" fmla="*/ 80859 w 89439"/>
                  <a:gd name="connsiteY0" fmla="*/ 57459 h 57459"/>
                  <a:gd name="connsiteX1" fmla="*/ 8580 w 89439"/>
                  <a:gd name="connsiteY1" fmla="*/ 57459 h 57459"/>
                  <a:gd name="connsiteX2" fmla="*/ 0 w 89439"/>
                  <a:gd name="connsiteY2" fmla="*/ 48879 h 57459"/>
                  <a:gd name="connsiteX3" fmla="*/ 0 w 89439"/>
                  <a:gd name="connsiteY3" fmla="*/ 8580 h 57459"/>
                  <a:gd name="connsiteX4" fmla="*/ 8580 w 89439"/>
                  <a:gd name="connsiteY4" fmla="*/ 0 h 57459"/>
                  <a:gd name="connsiteX5" fmla="*/ 80859 w 89439"/>
                  <a:gd name="connsiteY5" fmla="*/ 0 h 57459"/>
                  <a:gd name="connsiteX6" fmla="*/ 89439 w 89439"/>
                  <a:gd name="connsiteY6" fmla="*/ 8580 h 57459"/>
                  <a:gd name="connsiteX7" fmla="*/ 89439 w 89439"/>
                  <a:gd name="connsiteY7" fmla="*/ 48879 h 57459"/>
                  <a:gd name="connsiteX8" fmla="*/ 80859 w 89439"/>
                  <a:gd name="connsiteY8" fmla="*/ 57459 h 57459"/>
                  <a:gd name="connsiteX9" fmla="*/ 16120 w 89439"/>
                  <a:gd name="connsiteY9" fmla="*/ 41600 h 57459"/>
                  <a:gd name="connsiteX10" fmla="*/ 72279 w 89439"/>
                  <a:gd name="connsiteY10" fmla="*/ 41600 h 57459"/>
                  <a:gd name="connsiteX11" fmla="*/ 72279 w 89439"/>
                  <a:gd name="connsiteY11" fmla="*/ 17160 h 57459"/>
                  <a:gd name="connsiteX12" fmla="*/ 16120 w 89439"/>
                  <a:gd name="connsiteY12" fmla="*/ 17160 h 57459"/>
                  <a:gd name="connsiteX13" fmla="*/ 16120 w 89439"/>
                  <a:gd name="connsiteY13" fmla="*/ 41600 h 5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439" h="57459">
                    <a:moveTo>
                      <a:pt x="80859" y="57459"/>
                    </a:moveTo>
                    <a:lnTo>
                      <a:pt x="8580" y="57459"/>
                    </a:lnTo>
                    <a:cubicBezTo>
                      <a:pt x="4420" y="57459"/>
                      <a:pt x="0" y="54339"/>
                      <a:pt x="0" y="48879"/>
                    </a:cubicBezTo>
                    <a:lnTo>
                      <a:pt x="0" y="8580"/>
                    </a:lnTo>
                    <a:cubicBezTo>
                      <a:pt x="0" y="4420"/>
                      <a:pt x="3120" y="0"/>
                      <a:pt x="8580" y="0"/>
                    </a:cubicBezTo>
                    <a:lnTo>
                      <a:pt x="80859" y="0"/>
                    </a:lnTo>
                    <a:cubicBezTo>
                      <a:pt x="85019" y="0"/>
                      <a:pt x="89439" y="3120"/>
                      <a:pt x="89439" y="8580"/>
                    </a:cubicBezTo>
                    <a:lnTo>
                      <a:pt x="89439" y="48879"/>
                    </a:lnTo>
                    <a:cubicBezTo>
                      <a:pt x="88399" y="53299"/>
                      <a:pt x="85019" y="57459"/>
                      <a:pt x="80859" y="57459"/>
                    </a:cubicBezTo>
                    <a:close/>
                    <a:moveTo>
                      <a:pt x="16120" y="41600"/>
                    </a:moveTo>
                    <a:lnTo>
                      <a:pt x="72279" y="41600"/>
                    </a:lnTo>
                    <a:lnTo>
                      <a:pt x="72279" y="17160"/>
                    </a:lnTo>
                    <a:lnTo>
                      <a:pt x="16120" y="17160"/>
                    </a:lnTo>
                    <a:lnTo>
                      <a:pt x="16120" y="41600"/>
                    </a:lnTo>
                    <a:close/>
                  </a:path>
                </a:pathLst>
              </a:custGeom>
              <a:solidFill>
                <a:srgbClr val="00005A"/>
              </a:solidFill>
              <a:ln w="2597" cap="flat">
                <a:noFill/>
                <a:prstDash val="solid"/>
                <a:miter/>
              </a:ln>
            </p:spPr>
            <p:txBody>
              <a:bodyPr rtlCol="0" anchor="ctr"/>
              <a:lstStyle/>
              <a:p>
                <a:endParaRPr lang="en-GB"/>
              </a:p>
            </p:txBody>
          </p:sp>
        </p:grpSp>
        <p:grpSp>
          <p:nvGrpSpPr>
            <p:cNvPr id="359" name="Graphic 6">
              <a:extLst>
                <a:ext uri="{FF2B5EF4-FFF2-40B4-BE49-F238E27FC236}">
                  <a16:creationId xmlns:a16="http://schemas.microsoft.com/office/drawing/2014/main" id="{1C59F9A7-4595-2E1D-6F85-A30A07901BC8}"/>
                </a:ext>
              </a:extLst>
            </p:cNvPr>
            <p:cNvGrpSpPr/>
            <p:nvPr/>
          </p:nvGrpSpPr>
          <p:grpSpPr>
            <a:xfrm>
              <a:off x="3578850" y="4708578"/>
              <a:ext cx="678354" cy="481254"/>
              <a:chOff x="3578850" y="4708578"/>
              <a:chExt cx="678354" cy="481254"/>
            </a:xfrm>
          </p:grpSpPr>
          <p:grpSp>
            <p:nvGrpSpPr>
              <p:cNvPr id="368" name="Graphic 6">
                <a:extLst>
                  <a:ext uri="{FF2B5EF4-FFF2-40B4-BE49-F238E27FC236}">
                    <a16:creationId xmlns:a16="http://schemas.microsoft.com/office/drawing/2014/main" id="{42C80587-CA84-B16B-01BD-92D0E3D2C4A2}"/>
                  </a:ext>
                </a:extLst>
              </p:cNvPr>
              <p:cNvGrpSpPr/>
              <p:nvPr/>
            </p:nvGrpSpPr>
            <p:grpSpPr>
              <a:xfrm>
                <a:off x="3578850" y="4708578"/>
                <a:ext cx="278219" cy="481254"/>
                <a:chOff x="3578850" y="4708578"/>
                <a:chExt cx="278219" cy="481254"/>
              </a:xfrm>
            </p:grpSpPr>
            <p:grpSp>
              <p:nvGrpSpPr>
                <p:cNvPr id="370" name="Graphic 6">
                  <a:extLst>
                    <a:ext uri="{FF2B5EF4-FFF2-40B4-BE49-F238E27FC236}">
                      <a16:creationId xmlns:a16="http://schemas.microsoft.com/office/drawing/2014/main" id="{E50265DD-0B2E-7FF4-21BB-6CEDC2B87540}"/>
                    </a:ext>
                  </a:extLst>
                </p:cNvPr>
                <p:cNvGrpSpPr/>
                <p:nvPr/>
              </p:nvGrpSpPr>
              <p:grpSpPr>
                <a:xfrm>
                  <a:off x="3610072" y="4772082"/>
                  <a:ext cx="246997" cy="377190"/>
                  <a:chOff x="3610072" y="4772082"/>
                  <a:chExt cx="246997" cy="377190"/>
                </a:xfrm>
                <a:solidFill>
                  <a:srgbClr val="0069FF"/>
                </a:solidFill>
              </p:grpSpPr>
              <p:sp>
                <p:nvSpPr>
                  <p:cNvPr id="379" name="Freeform: Shape 378">
                    <a:extLst>
                      <a:ext uri="{FF2B5EF4-FFF2-40B4-BE49-F238E27FC236}">
                        <a16:creationId xmlns:a16="http://schemas.microsoft.com/office/drawing/2014/main" id="{1BB2A445-E82D-E51B-3771-2D4D28246DF3}"/>
                      </a:ext>
                    </a:extLst>
                  </p:cNvPr>
                  <p:cNvSpPr/>
                  <p:nvPr/>
                </p:nvSpPr>
                <p:spPr>
                  <a:xfrm>
                    <a:off x="3615272" y="4777270"/>
                    <a:ext cx="236597" cy="366802"/>
                  </a:xfrm>
                  <a:custGeom>
                    <a:avLst/>
                    <a:gdLst>
                      <a:gd name="connsiteX0" fmla="*/ 236597 w 236597"/>
                      <a:gd name="connsiteY0" fmla="*/ 366802 h 366802"/>
                      <a:gd name="connsiteX1" fmla="*/ 0 w 236597"/>
                      <a:gd name="connsiteY1" fmla="*/ 366802 h 366802"/>
                      <a:gd name="connsiteX2" fmla="*/ 0 w 236597"/>
                      <a:gd name="connsiteY2" fmla="*/ 13466 h 366802"/>
                      <a:gd name="connsiteX3" fmla="*/ 236597 w 236597"/>
                      <a:gd name="connsiteY3" fmla="*/ 13466 h 366802"/>
                      <a:gd name="connsiteX4" fmla="*/ 236597 w 236597"/>
                      <a:gd name="connsiteY4" fmla="*/ 366802 h 366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97" h="366802">
                        <a:moveTo>
                          <a:pt x="236597" y="366802"/>
                        </a:moveTo>
                        <a:lnTo>
                          <a:pt x="0" y="366802"/>
                        </a:lnTo>
                        <a:lnTo>
                          <a:pt x="0" y="13466"/>
                        </a:lnTo>
                        <a:cubicBezTo>
                          <a:pt x="72279" y="-5514"/>
                          <a:pt x="151838" y="-3434"/>
                          <a:pt x="236597" y="13466"/>
                        </a:cubicBezTo>
                        <a:lnTo>
                          <a:pt x="236597" y="366802"/>
                        </a:lnTo>
                        <a:close/>
                      </a:path>
                    </a:pathLst>
                  </a:custGeom>
                  <a:solidFill>
                    <a:srgbClr val="0069FF"/>
                  </a:solidFill>
                  <a:ln w="2597" cap="flat">
                    <a:noFill/>
                    <a:prstDash val="solid"/>
                    <a:miter/>
                  </a:ln>
                </p:spPr>
                <p:txBody>
                  <a:bodyPr rtlCol="0" anchor="ctr"/>
                  <a:lstStyle/>
                  <a:p>
                    <a:endParaRPr lang="en-GB"/>
                  </a:p>
                </p:txBody>
              </p:sp>
              <p:sp>
                <p:nvSpPr>
                  <p:cNvPr id="380" name="Freeform: Shape 379">
                    <a:extLst>
                      <a:ext uri="{FF2B5EF4-FFF2-40B4-BE49-F238E27FC236}">
                        <a16:creationId xmlns:a16="http://schemas.microsoft.com/office/drawing/2014/main" id="{4B3FE162-C013-6029-FCB1-E1C8A48DDC2A}"/>
                      </a:ext>
                    </a:extLst>
                  </p:cNvPr>
                  <p:cNvSpPr/>
                  <p:nvPr/>
                </p:nvSpPr>
                <p:spPr>
                  <a:xfrm>
                    <a:off x="3610072" y="4772082"/>
                    <a:ext cx="246997" cy="377190"/>
                  </a:xfrm>
                  <a:custGeom>
                    <a:avLst/>
                    <a:gdLst>
                      <a:gd name="connsiteX0" fmla="*/ 241797 w 246997"/>
                      <a:gd name="connsiteY0" fmla="*/ 377191 h 377190"/>
                      <a:gd name="connsiteX1" fmla="*/ 5200 w 246997"/>
                      <a:gd name="connsiteY1" fmla="*/ 377191 h 377190"/>
                      <a:gd name="connsiteX2" fmla="*/ 0 w 246997"/>
                      <a:gd name="connsiteY2" fmla="*/ 371991 h 377190"/>
                      <a:gd name="connsiteX3" fmla="*/ 0 w 246997"/>
                      <a:gd name="connsiteY3" fmla="*/ 18655 h 377190"/>
                      <a:gd name="connsiteX4" fmla="*/ 4160 w 246997"/>
                      <a:gd name="connsiteY4" fmla="*/ 13455 h 377190"/>
                      <a:gd name="connsiteX5" fmla="*/ 242837 w 246997"/>
                      <a:gd name="connsiteY5" fmla="*/ 13455 h 377190"/>
                      <a:gd name="connsiteX6" fmla="*/ 246997 w 246997"/>
                      <a:gd name="connsiteY6" fmla="*/ 18655 h 377190"/>
                      <a:gd name="connsiteX7" fmla="*/ 246997 w 246997"/>
                      <a:gd name="connsiteY7" fmla="*/ 371991 h 377190"/>
                      <a:gd name="connsiteX8" fmla="*/ 241797 w 246997"/>
                      <a:gd name="connsiteY8" fmla="*/ 377191 h 377190"/>
                      <a:gd name="connsiteX9" fmla="*/ 10400 w 246997"/>
                      <a:gd name="connsiteY9" fmla="*/ 366791 h 377190"/>
                      <a:gd name="connsiteX10" fmla="*/ 236337 w 246997"/>
                      <a:gd name="connsiteY10" fmla="*/ 366791 h 377190"/>
                      <a:gd name="connsiteX11" fmla="*/ 236337 w 246997"/>
                      <a:gd name="connsiteY11" fmla="*/ 22815 h 377190"/>
                      <a:gd name="connsiteX12" fmla="*/ 10400 w 246997"/>
                      <a:gd name="connsiteY12" fmla="*/ 22815 h 377190"/>
                      <a:gd name="connsiteX13" fmla="*/ 10400 w 246997"/>
                      <a:gd name="connsiteY13" fmla="*/ 366791 h 3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6997" h="377190">
                        <a:moveTo>
                          <a:pt x="241797" y="377191"/>
                        </a:moveTo>
                        <a:lnTo>
                          <a:pt x="5200" y="377191"/>
                        </a:lnTo>
                        <a:cubicBezTo>
                          <a:pt x="2080" y="377191"/>
                          <a:pt x="0" y="375111"/>
                          <a:pt x="0" y="371991"/>
                        </a:cubicBezTo>
                        <a:lnTo>
                          <a:pt x="0" y="18655"/>
                        </a:lnTo>
                        <a:cubicBezTo>
                          <a:pt x="0" y="16575"/>
                          <a:pt x="2080" y="14495"/>
                          <a:pt x="4160" y="13455"/>
                        </a:cubicBezTo>
                        <a:cubicBezTo>
                          <a:pt x="73059" y="-4485"/>
                          <a:pt x="151578" y="-4485"/>
                          <a:pt x="242837" y="13455"/>
                        </a:cubicBezTo>
                        <a:cubicBezTo>
                          <a:pt x="244917" y="13455"/>
                          <a:pt x="246997" y="16575"/>
                          <a:pt x="246997" y="18655"/>
                        </a:cubicBezTo>
                        <a:lnTo>
                          <a:pt x="246997" y="371991"/>
                        </a:lnTo>
                        <a:cubicBezTo>
                          <a:pt x="246997" y="375111"/>
                          <a:pt x="244917" y="377191"/>
                          <a:pt x="241797" y="377191"/>
                        </a:cubicBezTo>
                        <a:close/>
                        <a:moveTo>
                          <a:pt x="10400" y="366791"/>
                        </a:moveTo>
                        <a:lnTo>
                          <a:pt x="236337" y="366791"/>
                        </a:lnTo>
                        <a:lnTo>
                          <a:pt x="236337" y="22815"/>
                        </a:lnTo>
                        <a:cubicBezTo>
                          <a:pt x="150278" y="5915"/>
                          <a:pt x="76179" y="5915"/>
                          <a:pt x="10400" y="22815"/>
                        </a:cubicBezTo>
                        <a:cubicBezTo>
                          <a:pt x="10400" y="22815"/>
                          <a:pt x="10400" y="366791"/>
                          <a:pt x="10400" y="366791"/>
                        </a:cubicBezTo>
                        <a:close/>
                      </a:path>
                    </a:pathLst>
                  </a:custGeom>
                  <a:solidFill>
                    <a:srgbClr val="0069FF"/>
                  </a:solidFill>
                  <a:ln w="2597" cap="flat">
                    <a:noFill/>
                    <a:prstDash val="solid"/>
                    <a:miter/>
                  </a:ln>
                </p:spPr>
                <p:txBody>
                  <a:bodyPr rtlCol="0" anchor="ctr"/>
                  <a:lstStyle/>
                  <a:p>
                    <a:endParaRPr lang="en-GB"/>
                  </a:p>
                </p:txBody>
              </p:sp>
            </p:grpSp>
            <p:sp>
              <p:nvSpPr>
                <p:cNvPr id="371" name="Freeform: Shape 370">
                  <a:extLst>
                    <a:ext uri="{FF2B5EF4-FFF2-40B4-BE49-F238E27FC236}">
                      <a16:creationId xmlns:a16="http://schemas.microsoft.com/office/drawing/2014/main" id="{1686F764-70E5-683D-C0ED-2F700115B0A4}"/>
                    </a:ext>
                  </a:extLst>
                </p:cNvPr>
                <p:cNvSpPr/>
                <p:nvPr/>
              </p:nvSpPr>
              <p:spPr>
                <a:xfrm>
                  <a:off x="3579132" y="4742182"/>
                  <a:ext cx="252457" cy="382910"/>
                </a:xfrm>
                <a:custGeom>
                  <a:avLst/>
                  <a:gdLst>
                    <a:gd name="connsiteX0" fmla="*/ 245177 w 252457"/>
                    <a:gd name="connsiteY0" fmla="*/ 382911 h 382910"/>
                    <a:gd name="connsiteX1" fmla="*/ 8580 w 252457"/>
                    <a:gd name="connsiteY1" fmla="*/ 382911 h 382910"/>
                    <a:gd name="connsiteX2" fmla="*/ 0 w 252457"/>
                    <a:gd name="connsiteY2" fmla="*/ 374331 h 382910"/>
                    <a:gd name="connsiteX3" fmla="*/ 0 w 252457"/>
                    <a:gd name="connsiteY3" fmla="*/ 20995 h 382910"/>
                    <a:gd name="connsiteX4" fmla="*/ 6240 w 252457"/>
                    <a:gd name="connsiteY4" fmla="*/ 13455 h 382910"/>
                    <a:gd name="connsiteX5" fmla="*/ 246217 w 252457"/>
                    <a:gd name="connsiteY5" fmla="*/ 13455 h 382910"/>
                    <a:gd name="connsiteX6" fmla="*/ 252457 w 252457"/>
                    <a:gd name="connsiteY6" fmla="*/ 20995 h 382910"/>
                    <a:gd name="connsiteX7" fmla="*/ 252457 w 252457"/>
                    <a:gd name="connsiteY7" fmla="*/ 374331 h 382910"/>
                    <a:gd name="connsiteX8" fmla="*/ 245177 w 252457"/>
                    <a:gd name="connsiteY8" fmla="*/ 382911 h 382910"/>
                    <a:gd name="connsiteX9" fmla="*/ 15860 w 252457"/>
                    <a:gd name="connsiteY9" fmla="*/ 366791 h 382910"/>
                    <a:gd name="connsiteX10" fmla="*/ 236597 w 252457"/>
                    <a:gd name="connsiteY10" fmla="*/ 366791 h 382910"/>
                    <a:gd name="connsiteX11" fmla="*/ 236597 w 252457"/>
                    <a:gd name="connsiteY11" fmla="*/ 28275 h 382910"/>
                    <a:gd name="connsiteX12" fmla="*/ 15860 w 252457"/>
                    <a:gd name="connsiteY12" fmla="*/ 28275 h 382910"/>
                    <a:gd name="connsiteX13" fmla="*/ 15860 w 252457"/>
                    <a:gd name="connsiteY13" fmla="*/ 366791 h 382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2457" h="382910">
                      <a:moveTo>
                        <a:pt x="245177" y="382911"/>
                      </a:moveTo>
                      <a:lnTo>
                        <a:pt x="8580" y="382911"/>
                      </a:lnTo>
                      <a:cubicBezTo>
                        <a:pt x="4420" y="382911"/>
                        <a:pt x="0" y="379791"/>
                        <a:pt x="0" y="374331"/>
                      </a:cubicBezTo>
                      <a:lnTo>
                        <a:pt x="0" y="20995"/>
                      </a:lnTo>
                      <a:cubicBezTo>
                        <a:pt x="0" y="17875"/>
                        <a:pt x="2080" y="14755"/>
                        <a:pt x="6240" y="13455"/>
                      </a:cubicBezTo>
                      <a:cubicBezTo>
                        <a:pt x="76179" y="-4485"/>
                        <a:pt x="154698" y="-4485"/>
                        <a:pt x="246217" y="13455"/>
                      </a:cubicBezTo>
                      <a:cubicBezTo>
                        <a:pt x="250377" y="14495"/>
                        <a:pt x="252457" y="17615"/>
                        <a:pt x="252457" y="20995"/>
                      </a:cubicBezTo>
                      <a:lnTo>
                        <a:pt x="252457" y="374331"/>
                      </a:lnTo>
                      <a:cubicBezTo>
                        <a:pt x="252457" y="379531"/>
                        <a:pt x="249337" y="382911"/>
                        <a:pt x="245177" y="382911"/>
                      </a:cubicBezTo>
                      <a:close/>
                      <a:moveTo>
                        <a:pt x="15860" y="366791"/>
                      </a:moveTo>
                      <a:lnTo>
                        <a:pt x="236597" y="366791"/>
                      </a:lnTo>
                      <a:lnTo>
                        <a:pt x="236597" y="28275"/>
                      </a:lnTo>
                      <a:cubicBezTo>
                        <a:pt x="152878" y="12415"/>
                        <a:pt x="80599" y="12415"/>
                        <a:pt x="15860" y="28275"/>
                      </a:cubicBezTo>
                      <a:lnTo>
                        <a:pt x="15860" y="366791"/>
                      </a:lnTo>
                      <a:close/>
                    </a:path>
                  </a:pathLst>
                </a:custGeom>
                <a:solidFill>
                  <a:srgbClr val="00005A"/>
                </a:solidFill>
                <a:ln w="2597" cap="flat">
                  <a:noFill/>
                  <a:prstDash val="solid"/>
                  <a:miter/>
                </a:ln>
              </p:spPr>
              <p:txBody>
                <a:bodyPr rtlCol="0" anchor="ctr"/>
                <a:lstStyle/>
                <a:p>
                  <a:endParaRPr lang="en-GB"/>
                </a:p>
              </p:txBody>
            </p:sp>
            <p:sp>
              <p:nvSpPr>
                <p:cNvPr id="372" name="Freeform: Shape 371">
                  <a:extLst>
                    <a:ext uri="{FF2B5EF4-FFF2-40B4-BE49-F238E27FC236}">
                      <a16:creationId xmlns:a16="http://schemas.microsoft.com/office/drawing/2014/main" id="{6D76B59A-6568-88F8-1389-F40298608770}"/>
                    </a:ext>
                  </a:extLst>
                </p:cNvPr>
                <p:cNvSpPr/>
                <p:nvPr/>
              </p:nvSpPr>
              <p:spPr>
                <a:xfrm>
                  <a:off x="3657651" y="4708578"/>
                  <a:ext cx="96719" cy="50179"/>
                </a:xfrm>
                <a:custGeom>
                  <a:avLst/>
                  <a:gdLst>
                    <a:gd name="connsiteX0" fmla="*/ 88139 w 96719"/>
                    <a:gd name="connsiteY0" fmla="*/ 50180 h 50179"/>
                    <a:gd name="connsiteX1" fmla="*/ 8580 w 96719"/>
                    <a:gd name="connsiteY1" fmla="*/ 50180 h 50179"/>
                    <a:gd name="connsiteX2" fmla="*/ 0 w 96719"/>
                    <a:gd name="connsiteY2" fmla="*/ 41600 h 50179"/>
                    <a:gd name="connsiteX3" fmla="*/ 0 w 96719"/>
                    <a:gd name="connsiteY3" fmla="*/ 8580 h 50179"/>
                    <a:gd name="connsiteX4" fmla="*/ 8580 w 96719"/>
                    <a:gd name="connsiteY4" fmla="*/ 0 h 50179"/>
                    <a:gd name="connsiteX5" fmla="*/ 88139 w 96719"/>
                    <a:gd name="connsiteY5" fmla="*/ 0 h 50179"/>
                    <a:gd name="connsiteX6" fmla="*/ 96719 w 96719"/>
                    <a:gd name="connsiteY6" fmla="*/ 8580 h 50179"/>
                    <a:gd name="connsiteX7" fmla="*/ 96719 w 96719"/>
                    <a:gd name="connsiteY7" fmla="*/ 41600 h 50179"/>
                    <a:gd name="connsiteX8" fmla="*/ 88139 w 96719"/>
                    <a:gd name="connsiteY8" fmla="*/ 50180 h 50179"/>
                    <a:gd name="connsiteX9" fmla="*/ 15860 w 96719"/>
                    <a:gd name="connsiteY9" fmla="*/ 34320 h 50179"/>
                    <a:gd name="connsiteX10" fmla="*/ 79559 w 96719"/>
                    <a:gd name="connsiteY10" fmla="*/ 34320 h 50179"/>
                    <a:gd name="connsiteX11" fmla="*/ 79559 w 96719"/>
                    <a:gd name="connsiteY11" fmla="*/ 17420 h 50179"/>
                    <a:gd name="connsiteX12" fmla="*/ 15860 w 96719"/>
                    <a:gd name="connsiteY12" fmla="*/ 17420 h 50179"/>
                    <a:gd name="connsiteX13" fmla="*/ 15860 w 96719"/>
                    <a:gd name="connsiteY13" fmla="*/ 34320 h 50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719" h="50179">
                      <a:moveTo>
                        <a:pt x="88139" y="50180"/>
                      </a:moveTo>
                      <a:lnTo>
                        <a:pt x="8580" y="50180"/>
                      </a:lnTo>
                      <a:cubicBezTo>
                        <a:pt x="4420" y="50180"/>
                        <a:pt x="0" y="47059"/>
                        <a:pt x="0" y="41600"/>
                      </a:cubicBezTo>
                      <a:lnTo>
                        <a:pt x="0" y="8580"/>
                      </a:lnTo>
                      <a:cubicBezTo>
                        <a:pt x="0" y="4420"/>
                        <a:pt x="3120" y="0"/>
                        <a:pt x="8580" y="0"/>
                      </a:cubicBezTo>
                      <a:lnTo>
                        <a:pt x="88139" y="0"/>
                      </a:lnTo>
                      <a:cubicBezTo>
                        <a:pt x="92299" y="0"/>
                        <a:pt x="96719" y="3120"/>
                        <a:pt x="96719" y="8580"/>
                      </a:cubicBezTo>
                      <a:lnTo>
                        <a:pt x="96719" y="41600"/>
                      </a:lnTo>
                      <a:cubicBezTo>
                        <a:pt x="95419" y="46020"/>
                        <a:pt x="92299" y="50180"/>
                        <a:pt x="88139" y="50180"/>
                      </a:cubicBezTo>
                      <a:close/>
                      <a:moveTo>
                        <a:pt x="15860" y="34320"/>
                      </a:moveTo>
                      <a:lnTo>
                        <a:pt x="79559" y="34320"/>
                      </a:lnTo>
                      <a:lnTo>
                        <a:pt x="79559" y="17420"/>
                      </a:lnTo>
                      <a:lnTo>
                        <a:pt x="15860" y="17420"/>
                      </a:lnTo>
                      <a:lnTo>
                        <a:pt x="15860" y="34320"/>
                      </a:lnTo>
                      <a:close/>
                    </a:path>
                  </a:pathLst>
                </a:custGeom>
                <a:solidFill>
                  <a:srgbClr val="00005A"/>
                </a:solidFill>
                <a:ln w="2597" cap="flat">
                  <a:noFill/>
                  <a:prstDash val="solid"/>
                  <a:miter/>
                </a:ln>
              </p:spPr>
              <p:txBody>
                <a:bodyPr rtlCol="0" anchor="ctr"/>
                <a:lstStyle/>
                <a:p>
                  <a:endParaRPr lang="en-GB"/>
                </a:p>
              </p:txBody>
            </p:sp>
            <p:sp>
              <p:nvSpPr>
                <p:cNvPr id="373" name="Freeform: Shape 372">
                  <a:extLst>
                    <a:ext uri="{FF2B5EF4-FFF2-40B4-BE49-F238E27FC236}">
                      <a16:creationId xmlns:a16="http://schemas.microsoft.com/office/drawing/2014/main" id="{1296D786-1073-26A0-2BAC-D84E5F1367BD}"/>
                    </a:ext>
                  </a:extLst>
                </p:cNvPr>
                <p:cNvSpPr/>
                <p:nvPr/>
              </p:nvSpPr>
              <p:spPr>
                <a:xfrm>
                  <a:off x="3578850" y="5017417"/>
                  <a:ext cx="253200" cy="28897"/>
                </a:xfrm>
                <a:custGeom>
                  <a:avLst/>
                  <a:gdLst>
                    <a:gd name="connsiteX0" fmla="*/ 122221 w 253200"/>
                    <a:gd name="connsiteY0" fmla="*/ 28897 h 28897"/>
                    <a:gd name="connsiteX1" fmla="*/ 6522 w 253200"/>
                    <a:gd name="connsiteY1" fmla="*/ 16157 h 28897"/>
                    <a:gd name="connsiteX2" fmla="*/ 282 w 253200"/>
                    <a:gd name="connsiteY2" fmla="*/ 6538 h 28897"/>
                    <a:gd name="connsiteX3" fmla="*/ 9902 w 253200"/>
                    <a:gd name="connsiteY3" fmla="*/ 298 h 28897"/>
                    <a:gd name="connsiteX4" fmla="*/ 243380 w 253200"/>
                    <a:gd name="connsiteY4" fmla="*/ 298 h 28897"/>
                    <a:gd name="connsiteX5" fmla="*/ 252999 w 253200"/>
                    <a:gd name="connsiteY5" fmla="*/ 6538 h 28897"/>
                    <a:gd name="connsiteX6" fmla="*/ 246759 w 253200"/>
                    <a:gd name="connsiteY6" fmla="*/ 16157 h 28897"/>
                    <a:gd name="connsiteX7" fmla="*/ 122221 w 253200"/>
                    <a:gd name="connsiteY7" fmla="*/ 28897 h 28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3200" h="28897">
                      <a:moveTo>
                        <a:pt x="122221" y="28897"/>
                      </a:moveTo>
                      <a:cubicBezTo>
                        <a:pt x="81921" y="28897"/>
                        <a:pt x="43702" y="24737"/>
                        <a:pt x="6522" y="16157"/>
                      </a:cubicBezTo>
                      <a:cubicBezTo>
                        <a:pt x="2362" y="15117"/>
                        <a:pt x="-1018" y="10957"/>
                        <a:pt x="282" y="6538"/>
                      </a:cubicBezTo>
                      <a:cubicBezTo>
                        <a:pt x="1582" y="2117"/>
                        <a:pt x="5482" y="-1002"/>
                        <a:pt x="9902" y="298"/>
                      </a:cubicBezTo>
                      <a:cubicBezTo>
                        <a:pt x="82181" y="16157"/>
                        <a:pt x="158360" y="16157"/>
                        <a:pt x="243380" y="298"/>
                      </a:cubicBezTo>
                      <a:cubicBezTo>
                        <a:pt x="247539" y="-742"/>
                        <a:pt x="251959" y="2378"/>
                        <a:pt x="252999" y="6538"/>
                      </a:cubicBezTo>
                      <a:cubicBezTo>
                        <a:pt x="254039" y="10697"/>
                        <a:pt x="250919" y="15117"/>
                        <a:pt x="246759" y="16157"/>
                      </a:cubicBezTo>
                      <a:cubicBezTo>
                        <a:pt x="203080" y="24737"/>
                        <a:pt x="162521" y="28897"/>
                        <a:pt x="122221" y="28897"/>
                      </a:cubicBezTo>
                      <a:close/>
                    </a:path>
                  </a:pathLst>
                </a:custGeom>
                <a:solidFill>
                  <a:srgbClr val="00005A"/>
                </a:solidFill>
                <a:ln w="2597" cap="flat">
                  <a:noFill/>
                  <a:prstDash val="solid"/>
                  <a:miter/>
                </a:ln>
              </p:spPr>
              <p:txBody>
                <a:bodyPr rtlCol="0" anchor="ctr"/>
                <a:lstStyle/>
                <a:p>
                  <a:endParaRPr lang="en-GB"/>
                </a:p>
              </p:txBody>
            </p:sp>
            <p:sp>
              <p:nvSpPr>
                <p:cNvPr id="374" name="Freeform: Shape 373">
                  <a:extLst>
                    <a:ext uri="{FF2B5EF4-FFF2-40B4-BE49-F238E27FC236}">
                      <a16:creationId xmlns:a16="http://schemas.microsoft.com/office/drawing/2014/main" id="{87AE9310-5849-BCBB-9B64-05285AA37089}"/>
                    </a:ext>
                  </a:extLst>
                </p:cNvPr>
                <p:cNvSpPr/>
                <p:nvPr/>
              </p:nvSpPr>
              <p:spPr>
                <a:xfrm>
                  <a:off x="3626971" y="5061394"/>
                  <a:ext cx="30679" cy="31719"/>
                </a:xfrm>
                <a:custGeom>
                  <a:avLst/>
                  <a:gdLst>
                    <a:gd name="connsiteX0" fmla="*/ 15860 w 30679"/>
                    <a:gd name="connsiteY0" fmla="*/ 31720 h 31719"/>
                    <a:gd name="connsiteX1" fmla="*/ 0 w 30679"/>
                    <a:gd name="connsiteY1" fmla="*/ 15860 h 31719"/>
                    <a:gd name="connsiteX2" fmla="*/ 15860 w 30679"/>
                    <a:gd name="connsiteY2" fmla="*/ 0 h 31719"/>
                    <a:gd name="connsiteX3" fmla="*/ 30679 w 30679"/>
                    <a:gd name="connsiteY3" fmla="*/ 15860 h 31719"/>
                    <a:gd name="connsiteX4" fmla="*/ 15860 w 30679"/>
                    <a:gd name="connsiteY4" fmla="*/ 31720 h 31719"/>
                    <a:gd name="connsiteX5" fmla="*/ 14820 w 30679"/>
                    <a:gd name="connsiteY5" fmla="*/ 15860 h 31719"/>
                    <a:gd name="connsiteX6" fmla="*/ 14820 w 30679"/>
                    <a:gd name="connsiteY6" fmla="*/ 15860 h 31719"/>
                    <a:gd name="connsiteX7" fmla="*/ 15860 w 30679"/>
                    <a:gd name="connsiteY7" fmla="*/ 15860 h 31719"/>
                    <a:gd name="connsiteX8" fmla="*/ 14820 w 30679"/>
                    <a:gd name="connsiteY8" fmla="*/ 15860 h 3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79" h="31719">
                      <a:moveTo>
                        <a:pt x="15860" y="31720"/>
                      </a:moveTo>
                      <a:cubicBezTo>
                        <a:pt x="7280" y="31720"/>
                        <a:pt x="0" y="24180"/>
                        <a:pt x="0" y="15860"/>
                      </a:cubicBezTo>
                      <a:cubicBezTo>
                        <a:pt x="0" y="7280"/>
                        <a:pt x="7540" y="0"/>
                        <a:pt x="15860" y="0"/>
                      </a:cubicBezTo>
                      <a:cubicBezTo>
                        <a:pt x="24180" y="0"/>
                        <a:pt x="30679" y="7540"/>
                        <a:pt x="30679" y="15860"/>
                      </a:cubicBezTo>
                      <a:cubicBezTo>
                        <a:pt x="30679" y="24180"/>
                        <a:pt x="24180" y="31720"/>
                        <a:pt x="15860" y="31720"/>
                      </a:cubicBezTo>
                      <a:close/>
                      <a:moveTo>
                        <a:pt x="14820" y="15860"/>
                      </a:moveTo>
                      <a:lnTo>
                        <a:pt x="14820" y="15860"/>
                      </a:lnTo>
                      <a:cubicBezTo>
                        <a:pt x="15860" y="15860"/>
                        <a:pt x="15860" y="15860"/>
                        <a:pt x="15860" y="15860"/>
                      </a:cubicBezTo>
                      <a:lnTo>
                        <a:pt x="14820" y="15860"/>
                      </a:lnTo>
                      <a:close/>
                    </a:path>
                  </a:pathLst>
                </a:custGeom>
                <a:solidFill>
                  <a:srgbClr val="FFFFFF"/>
                </a:solidFill>
                <a:ln w="2597" cap="flat">
                  <a:noFill/>
                  <a:prstDash val="solid"/>
                  <a:miter/>
                </a:ln>
              </p:spPr>
              <p:txBody>
                <a:bodyPr rtlCol="0" anchor="ctr"/>
                <a:lstStyle/>
                <a:p>
                  <a:endParaRPr lang="en-GB"/>
                </a:p>
              </p:txBody>
            </p:sp>
            <p:sp>
              <p:nvSpPr>
                <p:cNvPr id="375" name="Freeform: Shape 374">
                  <a:extLst>
                    <a:ext uri="{FF2B5EF4-FFF2-40B4-BE49-F238E27FC236}">
                      <a16:creationId xmlns:a16="http://schemas.microsoft.com/office/drawing/2014/main" id="{909FF2DA-A8F8-6DDE-028D-512826896F1A}"/>
                    </a:ext>
                  </a:extLst>
                </p:cNvPr>
                <p:cNvSpPr/>
                <p:nvPr/>
              </p:nvSpPr>
              <p:spPr>
                <a:xfrm>
                  <a:off x="3664931" y="5109233"/>
                  <a:ext cx="40559" cy="80599"/>
                </a:xfrm>
                <a:custGeom>
                  <a:avLst/>
                  <a:gdLst>
                    <a:gd name="connsiteX0" fmla="*/ 20280 w 40559"/>
                    <a:gd name="connsiteY0" fmla="*/ 80599 h 80599"/>
                    <a:gd name="connsiteX1" fmla="*/ 0 w 40559"/>
                    <a:gd name="connsiteY1" fmla="*/ 62660 h 80599"/>
                    <a:gd name="connsiteX2" fmla="*/ 0 w 40559"/>
                    <a:gd name="connsiteY2" fmla="*/ 8580 h 80599"/>
                    <a:gd name="connsiteX3" fmla="*/ 8580 w 40559"/>
                    <a:gd name="connsiteY3" fmla="*/ 0 h 80599"/>
                    <a:gd name="connsiteX4" fmla="*/ 31979 w 40559"/>
                    <a:gd name="connsiteY4" fmla="*/ 0 h 80599"/>
                    <a:gd name="connsiteX5" fmla="*/ 40559 w 40559"/>
                    <a:gd name="connsiteY5" fmla="*/ 8580 h 80599"/>
                    <a:gd name="connsiteX6" fmla="*/ 40559 w 40559"/>
                    <a:gd name="connsiteY6" fmla="*/ 62660 h 80599"/>
                    <a:gd name="connsiteX7" fmla="*/ 20280 w 40559"/>
                    <a:gd name="connsiteY7" fmla="*/ 80599 h 80599"/>
                    <a:gd name="connsiteX8" fmla="*/ 17160 w 40559"/>
                    <a:gd name="connsiteY8" fmla="*/ 15860 h 80599"/>
                    <a:gd name="connsiteX9" fmla="*/ 17160 w 40559"/>
                    <a:gd name="connsiteY9" fmla="*/ 62660 h 80599"/>
                    <a:gd name="connsiteX10" fmla="*/ 21320 w 40559"/>
                    <a:gd name="connsiteY10" fmla="*/ 64739 h 80599"/>
                    <a:gd name="connsiteX11" fmla="*/ 24440 w 40559"/>
                    <a:gd name="connsiteY11" fmla="*/ 62660 h 80599"/>
                    <a:gd name="connsiteX12" fmla="*/ 24440 w 40559"/>
                    <a:gd name="connsiteY12" fmla="*/ 15860 h 80599"/>
                    <a:gd name="connsiteX13" fmla="*/ 17160 w 40559"/>
                    <a:gd name="connsiteY13" fmla="*/ 15860 h 8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559" h="80599">
                      <a:moveTo>
                        <a:pt x="20280" y="80599"/>
                      </a:moveTo>
                      <a:cubicBezTo>
                        <a:pt x="8580" y="80599"/>
                        <a:pt x="0" y="73059"/>
                        <a:pt x="0" y="62660"/>
                      </a:cubicBezTo>
                      <a:lnTo>
                        <a:pt x="0" y="8580"/>
                      </a:lnTo>
                      <a:cubicBezTo>
                        <a:pt x="0" y="4420"/>
                        <a:pt x="3120" y="0"/>
                        <a:pt x="8580" y="0"/>
                      </a:cubicBezTo>
                      <a:lnTo>
                        <a:pt x="31979" y="0"/>
                      </a:lnTo>
                      <a:cubicBezTo>
                        <a:pt x="36140" y="0"/>
                        <a:pt x="40559" y="3120"/>
                        <a:pt x="40559" y="8580"/>
                      </a:cubicBezTo>
                      <a:lnTo>
                        <a:pt x="40559" y="62660"/>
                      </a:lnTo>
                      <a:cubicBezTo>
                        <a:pt x="39519" y="73059"/>
                        <a:pt x="31979" y="80599"/>
                        <a:pt x="20280" y="80599"/>
                      </a:cubicBezTo>
                      <a:close/>
                      <a:moveTo>
                        <a:pt x="17160" y="15860"/>
                      </a:moveTo>
                      <a:lnTo>
                        <a:pt x="17160" y="62660"/>
                      </a:lnTo>
                      <a:cubicBezTo>
                        <a:pt x="17160" y="64739"/>
                        <a:pt x="20280" y="64739"/>
                        <a:pt x="21320" y="64739"/>
                      </a:cubicBezTo>
                      <a:cubicBezTo>
                        <a:pt x="22360" y="64739"/>
                        <a:pt x="24440" y="64739"/>
                        <a:pt x="24440" y="62660"/>
                      </a:cubicBezTo>
                      <a:lnTo>
                        <a:pt x="24440" y="15860"/>
                      </a:lnTo>
                      <a:lnTo>
                        <a:pt x="17160" y="15860"/>
                      </a:lnTo>
                      <a:close/>
                    </a:path>
                  </a:pathLst>
                </a:custGeom>
                <a:solidFill>
                  <a:srgbClr val="00005A"/>
                </a:solidFill>
                <a:ln w="2597" cap="flat">
                  <a:noFill/>
                  <a:prstDash val="solid"/>
                  <a:miter/>
                </a:ln>
              </p:spPr>
              <p:txBody>
                <a:bodyPr rtlCol="0" anchor="ctr"/>
                <a:lstStyle/>
                <a:p>
                  <a:endParaRPr lang="en-GB"/>
                </a:p>
              </p:txBody>
            </p:sp>
            <p:sp>
              <p:nvSpPr>
                <p:cNvPr id="376" name="Freeform: Shape 375">
                  <a:extLst>
                    <a:ext uri="{FF2B5EF4-FFF2-40B4-BE49-F238E27FC236}">
                      <a16:creationId xmlns:a16="http://schemas.microsoft.com/office/drawing/2014/main" id="{4A9528C8-61C1-389E-DF67-11F7A0C876B2}"/>
                    </a:ext>
                  </a:extLst>
                </p:cNvPr>
                <p:cNvSpPr/>
                <p:nvPr/>
              </p:nvSpPr>
              <p:spPr>
                <a:xfrm>
                  <a:off x="3707310" y="5109233"/>
                  <a:ext cx="40559" cy="80599"/>
                </a:xfrm>
                <a:custGeom>
                  <a:avLst/>
                  <a:gdLst>
                    <a:gd name="connsiteX0" fmla="*/ 20280 w 40559"/>
                    <a:gd name="connsiteY0" fmla="*/ 80599 h 80599"/>
                    <a:gd name="connsiteX1" fmla="*/ 0 w 40559"/>
                    <a:gd name="connsiteY1" fmla="*/ 62660 h 80599"/>
                    <a:gd name="connsiteX2" fmla="*/ 0 w 40559"/>
                    <a:gd name="connsiteY2" fmla="*/ 8580 h 80599"/>
                    <a:gd name="connsiteX3" fmla="*/ 8580 w 40559"/>
                    <a:gd name="connsiteY3" fmla="*/ 0 h 80599"/>
                    <a:gd name="connsiteX4" fmla="*/ 31980 w 40559"/>
                    <a:gd name="connsiteY4" fmla="*/ 0 h 80599"/>
                    <a:gd name="connsiteX5" fmla="*/ 40560 w 40559"/>
                    <a:gd name="connsiteY5" fmla="*/ 8580 h 80599"/>
                    <a:gd name="connsiteX6" fmla="*/ 40560 w 40559"/>
                    <a:gd name="connsiteY6" fmla="*/ 62660 h 80599"/>
                    <a:gd name="connsiteX7" fmla="*/ 20280 w 40559"/>
                    <a:gd name="connsiteY7" fmla="*/ 80599 h 80599"/>
                    <a:gd name="connsiteX8" fmla="*/ 17160 w 40559"/>
                    <a:gd name="connsiteY8" fmla="*/ 15860 h 80599"/>
                    <a:gd name="connsiteX9" fmla="*/ 17160 w 40559"/>
                    <a:gd name="connsiteY9" fmla="*/ 62660 h 80599"/>
                    <a:gd name="connsiteX10" fmla="*/ 21320 w 40559"/>
                    <a:gd name="connsiteY10" fmla="*/ 64739 h 80599"/>
                    <a:gd name="connsiteX11" fmla="*/ 24440 w 40559"/>
                    <a:gd name="connsiteY11" fmla="*/ 62660 h 80599"/>
                    <a:gd name="connsiteX12" fmla="*/ 24440 w 40559"/>
                    <a:gd name="connsiteY12" fmla="*/ 15860 h 80599"/>
                    <a:gd name="connsiteX13" fmla="*/ 17160 w 40559"/>
                    <a:gd name="connsiteY13" fmla="*/ 15860 h 8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559" h="80599">
                      <a:moveTo>
                        <a:pt x="20280" y="80599"/>
                      </a:moveTo>
                      <a:cubicBezTo>
                        <a:pt x="8580" y="80599"/>
                        <a:pt x="0" y="73059"/>
                        <a:pt x="0" y="62660"/>
                      </a:cubicBezTo>
                      <a:lnTo>
                        <a:pt x="0" y="8580"/>
                      </a:lnTo>
                      <a:cubicBezTo>
                        <a:pt x="0" y="4420"/>
                        <a:pt x="3120" y="0"/>
                        <a:pt x="8580" y="0"/>
                      </a:cubicBezTo>
                      <a:lnTo>
                        <a:pt x="31980" y="0"/>
                      </a:lnTo>
                      <a:cubicBezTo>
                        <a:pt x="36140" y="0"/>
                        <a:pt x="40560" y="3120"/>
                        <a:pt x="40560" y="8580"/>
                      </a:cubicBezTo>
                      <a:lnTo>
                        <a:pt x="40560" y="62660"/>
                      </a:lnTo>
                      <a:cubicBezTo>
                        <a:pt x="39520" y="73059"/>
                        <a:pt x="31980" y="80599"/>
                        <a:pt x="20280" y="80599"/>
                      </a:cubicBezTo>
                      <a:close/>
                      <a:moveTo>
                        <a:pt x="17160" y="15860"/>
                      </a:moveTo>
                      <a:lnTo>
                        <a:pt x="17160" y="62660"/>
                      </a:lnTo>
                      <a:cubicBezTo>
                        <a:pt x="17160" y="64739"/>
                        <a:pt x="20280" y="64739"/>
                        <a:pt x="21320" y="64739"/>
                      </a:cubicBezTo>
                      <a:cubicBezTo>
                        <a:pt x="22360" y="64739"/>
                        <a:pt x="24440" y="64739"/>
                        <a:pt x="24440" y="62660"/>
                      </a:cubicBezTo>
                      <a:lnTo>
                        <a:pt x="24440" y="15860"/>
                      </a:lnTo>
                      <a:lnTo>
                        <a:pt x="17160" y="15860"/>
                      </a:lnTo>
                      <a:close/>
                    </a:path>
                  </a:pathLst>
                </a:custGeom>
                <a:solidFill>
                  <a:srgbClr val="00005A"/>
                </a:solidFill>
                <a:ln w="2597" cap="flat">
                  <a:noFill/>
                  <a:prstDash val="solid"/>
                  <a:miter/>
                </a:ln>
              </p:spPr>
              <p:txBody>
                <a:bodyPr rtlCol="0" anchor="ctr"/>
                <a:lstStyle/>
                <a:p>
                  <a:endParaRPr lang="en-GB"/>
                </a:p>
              </p:txBody>
            </p:sp>
            <p:sp>
              <p:nvSpPr>
                <p:cNvPr id="377" name="Freeform: Shape 376">
                  <a:extLst>
                    <a:ext uri="{FF2B5EF4-FFF2-40B4-BE49-F238E27FC236}">
                      <a16:creationId xmlns:a16="http://schemas.microsoft.com/office/drawing/2014/main" id="{F1ED4EF0-41D7-3AB4-E80A-BB65CF33FB6E}"/>
                    </a:ext>
                  </a:extLst>
                </p:cNvPr>
                <p:cNvSpPr/>
                <p:nvPr/>
              </p:nvSpPr>
              <p:spPr>
                <a:xfrm>
                  <a:off x="3644911" y="5152393"/>
                  <a:ext cx="33019" cy="17159"/>
                </a:xfrm>
                <a:custGeom>
                  <a:avLst/>
                  <a:gdLst>
                    <a:gd name="connsiteX0" fmla="*/ 24440 w 33019"/>
                    <a:gd name="connsiteY0" fmla="*/ 17160 h 17159"/>
                    <a:gd name="connsiteX1" fmla="*/ 8580 w 33019"/>
                    <a:gd name="connsiteY1" fmla="*/ 17160 h 17159"/>
                    <a:gd name="connsiteX2" fmla="*/ 0 w 33019"/>
                    <a:gd name="connsiteY2" fmla="*/ 8580 h 17159"/>
                    <a:gd name="connsiteX3" fmla="*/ 8580 w 33019"/>
                    <a:gd name="connsiteY3" fmla="*/ 0 h 17159"/>
                    <a:gd name="connsiteX4" fmla="*/ 24440 w 33019"/>
                    <a:gd name="connsiteY4" fmla="*/ 0 h 17159"/>
                    <a:gd name="connsiteX5" fmla="*/ 33020 w 33019"/>
                    <a:gd name="connsiteY5" fmla="*/ 8580 h 17159"/>
                    <a:gd name="connsiteX6" fmla="*/ 24440 w 33019"/>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019" h="17159">
                      <a:moveTo>
                        <a:pt x="24440" y="17160"/>
                      </a:moveTo>
                      <a:lnTo>
                        <a:pt x="8580" y="17160"/>
                      </a:lnTo>
                      <a:cubicBezTo>
                        <a:pt x="4420" y="17160"/>
                        <a:pt x="0" y="14040"/>
                        <a:pt x="0" y="8580"/>
                      </a:cubicBezTo>
                      <a:cubicBezTo>
                        <a:pt x="0" y="3380"/>
                        <a:pt x="3120" y="0"/>
                        <a:pt x="8580" y="0"/>
                      </a:cubicBezTo>
                      <a:lnTo>
                        <a:pt x="24440" y="0"/>
                      </a:lnTo>
                      <a:cubicBezTo>
                        <a:pt x="28600" y="0"/>
                        <a:pt x="33020" y="3120"/>
                        <a:pt x="33020" y="8580"/>
                      </a:cubicBezTo>
                      <a:cubicBezTo>
                        <a:pt x="32760" y="14040"/>
                        <a:pt x="28600" y="17160"/>
                        <a:pt x="24440" y="17160"/>
                      </a:cubicBezTo>
                      <a:close/>
                    </a:path>
                  </a:pathLst>
                </a:custGeom>
                <a:solidFill>
                  <a:srgbClr val="00005A"/>
                </a:solidFill>
                <a:ln w="2597" cap="flat">
                  <a:noFill/>
                  <a:prstDash val="solid"/>
                  <a:miter/>
                </a:ln>
              </p:spPr>
              <p:txBody>
                <a:bodyPr rtlCol="0" anchor="ctr"/>
                <a:lstStyle/>
                <a:p>
                  <a:endParaRPr lang="en-GB"/>
                </a:p>
              </p:txBody>
            </p:sp>
            <p:sp>
              <p:nvSpPr>
                <p:cNvPr id="378" name="Freeform: Shape 377">
                  <a:extLst>
                    <a:ext uri="{FF2B5EF4-FFF2-40B4-BE49-F238E27FC236}">
                      <a16:creationId xmlns:a16="http://schemas.microsoft.com/office/drawing/2014/main" id="{60FE8638-831E-4830-FD66-9BBF0684504B}"/>
                    </a:ext>
                  </a:extLst>
                </p:cNvPr>
                <p:cNvSpPr/>
                <p:nvPr/>
              </p:nvSpPr>
              <p:spPr>
                <a:xfrm>
                  <a:off x="3641531" y="5132113"/>
                  <a:ext cx="17159" cy="54339"/>
                </a:xfrm>
                <a:custGeom>
                  <a:avLst/>
                  <a:gdLst>
                    <a:gd name="connsiteX0" fmla="*/ 8580 w 17159"/>
                    <a:gd name="connsiteY0" fmla="*/ 54339 h 54339"/>
                    <a:gd name="connsiteX1" fmla="*/ 0 w 17159"/>
                    <a:gd name="connsiteY1" fmla="*/ 45759 h 54339"/>
                    <a:gd name="connsiteX2" fmla="*/ 0 w 17159"/>
                    <a:gd name="connsiteY2" fmla="*/ 8580 h 54339"/>
                    <a:gd name="connsiteX3" fmla="*/ 8580 w 17159"/>
                    <a:gd name="connsiteY3" fmla="*/ 0 h 54339"/>
                    <a:gd name="connsiteX4" fmla="*/ 17160 w 17159"/>
                    <a:gd name="connsiteY4" fmla="*/ 8580 h 54339"/>
                    <a:gd name="connsiteX5" fmla="*/ 17160 w 17159"/>
                    <a:gd name="connsiteY5" fmla="*/ 45759 h 54339"/>
                    <a:gd name="connsiteX6" fmla="*/ 8580 w 17159"/>
                    <a:gd name="connsiteY6" fmla="*/ 54339 h 54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59" h="54339">
                      <a:moveTo>
                        <a:pt x="8580" y="54339"/>
                      </a:moveTo>
                      <a:cubicBezTo>
                        <a:pt x="4420" y="54339"/>
                        <a:pt x="0" y="51219"/>
                        <a:pt x="0" y="45759"/>
                      </a:cubicBezTo>
                      <a:lnTo>
                        <a:pt x="0" y="8580"/>
                      </a:lnTo>
                      <a:cubicBezTo>
                        <a:pt x="0" y="4420"/>
                        <a:pt x="3120" y="0"/>
                        <a:pt x="8580" y="0"/>
                      </a:cubicBezTo>
                      <a:cubicBezTo>
                        <a:pt x="14040" y="0"/>
                        <a:pt x="17160" y="3120"/>
                        <a:pt x="17160" y="8580"/>
                      </a:cubicBezTo>
                      <a:lnTo>
                        <a:pt x="17160" y="45759"/>
                      </a:lnTo>
                      <a:cubicBezTo>
                        <a:pt x="16120" y="51219"/>
                        <a:pt x="13000" y="54339"/>
                        <a:pt x="8580" y="54339"/>
                      </a:cubicBezTo>
                      <a:close/>
                    </a:path>
                  </a:pathLst>
                </a:custGeom>
                <a:solidFill>
                  <a:srgbClr val="00005A"/>
                </a:solidFill>
                <a:ln w="2597" cap="flat">
                  <a:noFill/>
                  <a:prstDash val="solid"/>
                  <a:miter/>
                </a:ln>
              </p:spPr>
              <p:txBody>
                <a:bodyPr rtlCol="0" anchor="ctr"/>
                <a:lstStyle/>
                <a:p>
                  <a:endParaRPr lang="en-GB"/>
                </a:p>
              </p:txBody>
            </p:sp>
          </p:grpSp>
          <p:sp>
            <p:nvSpPr>
              <p:cNvPr id="369" name="Freeform: Shape 368">
                <a:extLst>
                  <a:ext uri="{FF2B5EF4-FFF2-40B4-BE49-F238E27FC236}">
                    <a16:creationId xmlns:a16="http://schemas.microsoft.com/office/drawing/2014/main" id="{9E1FB081-FBB8-39F1-592B-D3DD9854B450}"/>
                  </a:ext>
                </a:extLst>
              </p:cNvPr>
              <p:cNvSpPr/>
              <p:nvPr/>
            </p:nvSpPr>
            <p:spPr>
              <a:xfrm>
                <a:off x="3777509" y="5082453"/>
                <a:ext cx="479694" cy="106078"/>
              </a:xfrm>
              <a:custGeom>
                <a:avLst/>
                <a:gdLst>
                  <a:gd name="connsiteX0" fmla="*/ 447975 w 479694"/>
                  <a:gd name="connsiteY0" fmla="*/ 106079 h 106078"/>
                  <a:gd name="connsiteX1" fmla="*/ 0 w 479694"/>
                  <a:gd name="connsiteY1" fmla="*/ 94639 h 106078"/>
                  <a:gd name="connsiteX2" fmla="*/ 33020 w 479694"/>
                  <a:gd name="connsiteY2" fmla="*/ 0 h 106078"/>
                  <a:gd name="connsiteX3" fmla="*/ 479694 w 479694"/>
                  <a:gd name="connsiteY3" fmla="*/ 0 h 106078"/>
                </a:gdLst>
                <a:ahLst/>
                <a:cxnLst>
                  <a:cxn ang="0">
                    <a:pos x="connsiteX0" y="connsiteY0"/>
                  </a:cxn>
                  <a:cxn ang="0">
                    <a:pos x="connsiteX1" y="connsiteY1"/>
                  </a:cxn>
                  <a:cxn ang="0">
                    <a:pos x="connsiteX2" y="connsiteY2"/>
                  </a:cxn>
                  <a:cxn ang="0">
                    <a:pos x="connsiteX3" y="connsiteY3"/>
                  </a:cxn>
                </a:cxnLst>
                <a:rect l="l" t="t" r="r" b="b"/>
                <a:pathLst>
                  <a:path w="479694" h="106078">
                    <a:moveTo>
                      <a:pt x="447975" y="106079"/>
                    </a:moveTo>
                    <a:lnTo>
                      <a:pt x="0" y="94639"/>
                    </a:lnTo>
                    <a:lnTo>
                      <a:pt x="33020" y="0"/>
                    </a:lnTo>
                    <a:lnTo>
                      <a:pt x="479694" y="0"/>
                    </a:lnTo>
                    <a:close/>
                  </a:path>
                </a:pathLst>
              </a:custGeom>
              <a:solidFill>
                <a:srgbClr val="FFFFFF"/>
              </a:solidFill>
              <a:ln w="2597" cap="flat">
                <a:noFill/>
                <a:prstDash val="solid"/>
                <a:miter/>
              </a:ln>
            </p:spPr>
            <p:txBody>
              <a:bodyPr rtlCol="0" anchor="ctr"/>
              <a:lstStyle/>
              <a:p>
                <a:endParaRPr lang="en-GB"/>
              </a:p>
            </p:txBody>
          </p:sp>
        </p:grpSp>
        <p:grpSp>
          <p:nvGrpSpPr>
            <p:cNvPr id="360" name="Graphic 6">
              <a:extLst>
                <a:ext uri="{FF2B5EF4-FFF2-40B4-BE49-F238E27FC236}">
                  <a16:creationId xmlns:a16="http://schemas.microsoft.com/office/drawing/2014/main" id="{4DB17E97-1FD2-F7D9-C862-690C6088D366}"/>
                </a:ext>
              </a:extLst>
            </p:cNvPr>
            <p:cNvGrpSpPr/>
            <p:nvPr/>
          </p:nvGrpSpPr>
          <p:grpSpPr>
            <a:xfrm>
              <a:off x="3690240" y="5072573"/>
              <a:ext cx="599983" cy="327336"/>
              <a:chOff x="3690240" y="5072573"/>
              <a:chExt cx="599983" cy="327336"/>
            </a:xfrm>
          </p:grpSpPr>
          <p:sp>
            <p:nvSpPr>
              <p:cNvPr id="361" name="Freeform: Shape 360">
                <a:extLst>
                  <a:ext uri="{FF2B5EF4-FFF2-40B4-BE49-F238E27FC236}">
                    <a16:creationId xmlns:a16="http://schemas.microsoft.com/office/drawing/2014/main" id="{BC222949-EA02-ECD9-185D-CF751C576CE8}"/>
                  </a:ext>
                </a:extLst>
              </p:cNvPr>
              <p:cNvSpPr/>
              <p:nvPr/>
            </p:nvSpPr>
            <p:spPr>
              <a:xfrm>
                <a:off x="3714167" y="5113393"/>
                <a:ext cx="576056" cy="286516"/>
              </a:xfrm>
              <a:custGeom>
                <a:avLst/>
                <a:gdLst>
                  <a:gd name="connsiteX0" fmla="*/ 573977 w 576056"/>
                  <a:gd name="connsiteY0" fmla="*/ 6240 h 286516"/>
                  <a:gd name="connsiteX1" fmla="*/ 573977 w 576056"/>
                  <a:gd name="connsiteY1" fmla="*/ 6240 h 286516"/>
                  <a:gd name="connsiteX2" fmla="*/ 572937 w 576056"/>
                  <a:gd name="connsiteY2" fmla="*/ 3120 h 286516"/>
                  <a:gd name="connsiteX3" fmla="*/ 572937 w 576056"/>
                  <a:gd name="connsiteY3" fmla="*/ 3120 h 286516"/>
                  <a:gd name="connsiteX4" fmla="*/ 572937 w 576056"/>
                  <a:gd name="connsiteY4" fmla="*/ 3120 h 286516"/>
                  <a:gd name="connsiteX5" fmla="*/ 570857 w 576056"/>
                  <a:gd name="connsiteY5" fmla="*/ 1040 h 286516"/>
                  <a:gd name="connsiteX6" fmla="*/ 570857 w 576056"/>
                  <a:gd name="connsiteY6" fmla="*/ 1040 h 286516"/>
                  <a:gd name="connsiteX7" fmla="*/ 569817 w 576056"/>
                  <a:gd name="connsiteY7" fmla="*/ 0 h 286516"/>
                  <a:gd name="connsiteX8" fmla="*/ 568777 w 576056"/>
                  <a:gd name="connsiteY8" fmla="*/ 0 h 286516"/>
                  <a:gd name="connsiteX9" fmla="*/ 568777 w 576056"/>
                  <a:gd name="connsiteY9" fmla="*/ 0 h 286516"/>
                  <a:gd name="connsiteX10" fmla="*/ 121842 w 576056"/>
                  <a:gd name="connsiteY10" fmla="*/ 0 h 286516"/>
                  <a:gd name="connsiteX11" fmla="*/ 114302 w 576056"/>
                  <a:gd name="connsiteY11" fmla="*/ 5200 h 286516"/>
                  <a:gd name="connsiteX12" fmla="*/ 683 w 576056"/>
                  <a:gd name="connsiteY12" fmla="*/ 275857 h 286516"/>
                  <a:gd name="connsiteX13" fmla="*/ 1723 w 576056"/>
                  <a:gd name="connsiteY13" fmla="*/ 283397 h 286516"/>
                  <a:gd name="connsiteX14" fmla="*/ 7963 w 576056"/>
                  <a:gd name="connsiteY14" fmla="*/ 286517 h 286516"/>
                  <a:gd name="connsiteX15" fmla="*/ 452558 w 576056"/>
                  <a:gd name="connsiteY15" fmla="*/ 286517 h 286516"/>
                  <a:gd name="connsiteX16" fmla="*/ 460098 w 576056"/>
                  <a:gd name="connsiteY16" fmla="*/ 281317 h 286516"/>
                  <a:gd name="connsiteX17" fmla="*/ 483498 w 576056"/>
                  <a:gd name="connsiteY17" fmla="*/ 226197 h 286516"/>
                  <a:gd name="connsiteX18" fmla="*/ 568517 w 576056"/>
                  <a:gd name="connsiteY18" fmla="*/ 226197 h 286516"/>
                  <a:gd name="connsiteX19" fmla="*/ 576057 w 576056"/>
                  <a:gd name="connsiteY19" fmla="*/ 218657 h 286516"/>
                  <a:gd name="connsiteX20" fmla="*/ 573977 w 576056"/>
                  <a:gd name="connsiteY20" fmla="*/ 6240 h 286516"/>
                  <a:gd name="connsiteX21" fmla="*/ 573977 w 576056"/>
                  <a:gd name="connsiteY21" fmla="*/ 6240 h 28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6056" h="286516">
                    <a:moveTo>
                      <a:pt x="573977" y="6240"/>
                    </a:moveTo>
                    <a:lnTo>
                      <a:pt x="573977" y="6240"/>
                    </a:lnTo>
                    <a:cubicBezTo>
                      <a:pt x="573977" y="5200"/>
                      <a:pt x="573977" y="4160"/>
                      <a:pt x="572937" y="3120"/>
                    </a:cubicBezTo>
                    <a:lnTo>
                      <a:pt x="572937" y="3120"/>
                    </a:lnTo>
                    <a:lnTo>
                      <a:pt x="572937" y="3120"/>
                    </a:lnTo>
                    <a:cubicBezTo>
                      <a:pt x="571897" y="2080"/>
                      <a:pt x="571897" y="2080"/>
                      <a:pt x="570857" y="1040"/>
                    </a:cubicBezTo>
                    <a:lnTo>
                      <a:pt x="570857" y="1040"/>
                    </a:lnTo>
                    <a:cubicBezTo>
                      <a:pt x="570857" y="1040"/>
                      <a:pt x="569817" y="1040"/>
                      <a:pt x="569817" y="0"/>
                    </a:cubicBezTo>
                    <a:lnTo>
                      <a:pt x="568777" y="0"/>
                    </a:lnTo>
                    <a:lnTo>
                      <a:pt x="568777" y="0"/>
                    </a:lnTo>
                    <a:lnTo>
                      <a:pt x="121842" y="0"/>
                    </a:lnTo>
                    <a:cubicBezTo>
                      <a:pt x="119762" y="0"/>
                      <a:pt x="115602" y="1040"/>
                      <a:pt x="114302" y="5200"/>
                    </a:cubicBezTo>
                    <a:lnTo>
                      <a:pt x="683" y="275857"/>
                    </a:lnTo>
                    <a:cubicBezTo>
                      <a:pt x="-357" y="277937"/>
                      <a:pt x="-357" y="281057"/>
                      <a:pt x="1723" y="283397"/>
                    </a:cubicBezTo>
                    <a:cubicBezTo>
                      <a:pt x="2763" y="285477"/>
                      <a:pt x="4843" y="286517"/>
                      <a:pt x="7963" y="286517"/>
                    </a:cubicBezTo>
                    <a:lnTo>
                      <a:pt x="452558" y="286517"/>
                    </a:lnTo>
                    <a:cubicBezTo>
                      <a:pt x="454638" y="286517"/>
                      <a:pt x="458798" y="285477"/>
                      <a:pt x="460098" y="281317"/>
                    </a:cubicBezTo>
                    <a:lnTo>
                      <a:pt x="483498" y="226197"/>
                    </a:lnTo>
                    <a:lnTo>
                      <a:pt x="568517" y="226197"/>
                    </a:lnTo>
                    <a:cubicBezTo>
                      <a:pt x="571637" y="226197"/>
                      <a:pt x="576057" y="223077"/>
                      <a:pt x="576057" y="218657"/>
                    </a:cubicBezTo>
                    <a:lnTo>
                      <a:pt x="573977" y="6240"/>
                    </a:lnTo>
                    <a:lnTo>
                      <a:pt x="573977" y="6240"/>
                    </a:lnTo>
                    <a:close/>
                  </a:path>
                </a:pathLst>
              </a:custGeom>
              <a:solidFill>
                <a:srgbClr val="0069FF"/>
              </a:solidFill>
              <a:ln w="2597" cap="flat">
                <a:noFill/>
                <a:prstDash val="solid"/>
                <a:miter/>
              </a:ln>
            </p:spPr>
            <p:txBody>
              <a:bodyPr rtlCol="0" anchor="ctr"/>
              <a:lstStyle/>
              <a:p>
                <a:endParaRPr lang="en-GB"/>
              </a:p>
            </p:txBody>
          </p:sp>
          <p:sp>
            <p:nvSpPr>
              <p:cNvPr id="362" name="Freeform: Shape 361">
                <a:extLst>
                  <a:ext uri="{FF2B5EF4-FFF2-40B4-BE49-F238E27FC236}">
                    <a16:creationId xmlns:a16="http://schemas.microsoft.com/office/drawing/2014/main" id="{B2139BCA-651C-F145-D7D0-FD9644E76E1D}"/>
                  </a:ext>
                </a:extLst>
              </p:cNvPr>
              <p:cNvSpPr/>
              <p:nvPr/>
            </p:nvSpPr>
            <p:spPr>
              <a:xfrm>
                <a:off x="3690240" y="5075173"/>
                <a:ext cx="574934" cy="286516"/>
              </a:xfrm>
              <a:custGeom>
                <a:avLst/>
                <a:gdLst>
                  <a:gd name="connsiteX0" fmla="*/ 453345 w 574934"/>
                  <a:gd name="connsiteY0" fmla="*/ 286517 h 286516"/>
                  <a:gd name="connsiteX1" fmla="*/ 7711 w 574934"/>
                  <a:gd name="connsiteY1" fmla="*/ 286517 h 286516"/>
                  <a:gd name="connsiteX2" fmla="*/ 1471 w 574934"/>
                  <a:gd name="connsiteY2" fmla="*/ 283397 h 286516"/>
                  <a:gd name="connsiteX3" fmla="*/ 431 w 574934"/>
                  <a:gd name="connsiteY3" fmla="*/ 275857 h 286516"/>
                  <a:gd name="connsiteX4" fmla="*/ 114049 w 574934"/>
                  <a:gd name="connsiteY4" fmla="*/ 5200 h 286516"/>
                  <a:gd name="connsiteX5" fmla="*/ 121589 w 574934"/>
                  <a:gd name="connsiteY5" fmla="*/ 0 h 286516"/>
                  <a:gd name="connsiteX6" fmla="*/ 567224 w 574934"/>
                  <a:gd name="connsiteY6" fmla="*/ 0 h 286516"/>
                  <a:gd name="connsiteX7" fmla="*/ 573464 w 574934"/>
                  <a:gd name="connsiteY7" fmla="*/ 3120 h 286516"/>
                  <a:gd name="connsiteX8" fmla="*/ 574504 w 574934"/>
                  <a:gd name="connsiteY8" fmla="*/ 10660 h 286516"/>
                  <a:gd name="connsiteX9" fmla="*/ 460885 w 574934"/>
                  <a:gd name="connsiteY9" fmla="*/ 281317 h 286516"/>
                  <a:gd name="connsiteX10" fmla="*/ 453345 w 574934"/>
                  <a:gd name="connsiteY10" fmla="*/ 286517 h 286516"/>
                  <a:gd name="connsiteX11" fmla="*/ 19410 w 574934"/>
                  <a:gd name="connsiteY11" fmla="*/ 269357 h 286516"/>
                  <a:gd name="connsiteX12" fmla="*/ 448146 w 574934"/>
                  <a:gd name="connsiteY12" fmla="*/ 269357 h 286516"/>
                  <a:gd name="connsiteX13" fmla="*/ 555264 w 574934"/>
                  <a:gd name="connsiteY13" fmla="*/ 14560 h 286516"/>
                  <a:gd name="connsiteX14" fmla="*/ 126529 w 574934"/>
                  <a:gd name="connsiteY14" fmla="*/ 14560 h 286516"/>
                  <a:gd name="connsiteX15" fmla="*/ 19410 w 574934"/>
                  <a:gd name="connsiteY15" fmla="*/ 269357 h 28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4934" h="286516">
                    <a:moveTo>
                      <a:pt x="453345" y="286517"/>
                    </a:moveTo>
                    <a:lnTo>
                      <a:pt x="7711" y="286517"/>
                    </a:lnTo>
                    <a:cubicBezTo>
                      <a:pt x="4591" y="286517"/>
                      <a:pt x="2511" y="285477"/>
                      <a:pt x="1471" y="283397"/>
                    </a:cubicBezTo>
                    <a:cubicBezTo>
                      <a:pt x="431" y="281317"/>
                      <a:pt x="-609" y="278197"/>
                      <a:pt x="431" y="275857"/>
                    </a:cubicBezTo>
                    <a:lnTo>
                      <a:pt x="114049" y="5200"/>
                    </a:lnTo>
                    <a:cubicBezTo>
                      <a:pt x="115089" y="2080"/>
                      <a:pt x="118209" y="0"/>
                      <a:pt x="121589" y="0"/>
                    </a:cubicBezTo>
                    <a:lnTo>
                      <a:pt x="567224" y="0"/>
                    </a:lnTo>
                    <a:cubicBezTo>
                      <a:pt x="570344" y="0"/>
                      <a:pt x="572424" y="1040"/>
                      <a:pt x="573464" y="3120"/>
                    </a:cubicBezTo>
                    <a:cubicBezTo>
                      <a:pt x="574504" y="5200"/>
                      <a:pt x="575544" y="8320"/>
                      <a:pt x="574504" y="10660"/>
                    </a:cubicBezTo>
                    <a:lnTo>
                      <a:pt x="460885" y="281317"/>
                    </a:lnTo>
                    <a:cubicBezTo>
                      <a:pt x="459845" y="284437"/>
                      <a:pt x="456726" y="286517"/>
                      <a:pt x="453345" y="286517"/>
                    </a:cubicBezTo>
                    <a:close/>
                    <a:moveTo>
                      <a:pt x="19410" y="269357"/>
                    </a:moveTo>
                    <a:lnTo>
                      <a:pt x="448146" y="269357"/>
                    </a:lnTo>
                    <a:lnTo>
                      <a:pt x="555264" y="14560"/>
                    </a:lnTo>
                    <a:lnTo>
                      <a:pt x="126529" y="14560"/>
                    </a:lnTo>
                    <a:lnTo>
                      <a:pt x="19410" y="269357"/>
                    </a:lnTo>
                    <a:close/>
                  </a:path>
                </a:pathLst>
              </a:custGeom>
              <a:solidFill>
                <a:srgbClr val="00005A"/>
              </a:solidFill>
              <a:ln w="2597" cap="flat">
                <a:noFill/>
                <a:prstDash val="solid"/>
                <a:miter/>
              </a:ln>
            </p:spPr>
            <p:txBody>
              <a:bodyPr rtlCol="0" anchor="ctr"/>
              <a:lstStyle/>
              <a:p>
                <a:endParaRPr lang="en-GB"/>
              </a:p>
            </p:txBody>
          </p:sp>
          <p:sp>
            <p:nvSpPr>
              <p:cNvPr id="363" name="Freeform: Shape 362">
                <a:extLst>
                  <a:ext uri="{FF2B5EF4-FFF2-40B4-BE49-F238E27FC236}">
                    <a16:creationId xmlns:a16="http://schemas.microsoft.com/office/drawing/2014/main" id="{AAE3F892-7E81-1FA0-671B-E5AE0BCDB2AE}"/>
                  </a:ext>
                </a:extLst>
              </p:cNvPr>
              <p:cNvSpPr/>
              <p:nvPr/>
            </p:nvSpPr>
            <p:spPr>
              <a:xfrm>
                <a:off x="3748910" y="5208552"/>
                <a:ext cx="456554" cy="17159"/>
              </a:xfrm>
              <a:custGeom>
                <a:avLst/>
                <a:gdLst>
                  <a:gd name="connsiteX0" fmla="*/ 447975 w 456554"/>
                  <a:gd name="connsiteY0" fmla="*/ 17160 h 17159"/>
                  <a:gd name="connsiteX1" fmla="*/ 8580 w 456554"/>
                  <a:gd name="connsiteY1" fmla="*/ 17160 h 17159"/>
                  <a:gd name="connsiteX2" fmla="*/ 0 w 456554"/>
                  <a:gd name="connsiteY2" fmla="*/ 8580 h 17159"/>
                  <a:gd name="connsiteX3" fmla="*/ 8580 w 456554"/>
                  <a:gd name="connsiteY3" fmla="*/ 0 h 17159"/>
                  <a:gd name="connsiteX4" fmla="*/ 447975 w 456554"/>
                  <a:gd name="connsiteY4" fmla="*/ 0 h 17159"/>
                  <a:gd name="connsiteX5" fmla="*/ 456555 w 456554"/>
                  <a:gd name="connsiteY5" fmla="*/ 8580 h 17159"/>
                  <a:gd name="connsiteX6" fmla="*/ 447975 w 456554"/>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6554" h="17159">
                    <a:moveTo>
                      <a:pt x="447975" y="17160"/>
                    </a:moveTo>
                    <a:lnTo>
                      <a:pt x="8580" y="17160"/>
                    </a:lnTo>
                    <a:cubicBezTo>
                      <a:pt x="4420" y="17160"/>
                      <a:pt x="0" y="14040"/>
                      <a:pt x="0" y="8580"/>
                    </a:cubicBezTo>
                    <a:cubicBezTo>
                      <a:pt x="0" y="3120"/>
                      <a:pt x="3120" y="0"/>
                      <a:pt x="8580" y="0"/>
                    </a:cubicBezTo>
                    <a:lnTo>
                      <a:pt x="447975" y="0"/>
                    </a:lnTo>
                    <a:cubicBezTo>
                      <a:pt x="452135" y="0"/>
                      <a:pt x="456555" y="3120"/>
                      <a:pt x="456555" y="8580"/>
                    </a:cubicBezTo>
                    <a:cubicBezTo>
                      <a:pt x="456555" y="14040"/>
                      <a:pt x="452135" y="17160"/>
                      <a:pt x="447975" y="17160"/>
                    </a:cubicBezTo>
                    <a:close/>
                  </a:path>
                </a:pathLst>
              </a:custGeom>
              <a:solidFill>
                <a:srgbClr val="00005A"/>
              </a:solidFill>
              <a:ln w="2597" cap="flat">
                <a:noFill/>
                <a:prstDash val="solid"/>
                <a:miter/>
              </a:ln>
            </p:spPr>
            <p:txBody>
              <a:bodyPr rtlCol="0" anchor="ctr"/>
              <a:lstStyle/>
              <a:p>
                <a:endParaRPr lang="en-GB"/>
              </a:p>
            </p:txBody>
          </p:sp>
          <p:sp>
            <p:nvSpPr>
              <p:cNvPr id="364" name="Freeform: Shape 363">
                <a:extLst>
                  <a:ext uri="{FF2B5EF4-FFF2-40B4-BE49-F238E27FC236}">
                    <a16:creationId xmlns:a16="http://schemas.microsoft.com/office/drawing/2014/main" id="{6EC81C9C-B8E4-F461-9D76-F9198D902C3D}"/>
                  </a:ext>
                </a:extLst>
              </p:cNvPr>
              <p:cNvSpPr/>
              <p:nvPr/>
            </p:nvSpPr>
            <p:spPr>
              <a:xfrm>
                <a:off x="3912672" y="5075397"/>
                <a:ext cx="130112" cy="280832"/>
              </a:xfrm>
              <a:custGeom>
                <a:avLst/>
                <a:gdLst>
                  <a:gd name="connsiteX0" fmla="*/ 8096 w 130112"/>
                  <a:gd name="connsiteY0" fmla="*/ 280833 h 280832"/>
                  <a:gd name="connsiteX1" fmla="*/ 4976 w 130112"/>
                  <a:gd name="connsiteY1" fmla="*/ 279793 h 280832"/>
                  <a:gd name="connsiteX2" fmla="*/ 816 w 130112"/>
                  <a:gd name="connsiteY2" fmla="*/ 269133 h 280832"/>
                  <a:gd name="connsiteX3" fmla="*/ 114435 w 130112"/>
                  <a:gd name="connsiteY3" fmla="*/ 4976 h 280832"/>
                  <a:gd name="connsiteX4" fmla="*/ 125095 w 130112"/>
                  <a:gd name="connsiteY4" fmla="*/ 816 h 280832"/>
                  <a:gd name="connsiteX5" fmla="*/ 129255 w 130112"/>
                  <a:gd name="connsiteY5" fmla="*/ 11476 h 280832"/>
                  <a:gd name="connsiteX6" fmla="*/ 15636 w 130112"/>
                  <a:gd name="connsiteY6" fmla="*/ 275633 h 280832"/>
                  <a:gd name="connsiteX7" fmla="*/ 8096 w 130112"/>
                  <a:gd name="connsiteY7" fmla="*/ 280833 h 280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112" h="280832">
                    <a:moveTo>
                      <a:pt x="8096" y="280833"/>
                    </a:moveTo>
                    <a:cubicBezTo>
                      <a:pt x="7056" y="280833"/>
                      <a:pt x="6016" y="280833"/>
                      <a:pt x="4976" y="279793"/>
                    </a:cubicBezTo>
                    <a:cubicBezTo>
                      <a:pt x="816" y="277713"/>
                      <a:pt x="-1264" y="273553"/>
                      <a:pt x="816" y="269133"/>
                    </a:cubicBezTo>
                    <a:lnTo>
                      <a:pt x="114435" y="4976"/>
                    </a:lnTo>
                    <a:cubicBezTo>
                      <a:pt x="116515" y="816"/>
                      <a:pt x="120675" y="-1264"/>
                      <a:pt x="125095" y="816"/>
                    </a:cubicBezTo>
                    <a:cubicBezTo>
                      <a:pt x="129515" y="2896"/>
                      <a:pt x="131334" y="7056"/>
                      <a:pt x="129255" y="11476"/>
                    </a:cubicBezTo>
                    <a:lnTo>
                      <a:pt x="15636" y="275633"/>
                    </a:lnTo>
                    <a:cubicBezTo>
                      <a:pt x="14596" y="279793"/>
                      <a:pt x="11216" y="280833"/>
                      <a:pt x="8096" y="280833"/>
                    </a:cubicBezTo>
                    <a:close/>
                  </a:path>
                </a:pathLst>
              </a:custGeom>
              <a:solidFill>
                <a:srgbClr val="00005A"/>
              </a:solidFill>
              <a:ln w="2597" cap="flat">
                <a:noFill/>
                <a:prstDash val="solid"/>
                <a:miter/>
              </a:ln>
            </p:spPr>
            <p:txBody>
              <a:bodyPr rtlCol="0" anchor="ctr"/>
              <a:lstStyle/>
              <a:p>
                <a:endParaRPr lang="en-GB"/>
              </a:p>
            </p:txBody>
          </p:sp>
          <p:sp>
            <p:nvSpPr>
              <p:cNvPr id="365" name="Freeform: Shape 364">
                <a:extLst>
                  <a:ext uri="{FF2B5EF4-FFF2-40B4-BE49-F238E27FC236}">
                    <a16:creationId xmlns:a16="http://schemas.microsoft.com/office/drawing/2014/main" id="{725D851F-90EA-1C11-7BD5-27534D4FE0D0}"/>
                  </a:ext>
                </a:extLst>
              </p:cNvPr>
              <p:cNvSpPr/>
              <p:nvPr/>
            </p:nvSpPr>
            <p:spPr>
              <a:xfrm>
                <a:off x="3788654" y="5076437"/>
                <a:ext cx="130070" cy="285252"/>
              </a:xfrm>
              <a:custGeom>
                <a:avLst/>
                <a:gdLst>
                  <a:gd name="connsiteX0" fmla="*/ 8096 w 130070"/>
                  <a:gd name="connsiteY0" fmla="*/ 285253 h 285252"/>
                  <a:gd name="connsiteX1" fmla="*/ 4976 w 130070"/>
                  <a:gd name="connsiteY1" fmla="*/ 284213 h 285252"/>
                  <a:gd name="connsiteX2" fmla="*/ 816 w 130070"/>
                  <a:gd name="connsiteY2" fmla="*/ 273553 h 285252"/>
                  <a:gd name="connsiteX3" fmla="*/ 114435 w 130070"/>
                  <a:gd name="connsiteY3" fmla="*/ 4976 h 285252"/>
                  <a:gd name="connsiteX4" fmla="*/ 125094 w 130070"/>
                  <a:gd name="connsiteY4" fmla="*/ 816 h 285252"/>
                  <a:gd name="connsiteX5" fmla="*/ 129254 w 130070"/>
                  <a:gd name="connsiteY5" fmla="*/ 11476 h 285252"/>
                  <a:gd name="connsiteX6" fmla="*/ 15636 w 130070"/>
                  <a:gd name="connsiteY6" fmla="*/ 280053 h 285252"/>
                  <a:gd name="connsiteX7" fmla="*/ 8096 w 130070"/>
                  <a:gd name="connsiteY7" fmla="*/ 285253 h 28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070" h="285252">
                    <a:moveTo>
                      <a:pt x="8096" y="285253"/>
                    </a:moveTo>
                    <a:cubicBezTo>
                      <a:pt x="7056" y="285253"/>
                      <a:pt x="6016" y="285253"/>
                      <a:pt x="4976" y="284213"/>
                    </a:cubicBezTo>
                    <a:cubicBezTo>
                      <a:pt x="816" y="282133"/>
                      <a:pt x="-1264" y="277973"/>
                      <a:pt x="816" y="273553"/>
                    </a:cubicBezTo>
                    <a:lnTo>
                      <a:pt x="114435" y="4976"/>
                    </a:lnTo>
                    <a:cubicBezTo>
                      <a:pt x="116515" y="816"/>
                      <a:pt x="120675" y="-1264"/>
                      <a:pt x="125094" y="816"/>
                    </a:cubicBezTo>
                    <a:cubicBezTo>
                      <a:pt x="129254" y="2896"/>
                      <a:pt x="131334" y="7056"/>
                      <a:pt x="129254" y="11476"/>
                    </a:cubicBezTo>
                    <a:lnTo>
                      <a:pt x="15636" y="280053"/>
                    </a:lnTo>
                    <a:cubicBezTo>
                      <a:pt x="14336" y="283173"/>
                      <a:pt x="11216" y="285253"/>
                      <a:pt x="8096" y="285253"/>
                    </a:cubicBezTo>
                    <a:close/>
                  </a:path>
                </a:pathLst>
              </a:custGeom>
              <a:solidFill>
                <a:srgbClr val="00005A"/>
              </a:solidFill>
              <a:ln w="2597" cap="flat">
                <a:noFill/>
                <a:prstDash val="solid"/>
                <a:miter/>
              </a:ln>
            </p:spPr>
            <p:txBody>
              <a:bodyPr rtlCol="0" anchor="ctr"/>
              <a:lstStyle/>
              <a:p>
                <a:endParaRPr lang="en-GB"/>
              </a:p>
            </p:txBody>
          </p:sp>
          <p:sp>
            <p:nvSpPr>
              <p:cNvPr id="366" name="Freeform: Shape 365">
                <a:extLst>
                  <a:ext uri="{FF2B5EF4-FFF2-40B4-BE49-F238E27FC236}">
                    <a16:creationId xmlns:a16="http://schemas.microsoft.com/office/drawing/2014/main" id="{8B91730A-5984-199D-3681-C451D577D466}"/>
                  </a:ext>
                </a:extLst>
              </p:cNvPr>
              <p:cNvSpPr/>
              <p:nvPr/>
            </p:nvSpPr>
            <p:spPr>
              <a:xfrm>
                <a:off x="4022131" y="5076437"/>
                <a:ext cx="131110" cy="285252"/>
              </a:xfrm>
              <a:custGeom>
                <a:avLst/>
                <a:gdLst>
                  <a:gd name="connsiteX0" fmla="*/ 8096 w 131110"/>
                  <a:gd name="connsiteY0" fmla="*/ 285253 h 285252"/>
                  <a:gd name="connsiteX1" fmla="*/ 4976 w 131110"/>
                  <a:gd name="connsiteY1" fmla="*/ 284213 h 285252"/>
                  <a:gd name="connsiteX2" fmla="*/ 816 w 131110"/>
                  <a:gd name="connsiteY2" fmla="*/ 273553 h 285252"/>
                  <a:gd name="connsiteX3" fmla="*/ 115475 w 131110"/>
                  <a:gd name="connsiteY3" fmla="*/ 4976 h 285252"/>
                  <a:gd name="connsiteX4" fmla="*/ 126135 w 131110"/>
                  <a:gd name="connsiteY4" fmla="*/ 816 h 285252"/>
                  <a:gd name="connsiteX5" fmla="*/ 130295 w 131110"/>
                  <a:gd name="connsiteY5" fmla="*/ 11476 h 285252"/>
                  <a:gd name="connsiteX6" fmla="*/ 15636 w 131110"/>
                  <a:gd name="connsiteY6" fmla="*/ 280053 h 285252"/>
                  <a:gd name="connsiteX7" fmla="*/ 8096 w 131110"/>
                  <a:gd name="connsiteY7" fmla="*/ 285253 h 28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110" h="285252">
                    <a:moveTo>
                      <a:pt x="8096" y="285253"/>
                    </a:moveTo>
                    <a:cubicBezTo>
                      <a:pt x="7056" y="285253"/>
                      <a:pt x="6016" y="285253"/>
                      <a:pt x="4976" y="284213"/>
                    </a:cubicBezTo>
                    <a:cubicBezTo>
                      <a:pt x="816" y="282133"/>
                      <a:pt x="-1264" y="277973"/>
                      <a:pt x="816" y="273553"/>
                    </a:cubicBezTo>
                    <a:lnTo>
                      <a:pt x="115475" y="4976"/>
                    </a:lnTo>
                    <a:cubicBezTo>
                      <a:pt x="117555" y="816"/>
                      <a:pt x="121715" y="-1264"/>
                      <a:pt x="126135" y="816"/>
                    </a:cubicBezTo>
                    <a:cubicBezTo>
                      <a:pt x="130295" y="2896"/>
                      <a:pt x="132374" y="7056"/>
                      <a:pt x="130295" y="11476"/>
                    </a:cubicBezTo>
                    <a:lnTo>
                      <a:pt x="15636" y="280053"/>
                    </a:lnTo>
                    <a:cubicBezTo>
                      <a:pt x="14336" y="283173"/>
                      <a:pt x="11216" y="285253"/>
                      <a:pt x="8096" y="285253"/>
                    </a:cubicBezTo>
                    <a:close/>
                  </a:path>
                </a:pathLst>
              </a:custGeom>
              <a:solidFill>
                <a:srgbClr val="00005A"/>
              </a:solidFill>
              <a:ln w="2597" cap="flat">
                <a:noFill/>
                <a:prstDash val="solid"/>
                <a:miter/>
              </a:ln>
            </p:spPr>
            <p:txBody>
              <a:bodyPr rtlCol="0" anchor="ctr"/>
              <a:lstStyle/>
              <a:p>
                <a:endParaRPr lang="en-GB"/>
              </a:p>
            </p:txBody>
          </p:sp>
          <p:sp>
            <p:nvSpPr>
              <p:cNvPr id="367" name="Freeform: Shape 366">
                <a:extLst>
                  <a:ext uri="{FF2B5EF4-FFF2-40B4-BE49-F238E27FC236}">
                    <a16:creationId xmlns:a16="http://schemas.microsoft.com/office/drawing/2014/main" id="{9D4A5A0D-D280-037D-1CB7-53BE6553F92F}"/>
                  </a:ext>
                </a:extLst>
              </p:cNvPr>
              <p:cNvSpPr/>
              <p:nvPr/>
            </p:nvSpPr>
            <p:spPr>
              <a:xfrm>
                <a:off x="4161525" y="5072573"/>
                <a:ext cx="105298" cy="229577"/>
              </a:xfrm>
              <a:custGeom>
                <a:avLst/>
                <a:gdLst>
                  <a:gd name="connsiteX0" fmla="*/ 95679 w 105298"/>
                  <a:gd name="connsiteY0" fmla="*/ 229577 h 229577"/>
                  <a:gd name="connsiteX1" fmla="*/ 8580 w 105298"/>
                  <a:gd name="connsiteY1" fmla="*/ 229577 h 229577"/>
                  <a:gd name="connsiteX2" fmla="*/ 0 w 105298"/>
                  <a:gd name="connsiteY2" fmla="*/ 220997 h 229577"/>
                  <a:gd name="connsiteX3" fmla="*/ 8580 w 105298"/>
                  <a:gd name="connsiteY3" fmla="*/ 212418 h 229577"/>
                  <a:gd name="connsiteX4" fmla="*/ 88139 w 105298"/>
                  <a:gd name="connsiteY4" fmla="*/ 212418 h 229577"/>
                  <a:gd name="connsiteX5" fmla="*/ 88139 w 105298"/>
                  <a:gd name="connsiteY5" fmla="*/ 8580 h 229577"/>
                  <a:gd name="connsiteX6" fmla="*/ 96719 w 105298"/>
                  <a:gd name="connsiteY6" fmla="*/ 0 h 229577"/>
                  <a:gd name="connsiteX7" fmla="*/ 105299 w 105298"/>
                  <a:gd name="connsiteY7" fmla="*/ 8580 h 229577"/>
                  <a:gd name="connsiteX8" fmla="*/ 105299 w 105298"/>
                  <a:gd name="connsiteY8" fmla="*/ 219697 h 229577"/>
                  <a:gd name="connsiteX9" fmla="*/ 95679 w 105298"/>
                  <a:gd name="connsiteY9" fmla="*/ 229577 h 229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298" h="229577">
                    <a:moveTo>
                      <a:pt x="95679" y="229577"/>
                    </a:moveTo>
                    <a:lnTo>
                      <a:pt x="8580" y="229577"/>
                    </a:lnTo>
                    <a:cubicBezTo>
                      <a:pt x="4420" y="229577"/>
                      <a:pt x="0" y="226457"/>
                      <a:pt x="0" y="220997"/>
                    </a:cubicBezTo>
                    <a:cubicBezTo>
                      <a:pt x="0" y="215538"/>
                      <a:pt x="3120" y="212418"/>
                      <a:pt x="8580" y="212418"/>
                    </a:cubicBezTo>
                    <a:lnTo>
                      <a:pt x="88139" y="212418"/>
                    </a:lnTo>
                    <a:lnTo>
                      <a:pt x="88139" y="8580"/>
                    </a:lnTo>
                    <a:cubicBezTo>
                      <a:pt x="88139" y="4420"/>
                      <a:pt x="91259" y="0"/>
                      <a:pt x="96719" y="0"/>
                    </a:cubicBezTo>
                    <a:cubicBezTo>
                      <a:pt x="102179" y="0"/>
                      <a:pt x="105299" y="3120"/>
                      <a:pt x="105299" y="8580"/>
                    </a:cubicBezTo>
                    <a:lnTo>
                      <a:pt x="105299" y="219697"/>
                    </a:lnTo>
                    <a:cubicBezTo>
                      <a:pt x="104259" y="225418"/>
                      <a:pt x="100099" y="229577"/>
                      <a:pt x="95679" y="229577"/>
                    </a:cubicBezTo>
                    <a:close/>
                  </a:path>
                </a:pathLst>
              </a:custGeom>
              <a:solidFill>
                <a:srgbClr val="00005A"/>
              </a:solidFill>
              <a:ln w="2597" cap="flat">
                <a:noFill/>
                <a:prstDash val="solid"/>
                <a:miter/>
              </a:ln>
            </p:spPr>
            <p:txBody>
              <a:bodyPr rtlCol="0" anchor="ctr"/>
              <a:lstStyle/>
              <a:p>
                <a:endParaRPr lang="en-GB"/>
              </a:p>
            </p:txBody>
          </p:sp>
        </p:grpSp>
      </p:grpSp>
      <p:sp>
        <p:nvSpPr>
          <p:cNvPr id="418" name="TextBox 417">
            <a:extLst>
              <a:ext uri="{FF2B5EF4-FFF2-40B4-BE49-F238E27FC236}">
                <a16:creationId xmlns:a16="http://schemas.microsoft.com/office/drawing/2014/main" id="{AFA92FDC-42E3-D46C-6CC6-4E368C2010E8}"/>
              </a:ext>
            </a:extLst>
          </p:cNvPr>
          <p:cNvSpPr txBox="1"/>
          <p:nvPr/>
        </p:nvSpPr>
        <p:spPr>
          <a:xfrm>
            <a:off x="3077437" y="3504479"/>
            <a:ext cx="821362" cy="153888"/>
          </a:xfrm>
          <a:prstGeom prst="rect">
            <a:avLst/>
          </a:prstGeom>
          <a:noFill/>
        </p:spPr>
        <p:txBody>
          <a:bodyPr wrap="square" lIns="0" tIns="0" rIns="0" bIns="0" rtlCol="0" anchor="t">
            <a:spAutoFit/>
          </a:bodyPr>
          <a:lstStyle/>
          <a:p>
            <a:pPr algn="l"/>
            <a:r>
              <a:rPr lang="en-GB" sz="1000" spc="0" baseline="0">
                <a:ln/>
                <a:cs typeface="Arial"/>
                <a:sym typeface="Arial"/>
                <a:rtl val="0"/>
              </a:rPr>
              <a:t>Wärmepumpe</a:t>
            </a:r>
          </a:p>
        </p:txBody>
      </p:sp>
      <p:sp>
        <p:nvSpPr>
          <p:cNvPr id="419" name="Freeform: Shape 418">
            <a:extLst>
              <a:ext uri="{FF2B5EF4-FFF2-40B4-BE49-F238E27FC236}">
                <a16:creationId xmlns:a16="http://schemas.microsoft.com/office/drawing/2014/main" id="{830AF7F9-57D2-BE16-0C3A-0F8D370E4904}"/>
              </a:ext>
            </a:extLst>
          </p:cNvPr>
          <p:cNvSpPr/>
          <p:nvPr/>
        </p:nvSpPr>
        <p:spPr>
          <a:xfrm>
            <a:off x="1022930" y="3924140"/>
            <a:ext cx="452033" cy="92558"/>
          </a:xfrm>
          <a:custGeom>
            <a:avLst/>
            <a:gdLst>
              <a:gd name="connsiteX0" fmla="*/ 0 w 906609"/>
              <a:gd name="connsiteY0" fmla="*/ 0 h 185637"/>
              <a:gd name="connsiteX1" fmla="*/ 906609 w 906609"/>
              <a:gd name="connsiteY1" fmla="*/ 0 h 185637"/>
              <a:gd name="connsiteX2" fmla="*/ 906609 w 906609"/>
              <a:gd name="connsiteY2" fmla="*/ 185638 h 185637"/>
              <a:gd name="connsiteX3" fmla="*/ 0 w 906609"/>
              <a:gd name="connsiteY3" fmla="*/ 185638 h 185637"/>
            </a:gdLst>
            <a:ahLst/>
            <a:cxnLst>
              <a:cxn ang="0">
                <a:pos x="connsiteX0" y="connsiteY0"/>
              </a:cxn>
              <a:cxn ang="0">
                <a:pos x="connsiteX1" y="connsiteY1"/>
              </a:cxn>
              <a:cxn ang="0">
                <a:pos x="connsiteX2" y="connsiteY2"/>
              </a:cxn>
              <a:cxn ang="0">
                <a:pos x="connsiteX3" y="connsiteY3"/>
              </a:cxn>
            </a:cxnLst>
            <a:rect l="l" t="t" r="r" b="b"/>
            <a:pathLst>
              <a:path w="906609" h="185637">
                <a:moveTo>
                  <a:pt x="0" y="0"/>
                </a:moveTo>
                <a:lnTo>
                  <a:pt x="906609" y="0"/>
                </a:lnTo>
                <a:lnTo>
                  <a:pt x="906609" y="185638"/>
                </a:lnTo>
                <a:lnTo>
                  <a:pt x="0" y="185638"/>
                </a:lnTo>
                <a:close/>
              </a:path>
            </a:pathLst>
          </a:custGeom>
          <a:noFill/>
          <a:ln w="2597" cap="flat">
            <a:noFill/>
            <a:prstDash val="solid"/>
            <a:miter/>
          </a:ln>
        </p:spPr>
        <p:txBody>
          <a:bodyPr rtlCol="0" anchor="ctr"/>
          <a:lstStyle/>
          <a:p>
            <a:endParaRPr lang="en-GB"/>
          </a:p>
        </p:txBody>
      </p:sp>
      <p:sp>
        <p:nvSpPr>
          <p:cNvPr id="420" name="TextBox 419">
            <a:extLst>
              <a:ext uri="{FF2B5EF4-FFF2-40B4-BE49-F238E27FC236}">
                <a16:creationId xmlns:a16="http://schemas.microsoft.com/office/drawing/2014/main" id="{4164DDE0-494B-D62B-066D-199441A9800F}"/>
              </a:ext>
            </a:extLst>
          </p:cNvPr>
          <p:cNvSpPr txBox="1"/>
          <p:nvPr/>
        </p:nvSpPr>
        <p:spPr>
          <a:xfrm>
            <a:off x="1278149" y="4704086"/>
            <a:ext cx="451746" cy="153888"/>
          </a:xfrm>
          <a:prstGeom prst="rect">
            <a:avLst/>
          </a:prstGeom>
          <a:noFill/>
        </p:spPr>
        <p:txBody>
          <a:bodyPr wrap="square" lIns="0" tIns="0" rIns="0" bIns="0" rtlCol="0" anchor="t">
            <a:spAutoFit/>
          </a:bodyPr>
          <a:lstStyle/>
          <a:p>
            <a:pPr algn="l"/>
            <a:r>
              <a:rPr lang="en-GB" sz="1000" spc="0" baseline="0">
                <a:ln/>
                <a:cs typeface="Arial"/>
                <a:sym typeface="Arial"/>
                <a:rtl val="0"/>
              </a:rPr>
              <a:t>Hybrid</a:t>
            </a:r>
          </a:p>
        </p:txBody>
      </p:sp>
      <p:sp>
        <p:nvSpPr>
          <p:cNvPr id="422" name="TextBox 421">
            <a:extLst>
              <a:ext uri="{FF2B5EF4-FFF2-40B4-BE49-F238E27FC236}">
                <a16:creationId xmlns:a16="http://schemas.microsoft.com/office/drawing/2014/main" id="{F21CDD22-2CB5-294A-3EF0-143FDBEAAB7B}"/>
              </a:ext>
            </a:extLst>
          </p:cNvPr>
          <p:cNvSpPr txBox="1"/>
          <p:nvPr/>
        </p:nvSpPr>
        <p:spPr>
          <a:xfrm>
            <a:off x="1531396" y="3970419"/>
            <a:ext cx="737758" cy="153888"/>
          </a:xfrm>
          <a:prstGeom prst="rect">
            <a:avLst/>
          </a:prstGeom>
          <a:noFill/>
        </p:spPr>
        <p:txBody>
          <a:bodyPr wrap="square" lIns="0" tIns="0" rIns="0" bIns="0" rtlCol="0" anchor="t">
            <a:spAutoFit/>
          </a:bodyPr>
          <a:lstStyle/>
          <a:p>
            <a:pPr algn="l"/>
            <a:r>
              <a:rPr lang="en-GB" sz="1000" spc="0" baseline="0" err="1">
                <a:ln/>
                <a:cs typeface="Arial"/>
                <a:sym typeface="Arial"/>
                <a:rtl val="0"/>
              </a:rPr>
              <a:t>Solarthermie</a:t>
            </a:r>
            <a:endParaRPr lang="en-GB" sz="1000" spc="0" baseline="0">
              <a:ln/>
              <a:cs typeface="Arial"/>
              <a:sym typeface="Arial"/>
              <a:rtl val="0"/>
            </a:endParaRPr>
          </a:p>
        </p:txBody>
      </p:sp>
      <p:sp>
        <p:nvSpPr>
          <p:cNvPr id="423" name="Freeform: Shape 422">
            <a:extLst>
              <a:ext uri="{FF2B5EF4-FFF2-40B4-BE49-F238E27FC236}">
                <a16:creationId xmlns:a16="http://schemas.microsoft.com/office/drawing/2014/main" id="{E1599628-13EE-5D7D-5E00-4BCBA825311B}"/>
              </a:ext>
            </a:extLst>
          </p:cNvPr>
          <p:cNvSpPr/>
          <p:nvPr/>
        </p:nvSpPr>
        <p:spPr>
          <a:xfrm>
            <a:off x="596303" y="3679229"/>
            <a:ext cx="551332" cy="92558"/>
          </a:xfrm>
          <a:custGeom>
            <a:avLst/>
            <a:gdLst>
              <a:gd name="connsiteX0" fmla="*/ 0 w 1105767"/>
              <a:gd name="connsiteY0" fmla="*/ 0 h 185637"/>
              <a:gd name="connsiteX1" fmla="*/ 1105767 w 1105767"/>
              <a:gd name="connsiteY1" fmla="*/ 0 h 185637"/>
              <a:gd name="connsiteX2" fmla="*/ 1105767 w 1105767"/>
              <a:gd name="connsiteY2" fmla="*/ 185638 h 185637"/>
              <a:gd name="connsiteX3" fmla="*/ 0 w 1105767"/>
              <a:gd name="connsiteY3" fmla="*/ 185638 h 185637"/>
            </a:gdLst>
            <a:ahLst/>
            <a:cxnLst>
              <a:cxn ang="0">
                <a:pos x="connsiteX0" y="connsiteY0"/>
              </a:cxn>
              <a:cxn ang="0">
                <a:pos x="connsiteX1" y="connsiteY1"/>
              </a:cxn>
              <a:cxn ang="0">
                <a:pos x="connsiteX2" y="connsiteY2"/>
              </a:cxn>
              <a:cxn ang="0">
                <a:pos x="connsiteX3" y="connsiteY3"/>
              </a:cxn>
            </a:cxnLst>
            <a:rect l="l" t="t" r="r" b="b"/>
            <a:pathLst>
              <a:path w="1105767" h="185637">
                <a:moveTo>
                  <a:pt x="0" y="0"/>
                </a:moveTo>
                <a:lnTo>
                  <a:pt x="1105767" y="0"/>
                </a:lnTo>
                <a:lnTo>
                  <a:pt x="1105767" y="185638"/>
                </a:lnTo>
                <a:lnTo>
                  <a:pt x="0" y="185638"/>
                </a:lnTo>
                <a:close/>
              </a:path>
            </a:pathLst>
          </a:custGeom>
          <a:noFill/>
          <a:ln w="2597" cap="flat">
            <a:noFill/>
            <a:prstDash val="solid"/>
            <a:miter/>
          </a:ln>
        </p:spPr>
        <p:txBody>
          <a:bodyPr rtlCol="0" anchor="ctr"/>
          <a:lstStyle/>
          <a:p>
            <a:endParaRPr lang="en-GB"/>
          </a:p>
        </p:txBody>
      </p:sp>
      <p:sp>
        <p:nvSpPr>
          <p:cNvPr id="424" name="TextBox 423">
            <a:extLst>
              <a:ext uri="{FF2B5EF4-FFF2-40B4-BE49-F238E27FC236}">
                <a16:creationId xmlns:a16="http://schemas.microsoft.com/office/drawing/2014/main" id="{0916A6F8-4A7E-76F9-EC87-0ACBCFDE9C88}"/>
              </a:ext>
            </a:extLst>
          </p:cNvPr>
          <p:cNvSpPr txBox="1"/>
          <p:nvPr/>
        </p:nvSpPr>
        <p:spPr>
          <a:xfrm>
            <a:off x="662664" y="3427028"/>
            <a:ext cx="1191016" cy="153888"/>
          </a:xfrm>
          <a:prstGeom prst="rect">
            <a:avLst/>
          </a:prstGeom>
          <a:noFill/>
        </p:spPr>
        <p:txBody>
          <a:bodyPr wrap="square" lIns="0" tIns="0" rIns="0" bIns="0" rtlCol="0" anchor="t">
            <a:spAutoFit/>
          </a:bodyPr>
          <a:lstStyle/>
          <a:p>
            <a:pPr algn="l"/>
            <a:r>
              <a:rPr lang="en-GB" sz="1000" spc="0" baseline="0">
                <a:ln/>
                <a:cs typeface="Arial"/>
                <a:sym typeface="Arial"/>
                <a:rtl val="0"/>
              </a:rPr>
              <a:t>Stromdirektheizung</a:t>
            </a:r>
          </a:p>
        </p:txBody>
      </p:sp>
      <p:sp>
        <p:nvSpPr>
          <p:cNvPr id="425" name="Freeform: Shape 424">
            <a:extLst>
              <a:ext uri="{FF2B5EF4-FFF2-40B4-BE49-F238E27FC236}">
                <a16:creationId xmlns:a16="http://schemas.microsoft.com/office/drawing/2014/main" id="{2F5CF3D0-D6FF-5F12-F3F3-73B038D65053}"/>
              </a:ext>
            </a:extLst>
          </p:cNvPr>
          <p:cNvSpPr/>
          <p:nvPr/>
        </p:nvSpPr>
        <p:spPr>
          <a:xfrm>
            <a:off x="2347860" y="4613441"/>
            <a:ext cx="492737" cy="92558"/>
          </a:xfrm>
          <a:custGeom>
            <a:avLst/>
            <a:gdLst>
              <a:gd name="connsiteX0" fmla="*/ 0 w 988248"/>
              <a:gd name="connsiteY0" fmla="*/ 0 h 185637"/>
              <a:gd name="connsiteX1" fmla="*/ 988249 w 988248"/>
              <a:gd name="connsiteY1" fmla="*/ 0 h 185637"/>
              <a:gd name="connsiteX2" fmla="*/ 988249 w 988248"/>
              <a:gd name="connsiteY2" fmla="*/ 185638 h 185637"/>
              <a:gd name="connsiteX3" fmla="*/ 0 w 988248"/>
              <a:gd name="connsiteY3" fmla="*/ 185638 h 185637"/>
            </a:gdLst>
            <a:ahLst/>
            <a:cxnLst>
              <a:cxn ang="0">
                <a:pos x="connsiteX0" y="connsiteY0"/>
              </a:cxn>
              <a:cxn ang="0">
                <a:pos x="connsiteX1" y="connsiteY1"/>
              </a:cxn>
              <a:cxn ang="0">
                <a:pos x="connsiteX2" y="connsiteY2"/>
              </a:cxn>
              <a:cxn ang="0">
                <a:pos x="connsiteX3" y="connsiteY3"/>
              </a:cxn>
            </a:cxnLst>
            <a:rect l="l" t="t" r="r" b="b"/>
            <a:pathLst>
              <a:path w="988248" h="185637">
                <a:moveTo>
                  <a:pt x="0" y="0"/>
                </a:moveTo>
                <a:lnTo>
                  <a:pt x="988249" y="0"/>
                </a:lnTo>
                <a:lnTo>
                  <a:pt x="988249" y="185638"/>
                </a:lnTo>
                <a:lnTo>
                  <a:pt x="0" y="185638"/>
                </a:lnTo>
                <a:close/>
              </a:path>
            </a:pathLst>
          </a:custGeom>
          <a:noFill/>
          <a:ln w="2597" cap="flat">
            <a:noFill/>
            <a:prstDash val="solid"/>
            <a:miter/>
          </a:ln>
        </p:spPr>
        <p:txBody>
          <a:bodyPr rtlCol="0" anchor="ctr"/>
          <a:lstStyle/>
          <a:p>
            <a:endParaRPr lang="en-GB"/>
          </a:p>
        </p:txBody>
      </p:sp>
      <p:sp>
        <p:nvSpPr>
          <p:cNvPr id="426" name="TextBox 425">
            <a:extLst>
              <a:ext uri="{FF2B5EF4-FFF2-40B4-BE49-F238E27FC236}">
                <a16:creationId xmlns:a16="http://schemas.microsoft.com/office/drawing/2014/main" id="{A9703F82-B77B-7DF0-7770-C50BF9108E8F}"/>
              </a:ext>
            </a:extLst>
          </p:cNvPr>
          <p:cNvSpPr txBox="1"/>
          <p:nvPr/>
        </p:nvSpPr>
        <p:spPr>
          <a:xfrm>
            <a:off x="2253805" y="4639313"/>
            <a:ext cx="626882" cy="153888"/>
          </a:xfrm>
          <a:prstGeom prst="rect">
            <a:avLst/>
          </a:prstGeom>
          <a:noFill/>
        </p:spPr>
        <p:txBody>
          <a:bodyPr wrap="square" lIns="0" tIns="0" rIns="0" bIns="0" rtlCol="0" anchor="t">
            <a:spAutoFit/>
          </a:bodyPr>
          <a:lstStyle/>
          <a:p>
            <a:pPr algn="l"/>
            <a:r>
              <a:rPr lang="en-GB" sz="1000" spc="0" baseline="0" err="1">
                <a:ln/>
                <a:cs typeface="Arial"/>
                <a:sym typeface="Arial"/>
                <a:rtl val="0"/>
              </a:rPr>
              <a:t>Biomasse</a:t>
            </a:r>
            <a:endParaRPr lang="en-GB" sz="1000" spc="0" baseline="0">
              <a:ln/>
              <a:cs typeface="Arial"/>
              <a:sym typeface="Arial"/>
              <a:rtl val="0"/>
            </a:endParaRPr>
          </a:p>
        </p:txBody>
      </p:sp>
      <p:sp>
        <p:nvSpPr>
          <p:cNvPr id="427" name="TextBox 426">
            <a:extLst>
              <a:ext uri="{FF2B5EF4-FFF2-40B4-BE49-F238E27FC236}">
                <a16:creationId xmlns:a16="http://schemas.microsoft.com/office/drawing/2014/main" id="{4615C5B0-36A6-032A-289A-9B4D0531DFCD}"/>
              </a:ext>
            </a:extLst>
          </p:cNvPr>
          <p:cNvSpPr txBox="1"/>
          <p:nvPr/>
        </p:nvSpPr>
        <p:spPr>
          <a:xfrm>
            <a:off x="2095251" y="3293986"/>
            <a:ext cx="943991" cy="307777"/>
          </a:xfrm>
          <a:prstGeom prst="rect">
            <a:avLst/>
          </a:prstGeom>
          <a:noFill/>
        </p:spPr>
        <p:txBody>
          <a:bodyPr wrap="square" lIns="0" tIns="0" rIns="0" bIns="0" rtlCol="0" anchor="t">
            <a:spAutoFit/>
          </a:bodyPr>
          <a:lstStyle/>
          <a:p>
            <a:pPr algn="l"/>
            <a:r>
              <a:rPr lang="en-GB" sz="1000" spc="0" baseline="0" err="1">
                <a:ln/>
                <a:cs typeface="Arial"/>
                <a:sym typeface="Arial"/>
                <a:rtl val="0"/>
              </a:rPr>
              <a:t>Solarthermie</a:t>
            </a:r>
            <a:r>
              <a:rPr lang="en-GB" sz="1000" spc="0" baseline="0">
                <a:ln/>
                <a:cs typeface="Arial"/>
                <a:sym typeface="Arial"/>
                <a:rtl val="0"/>
              </a:rPr>
              <a:t>-Hybrid</a:t>
            </a:r>
          </a:p>
        </p:txBody>
      </p:sp>
      <p:grpSp>
        <p:nvGrpSpPr>
          <p:cNvPr id="519" name="Graphic 6">
            <a:extLst>
              <a:ext uri="{FF2B5EF4-FFF2-40B4-BE49-F238E27FC236}">
                <a16:creationId xmlns:a16="http://schemas.microsoft.com/office/drawing/2014/main" id="{41C92EB0-72F6-9E8B-0D56-D770DD9816F3}"/>
              </a:ext>
            </a:extLst>
          </p:cNvPr>
          <p:cNvGrpSpPr/>
          <p:nvPr/>
        </p:nvGrpSpPr>
        <p:grpSpPr>
          <a:xfrm>
            <a:off x="8980422" y="4511090"/>
            <a:ext cx="424314" cy="515830"/>
            <a:chOff x="7307489" y="3354997"/>
            <a:chExt cx="851012" cy="1034563"/>
          </a:xfrm>
        </p:grpSpPr>
        <p:grpSp>
          <p:nvGrpSpPr>
            <p:cNvPr id="835" name="Graphic 6">
              <a:extLst>
                <a:ext uri="{FF2B5EF4-FFF2-40B4-BE49-F238E27FC236}">
                  <a16:creationId xmlns:a16="http://schemas.microsoft.com/office/drawing/2014/main" id="{A11D763B-EE4A-B623-A9F9-6A3CD95E34B8}"/>
                </a:ext>
              </a:extLst>
            </p:cNvPr>
            <p:cNvGrpSpPr/>
            <p:nvPr/>
          </p:nvGrpSpPr>
          <p:grpSpPr>
            <a:xfrm>
              <a:off x="7339468" y="4044805"/>
              <a:ext cx="272476" cy="344755"/>
              <a:chOff x="7339468" y="4044805"/>
              <a:chExt cx="272476" cy="344755"/>
            </a:xfrm>
            <a:solidFill>
              <a:srgbClr val="0069FF"/>
            </a:solidFill>
          </p:grpSpPr>
          <p:sp>
            <p:nvSpPr>
              <p:cNvPr id="863" name="Freeform: Shape 862">
                <a:extLst>
                  <a:ext uri="{FF2B5EF4-FFF2-40B4-BE49-F238E27FC236}">
                    <a16:creationId xmlns:a16="http://schemas.microsoft.com/office/drawing/2014/main" id="{8C3885F0-541F-BFFC-82F5-9FAF31071EB8}"/>
                  </a:ext>
                </a:extLst>
              </p:cNvPr>
              <p:cNvSpPr/>
              <p:nvPr/>
            </p:nvSpPr>
            <p:spPr>
              <a:xfrm>
                <a:off x="7344668" y="4049745"/>
                <a:ext cx="262076" cy="334356"/>
              </a:xfrm>
              <a:custGeom>
                <a:avLst/>
                <a:gdLst>
                  <a:gd name="connsiteX0" fmla="*/ 0 w 262076"/>
                  <a:gd name="connsiteY0" fmla="*/ 0 h 334356"/>
                  <a:gd name="connsiteX1" fmla="*/ 262077 w 262076"/>
                  <a:gd name="connsiteY1" fmla="*/ 0 h 334356"/>
                  <a:gd name="connsiteX2" fmla="*/ 262077 w 262076"/>
                  <a:gd name="connsiteY2" fmla="*/ 334356 h 334356"/>
                  <a:gd name="connsiteX3" fmla="*/ 0 w 262076"/>
                  <a:gd name="connsiteY3" fmla="*/ 334356 h 334356"/>
                </a:gdLst>
                <a:ahLst/>
                <a:cxnLst>
                  <a:cxn ang="0">
                    <a:pos x="connsiteX0" y="connsiteY0"/>
                  </a:cxn>
                  <a:cxn ang="0">
                    <a:pos x="connsiteX1" y="connsiteY1"/>
                  </a:cxn>
                  <a:cxn ang="0">
                    <a:pos x="connsiteX2" y="connsiteY2"/>
                  </a:cxn>
                  <a:cxn ang="0">
                    <a:pos x="connsiteX3" y="connsiteY3"/>
                  </a:cxn>
                </a:cxnLst>
                <a:rect l="l" t="t" r="r" b="b"/>
                <a:pathLst>
                  <a:path w="262076" h="334356">
                    <a:moveTo>
                      <a:pt x="0" y="0"/>
                    </a:moveTo>
                    <a:lnTo>
                      <a:pt x="262077" y="0"/>
                    </a:lnTo>
                    <a:lnTo>
                      <a:pt x="262077" y="334356"/>
                    </a:lnTo>
                    <a:lnTo>
                      <a:pt x="0" y="334356"/>
                    </a:lnTo>
                    <a:close/>
                  </a:path>
                </a:pathLst>
              </a:custGeom>
              <a:solidFill>
                <a:srgbClr val="0069FF"/>
              </a:solidFill>
              <a:ln w="2597" cap="flat">
                <a:noFill/>
                <a:prstDash val="solid"/>
                <a:miter/>
              </a:ln>
            </p:spPr>
            <p:txBody>
              <a:bodyPr rtlCol="0" anchor="ctr"/>
              <a:lstStyle/>
              <a:p>
                <a:endParaRPr lang="en-GB"/>
              </a:p>
            </p:txBody>
          </p:sp>
          <p:sp>
            <p:nvSpPr>
              <p:cNvPr id="864" name="Freeform: Shape 863">
                <a:extLst>
                  <a:ext uri="{FF2B5EF4-FFF2-40B4-BE49-F238E27FC236}">
                    <a16:creationId xmlns:a16="http://schemas.microsoft.com/office/drawing/2014/main" id="{3DF3B4EE-3C06-236A-13B3-1C522441B8B0}"/>
                  </a:ext>
                </a:extLst>
              </p:cNvPr>
              <p:cNvSpPr/>
              <p:nvPr/>
            </p:nvSpPr>
            <p:spPr>
              <a:xfrm>
                <a:off x="7339468" y="4044805"/>
                <a:ext cx="272476" cy="344755"/>
              </a:xfrm>
              <a:custGeom>
                <a:avLst/>
                <a:gdLst>
                  <a:gd name="connsiteX0" fmla="*/ 267277 w 272476"/>
                  <a:gd name="connsiteY0" fmla="*/ 344756 h 344755"/>
                  <a:gd name="connsiteX1" fmla="*/ 5200 w 272476"/>
                  <a:gd name="connsiteY1" fmla="*/ 344756 h 344755"/>
                  <a:gd name="connsiteX2" fmla="*/ 0 w 272476"/>
                  <a:gd name="connsiteY2" fmla="*/ 339556 h 344755"/>
                  <a:gd name="connsiteX3" fmla="*/ 0 w 272476"/>
                  <a:gd name="connsiteY3" fmla="*/ 5200 h 344755"/>
                  <a:gd name="connsiteX4" fmla="*/ 5200 w 272476"/>
                  <a:gd name="connsiteY4" fmla="*/ 0 h 344755"/>
                  <a:gd name="connsiteX5" fmla="*/ 267277 w 272476"/>
                  <a:gd name="connsiteY5" fmla="*/ 0 h 344755"/>
                  <a:gd name="connsiteX6" fmla="*/ 272477 w 272476"/>
                  <a:gd name="connsiteY6" fmla="*/ 5200 h 344755"/>
                  <a:gd name="connsiteX7" fmla="*/ 272477 w 272476"/>
                  <a:gd name="connsiteY7" fmla="*/ 339556 h 344755"/>
                  <a:gd name="connsiteX8" fmla="*/ 267277 w 272476"/>
                  <a:gd name="connsiteY8" fmla="*/ 344756 h 344755"/>
                  <a:gd name="connsiteX9" fmla="*/ 10400 w 272476"/>
                  <a:gd name="connsiteY9" fmla="*/ 334096 h 344755"/>
                  <a:gd name="connsiteX10" fmla="*/ 261817 w 272476"/>
                  <a:gd name="connsiteY10" fmla="*/ 334096 h 344755"/>
                  <a:gd name="connsiteX11" fmla="*/ 261817 w 272476"/>
                  <a:gd name="connsiteY11" fmla="*/ 10400 h 344755"/>
                  <a:gd name="connsiteX12" fmla="*/ 10400 w 272476"/>
                  <a:gd name="connsiteY12" fmla="*/ 10400 h 344755"/>
                  <a:gd name="connsiteX13" fmla="*/ 10400 w 272476"/>
                  <a:gd name="connsiteY13" fmla="*/ 334096 h 344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2476" h="344755">
                    <a:moveTo>
                      <a:pt x="267277" y="344756"/>
                    </a:moveTo>
                    <a:lnTo>
                      <a:pt x="5200" y="344756"/>
                    </a:lnTo>
                    <a:cubicBezTo>
                      <a:pt x="2080" y="344756"/>
                      <a:pt x="0" y="342676"/>
                      <a:pt x="0" y="339556"/>
                    </a:cubicBezTo>
                    <a:lnTo>
                      <a:pt x="0" y="5200"/>
                    </a:lnTo>
                    <a:cubicBezTo>
                      <a:pt x="0" y="2080"/>
                      <a:pt x="2080" y="0"/>
                      <a:pt x="5200" y="0"/>
                    </a:cubicBezTo>
                    <a:lnTo>
                      <a:pt x="267277" y="0"/>
                    </a:lnTo>
                    <a:cubicBezTo>
                      <a:pt x="270397" y="0"/>
                      <a:pt x="272477" y="2080"/>
                      <a:pt x="272477" y="5200"/>
                    </a:cubicBezTo>
                    <a:lnTo>
                      <a:pt x="272477" y="339556"/>
                    </a:lnTo>
                    <a:cubicBezTo>
                      <a:pt x="272477" y="342676"/>
                      <a:pt x="270397" y="344756"/>
                      <a:pt x="267277" y="344756"/>
                    </a:cubicBezTo>
                    <a:close/>
                    <a:moveTo>
                      <a:pt x="10400" y="334096"/>
                    </a:moveTo>
                    <a:lnTo>
                      <a:pt x="261817" y="334096"/>
                    </a:lnTo>
                    <a:lnTo>
                      <a:pt x="261817" y="10400"/>
                    </a:lnTo>
                    <a:lnTo>
                      <a:pt x="10400" y="10400"/>
                    </a:lnTo>
                    <a:lnTo>
                      <a:pt x="10400" y="334096"/>
                    </a:lnTo>
                    <a:close/>
                  </a:path>
                </a:pathLst>
              </a:custGeom>
              <a:solidFill>
                <a:srgbClr val="0069FF"/>
              </a:solidFill>
              <a:ln w="2597" cap="flat">
                <a:noFill/>
                <a:prstDash val="solid"/>
                <a:miter/>
              </a:ln>
            </p:spPr>
            <p:txBody>
              <a:bodyPr rtlCol="0" anchor="ctr"/>
              <a:lstStyle/>
              <a:p>
                <a:endParaRPr lang="en-GB"/>
              </a:p>
            </p:txBody>
          </p:sp>
        </p:grpSp>
        <p:sp>
          <p:nvSpPr>
            <p:cNvPr id="836" name="Freeform: Shape 835">
              <a:extLst>
                <a:ext uri="{FF2B5EF4-FFF2-40B4-BE49-F238E27FC236}">
                  <a16:creationId xmlns:a16="http://schemas.microsoft.com/office/drawing/2014/main" id="{1057366A-097B-FA53-97AC-897701F07F52}"/>
                </a:ext>
              </a:extLst>
            </p:cNvPr>
            <p:cNvSpPr/>
            <p:nvPr/>
          </p:nvSpPr>
          <p:spPr>
            <a:xfrm>
              <a:off x="7307489" y="4012566"/>
              <a:ext cx="279237" cy="351515"/>
            </a:xfrm>
            <a:custGeom>
              <a:avLst/>
              <a:gdLst>
                <a:gd name="connsiteX0" fmla="*/ 270657 w 279237"/>
                <a:gd name="connsiteY0" fmla="*/ 351516 h 351515"/>
                <a:gd name="connsiteX1" fmla="*/ 8580 w 279237"/>
                <a:gd name="connsiteY1" fmla="*/ 351516 h 351515"/>
                <a:gd name="connsiteX2" fmla="*/ 0 w 279237"/>
                <a:gd name="connsiteY2" fmla="*/ 342936 h 351515"/>
                <a:gd name="connsiteX3" fmla="*/ 0 w 279237"/>
                <a:gd name="connsiteY3" fmla="*/ 8580 h 351515"/>
                <a:gd name="connsiteX4" fmla="*/ 8580 w 279237"/>
                <a:gd name="connsiteY4" fmla="*/ 0 h 351515"/>
                <a:gd name="connsiteX5" fmla="*/ 270657 w 279237"/>
                <a:gd name="connsiteY5" fmla="*/ 0 h 351515"/>
                <a:gd name="connsiteX6" fmla="*/ 279237 w 279237"/>
                <a:gd name="connsiteY6" fmla="*/ 8580 h 351515"/>
                <a:gd name="connsiteX7" fmla="*/ 279237 w 279237"/>
                <a:gd name="connsiteY7" fmla="*/ 342936 h 351515"/>
                <a:gd name="connsiteX8" fmla="*/ 270657 w 279237"/>
                <a:gd name="connsiteY8" fmla="*/ 351516 h 351515"/>
                <a:gd name="connsiteX9" fmla="*/ 15860 w 279237"/>
                <a:gd name="connsiteY9" fmla="*/ 334356 h 351515"/>
                <a:gd name="connsiteX10" fmla="*/ 262077 w 279237"/>
                <a:gd name="connsiteY10" fmla="*/ 334356 h 351515"/>
                <a:gd name="connsiteX11" fmla="*/ 262077 w 279237"/>
                <a:gd name="connsiteY11" fmla="*/ 15860 h 351515"/>
                <a:gd name="connsiteX12" fmla="*/ 15860 w 279237"/>
                <a:gd name="connsiteY12" fmla="*/ 15860 h 351515"/>
                <a:gd name="connsiteX13" fmla="*/ 15860 w 279237"/>
                <a:gd name="connsiteY13" fmla="*/ 334356 h 35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9237" h="351515">
                  <a:moveTo>
                    <a:pt x="270657" y="351516"/>
                  </a:moveTo>
                  <a:lnTo>
                    <a:pt x="8580" y="351516"/>
                  </a:lnTo>
                  <a:cubicBezTo>
                    <a:pt x="4420" y="351516"/>
                    <a:pt x="0" y="348396"/>
                    <a:pt x="0" y="342936"/>
                  </a:cubicBezTo>
                  <a:lnTo>
                    <a:pt x="0" y="8580"/>
                  </a:lnTo>
                  <a:cubicBezTo>
                    <a:pt x="0" y="4420"/>
                    <a:pt x="3120" y="0"/>
                    <a:pt x="8580" y="0"/>
                  </a:cubicBezTo>
                  <a:lnTo>
                    <a:pt x="270657" y="0"/>
                  </a:lnTo>
                  <a:cubicBezTo>
                    <a:pt x="274817" y="0"/>
                    <a:pt x="279237" y="3120"/>
                    <a:pt x="279237" y="8580"/>
                  </a:cubicBezTo>
                  <a:lnTo>
                    <a:pt x="279237" y="342936"/>
                  </a:lnTo>
                  <a:cubicBezTo>
                    <a:pt x="277937" y="347096"/>
                    <a:pt x="274817" y="351516"/>
                    <a:pt x="270657" y="351516"/>
                  </a:cubicBezTo>
                  <a:close/>
                  <a:moveTo>
                    <a:pt x="15860" y="334356"/>
                  </a:moveTo>
                  <a:lnTo>
                    <a:pt x="262077" y="334356"/>
                  </a:lnTo>
                  <a:lnTo>
                    <a:pt x="262077" y="15860"/>
                  </a:lnTo>
                  <a:lnTo>
                    <a:pt x="15860" y="15860"/>
                  </a:lnTo>
                  <a:lnTo>
                    <a:pt x="15860" y="334356"/>
                  </a:lnTo>
                  <a:close/>
                </a:path>
              </a:pathLst>
            </a:custGeom>
            <a:solidFill>
              <a:srgbClr val="00005A"/>
            </a:solidFill>
            <a:ln w="2597" cap="flat">
              <a:noFill/>
              <a:prstDash val="solid"/>
              <a:miter/>
            </a:ln>
          </p:spPr>
          <p:txBody>
            <a:bodyPr rtlCol="0" anchor="ctr"/>
            <a:lstStyle/>
            <a:p>
              <a:endParaRPr lang="en-GB"/>
            </a:p>
          </p:txBody>
        </p:sp>
        <p:sp>
          <p:nvSpPr>
            <p:cNvPr id="837" name="Freeform: Shape 836">
              <a:extLst>
                <a:ext uri="{FF2B5EF4-FFF2-40B4-BE49-F238E27FC236}">
                  <a16:creationId xmlns:a16="http://schemas.microsoft.com/office/drawing/2014/main" id="{C407FDFB-1CB6-5DCD-A2F0-52E707B99F5E}"/>
                </a:ext>
              </a:extLst>
            </p:cNvPr>
            <p:cNvSpPr/>
            <p:nvPr/>
          </p:nvSpPr>
          <p:spPr>
            <a:xfrm>
              <a:off x="7307489" y="4124104"/>
              <a:ext cx="200718" cy="17159"/>
            </a:xfrm>
            <a:custGeom>
              <a:avLst/>
              <a:gdLst>
                <a:gd name="connsiteX0" fmla="*/ 192138 w 200718"/>
                <a:gd name="connsiteY0" fmla="*/ 17160 h 17159"/>
                <a:gd name="connsiteX1" fmla="*/ 8580 w 200718"/>
                <a:gd name="connsiteY1" fmla="*/ 17160 h 17159"/>
                <a:gd name="connsiteX2" fmla="*/ 0 w 200718"/>
                <a:gd name="connsiteY2" fmla="*/ 8580 h 17159"/>
                <a:gd name="connsiteX3" fmla="*/ 8580 w 200718"/>
                <a:gd name="connsiteY3" fmla="*/ 0 h 17159"/>
                <a:gd name="connsiteX4" fmla="*/ 192138 w 200718"/>
                <a:gd name="connsiteY4" fmla="*/ 0 h 17159"/>
                <a:gd name="connsiteX5" fmla="*/ 200718 w 200718"/>
                <a:gd name="connsiteY5" fmla="*/ 8580 h 17159"/>
                <a:gd name="connsiteX6" fmla="*/ 192138 w 20071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718" h="17159">
                  <a:moveTo>
                    <a:pt x="192138" y="17160"/>
                  </a:moveTo>
                  <a:lnTo>
                    <a:pt x="8580" y="17160"/>
                  </a:lnTo>
                  <a:cubicBezTo>
                    <a:pt x="4420" y="17160"/>
                    <a:pt x="0" y="14040"/>
                    <a:pt x="0" y="8580"/>
                  </a:cubicBezTo>
                  <a:cubicBezTo>
                    <a:pt x="0" y="3380"/>
                    <a:pt x="3120" y="0"/>
                    <a:pt x="8580" y="0"/>
                  </a:cubicBezTo>
                  <a:lnTo>
                    <a:pt x="192138" y="0"/>
                  </a:lnTo>
                  <a:cubicBezTo>
                    <a:pt x="196298" y="0"/>
                    <a:pt x="200718" y="3120"/>
                    <a:pt x="200718" y="8580"/>
                  </a:cubicBezTo>
                  <a:cubicBezTo>
                    <a:pt x="200458" y="13780"/>
                    <a:pt x="196298" y="17160"/>
                    <a:pt x="192138" y="17160"/>
                  </a:cubicBezTo>
                  <a:close/>
                </a:path>
              </a:pathLst>
            </a:custGeom>
            <a:solidFill>
              <a:srgbClr val="00005A"/>
            </a:solidFill>
            <a:ln w="2597" cap="flat">
              <a:noFill/>
              <a:prstDash val="solid"/>
              <a:miter/>
            </a:ln>
          </p:spPr>
          <p:txBody>
            <a:bodyPr rtlCol="0" anchor="ctr"/>
            <a:lstStyle/>
            <a:p>
              <a:endParaRPr lang="en-GB"/>
            </a:p>
          </p:txBody>
        </p:sp>
        <p:sp>
          <p:nvSpPr>
            <p:cNvPr id="838" name="Freeform: Shape 837">
              <a:extLst>
                <a:ext uri="{FF2B5EF4-FFF2-40B4-BE49-F238E27FC236}">
                  <a16:creationId xmlns:a16="http://schemas.microsoft.com/office/drawing/2014/main" id="{721EB510-59E0-2AF9-1E9E-2B5CF89A303A}"/>
                </a:ext>
              </a:extLst>
            </p:cNvPr>
            <p:cNvSpPr/>
            <p:nvPr/>
          </p:nvSpPr>
          <p:spPr>
            <a:xfrm>
              <a:off x="7491047" y="4012566"/>
              <a:ext cx="17160" cy="350475"/>
            </a:xfrm>
            <a:custGeom>
              <a:avLst/>
              <a:gdLst>
                <a:gd name="connsiteX0" fmla="*/ 8580 w 17160"/>
                <a:gd name="connsiteY0" fmla="*/ 350476 h 350475"/>
                <a:gd name="connsiteX1" fmla="*/ 0 w 17160"/>
                <a:gd name="connsiteY1" fmla="*/ 341896 h 350475"/>
                <a:gd name="connsiteX2" fmla="*/ 0 w 17160"/>
                <a:gd name="connsiteY2" fmla="*/ 8580 h 350475"/>
                <a:gd name="connsiteX3" fmla="*/ 8580 w 17160"/>
                <a:gd name="connsiteY3" fmla="*/ 0 h 350475"/>
                <a:gd name="connsiteX4" fmla="*/ 17160 w 17160"/>
                <a:gd name="connsiteY4" fmla="*/ 8580 h 350475"/>
                <a:gd name="connsiteX5" fmla="*/ 17160 w 17160"/>
                <a:gd name="connsiteY5" fmla="*/ 341896 h 350475"/>
                <a:gd name="connsiteX6" fmla="*/ 8580 w 17160"/>
                <a:gd name="connsiteY6" fmla="*/ 350476 h 35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60" h="350475">
                  <a:moveTo>
                    <a:pt x="8580" y="350476"/>
                  </a:moveTo>
                  <a:cubicBezTo>
                    <a:pt x="4420" y="350476"/>
                    <a:pt x="0" y="347356"/>
                    <a:pt x="0" y="341896"/>
                  </a:cubicBezTo>
                  <a:lnTo>
                    <a:pt x="0" y="8580"/>
                  </a:lnTo>
                  <a:cubicBezTo>
                    <a:pt x="0" y="4420"/>
                    <a:pt x="3120" y="0"/>
                    <a:pt x="8580" y="0"/>
                  </a:cubicBezTo>
                  <a:cubicBezTo>
                    <a:pt x="14040" y="0"/>
                    <a:pt x="17160" y="3120"/>
                    <a:pt x="17160" y="8580"/>
                  </a:cubicBezTo>
                  <a:lnTo>
                    <a:pt x="17160" y="341896"/>
                  </a:lnTo>
                  <a:cubicBezTo>
                    <a:pt x="15860" y="346056"/>
                    <a:pt x="12740" y="350476"/>
                    <a:pt x="8580" y="350476"/>
                  </a:cubicBezTo>
                  <a:close/>
                </a:path>
              </a:pathLst>
            </a:custGeom>
            <a:solidFill>
              <a:srgbClr val="00005A"/>
            </a:solidFill>
            <a:ln w="2597" cap="flat">
              <a:noFill/>
              <a:prstDash val="solid"/>
              <a:miter/>
            </a:ln>
          </p:spPr>
          <p:txBody>
            <a:bodyPr rtlCol="0" anchor="ctr"/>
            <a:lstStyle/>
            <a:p>
              <a:endParaRPr lang="en-GB"/>
            </a:p>
          </p:txBody>
        </p:sp>
        <p:sp>
          <p:nvSpPr>
            <p:cNvPr id="839" name="Freeform: Shape 838">
              <a:extLst>
                <a:ext uri="{FF2B5EF4-FFF2-40B4-BE49-F238E27FC236}">
                  <a16:creationId xmlns:a16="http://schemas.microsoft.com/office/drawing/2014/main" id="{AE1B8A18-6A3A-077B-7CF1-F0906AF55FF4}"/>
                </a:ext>
              </a:extLst>
            </p:cNvPr>
            <p:cNvSpPr/>
            <p:nvPr/>
          </p:nvSpPr>
          <p:spPr>
            <a:xfrm>
              <a:off x="7356368" y="4266323"/>
              <a:ext cx="99839" cy="17159"/>
            </a:xfrm>
            <a:custGeom>
              <a:avLst/>
              <a:gdLst>
                <a:gd name="connsiteX0" fmla="*/ 91259 w 99839"/>
                <a:gd name="connsiteY0" fmla="*/ 17160 h 17159"/>
                <a:gd name="connsiteX1" fmla="*/ 8580 w 99839"/>
                <a:gd name="connsiteY1" fmla="*/ 17160 h 17159"/>
                <a:gd name="connsiteX2" fmla="*/ 0 w 99839"/>
                <a:gd name="connsiteY2" fmla="*/ 8580 h 17159"/>
                <a:gd name="connsiteX3" fmla="*/ 8580 w 99839"/>
                <a:gd name="connsiteY3" fmla="*/ 0 h 17159"/>
                <a:gd name="connsiteX4" fmla="*/ 91259 w 99839"/>
                <a:gd name="connsiteY4" fmla="*/ 0 h 17159"/>
                <a:gd name="connsiteX5" fmla="*/ 99839 w 99839"/>
                <a:gd name="connsiteY5" fmla="*/ 8580 h 17159"/>
                <a:gd name="connsiteX6" fmla="*/ 91259 w 99839"/>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839" h="17159">
                  <a:moveTo>
                    <a:pt x="91259" y="17160"/>
                  </a:moveTo>
                  <a:lnTo>
                    <a:pt x="8580" y="17160"/>
                  </a:lnTo>
                  <a:cubicBezTo>
                    <a:pt x="4420" y="17160"/>
                    <a:pt x="0" y="14040"/>
                    <a:pt x="0" y="8580"/>
                  </a:cubicBezTo>
                  <a:cubicBezTo>
                    <a:pt x="0" y="3380"/>
                    <a:pt x="3120" y="0"/>
                    <a:pt x="8580" y="0"/>
                  </a:cubicBezTo>
                  <a:lnTo>
                    <a:pt x="91259" y="0"/>
                  </a:lnTo>
                  <a:cubicBezTo>
                    <a:pt x="95419" y="0"/>
                    <a:pt x="99839" y="3120"/>
                    <a:pt x="99839" y="8580"/>
                  </a:cubicBezTo>
                  <a:cubicBezTo>
                    <a:pt x="99579" y="13780"/>
                    <a:pt x="95419" y="17160"/>
                    <a:pt x="91259" y="17160"/>
                  </a:cubicBezTo>
                  <a:close/>
                </a:path>
              </a:pathLst>
            </a:custGeom>
            <a:solidFill>
              <a:srgbClr val="FFFFFF"/>
            </a:solidFill>
            <a:ln w="2597" cap="flat">
              <a:noFill/>
              <a:prstDash val="solid"/>
              <a:miter/>
            </a:ln>
          </p:spPr>
          <p:txBody>
            <a:bodyPr rtlCol="0" anchor="ctr"/>
            <a:lstStyle/>
            <a:p>
              <a:endParaRPr lang="en-GB"/>
            </a:p>
          </p:txBody>
        </p:sp>
        <p:sp>
          <p:nvSpPr>
            <p:cNvPr id="840" name="Freeform: Shape 839">
              <a:extLst>
                <a:ext uri="{FF2B5EF4-FFF2-40B4-BE49-F238E27FC236}">
                  <a16:creationId xmlns:a16="http://schemas.microsoft.com/office/drawing/2014/main" id="{E0AA6B46-18B5-6669-EC34-E07E5808BB15}"/>
                </a:ext>
              </a:extLst>
            </p:cNvPr>
            <p:cNvSpPr/>
            <p:nvPr/>
          </p:nvSpPr>
          <p:spPr>
            <a:xfrm>
              <a:off x="7356368" y="4299082"/>
              <a:ext cx="99839" cy="17159"/>
            </a:xfrm>
            <a:custGeom>
              <a:avLst/>
              <a:gdLst>
                <a:gd name="connsiteX0" fmla="*/ 91259 w 99839"/>
                <a:gd name="connsiteY0" fmla="*/ 17160 h 17159"/>
                <a:gd name="connsiteX1" fmla="*/ 8580 w 99839"/>
                <a:gd name="connsiteY1" fmla="*/ 17160 h 17159"/>
                <a:gd name="connsiteX2" fmla="*/ 0 w 99839"/>
                <a:gd name="connsiteY2" fmla="*/ 8580 h 17159"/>
                <a:gd name="connsiteX3" fmla="*/ 8580 w 99839"/>
                <a:gd name="connsiteY3" fmla="*/ 0 h 17159"/>
                <a:gd name="connsiteX4" fmla="*/ 91259 w 99839"/>
                <a:gd name="connsiteY4" fmla="*/ 0 h 17159"/>
                <a:gd name="connsiteX5" fmla="*/ 99839 w 99839"/>
                <a:gd name="connsiteY5" fmla="*/ 8580 h 17159"/>
                <a:gd name="connsiteX6" fmla="*/ 91259 w 99839"/>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839" h="17159">
                  <a:moveTo>
                    <a:pt x="91259" y="17160"/>
                  </a:moveTo>
                  <a:lnTo>
                    <a:pt x="8580" y="17160"/>
                  </a:lnTo>
                  <a:cubicBezTo>
                    <a:pt x="4420" y="17160"/>
                    <a:pt x="0" y="14040"/>
                    <a:pt x="0" y="8580"/>
                  </a:cubicBezTo>
                  <a:cubicBezTo>
                    <a:pt x="0" y="3120"/>
                    <a:pt x="3120" y="0"/>
                    <a:pt x="8580" y="0"/>
                  </a:cubicBezTo>
                  <a:lnTo>
                    <a:pt x="91259" y="0"/>
                  </a:lnTo>
                  <a:cubicBezTo>
                    <a:pt x="95419" y="0"/>
                    <a:pt x="99839" y="3120"/>
                    <a:pt x="99839" y="8580"/>
                  </a:cubicBezTo>
                  <a:cubicBezTo>
                    <a:pt x="99839" y="14040"/>
                    <a:pt x="95419" y="17160"/>
                    <a:pt x="91259" y="17160"/>
                  </a:cubicBezTo>
                  <a:close/>
                </a:path>
              </a:pathLst>
            </a:custGeom>
            <a:solidFill>
              <a:srgbClr val="FFFFFF"/>
            </a:solidFill>
            <a:ln w="2597" cap="flat">
              <a:noFill/>
              <a:prstDash val="solid"/>
              <a:miter/>
            </a:ln>
          </p:spPr>
          <p:txBody>
            <a:bodyPr rtlCol="0" anchor="ctr"/>
            <a:lstStyle/>
            <a:p>
              <a:endParaRPr lang="en-GB"/>
            </a:p>
          </p:txBody>
        </p:sp>
        <p:sp>
          <p:nvSpPr>
            <p:cNvPr id="841" name="Freeform: Shape 840">
              <a:extLst>
                <a:ext uri="{FF2B5EF4-FFF2-40B4-BE49-F238E27FC236}">
                  <a16:creationId xmlns:a16="http://schemas.microsoft.com/office/drawing/2014/main" id="{1CB6785F-836E-B35C-C518-8377A2591CD5}"/>
                </a:ext>
              </a:extLst>
            </p:cNvPr>
            <p:cNvSpPr/>
            <p:nvPr/>
          </p:nvSpPr>
          <p:spPr>
            <a:xfrm>
              <a:off x="7356368" y="4073145"/>
              <a:ext cx="99839" cy="17160"/>
            </a:xfrm>
            <a:custGeom>
              <a:avLst/>
              <a:gdLst>
                <a:gd name="connsiteX0" fmla="*/ 91259 w 99839"/>
                <a:gd name="connsiteY0" fmla="*/ 17160 h 17160"/>
                <a:gd name="connsiteX1" fmla="*/ 8580 w 99839"/>
                <a:gd name="connsiteY1" fmla="*/ 17160 h 17160"/>
                <a:gd name="connsiteX2" fmla="*/ 0 w 99839"/>
                <a:gd name="connsiteY2" fmla="*/ 8580 h 17160"/>
                <a:gd name="connsiteX3" fmla="*/ 8580 w 99839"/>
                <a:gd name="connsiteY3" fmla="*/ 0 h 17160"/>
                <a:gd name="connsiteX4" fmla="*/ 91259 w 99839"/>
                <a:gd name="connsiteY4" fmla="*/ 0 h 17160"/>
                <a:gd name="connsiteX5" fmla="*/ 99839 w 99839"/>
                <a:gd name="connsiteY5" fmla="*/ 8580 h 17160"/>
                <a:gd name="connsiteX6" fmla="*/ 91259 w 99839"/>
                <a:gd name="connsiteY6" fmla="*/ 17160 h 1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839" h="17160">
                  <a:moveTo>
                    <a:pt x="91259" y="17160"/>
                  </a:moveTo>
                  <a:lnTo>
                    <a:pt x="8580" y="17160"/>
                  </a:lnTo>
                  <a:cubicBezTo>
                    <a:pt x="4420" y="17160"/>
                    <a:pt x="0" y="14040"/>
                    <a:pt x="0" y="8580"/>
                  </a:cubicBezTo>
                  <a:cubicBezTo>
                    <a:pt x="0" y="3380"/>
                    <a:pt x="3120" y="0"/>
                    <a:pt x="8580" y="0"/>
                  </a:cubicBezTo>
                  <a:lnTo>
                    <a:pt x="91259" y="0"/>
                  </a:lnTo>
                  <a:cubicBezTo>
                    <a:pt x="95419" y="0"/>
                    <a:pt x="99839" y="3120"/>
                    <a:pt x="99839" y="8580"/>
                  </a:cubicBezTo>
                  <a:cubicBezTo>
                    <a:pt x="99579" y="13780"/>
                    <a:pt x="95419" y="17160"/>
                    <a:pt x="91259" y="17160"/>
                  </a:cubicBezTo>
                  <a:close/>
                </a:path>
              </a:pathLst>
            </a:custGeom>
            <a:solidFill>
              <a:srgbClr val="FFFFFF"/>
            </a:solidFill>
            <a:ln w="2597" cap="flat">
              <a:noFill/>
              <a:prstDash val="solid"/>
              <a:miter/>
            </a:ln>
          </p:spPr>
          <p:txBody>
            <a:bodyPr rtlCol="0" anchor="ctr"/>
            <a:lstStyle/>
            <a:p>
              <a:endParaRPr lang="en-GB"/>
            </a:p>
          </p:txBody>
        </p:sp>
        <p:grpSp>
          <p:nvGrpSpPr>
            <p:cNvPr id="842" name="Graphic 6">
              <a:extLst>
                <a:ext uri="{FF2B5EF4-FFF2-40B4-BE49-F238E27FC236}">
                  <a16:creationId xmlns:a16="http://schemas.microsoft.com/office/drawing/2014/main" id="{DF39B325-1AFA-A877-658C-CF1C534DBE36}"/>
                </a:ext>
              </a:extLst>
            </p:cNvPr>
            <p:cNvGrpSpPr/>
            <p:nvPr/>
          </p:nvGrpSpPr>
          <p:grpSpPr>
            <a:xfrm>
              <a:off x="7771324" y="3699009"/>
              <a:ext cx="375457" cy="410275"/>
              <a:chOff x="7771324" y="3699009"/>
              <a:chExt cx="375457" cy="410275"/>
            </a:xfrm>
            <a:solidFill>
              <a:srgbClr val="0069FF"/>
            </a:solidFill>
          </p:grpSpPr>
          <p:sp>
            <p:nvSpPr>
              <p:cNvPr id="861" name="Freeform: Shape 860">
                <a:extLst>
                  <a:ext uri="{FF2B5EF4-FFF2-40B4-BE49-F238E27FC236}">
                    <a16:creationId xmlns:a16="http://schemas.microsoft.com/office/drawing/2014/main" id="{E49F7DA5-7263-0DFC-0936-66022410CA1F}"/>
                  </a:ext>
                </a:extLst>
              </p:cNvPr>
              <p:cNvSpPr/>
              <p:nvPr/>
            </p:nvSpPr>
            <p:spPr>
              <a:xfrm>
                <a:off x="7776524" y="3703949"/>
                <a:ext cx="365035" cy="400135"/>
              </a:xfrm>
              <a:custGeom>
                <a:avLst/>
                <a:gdLst>
                  <a:gd name="connsiteX0" fmla="*/ 365036 w 365035"/>
                  <a:gd name="connsiteY0" fmla="*/ 140138 h 400135"/>
                  <a:gd name="connsiteX1" fmla="*/ 182518 w 365035"/>
                  <a:gd name="connsiteY1" fmla="*/ 0 h 400135"/>
                  <a:gd name="connsiteX2" fmla="*/ 0 w 365035"/>
                  <a:gd name="connsiteY2" fmla="*/ 140138 h 400135"/>
                  <a:gd name="connsiteX3" fmla="*/ 0 w 365035"/>
                  <a:gd name="connsiteY3" fmla="*/ 400135 h 400135"/>
                  <a:gd name="connsiteX4" fmla="*/ 365036 w 365035"/>
                  <a:gd name="connsiteY4" fmla="*/ 400135 h 400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035" h="400135">
                    <a:moveTo>
                      <a:pt x="365036" y="140138"/>
                    </a:moveTo>
                    <a:lnTo>
                      <a:pt x="182518" y="0"/>
                    </a:lnTo>
                    <a:lnTo>
                      <a:pt x="0" y="140138"/>
                    </a:lnTo>
                    <a:lnTo>
                      <a:pt x="0" y="400135"/>
                    </a:lnTo>
                    <a:lnTo>
                      <a:pt x="365036" y="400135"/>
                    </a:lnTo>
                    <a:close/>
                  </a:path>
                </a:pathLst>
              </a:custGeom>
              <a:solidFill>
                <a:srgbClr val="0069FF"/>
              </a:solidFill>
              <a:ln w="2597" cap="flat">
                <a:noFill/>
                <a:prstDash val="solid"/>
                <a:miter/>
              </a:ln>
            </p:spPr>
            <p:txBody>
              <a:bodyPr rtlCol="0" anchor="ctr"/>
              <a:lstStyle/>
              <a:p>
                <a:endParaRPr lang="en-GB"/>
              </a:p>
            </p:txBody>
          </p:sp>
          <p:sp>
            <p:nvSpPr>
              <p:cNvPr id="862" name="Freeform: Shape 861">
                <a:extLst>
                  <a:ext uri="{FF2B5EF4-FFF2-40B4-BE49-F238E27FC236}">
                    <a16:creationId xmlns:a16="http://schemas.microsoft.com/office/drawing/2014/main" id="{8F5FD6A7-8CD4-6A2D-E55D-E3DA33B3C27C}"/>
                  </a:ext>
                </a:extLst>
              </p:cNvPr>
              <p:cNvSpPr/>
              <p:nvPr/>
            </p:nvSpPr>
            <p:spPr>
              <a:xfrm>
                <a:off x="7771324" y="3699009"/>
                <a:ext cx="375457" cy="410275"/>
              </a:xfrm>
              <a:custGeom>
                <a:avLst/>
                <a:gdLst>
                  <a:gd name="connsiteX0" fmla="*/ 370235 w 375457"/>
                  <a:gd name="connsiteY0" fmla="*/ 410275 h 410275"/>
                  <a:gd name="connsiteX1" fmla="*/ 5200 w 375457"/>
                  <a:gd name="connsiteY1" fmla="*/ 410275 h 410275"/>
                  <a:gd name="connsiteX2" fmla="*/ 0 w 375457"/>
                  <a:gd name="connsiteY2" fmla="*/ 405075 h 410275"/>
                  <a:gd name="connsiteX3" fmla="*/ 0 w 375457"/>
                  <a:gd name="connsiteY3" fmla="*/ 145078 h 410275"/>
                  <a:gd name="connsiteX4" fmla="*/ 2080 w 375457"/>
                  <a:gd name="connsiteY4" fmla="*/ 140919 h 410275"/>
                  <a:gd name="connsiteX5" fmla="*/ 184598 w 375457"/>
                  <a:gd name="connsiteY5" fmla="*/ 780 h 410275"/>
                  <a:gd name="connsiteX6" fmla="*/ 190838 w 375457"/>
                  <a:gd name="connsiteY6" fmla="*/ 780 h 410275"/>
                  <a:gd name="connsiteX7" fmla="*/ 373355 w 375457"/>
                  <a:gd name="connsiteY7" fmla="*/ 140919 h 410275"/>
                  <a:gd name="connsiteX8" fmla="*/ 375435 w 375457"/>
                  <a:gd name="connsiteY8" fmla="*/ 145078 h 410275"/>
                  <a:gd name="connsiteX9" fmla="*/ 375435 w 375457"/>
                  <a:gd name="connsiteY9" fmla="*/ 405075 h 410275"/>
                  <a:gd name="connsiteX10" fmla="*/ 370235 w 375457"/>
                  <a:gd name="connsiteY10" fmla="*/ 410275 h 410275"/>
                  <a:gd name="connsiteX11" fmla="*/ 10659 w 375457"/>
                  <a:gd name="connsiteY11" fmla="*/ 399616 h 410275"/>
                  <a:gd name="connsiteX12" fmla="*/ 365036 w 375457"/>
                  <a:gd name="connsiteY12" fmla="*/ 399616 h 410275"/>
                  <a:gd name="connsiteX13" fmla="*/ 365036 w 375457"/>
                  <a:gd name="connsiteY13" fmla="*/ 146899 h 410275"/>
                  <a:gd name="connsiteX14" fmla="*/ 187718 w 375457"/>
                  <a:gd name="connsiteY14" fmla="*/ 11180 h 410275"/>
                  <a:gd name="connsiteX15" fmla="*/ 10400 w 375457"/>
                  <a:gd name="connsiteY15" fmla="*/ 146899 h 410275"/>
                  <a:gd name="connsiteX16" fmla="*/ 10659 w 375457"/>
                  <a:gd name="connsiteY16" fmla="*/ 399616 h 410275"/>
                  <a:gd name="connsiteX17" fmla="*/ 10659 w 375457"/>
                  <a:gd name="connsiteY17" fmla="*/ 399616 h 41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5457" h="410275">
                    <a:moveTo>
                      <a:pt x="370235" y="410275"/>
                    </a:moveTo>
                    <a:lnTo>
                      <a:pt x="5200" y="410275"/>
                    </a:lnTo>
                    <a:cubicBezTo>
                      <a:pt x="2080" y="410275"/>
                      <a:pt x="0" y="408196"/>
                      <a:pt x="0" y="405075"/>
                    </a:cubicBezTo>
                    <a:lnTo>
                      <a:pt x="0" y="145078"/>
                    </a:lnTo>
                    <a:cubicBezTo>
                      <a:pt x="0" y="142999"/>
                      <a:pt x="1040" y="141959"/>
                      <a:pt x="2080" y="140919"/>
                    </a:cubicBezTo>
                    <a:lnTo>
                      <a:pt x="184598" y="780"/>
                    </a:lnTo>
                    <a:cubicBezTo>
                      <a:pt x="186678" y="-260"/>
                      <a:pt x="188757" y="-260"/>
                      <a:pt x="190838" y="780"/>
                    </a:cubicBezTo>
                    <a:lnTo>
                      <a:pt x="373355" y="140919"/>
                    </a:lnTo>
                    <a:cubicBezTo>
                      <a:pt x="374396" y="141959"/>
                      <a:pt x="375435" y="142999"/>
                      <a:pt x="375435" y="145078"/>
                    </a:cubicBezTo>
                    <a:lnTo>
                      <a:pt x="375435" y="405075"/>
                    </a:lnTo>
                    <a:cubicBezTo>
                      <a:pt x="375696" y="408196"/>
                      <a:pt x="373616" y="410275"/>
                      <a:pt x="370235" y="410275"/>
                    </a:cubicBezTo>
                    <a:close/>
                    <a:moveTo>
                      <a:pt x="10659" y="399616"/>
                    </a:moveTo>
                    <a:lnTo>
                      <a:pt x="365036" y="399616"/>
                    </a:lnTo>
                    <a:lnTo>
                      <a:pt x="365036" y="146899"/>
                    </a:lnTo>
                    <a:lnTo>
                      <a:pt x="187718" y="11180"/>
                    </a:lnTo>
                    <a:lnTo>
                      <a:pt x="10400" y="146899"/>
                    </a:lnTo>
                    <a:lnTo>
                      <a:pt x="10659" y="399616"/>
                    </a:lnTo>
                    <a:lnTo>
                      <a:pt x="10659" y="399616"/>
                    </a:lnTo>
                    <a:close/>
                  </a:path>
                </a:pathLst>
              </a:custGeom>
              <a:solidFill>
                <a:srgbClr val="0069FF"/>
              </a:solidFill>
              <a:ln w="2597" cap="flat">
                <a:noFill/>
                <a:prstDash val="solid"/>
                <a:miter/>
              </a:ln>
            </p:spPr>
            <p:txBody>
              <a:bodyPr rtlCol="0" anchor="ctr"/>
              <a:lstStyle/>
              <a:p>
                <a:endParaRPr lang="en-GB"/>
              </a:p>
            </p:txBody>
          </p:sp>
        </p:grpSp>
        <p:sp>
          <p:nvSpPr>
            <p:cNvPr id="843" name="Freeform: Shape 842">
              <a:extLst>
                <a:ext uri="{FF2B5EF4-FFF2-40B4-BE49-F238E27FC236}">
                  <a16:creationId xmlns:a16="http://schemas.microsoft.com/office/drawing/2014/main" id="{4D7CDCAA-A0EB-EAE6-84E3-33FCE22A6FAE}"/>
                </a:ext>
              </a:extLst>
            </p:cNvPr>
            <p:cNvSpPr/>
            <p:nvPr/>
          </p:nvSpPr>
          <p:spPr>
            <a:xfrm>
              <a:off x="7739344" y="3672490"/>
              <a:ext cx="381126" cy="409235"/>
            </a:xfrm>
            <a:custGeom>
              <a:avLst/>
              <a:gdLst>
                <a:gd name="connsiteX0" fmla="*/ 373616 w 381126"/>
                <a:gd name="connsiteY0" fmla="*/ 409235 h 409235"/>
                <a:gd name="connsiteX1" fmla="*/ 8580 w 381126"/>
                <a:gd name="connsiteY1" fmla="*/ 409235 h 409235"/>
                <a:gd name="connsiteX2" fmla="*/ 0 w 381126"/>
                <a:gd name="connsiteY2" fmla="*/ 400655 h 409235"/>
                <a:gd name="connsiteX3" fmla="*/ 0 w 381126"/>
                <a:gd name="connsiteY3" fmla="*/ 145858 h 409235"/>
                <a:gd name="connsiteX4" fmla="*/ 3120 w 381126"/>
                <a:gd name="connsiteY4" fmla="*/ 139619 h 409235"/>
                <a:gd name="connsiteX5" fmla="*/ 185638 w 381126"/>
                <a:gd name="connsiteY5" fmla="*/ 1560 h 409235"/>
                <a:gd name="connsiteX6" fmla="*/ 195258 w 381126"/>
                <a:gd name="connsiteY6" fmla="*/ 1560 h 409235"/>
                <a:gd name="connsiteX7" fmla="*/ 377776 w 381126"/>
                <a:gd name="connsiteY7" fmla="*/ 139619 h 409235"/>
                <a:gd name="connsiteX8" fmla="*/ 380896 w 381126"/>
                <a:gd name="connsiteY8" fmla="*/ 145858 h 409235"/>
                <a:gd name="connsiteX9" fmla="*/ 380896 w 381126"/>
                <a:gd name="connsiteY9" fmla="*/ 400655 h 409235"/>
                <a:gd name="connsiteX10" fmla="*/ 373616 w 381126"/>
                <a:gd name="connsiteY10" fmla="*/ 409235 h 409235"/>
                <a:gd name="connsiteX11" fmla="*/ 15860 w 381126"/>
                <a:gd name="connsiteY11" fmla="*/ 393376 h 409235"/>
                <a:gd name="connsiteX12" fmla="*/ 365036 w 381126"/>
                <a:gd name="connsiteY12" fmla="*/ 393376 h 409235"/>
                <a:gd name="connsiteX13" fmla="*/ 365036 w 381126"/>
                <a:gd name="connsiteY13" fmla="*/ 150278 h 409235"/>
                <a:gd name="connsiteX14" fmla="*/ 189798 w 381126"/>
                <a:gd name="connsiteY14" fmla="*/ 18720 h 409235"/>
                <a:gd name="connsiteX15" fmla="*/ 14560 w 381126"/>
                <a:gd name="connsiteY15" fmla="*/ 150278 h 409235"/>
                <a:gd name="connsiteX16" fmla="*/ 14560 w 381126"/>
                <a:gd name="connsiteY16" fmla="*/ 393376 h 409235"/>
                <a:gd name="connsiteX17" fmla="*/ 15860 w 381126"/>
                <a:gd name="connsiteY17" fmla="*/ 393376 h 409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126" h="409235">
                  <a:moveTo>
                    <a:pt x="373616" y="409235"/>
                  </a:moveTo>
                  <a:lnTo>
                    <a:pt x="8580" y="409235"/>
                  </a:lnTo>
                  <a:cubicBezTo>
                    <a:pt x="4420" y="409235"/>
                    <a:pt x="0" y="406115"/>
                    <a:pt x="0" y="400655"/>
                  </a:cubicBezTo>
                  <a:lnTo>
                    <a:pt x="0" y="145858"/>
                  </a:lnTo>
                  <a:cubicBezTo>
                    <a:pt x="0" y="143778"/>
                    <a:pt x="1040" y="140658"/>
                    <a:pt x="3120" y="139619"/>
                  </a:cubicBezTo>
                  <a:lnTo>
                    <a:pt x="185638" y="1560"/>
                  </a:lnTo>
                  <a:cubicBezTo>
                    <a:pt x="188758" y="-520"/>
                    <a:pt x="191878" y="-520"/>
                    <a:pt x="195258" y="1560"/>
                  </a:cubicBezTo>
                  <a:lnTo>
                    <a:pt x="377776" y="139619"/>
                  </a:lnTo>
                  <a:cubicBezTo>
                    <a:pt x="379856" y="140658"/>
                    <a:pt x="380896" y="143778"/>
                    <a:pt x="380896" y="145858"/>
                  </a:cubicBezTo>
                  <a:lnTo>
                    <a:pt x="380896" y="400655"/>
                  </a:lnTo>
                  <a:cubicBezTo>
                    <a:pt x="382196" y="405075"/>
                    <a:pt x="377776" y="409235"/>
                    <a:pt x="373616" y="409235"/>
                  </a:cubicBezTo>
                  <a:close/>
                  <a:moveTo>
                    <a:pt x="15860" y="393376"/>
                  </a:moveTo>
                  <a:lnTo>
                    <a:pt x="365036" y="393376"/>
                  </a:lnTo>
                  <a:lnTo>
                    <a:pt x="365036" y="150278"/>
                  </a:lnTo>
                  <a:lnTo>
                    <a:pt x="189798" y="18720"/>
                  </a:lnTo>
                  <a:lnTo>
                    <a:pt x="14560" y="150278"/>
                  </a:lnTo>
                  <a:lnTo>
                    <a:pt x="14560" y="393376"/>
                  </a:lnTo>
                  <a:lnTo>
                    <a:pt x="15860" y="393376"/>
                  </a:lnTo>
                  <a:close/>
                </a:path>
              </a:pathLst>
            </a:custGeom>
            <a:solidFill>
              <a:srgbClr val="00005A"/>
            </a:solidFill>
            <a:ln w="2597" cap="flat">
              <a:noFill/>
              <a:prstDash val="solid"/>
              <a:miter/>
            </a:ln>
          </p:spPr>
          <p:txBody>
            <a:bodyPr rtlCol="0" anchor="ctr"/>
            <a:lstStyle/>
            <a:p>
              <a:endParaRPr lang="en-GB"/>
            </a:p>
          </p:txBody>
        </p:sp>
        <p:sp>
          <p:nvSpPr>
            <p:cNvPr id="844" name="Freeform: Shape 843">
              <a:extLst>
                <a:ext uri="{FF2B5EF4-FFF2-40B4-BE49-F238E27FC236}">
                  <a16:creationId xmlns:a16="http://schemas.microsoft.com/office/drawing/2014/main" id="{1441E560-58BC-E0DD-FC1D-39AD9330D1AB}"/>
                </a:ext>
              </a:extLst>
            </p:cNvPr>
            <p:cNvSpPr/>
            <p:nvPr/>
          </p:nvSpPr>
          <p:spPr>
            <a:xfrm>
              <a:off x="7703835" y="3673530"/>
              <a:ext cx="454666" cy="180327"/>
            </a:xfrm>
            <a:custGeom>
              <a:avLst/>
              <a:gdLst>
                <a:gd name="connsiteX0" fmla="*/ 447344 w 454666"/>
                <a:gd name="connsiteY0" fmla="*/ 179918 h 180327"/>
                <a:gd name="connsiteX1" fmla="*/ 443184 w 454666"/>
                <a:gd name="connsiteY1" fmla="*/ 178878 h 180327"/>
                <a:gd name="connsiteX2" fmla="*/ 227647 w 454666"/>
                <a:gd name="connsiteY2" fmla="*/ 17680 h 180327"/>
                <a:gd name="connsiteX3" fmla="*/ 13149 w 454666"/>
                <a:gd name="connsiteY3" fmla="*/ 178878 h 180327"/>
                <a:gd name="connsiteX4" fmla="*/ 1449 w 454666"/>
                <a:gd name="connsiteY4" fmla="*/ 177838 h 180327"/>
                <a:gd name="connsiteX5" fmla="*/ 2490 w 454666"/>
                <a:gd name="connsiteY5" fmla="*/ 166138 h 180327"/>
                <a:gd name="connsiteX6" fmla="*/ 221147 w 454666"/>
                <a:gd name="connsiteY6" fmla="*/ 1560 h 180327"/>
                <a:gd name="connsiteX7" fmla="*/ 230767 w 454666"/>
                <a:gd name="connsiteY7" fmla="*/ 1560 h 180327"/>
                <a:gd name="connsiteX8" fmla="*/ 451504 w 454666"/>
                <a:gd name="connsiteY8" fmla="*/ 166138 h 180327"/>
                <a:gd name="connsiteX9" fmla="*/ 453584 w 454666"/>
                <a:gd name="connsiteY9" fmla="*/ 176798 h 180327"/>
                <a:gd name="connsiteX10" fmla="*/ 447344 w 454666"/>
                <a:gd name="connsiteY10" fmla="*/ 179918 h 1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4666" h="180327">
                  <a:moveTo>
                    <a:pt x="447344" y="179918"/>
                  </a:moveTo>
                  <a:cubicBezTo>
                    <a:pt x="445265" y="179918"/>
                    <a:pt x="444224" y="179918"/>
                    <a:pt x="443184" y="178878"/>
                  </a:cubicBezTo>
                  <a:lnTo>
                    <a:pt x="227647" y="17680"/>
                  </a:lnTo>
                  <a:lnTo>
                    <a:pt x="13149" y="178878"/>
                  </a:lnTo>
                  <a:cubicBezTo>
                    <a:pt x="10029" y="180958"/>
                    <a:pt x="4570" y="180958"/>
                    <a:pt x="1449" y="177838"/>
                  </a:cubicBezTo>
                  <a:cubicBezTo>
                    <a:pt x="-630" y="174718"/>
                    <a:pt x="-630" y="169258"/>
                    <a:pt x="2490" y="166138"/>
                  </a:cubicBezTo>
                  <a:lnTo>
                    <a:pt x="221147" y="1560"/>
                  </a:lnTo>
                  <a:cubicBezTo>
                    <a:pt x="224267" y="-520"/>
                    <a:pt x="227387" y="-520"/>
                    <a:pt x="230767" y="1560"/>
                  </a:cubicBezTo>
                  <a:lnTo>
                    <a:pt x="451504" y="166138"/>
                  </a:lnTo>
                  <a:cubicBezTo>
                    <a:pt x="454624" y="168218"/>
                    <a:pt x="455664" y="173678"/>
                    <a:pt x="453584" y="176798"/>
                  </a:cubicBezTo>
                  <a:cubicBezTo>
                    <a:pt x="452544" y="177838"/>
                    <a:pt x="449424" y="179918"/>
                    <a:pt x="447344" y="179918"/>
                  </a:cubicBezTo>
                  <a:close/>
                </a:path>
              </a:pathLst>
            </a:custGeom>
            <a:solidFill>
              <a:srgbClr val="00005A"/>
            </a:solidFill>
            <a:ln w="2597" cap="flat">
              <a:noFill/>
              <a:prstDash val="solid"/>
              <a:miter/>
            </a:ln>
          </p:spPr>
          <p:txBody>
            <a:bodyPr rtlCol="0" anchor="ctr"/>
            <a:lstStyle/>
            <a:p>
              <a:endParaRPr lang="en-GB"/>
            </a:p>
          </p:txBody>
        </p:sp>
        <p:sp>
          <p:nvSpPr>
            <p:cNvPr id="845" name="Freeform: Shape 844">
              <a:extLst>
                <a:ext uri="{FF2B5EF4-FFF2-40B4-BE49-F238E27FC236}">
                  <a16:creationId xmlns:a16="http://schemas.microsoft.com/office/drawing/2014/main" id="{A900BAA8-E4BA-E945-12E0-FCA7E7611CE2}"/>
                </a:ext>
              </a:extLst>
            </p:cNvPr>
            <p:cNvSpPr/>
            <p:nvPr/>
          </p:nvSpPr>
          <p:spPr>
            <a:xfrm>
              <a:off x="7810323" y="3947826"/>
              <a:ext cx="68119" cy="68119"/>
            </a:xfrm>
            <a:custGeom>
              <a:avLst/>
              <a:gdLst>
                <a:gd name="connsiteX0" fmla="*/ 59539 w 68119"/>
                <a:gd name="connsiteY0" fmla="*/ 68119 h 68119"/>
                <a:gd name="connsiteX1" fmla="*/ 8580 w 68119"/>
                <a:gd name="connsiteY1" fmla="*/ 68119 h 68119"/>
                <a:gd name="connsiteX2" fmla="*/ 0 w 68119"/>
                <a:gd name="connsiteY2" fmla="*/ 59539 h 68119"/>
                <a:gd name="connsiteX3" fmla="*/ 0 w 68119"/>
                <a:gd name="connsiteY3" fmla="*/ 8580 h 68119"/>
                <a:gd name="connsiteX4" fmla="*/ 8580 w 68119"/>
                <a:gd name="connsiteY4" fmla="*/ 0 h 68119"/>
                <a:gd name="connsiteX5" fmla="*/ 59539 w 68119"/>
                <a:gd name="connsiteY5" fmla="*/ 0 h 68119"/>
                <a:gd name="connsiteX6" fmla="*/ 68119 w 68119"/>
                <a:gd name="connsiteY6" fmla="*/ 8580 h 68119"/>
                <a:gd name="connsiteX7" fmla="*/ 68119 w 68119"/>
                <a:gd name="connsiteY7" fmla="*/ 59539 h 68119"/>
                <a:gd name="connsiteX8" fmla="*/ 59539 w 68119"/>
                <a:gd name="connsiteY8" fmla="*/ 68119 h 68119"/>
                <a:gd name="connsiteX9" fmla="*/ 17159 w 68119"/>
                <a:gd name="connsiteY9" fmla="*/ 52259 h 68119"/>
                <a:gd name="connsiteX10" fmla="*/ 52259 w 68119"/>
                <a:gd name="connsiteY10" fmla="*/ 52259 h 68119"/>
                <a:gd name="connsiteX11" fmla="*/ 52259 w 68119"/>
                <a:gd name="connsiteY11" fmla="*/ 17160 h 68119"/>
                <a:gd name="connsiteX12" fmla="*/ 17159 w 68119"/>
                <a:gd name="connsiteY12" fmla="*/ 17160 h 68119"/>
                <a:gd name="connsiteX13" fmla="*/ 17159 w 68119"/>
                <a:gd name="connsiteY13" fmla="*/ 52259 h 6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119" h="68119">
                  <a:moveTo>
                    <a:pt x="59539" y="68119"/>
                  </a:moveTo>
                  <a:lnTo>
                    <a:pt x="8580" y="68119"/>
                  </a:lnTo>
                  <a:cubicBezTo>
                    <a:pt x="4420" y="68119"/>
                    <a:pt x="0" y="64999"/>
                    <a:pt x="0" y="59539"/>
                  </a:cubicBezTo>
                  <a:lnTo>
                    <a:pt x="0" y="8580"/>
                  </a:lnTo>
                  <a:cubicBezTo>
                    <a:pt x="0" y="4420"/>
                    <a:pt x="3120" y="0"/>
                    <a:pt x="8580" y="0"/>
                  </a:cubicBezTo>
                  <a:lnTo>
                    <a:pt x="59539" y="0"/>
                  </a:lnTo>
                  <a:cubicBezTo>
                    <a:pt x="63699" y="0"/>
                    <a:pt x="68119" y="3120"/>
                    <a:pt x="68119" y="8580"/>
                  </a:cubicBezTo>
                  <a:lnTo>
                    <a:pt x="68119" y="59539"/>
                  </a:lnTo>
                  <a:cubicBezTo>
                    <a:pt x="68119" y="63959"/>
                    <a:pt x="63959" y="68119"/>
                    <a:pt x="59539" y="68119"/>
                  </a:cubicBezTo>
                  <a:close/>
                  <a:moveTo>
                    <a:pt x="17159" y="52259"/>
                  </a:moveTo>
                  <a:lnTo>
                    <a:pt x="52259" y="52259"/>
                  </a:lnTo>
                  <a:lnTo>
                    <a:pt x="52259" y="17160"/>
                  </a:lnTo>
                  <a:lnTo>
                    <a:pt x="17159" y="17160"/>
                  </a:lnTo>
                  <a:lnTo>
                    <a:pt x="17159" y="52259"/>
                  </a:lnTo>
                  <a:close/>
                </a:path>
              </a:pathLst>
            </a:custGeom>
            <a:solidFill>
              <a:srgbClr val="FFFFFF"/>
            </a:solidFill>
            <a:ln w="2597" cap="flat">
              <a:noFill/>
              <a:prstDash val="solid"/>
              <a:miter/>
            </a:ln>
          </p:spPr>
          <p:txBody>
            <a:bodyPr rtlCol="0" anchor="ctr"/>
            <a:lstStyle/>
            <a:p>
              <a:endParaRPr lang="en-GB"/>
            </a:p>
          </p:txBody>
        </p:sp>
        <p:sp>
          <p:nvSpPr>
            <p:cNvPr id="846" name="Freeform: Shape 845">
              <a:extLst>
                <a:ext uri="{FF2B5EF4-FFF2-40B4-BE49-F238E27FC236}">
                  <a16:creationId xmlns:a16="http://schemas.microsoft.com/office/drawing/2014/main" id="{223B97DC-647A-2149-17C8-13F97DBD3A2B}"/>
                </a:ext>
              </a:extLst>
            </p:cNvPr>
            <p:cNvSpPr/>
            <p:nvPr/>
          </p:nvSpPr>
          <p:spPr>
            <a:xfrm>
              <a:off x="7897422" y="3947826"/>
              <a:ext cx="68119" cy="68119"/>
            </a:xfrm>
            <a:custGeom>
              <a:avLst/>
              <a:gdLst>
                <a:gd name="connsiteX0" fmla="*/ 59539 w 68119"/>
                <a:gd name="connsiteY0" fmla="*/ 68119 h 68119"/>
                <a:gd name="connsiteX1" fmla="*/ 8580 w 68119"/>
                <a:gd name="connsiteY1" fmla="*/ 68119 h 68119"/>
                <a:gd name="connsiteX2" fmla="*/ 0 w 68119"/>
                <a:gd name="connsiteY2" fmla="*/ 59539 h 68119"/>
                <a:gd name="connsiteX3" fmla="*/ 0 w 68119"/>
                <a:gd name="connsiteY3" fmla="*/ 8580 h 68119"/>
                <a:gd name="connsiteX4" fmla="*/ 8580 w 68119"/>
                <a:gd name="connsiteY4" fmla="*/ 0 h 68119"/>
                <a:gd name="connsiteX5" fmla="*/ 59539 w 68119"/>
                <a:gd name="connsiteY5" fmla="*/ 0 h 68119"/>
                <a:gd name="connsiteX6" fmla="*/ 68119 w 68119"/>
                <a:gd name="connsiteY6" fmla="*/ 8580 h 68119"/>
                <a:gd name="connsiteX7" fmla="*/ 68119 w 68119"/>
                <a:gd name="connsiteY7" fmla="*/ 59539 h 68119"/>
                <a:gd name="connsiteX8" fmla="*/ 59539 w 68119"/>
                <a:gd name="connsiteY8" fmla="*/ 68119 h 68119"/>
                <a:gd name="connsiteX9" fmla="*/ 17159 w 68119"/>
                <a:gd name="connsiteY9" fmla="*/ 52259 h 68119"/>
                <a:gd name="connsiteX10" fmla="*/ 52259 w 68119"/>
                <a:gd name="connsiteY10" fmla="*/ 52259 h 68119"/>
                <a:gd name="connsiteX11" fmla="*/ 52259 w 68119"/>
                <a:gd name="connsiteY11" fmla="*/ 17160 h 68119"/>
                <a:gd name="connsiteX12" fmla="*/ 17159 w 68119"/>
                <a:gd name="connsiteY12" fmla="*/ 17160 h 68119"/>
                <a:gd name="connsiteX13" fmla="*/ 17159 w 68119"/>
                <a:gd name="connsiteY13" fmla="*/ 52259 h 6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119" h="68119">
                  <a:moveTo>
                    <a:pt x="59539" y="68119"/>
                  </a:moveTo>
                  <a:lnTo>
                    <a:pt x="8580" y="68119"/>
                  </a:lnTo>
                  <a:cubicBezTo>
                    <a:pt x="4420" y="68119"/>
                    <a:pt x="0" y="64999"/>
                    <a:pt x="0" y="59539"/>
                  </a:cubicBezTo>
                  <a:lnTo>
                    <a:pt x="0" y="8580"/>
                  </a:lnTo>
                  <a:cubicBezTo>
                    <a:pt x="0" y="4420"/>
                    <a:pt x="3120" y="0"/>
                    <a:pt x="8580" y="0"/>
                  </a:cubicBezTo>
                  <a:lnTo>
                    <a:pt x="59539" y="0"/>
                  </a:lnTo>
                  <a:cubicBezTo>
                    <a:pt x="63699" y="0"/>
                    <a:pt x="68119" y="3120"/>
                    <a:pt x="68119" y="8580"/>
                  </a:cubicBezTo>
                  <a:lnTo>
                    <a:pt x="68119" y="59539"/>
                  </a:lnTo>
                  <a:cubicBezTo>
                    <a:pt x="68119" y="63959"/>
                    <a:pt x="63699" y="68119"/>
                    <a:pt x="59539" y="68119"/>
                  </a:cubicBezTo>
                  <a:close/>
                  <a:moveTo>
                    <a:pt x="17159" y="52259"/>
                  </a:moveTo>
                  <a:lnTo>
                    <a:pt x="52259" y="52259"/>
                  </a:lnTo>
                  <a:lnTo>
                    <a:pt x="52259" y="17160"/>
                  </a:lnTo>
                  <a:lnTo>
                    <a:pt x="17159" y="17160"/>
                  </a:lnTo>
                  <a:lnTo>
                    <a:pt x="17159" y="52259"/>
                  </a:lnTo>
                  <a:close/>
                </a:path>
              </a:pathLst>
            </a:custGeom>
            <a:solidFill>
              <a:srgbClr val="FFFFFF"/>
            </a:solidFill>
            <a:ln w="2597" cap="flat">
              <a:noFill/>
              <a:prstDash val="solid"/>
              <a:miter/>
            </a:ln>
          </p:spPr>
          <p:txBody>
            <a:bodyPr rtlCol="0" anchor="ctr"/>
            <a:lstStyle/>
            <a:p>
              <a:endParaRPr lang="en-GB"/>
            </a:p>
          </p:txBody>
        </p:sp>
        <p:sp>
          <p:nvSpPr>
            <p:cNvPr id="847" name="Freeform: Shape 846">
              <a:extLst>
                <a:ext uri="{FF2B5EF4-FFF2-40B4-BE49-F238E27FC236}">
                  <a16:creationId xmlns:a16="http://schemas.microsoft.com/office/drawing/2014/main" id="{4817596F-282C-E310-9861-D26D9277CF97}"/>
                </a:ext>
              </a:extLst>
            </p:cNvPr>
            <p:cNvSpPr/>
            <p:nvPr/>
          </p:nvSpPr>
          <p:spPr>
            <a:xfrm>
              <a:off x="7810323" y="3859687"/>
              <a:ext cx="68119" cy="68119"/>
            </a:xfrm>
            <a:custGeom>
              <a:avLst/>
              <a:gdLst>
                <a:gd name="connsiteX0" fmla="*/ 59539 w 68119"/>
                <a:gd name="connsiteY0" fmla="*/ 68119 h 68119"/>
                <a:gd name="connsiteX1" fmla="*/ 8580 w 68119"/>
                <a:gd name="connsiteY1" fmla="*/ 68119 h 68119"/>
                <a:gd name="connsiteX2" fmla="*/ 0 w 68119"/>
                <a:gd name="connsiteY2" fmla="*/ 59539 h 68119"/>
                <a:gd name="connsiteX3" fmla="*/ 0 w 68119"/>
                <a:gd name="connsiteY3" fmla="*/ 8580 h 68119"/>
                <a:gd name="connsiteX4" fmla="*/ 8580 w 68119"/>
                <a:gd name="connsiteY4" fmla="*/ 0 h 68119"/>
                <a:gd name="connsiteX5" fmla="*/ 59539 w 68119"/>
                <a:gd name="connsiteY5" fmla="*/ 0 h 68119"/>
                <a:gd name="connsiteX6" fmla="*/ 68119 w 68119"/>
                <a:gd name="connsiteY6" fmla="*/ 8580 h 68119"/>
                <a:gd name="connsiteX7" fmla="*/ 68119 w 68119"/>
                <a:gd name="connsiteY7" fmla="*/ 59539 h 68119"/>
                <a:gd name="connsiteX8" fmla="*/ 59539 w 68119"/>
                <a:gd name="connsiteY8" fmla="*/ 68119 h 68119"/>
                <a:gd name="connsiteX9" fmla="*/ 17159 w 68119"/>
                <a:gd name="connsiteY9" fmla="*/ 52259 h 68119"/>
                <a:gd name="connsiteX10" fmla="*/ 52259 w 68119"/>
                <a:gd name="connsiteY10" fmla="*/ 52259 h 68119"/>
                <a:gd name="connsiteX11" fmla="*/ 52259 w 68119"/>
                <a:gd name="connsiteY11" fmla="*/ 17160 h 68119"/>
                <a:gd name="connsiteX12" fmla="*/ 17159 w 68119"/>
                <a:gd name="connsiteY12" fmla="*/ 17160 h 68119"/>
                <a:gd name="connsiteX13" fmla="*/ 17159 w 68119"/>
                <a:gd name="connsiteY13" fmla="*/ 52259 h 6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119" h="68119">
                  <a:moveTo>
                    <a:pt x="59539" y="68119"/>
                  </a:moveTo>
                  <a:lnTo>
                    <a:pt x="8580" y="68119"/>
                  </a:lnTo>
                  <a:cubicBezTo>
                    <a:pt x="4420" y="68119"/>
                    <a:pt x="0" y="64999"/>
                    <a:pt x="0" y="59539"/>
                  </a:cubicBezTo>
                  <a:lnTo>
                    <a:pt x="0" y="8580"/>
                  </a:lnTo>
                  <a:cubicBezTo>
                    <a:pt x="0" y="4420"/>
                    <a:pt x="3120" y="0"/>
                    <a:pt x="8580" y="0"/>
                  </a:cubicBezTo>
                  <a:lnTo>
                    <a:pt x="59539" y="0"/>
                  </a:lnTo>
                  <a:cubicBezTo>
                    <a:pt x="63699" y="0"/>
                    <a:pt x="68119" y="3120"/>
                    <a:pt x="68119" y="8580"/>
                  </a:cubicBezTo>
                  <a:lnTo>
                    <a:pt x="68119" y="59539"/>
                  </a:lnTo>
                  <a:cubicBezTo>
                    <a:pt x="68119" y="63959"/>
                    <a:pt x="63959" y="68119"/>
                    <a:pt x="59539" y="68119"/>
                  </a:cubicBezTo>
                  <a:close/>
                  <a:moveTo>
                    <a:pt x="17159" y="52259"/>
                  </a:moveTo>
                  <a:lnTo>
                    <a:pt x="52259" y="52259"/>
                  </a:lnTo>
                  <a:lnTo>
                    <a:pt x="52259" y="17160"/>
                  </a:lnTo>
                  <a:lnTo>
                    <a:pt x="17159" y="17160"/>
                  </a:lnTo>
                  <a:lnTo>
                    <a:pt x="17159" y="52259"/>
                  </a:lnTo>
                  <a:close/>
                </a:path>
              </a:pathLst>
            </a:custGeom>
            <a:solidFill>
              <a:srgbClr val="FFFFFF"/>
            </a:solidFill>
            <a:ln w="2597" cap="flat">
              <a:noFill/>
              <a:prstDash val="solid"/>
              <a:miter/>
            </a:ln>
          </p:spPr>
          <p:txBody>
            <a:bodyPr rtlCol="0" anchor="ctr"/>
            <a:lstStyle/>
            <a:p>
              <a:endParaRPr lang="en-GB"/>
            </a:p>
          </p:txBody>
        </p:sp>
        <p:sp>
          <p:nvSpPr>
            <p:cNvPr id="848" name="Freeform: Shape 847">
              <a:extLst>
                <a:ext uri="{FF2B5EF4-FFF2-40B4-BE49-F238E27FC236}">
                  <a16:creationId xmlns:a16="http://schemas.microsoft.com/office/drawing/2014/main" id="{B9EC18F9-7E86-B3B3-8891-D77B9FD16C9C}"/>
                </a:ext>
              </a:extLst>
            </p:cNvPr>
            <p:cNvSpPr/>
            <p:nvPr/>
          </p:nvSpPr>
          <p:spPr>
            <a:xfrm>
              <a:off x="7897422" y="3859687"/>
              <a:ext cx="68119" cy="68119"/>
            </a:xfrm>
            <a:custGeom>
              <a:avLst/>
              <a:gdLst>
                <a:gd name="connsiteX0" fmla="*/ 59539 w 68119"/>
                <a:gd name="connsiteY0" fmla="*/ 68119 h 68119"/>
                <a:gd name="connsiteX1" fmla="*/ 8580 w 68119"/>
                <a:gd name="connsiteY1" fmla="*/ 68119 h 68119"/>
                <a:gd name="connsiteX2" fmla="*/ 0 w 68119"/>
                <a:gd name="connsiteY2" fmla="*/ 59539 h 68119"/>
                <a:gd name="connsiteX3" fmla="*/ 0 w 68119"/>
                <a:gd name="connsiteY3" fmla="*/ 8580 h 68119"/>
                <a:gd name="connsiteX4" fmla="*/ 8580 w 68119"/>
                <a:gd name="connsiteY4" fmla="*/ 0 h 68119"/>
                <a:gd name="connsiteX5" fmla="*/ 59539 w 68119"/>
                <a:gd name="connsiteY5" fmla="*/ 0 h 68119"/>
                <a:gd name="connsiteX6" fmla="*/ 68119 w 68119"/>
                <a:gd name="connsiteY6" fmla="*/ 8580 h 68119"/>
                <a:gd name="connsiteX7" fmla="*/ 68119 w 68119"/>
                <a:gd name="connsiteY7" fmla="*/ 59539 h 68119"/>
                <a:gd name="connsiteX8" fmla="*/ 59539 w 68119"/>
                <a:gd name="connsiteY8" fmla="*/ 68119 h 68119"/>
                <a:gd name="connsiteX9" fmla="*/ 17159 w 68119"/>
                <a:gd name="connsiteY9" fmla="*/ 52259 h 68119"/>
                <a:gd name="connsiteX10" fmla="*/ 52259 w 68119"/>
                <a:gd name="connsiteY10" fmla="*/ 52259 h 68119"/>
                <a:gd name="connsiteX11" fmla="*/ 52259 w 68119"/>
                <a:gd name="connsiteY11" fmla="*/ 17160 h 68119"/>
                <a:gd name="connsiteX12" fmla="*/ 17159 w 68119"/>
                <a:gd name="connsiteY12" fmla="*/ 17160 h 68119"/>
                <a:gd name="connsiteX13" fmla="*/ 17159 w 68119"/>
                <a:gd name="connsiteY13" fmla="*/ 52259 h 6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119" h="68119">
                  <a:moveTo>
                    <a:pt x="59539" y="68119"/>
                  </a:moveTo>
                  <a:lnTo>
                    <a:pt x="8580" y="68119"/>
                  </a:lnTo>
                  <a:cubicBezTo>
                    <a:pt x="4420" y="68119"/>
                    <a:pt x="0" y="64999"/>
                    <a:pt x="0" y="59539"/>
                  </a:cubicBezTo>
                  <a:lnTo>
                    <a:pt x="0" y="8580"/>
                  </a:lnTo>
                  <a:cubicBezTo>
                    <a:pt x="0" y="4420"/>
                    <a:pt x="3120" y="0"/>
                    <a:pt x="8580" y="0"/>
                  </a:cubicBezTo>
                  <a:lnTo>
                    <a:pt x="59539" y="0"/>
                  </a:lnTo>
                  <a:cubicBezTo>
                    <a:pt x="63699" y="0"/>
                    <a:pt x="68119" y="3120"/>
                    <a:pt x="68119" y="8580"/>
                  </a:cubicBezTo>
                  <a:lnTo>
                    <a:pt x="68119" y="59539"/>
                  </a:lnTo>
                  <a:cubicBezTo>
                    <a:pt x="68119" y="63959"/>
                    <a:pt x="63699" y="68119"/>
                    <a:pt x="59539" y="68119"/>
                  </a:cubicBezTo>
                  <a:close/>
                  <a:moveTo>
                    <a:pt x="17159" y="52259"/>
                  </a:moveTo>
                  <a:lnTo>
                    <a:pt x="52259" y="52259"/>
                  </a:lnTo>
                  <a:lnTo>
                    <a:pt x="52259" y="17160"/>
                  </a:lnTo>
                  <a:lnTo>
                    <a:pt x="17159" y="17160"/>
                  </a:lnTo>
                  <a:lnTo>
                    <a:pt x="17159" y="52259"/>
                  </a:lnTo>
                  <a:close/>
                </a:path>
              </a:pathLst>
            </a:custGeom>
            <a:solidFill>
              <a:srgbClr val="FFFFFF"/>
            </a:solidFill>
            <a:ln w="2597" cap="flat">
              <a:noFill/>
              <a:prstDash val="solid"/>
              <a:miter/>
            </a:ln>
          </p:spPr>
          <p:txBody>
            <a:bodyPr rtlCol="0" anchor="ctr"/>
            <a:lstStyle/>
            <a:p>
              <a:endParaRPr lang="en-GB"/>
            </a:p>
          </p:txBody>
        </p:sp>
        <p:sp>
          <p:nvSpPr>
            <p:cNvPr id="849" name="Freeform: Shape 848">
              <a:extLst>
                <a:ext uri="{FF2B5EF4-FFF2-40B4-BE49-F238E27FC236}">
                  <a16:creationId xmlns:a16="http://schemas.microsoft.com/office/drawing/2014/main" id="{154EF368-381C-B163-8CB1-2B8C8E8F6E60}"/>
                </a:ext>
              </a:extLst>
            </p:cNvPr>
            <p:cNvSpPr/>
            <p:nvPr/>
          </p:nvSpPr>
          <p:spPr>
            <a:xfrm>
              <a:off x="7897422" y="3774668"/>
              <a:ext cx="68119" cy="68119"/>
            </a:xfrm>
            <a:custGeom>
              <a:avLst/>
              <a:gdLst>
                <a:gd name="connsiteX0" fmla="*/ 59539 w 68119"/>
                <a:gd name="connsiteY0" fmla="*/ 68119 h 68119"/>
                <a:gd name="connsiteX1" fmla="*/ 8580 w 68119"/>
                <a:gd name="connsiteY1" fmla="*/ 68119 h 68119"/>
                <a:gd name="connsiteX2" fmla="*/ 0 w 68119"/>
                <a:gd name="connsiteY2" fmla="*/ 59539 h 68119"/>
                <a:gd name="connsiteX3" fmla="*/ 0 w 68119"/>
                <a:gd name="connsiteY3" fmla="*/ 8580 h 68119"/>
                <a:gd name="connsiteX4" fmla="*/ 8580 w 68119"/>
                <a:gd name="connsiteY4" fmla="*/ 0 h 68119"/>
                <a:gd name="connsiteX5" fmla="*/ 59539 w 68119"/>
                <a:gd name="connsiteY5" fmla="*/ 0 h 68119"/>
                <a:gd name="connsiteX6" fmla="*/ 68119 w 68119"/>
                <a:gd name="connsiteY6" fmla="*/ 8580 h 68119"/>
                <a:gd name="connsiteX7" fmla="*/ 68119 w 68119"/>
                <a:gd name="connsiteY7" fmla="*/ 59539 h 68119"/>
                <a:gd name="connsiteX8" fmla="*/ 59539 w 68119"/>
                <a:gd name="connsiteY8" fmla="*/ 68119 h 68119"/>
                <a:gd name="connsiteX9" fmla="*/ 17159 w 68119"/>
                <a:gd name="connsiteY9" fmla="*/ 52259 h 68119"/>
                <a:gd name="connsiteX10" fmla="*/ 52259 w 68119"/>
                <a:gd name="connsiteY10" fmla="*/ 52259 h 68119"/>
                <a:gd name="connsiteX11" fmla="*/ 52259 w 68119"/>
                <a:gd name="connsiteY11" fmla="*/ 17160 h 68119"/>
                <a:gd name="connsiteX12" fmla="*/ 17159 w 68119"/>
                <a:gd name="connsiteY12" fmla="*/ 17160 h 68119"/>
                <a:gd name="connsiteX13" fmla="*/ 17159 w 68119"/>
                <a:gd name="connsiteY13" fmla="*/ 52259 h 6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119" h="68119">
                  <a:moveTo>
                    <a:pt x="59539" y="68119"/>
                  </a:moveTo>
                  <a:lnTo>
                    <a:pt x="8580" y="68119"/>
                  </a:lnTo>
                  <a:cubicBezTo>
                    <a:pt x="4420" y="68119"/>
                    <a:pt x="0" y="64999"/>
                    <a:pt x="0" y="59539"/>
                  </a:cubicBezTo>
                  <a:lnTo>
                    <a:pt x="0" y="8580"/>
                  </a:lnTo>
                  <a:cubicBezTo>
                    <a:pt x="0" y="4420"/>
                    <a:pt x="3120" y="0"/>
                    <a:pt x="8580" y="0"/>
                  </a:cubicBezTo>
                  <a:lnTo>
                    <a:pt x="59539" y="0"/>
                  </a:lnTo>
                  <a:cubicBezTo>
                    <a:pt x="63699" y="0"/>
                    <a:pt x="68119" y="3120"/>
                    <a:pt x="68119" y="8580"/>
                  </a:cubicBezTo>
                  <a:lnTo>
                    <a:pt x="68119" y="59539"/>
                  </a:lnTo>
                  <a:cubicBezTo>
                    <a:pt x="68119" y="63959"/>
                    <a:pt x="63699" y="68119"/>
                    <a:pt x="59539" y="68119"/>
                  </a:cubicBezTo>
                  <a:close/>
                  <a:moveTo>
                    <a:pt x="17159" y="52259"/>
                  </a:moveTo>
                  <a:lnTo>
                    <a:pt x="52259" y="52259"/>
                  </a:lnTo>
                  <a:lnTo>
                    <a:pt x="52259" y="17160"/>
                  </a:lnTo>
                  <a:lnTo>
                    <a:pt x="17159" y="17160"/>
                  </a:lnTo>
                  <a:lnTo>
                    <a:pt x="17159" y="52259"/>
                  </a:lnTo>
                  <a:close/>
                </a:path>
              </a:pathLst>
            </a:custGeom>
            <a:solidFill>
              <a:srgbClr val="FFFFFF"/>
            </a:solidFill>
            <a:ln w="2597" cap="flat">
              <a:noFill/>
              <a:prstDash val="solid"/>
              <a:miter/>
            </a:ln>
          </p:spPr>
          <p:txBody>
            <a:bodyPr rtlCol="0" anchor="ctr"/>
            <a:lstStyle/>
            <a:p>
              <a:endParaRPr lang="en-GB"/>
            </a:p>
          </p:txBody>
        </p:sp>
        <p:sp>
          <p:nvSpPr>
            <p:cNvPr id="850" name="Freeform: Shape 849">
              <a:extLst>
                <a:ext uri="{FF2B5EF4-FFF2-40B4-BE49-F238E27FC236}">
                  <a16:creationId xmlns:a16="http://schemas.microsoft.com/office/drawing/2014/main" id="{775536CA-107A-7EA0-ACC2-1380C862EF7B}"/>
                </a:ext>
              </a:extLst>
            </p:cNvPr>
            <p:cNvSpPr/>
            <p:nvPr/>
          </p:nvSpPr>
          <p:spPr>
            <a:xfrm>
              <a:off x="7983481" y="3947826"/>
              <a:ext cx="68119" cy="68119"/>
            </a:xfrm>
            <a:custGeom>
              <a:avLst/>
              <a:gdLst>
                <a:gd name="connsiteX0" fmla="*/ 59540 w 68119"/>
                <a:gd name="connsiteY0" fmla="*/ 68119 h 68119"/>
                <a:gd name="connsiteX1" fmla="*/ 8580 w 68119"/>
                <a:gd name="connsiteY1" fmla="*/ 68119 h 68119"/>
                <a:gd name="connsiteX2" fmla="*/ 0 w 68119"/>
                <a:gd name="connsiteY2" fmla="*/ 59539 h 68119"/>
                <a:gd name="connsiteX3" fmla="*/ 0 w 68119"/>
                <a:gd name="connsiteY3" fmla="*/ 8580 h 68119"/>
                <a:gd name="connsiteX4" fmla="*/ 8580 w 68119"/>
                <a:gd name="connsiteY4" fmla="*/ 0 h 68119"/>
                <a:gd name="connsiteX5" fmla="*/ 59540 w 68119"/>
                <a:gd name="connsiteY5" fmla="*/ 0 h 68119"/>
                <a:gd name="connsiteX6" fmla="*/ 68120 w 68119"/>
                <a:gd name="connsiteY6" fmla="*/ 8580 h 68119"/>
                <a:gd name="connsiteX7" fmla="*/ 68120 w 68119"/>
                <a:gd name="connsiteY7" fmla="*/ 59539 h 68119"/>
                <a:gd name="connsiteX8" fmla="*/ 59540 w 68119"/>
                <a:gd name="connsiteY8" fmla="*/ 68119 h 68119"/>
                <a:gd name="connsiteX9" fmla="*/ 15860 w 68119"/>
                <a:gd name="connsiteY9" fmla="*/ 52259 h 68119"/>
                <a:gd name="connsiteX10" fmla="*/ 50960 w 68119"/>
                <a:gd name="connsiteY10" fmla="*/ 52259 h 68119"/>
                <a:gd name="connsiteX11" fmla="*/ 50960 w 68119"/>
                <a:gd name="connsiteY11" fmla="*/ 17160 h 68119"/>
                <a:gd name="connsiteX12" fmla="*/ 15860 w 68119"/>
                <a:gd name="connsiteY12" fmla="*/ 17160 h 68119"/>
                <a:gd name="connsiteX13" fmla="*/ 15860 w 68119"/>
                <a:gd name="connsiteY13" fmla="*/ 52259 h 6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119" h="68119">
                  <a:moveTo>
                    <a:pt x="59540" y="68119"/>
                  </a:moveTo>
                  <a:lnTo>
                    <a:pt x="8580" y="68119"/>
                  </a:lnTo>
                  <a:cubicBezTo>
                    <a:pt x="4420" y="68119"/>
                    <a:pt x="0" y="64999"/>
                    <a:pt x="0" y="59539"/>
                  </a:cubicBezTo>
                  <a:lnTo>
                    <a:pt x="0" y="8580"/>
                  </a:lnTo>
                  <a:cubicBezTo>
                    <a:pt x="0" y="4420"/>
                    <a:pt x="3120" y="0"/>
                    <a:pt x="8580" y="0"/>
                  </a:cubicBezTo>
                  <a:lnTo>
                    <a:pt x="59540" y="0"/>
                  </a:lnTo>
                  <a:cubicBezTo>
                    <a:pt x="63699" y="0"/>
                    <a:pt x="68120" y="3120"/>
                    <a:pt x="68120" y="8580"/>
                  </a:cubicBezTo>
                  <a:lnTo>
                    <a:pt x="68120" y="59539"/>
                  </a:lnTo>
                  <a:cubicBezTo>
                    <a:pt x="66820" y="63959"/>
                    <a:pt x="63699" y="68119"/>
                    <a:pt x="59540" y="68119"/>
                  </a:cubicBezTo>
                  <a:close/>
                  <a:moveTo>
                    <a:pt x="15860" y="52259"/>
                  </a:moveTo>
                  <a:lnTo>
                    <a:pt x="50960" y="52259"/>
                  </a:lnTo>
                  <a:lnTo>
                    <a:pt x="50960" y="17160"/>
                  </a:lnTo>
                  <a:lnTo>
                    <a:pt x="15860" y="17160"/>
                  </a:lnTo>
                  <a:lnTo>
                    <a:pt x="15860" y="52259"/>
                  </a:lnTo>
                  <a:close/>
                </a:path>
              </a:pathLst>
            </a:custGeom>
            <a:solidFill>
              <a:srgbClr val="FFFFFF"/>
            </a:solidFill>
            <a:ln w="2597" cap="flat">
              <a:noFill/>
              <a:prstDash val="solid"/>
              <a:miter/>
            </a:ln>
          </p:spPr>
          <p:txBody>
            <a:bodyPr rtlCol="0" anchor="ctr"/>
            <a:lstStyle/>
            <a:p>
              <a:endParaRPr lang="en-GB"/>
            </a:p>
          </p:txBody>
        </p:sp>
        <p:sp>
          <p:nvSpPr>
            <p:cNvPr id="851" name="Freeform: Shape 850">
              <a:extLst>
                <a:ext uri="{FF2B5EF4-FFF2-40B4-BE49-F238E27FC236}">
                  <a16:creationId xmlns:a16="http://schemas.microsoft.com/office/drawing/2014/main" id="{6BEBDE45-F312-E8F3-8709-15B33D1107E0}"/>
                </a:ext>
              </a:extLst>
            </p:cNvPr>
            <p:cNvSpPr/>
            <p:nvPr/>
          </p:nvSpPr>
          <p:spPr>
            <a:xfrm>
              <a:off x="7983481" y="3859687"/>
              <a:ext cx="68119" cy="68119"/>
            </a:xfrm>
            <a:custGeom>
              <a:avLst/>
              <a:gdLst>
                <a:gd name="connsiteX0" fmla="*/ 59540 w 68119"/>
                <a:gd name="connsiteY0" fmla="*/ 68119 h 68119"/>
                <a:gd name="connsiteX1" fmla="*/ 8580 w 68119"/>
                <a:gd name="connsiteY1" fmla="*/ 68119 h 68119"/>
                <a:gd name="connsiteX2" fmla="*/ 0 w 68119"/>
                <a:gd name="connsiteY2" fmla="*/ 59539 h 68119"/>
                <a:gd name="connsiteX3" fmla="*/ 0 w 68119"/>
                <a:gd name="connsiteY3" fmla="*/ 8580 h 68119"/>
                <a:gd name="connsiteX4" fmla="*/ 8580 w 68119"/>
                <a:gd name="connsiteY4" fmla="*/ 0 h 68119"/>
                <a:gd name="connsiteX5" fmla="*/ 59540 w 68119"/>
                <a:gd name="connsiteY5" fmla="*/ 0 h 68119"/>
                <a:gd name="connsiteX6" fmla="*/ 68120 w 68119"/>
                <a:gd name="connsiteY6" fmla="*/ 8580 h 68119"/>
                <a:gd name="connsiteX7" fmla="*/ 68120 w 68119"/>
                <a:gd name="connsiteY7" fmla="*/ 59539 h 68119"/>
                <a:gd name="connsiteX8" fmla="*/ 59540 w 68119"/>
                <a:gd name="connsiteY8" fmla="*/ 68119 h 68119"/>
                <a:gd name="connsiteX9" fmla="*/ 15860 w 68119"/>
                <a:gd name="connsiteY9" fmla="*/ 52259 h 68119"/>
                <a:gd name="connsiteX10" fmla="*/ 50960 w 68119"/>
                <a:gd name="connsiteY10" fmla="*/ 52259 h 68119"/>
                <a:gd name="connsiteX11" fmla="*/ 50960 w 68119"/>
                <a:gd name="connsiteY11" fmla="*/ 17160 h 68119"/>
                <a:gd name="connsiteX12" fmla="*/ 15860 w 68119"/>
                <a:gd name="connsiteY12" fmla="*/ 17160 h 68119"/>
                <a:gd name="connsiteX13" fmla="*/ 15860 w 68119"/>
                <a:gd name="connsiteY13" fmla="*/ 52259 h 6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119" h="68119">
                  <a:moveTo>
                    <a:pt x="59540" y="68119"/>
                  </a:moveTo>
                  <a:lnTo>
                    <a:pt x="8580" y="68119"/>
                  </a:lnTo>
                  <a:cubicBezTo>
                    <a:pt x="4420" y="68119"/>
                    <a:pt x="0" y="64999"/>
                    <a:pt x="0" y="59539"/>
                  </a:cubicBezTo>
                  <a:lnTo>
                    <a:pt x="0" y="8580"/>
                  </a:lnTo>
                  <a:cubicBezTo>
                    <a:pt x="0" y="4420"/>
                    <a:pt x="3120" y="0"/>
                    <a:pt x="8580" y="0"/>
                  </a:cubicBezTo>
                  <a:lnTo>
                    <a:pt x="59540" y="0"/>
                  </a:lnTo>
                  <a:cubicBezTo>
                    <a:pt x="63699" y="0"/>
                    <a:pt x="68120" y="3120"/>
                    <a:pt x="68120" y="8580"/>
                  </a:cubicBezTo>
                  <a:lnTo>
                    <a:pt x="68120" y="59539"/>
                  </a:lnTo>
                  <a:cubicBezTo>
                    <a:pt x="66820" y="63959"/>
                    <a:pt x="63699" y="68119"/>
                    <a:pt x="59540" y="68119"/>
                  </a:cubicBezTo>
                  <a:close/>
                  <a:moveTo>
                    <a:pt x="15860" y="52259"/>
                  </a:moveTo>
                  <a:lnTo>
                    <a:pt x="50960" y="52259"/>
                  </a:lnTo>
                  <a:lnTo>
                    <a:pt x="50960" y="17160"/>
                  </a:lnTo>
                  <a:lnTo>
                    <a:pt x="15860" y="17160"/>
                  </a:lnTo>
                  <a:lnTo>
                    <a:pt x="15860" y="52259"/>
                  </a:lnTo>
                  <a:close/>
                </a:path>
              </a:pathLst>
            </a:custGeom>
            <a:solidFill>
              <a:srgbClr val="FFFFFF"/>
            </a:solidFill>
            <a:ln w="2597" cap="flat">
              <a:noFill/>
              <a:prstDash val="solid"/>
              <a:miter/>
            </a:ln>
          </p:spPr>
          <p:txBody>
            <a:bodyPr rtlCol="0" anchor="ctr"/>
            <a:lstStyle/>
            <a:p>
              <a:endParaRPr lang="en-GB"/>
            </a:p>
          </p:txBody>
        </p:sp>
        <p:grpSp>
          <p:nvGrpSpPr>
            <p:cNvPr id="852" name="Graphic 6">
              <a:extLst>
                <a:ext uri="{FF2B5EF4-FFF2-40B4-BE49-F238E27FC236}">
                  <a16:creationId xmlns:a16="http://schemas.microsoft.com/office/drawing/2014/main" id="{23700E32-6DA9-4E3A-087C-005FCD294655}"/>
                </a:ext>
              </a:extLst>
            </p:cNvPr>
            <p:cNvGrpSpPr/>
            <p:nvPr/>
          </p:nvGrpSpPr>
          <p:grpSpPr>
            <a:xfrm>
              <a:off x="7578146" y="3400793"/>
              <a:ext cx="224659" cy="335916"/>
              <a:chOff x="7578146" y="3400793"/>
              <a:chExt cx="224659" cy="335916"/>
            </a:xfrm>
            <a:solidFill>
              <a:srgbClr val="0069FF"/>
            </a:solidFill>
          </p:grpSpPr>
          <p:sp>
            <p:nvSpPr>
              <p:cNvPr id="859" name="Freeform: Shape 858">
                <a:extLst>
                  <a:ext uri="{FF2B5EF4-FFF2-40B4-BE49-F238E27FC236}">
                    <a16:creationId xmlns:a16="http://schemas.microsoft.com/office/drawing/2014/main" id="{75AB3C72-4AD9-843C-9965-CD0035EEFE9F}"/>
                  </a:ext>
                </a:extLst>
              </p:cNvPr>
              <p:cNvSpPr/>
              <p:nvPr/>
            </p:nvSpPr>
            <p:spPr>
              <a:xfrm>
                <a:off x="7583346" y="3405733"/>
                <a:ext cx="214497" cy="325776"/>
              </a:xfrm>
              <a:custGeom>
                <a:avLst/>
                <a:gdLst>
                  <a:gd name="connsiteX0" fmla="*/ 214498 w 214497"/>
                  <a:gd name="connsiteY0" fmla="*/ 86839 h 325776"/>
                  <a:gd name="connsiteX1" fmla="*/ 107119 w 214497"/>
                  <a:gd name="connsiteY1" fmla="*/ 44459 h 325776"/>
                  <a:gd name="connsiteX2" fmla="*/ 0 w 214497"/>
                  <a:gd name="connsiteY2" fmla="*/ 0 h 325776"/>
                  <a:gd name="connsiteX3" fmla="*/ 0 w 214497"/>
                  <a:gd name="connsiteY3" fmla="*/ 325776 h 325776"/>
                  <a:gd name="connsiteX4" fmla="*/ 214498 w 214497"/>
                  <a:gd name="connsiteY4" fmla="*/ 325776 h 325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497" h="325776">
                    <a:moveTo>
                      <a:pt x="214498" y="86839"/>
                    </a:moveTo>
                    <a:lnTo>
                      <a:pt x="107119" y="44459"/>
                    </a:lnTo>
                    <a:lnTo>
                      <a:pt x="0" y="0"/>
                    </a:lnTo>
                    <a:lnTo>
                      <a:pt x="0" y="325776"/>
                    </a:lnTo>
                    <a:lnTo>
                      <a:pt x="214498" y="325776"/>
                    </a:lnTo>
                    <a:close/>
                  </a:path>
                </a:pathLst>
              </a:custGeom>
              <a:solidFill>
                <a:srgbClr val="0069FF"/>
              </a:solidFill>
              <a:ln w="2597" cap="flat">
                <a:noFill/>
                <a:prstDash val="solid"/>
                <a:miter/>
              </a:ln>
            </p:spPr>
            <p:txBody>
              <a:bodyPr rtlCol="0" anchor="ctr"/>
              <a:lstStyle/>
              <a:p>
                <a:endParaRPr lang="en-GB"/>
              </a:p>
            </p:txBody>
          </p:sp>
          <p:sp>
            <p:nvSpPr>
              <p:cNvPr id="860" name="Freeform: Shape 859">
                <a:extLst>
                  <a:ext uri="{FF2B5EF4-FFF2-40B4-BE49-F238E27FC236}">
                    <a16:creationId xmlns:a16="http://schemas.microsoft.com/office/drawing/2014/main" id="{FB6EDCFD-0C51-B051-691E-313FE03B18D3}"/>
                  </a:ext>
                </a:extLst>
              </p:cNvPr>
              <p:cNvSpPr/>
              <p:nvPr/>
            </p:nvSpPr>
            <p:spPr>
              <a:xfrm>
                <a:off x="7578146" y="3400793"/>
                <a:ext cx="224659" cy="335916"/>
              </a:xfrm>
              <a:custGeom>
                <a:avLst/>
                <a:gdLst>
                  <a:gd name="connsiteX0" fmla="*/ 219697 w 224659"/>
                  <a:gd name="connsiteY0" fmla="*/ 335916 h 335916"/>
                  <a:gd name="connsiteX1" fmla="*/ 5200 w 224659"/>
                  <a:gd name="connsiteY1" fmla="*/ 335916 h 335916"/>
                  <a:gd name="connsiteX2" fmla="*/ 0 w 224659"/>
                  <a:gd name="connsiteY2" fmla="*/ 330716 h 335916"/>
                  <a:gd name="connsiteX3" fmla="*/ 0 w 224659"/>
                  <a:gd name="connsiteY3" fmla="*/ 4940 h 335916"/>
                  <a:gd name="connsiteX4" fmla="*/ 2080 w 224659"/>
                  <a:gd name="connsiteY4" fmla="*/ 780 h 335916"/>
                  <a:gd name="connsiteX5" fmla="*/ 7280 w 224659"/>
                  <a:gd name="connsiteY5" fmla="*/ 780 h 335916"/>
                  <a:gd name="connsiteX6" fmla="*/ 114399 w 224659"/>
                  <a:gd name="connsiteY6" fmla="*/ 45239 h 335916"/>
                  <a:gd name="connsiteX7" fmla="*/ 221517 w 224659"/>
                  <a:gd name="connsiteY7" fmla="*/ 87619 h 335916"/>
                  <a:gd name="connsiteX8" fmla="*/ 224637 w 224659"/>
                  <a:gd name="connsiteY8" fmla="*/ 92819 h 335916"/>
                  <a:gd name="connsiteX9" fmla="*/ 224637 w 224659"/>
                  <a:gd name="connsiteY9" fmla="*/ 331496 h 335916"/>
                  <a:gd name="connsiteX10" fmla="*/ 219697 w 224659"/>
                  <a:gd name="connsiteY10" fmla="*/ 335916 h 335916"/>
                  <a:gd name="connsiteX11" fmla="*/ 10660 w 224659"/>
                  <a:gd name="connsiteY11" fmla="*/ 325256 h 335916"/>
                  <a:gd name="connsiteX12" fmla="*/ 214498 w 224659"/>
                  <a:gd name="connsiteY12" fmla="*/ 325256 h 335916"/>
                  <a:gd name="connsiteX13" fmla="*/ 214498 w 224659"/>
                  <a:gd name="connsiteY13" fmla="*/ 94899 h 335916"/>
                  <a:gd name="connsiteX14" fmla="*/ 110499 w 224659"/>
                  <a:gd name="connsiteY14" fmla="*/ 53559 h 335916"/>
                  <a:gd name="connsiteX15" fmla="*/ 10660 w 224659"/>
                  <a:gd name="connsiteY15" fmla="*/ 12220 h 335916"/>
                  <a:gd name="connsiteX16" fmla="*/ 10660 w 224659"/>
                  <a:gd name="connsiteY16" fmla="*/ 325256 h 335916"/>
                  <a:gd name="connsiteX17" fmla="*/ 10660 w 224659"/>
                  <a:gd name="connsiteY17" fmla="*/ 325256 h 335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659" h="335916">
                    <a:moveTo>
                      <a:pt x="219697" y="335916"/>
                    </a:moveTo>
                    <a:lnTo>
                      <a:pt x="5200" y="335916"/>
                    </a:lnTo>
                    <a:cubicBezTo>
                      <a:pt x="2080" y="335916"/>
                      <a:pt x="0" y="333836"/>
                      <a:pt x="0" y="330716"/>
                    </a:cubicBezTo>
                    <a:lnTo>
                      <a:pt x="0" y="4940"/>
                    </a:lnTo>
                    <a:cubicBezTo>
                      <a:pt x="0" y="2860"/>
                      <a:pt x="1040" y="1820"/>
                      <a:pt x="2080" y="780"/>
                    </a:cubicBezTo>
                    <a:cubicBezTo>
                      <a:pt x="3120" y="-260"/>
                      <a:pt x="5200" y="-260"/>
                      <a:pt x="7280" y="780"/>
                    </a:cubicBezTo>
                    <a:lnTo>
                      <a:pt x="114399" y="45239"/>
                    </a:lnTo>
                    <a:lnTo>
                      <a:pt x="221517" y="87619"/>
                    </a:lnTo>
                    <a:cubicBezTo>
                      <a:pt x="223597" y="88659"/>
                      <a:pt x="224637" y="90739"/>
                      <a:pt x="224637" y="92819"/>
                    </a:cubicBezTo>
                    <a:lnTo>
                      <a:pt x="224637" y="331496"/>
                    </a:lnTo>
                    <a:cubicBezTo>
                      <a:pt x="224897" y="333836"/>
                      <a:pt x="222817" y="335916"/>
                      <a:pt x="219697" y="335916"/>
                    </a:cubicBezTo>
                    <a:close/>
                    <a:moveTo>
                      <a:pt x="10660" y="325256"/>
                    </a:moveTo>
                    <a:lnTo>
                      <a:pt x="214498" y="325256"/>
                    </a:lnTo>
                    <a:lnTo>
                      <a:pt x="214498" y="94899"/>
                    </a:lnTo>
                    <a:lnTo>
                      <a:pt x="110499" y="53559"/>
                    </a:lnTo>
                    <a:lnTo>
                      <a:pt x="10660" y="12220"/>
                    </a:lnTo>
                    <a:lnTo>
                      <a:pt x="10660" y="325256"/>
                    </a:lnTo>
                    <a:lnTo>
                      <a:pt x="10660" y="325256"/>
                    </a:lnTo>
                    <a:close/>
                  </a:path>
                </a:pathLst>
              </a:custGeom>
              <a:solidFill>
                <a:srgbClr val="0069FF"/>
              </a:solidFill>
              <a:ln w="2597" cap="flat">
                <a:noFill/>
                <a:prstDash val="solid"/>
                <a:miter/>
              </a:ln>
            </p:spPr>
            <p:txBody>
              <a:bodyPr rtlCol="0" anchor="ctr"/>
              <a:lstStyle/>
              <a:p>
                <a:endParaRPr lang="en-GB"/>
              </a:p>
            </p:txBody>
          </p:sp>
        </p:grpSp>
        <p:sp>
          <p:nvSpPr>
            <p:cNvPr id="853" name="Freeform: Shape 852">
              <a:extLst>
                <a:ext uri="{FF2B5EF4-FFF2-40B4-BE49-F238E27FC236}">
                  <a16:creationId xmlns:a16="http://schemas.microsoft.com/office/drawing/2014/main" id="{E21F86C8-D419-6FF7-6BEB-1E6DC309E158}"/>
                </a:ext>
              </a:extLst>
            </p:cNvPr>
            <p:cNvSpPr/>
            <p:nvPr/>
          </p:nvSpPr>
          <p:spPr>
            <a:xfrm>
              <a:off x="7546166" y="3364133"/>
              <a:ext cx="233737" cy="334356"/>
            </a:xfrm>
            <a:custGeom>
              <a:avLst/>
              <a:gdLst>
                <a:gd name="connsiteX0" fmla="*/ 224117 w 233737"/>
                <a:gd name="connsiteY0" fmla="*/ 334356 h 334356"/>
                <a:gd name="connsiteX1" fmla="*/ 8580 w 233737"/>
                <a:gd name="connsiteY1" fmla="*/ 334356 h 334356"/>
                <a:gd name="connsiteX2" fmla="*/ 0 w 233737"/>
                <a:gd name="connsiteY2" fmla="*/ 325776 h 334356"/>
                <a:gd name="connsiteX3" fmla="*/ 0 w 233737"/>
                <a:gd name="connsiteY3" fmla="*/ 8580 h 334356"/>
                <a:gd name="connsiteX4" fmla="*/ 8580 w 233737"/>
                <a:gd name="connsiteY4" fmla="*/ 0 h 334356"/>
                <a:gd name="connsiteX5" fmla="*/ 17160 w 233737"/>
                <a:gd name="connsiteY5" fmla="*/ 8580 h 334356"/>
                <a:gd name="connsiteX6" fmla="*/ 17160 w 233737"/>
                <a:gd name="connsiteY6" fmla="*/ 317456 h 334356"/>
                <a:gd name="connsiteX7" fmla="*/ 216578 w 233737"/>
                <a:gd name="connsiteY7" fmla="*/ 317456 h 334356"/>
                <a:gd name="connsiteX8" fmla="*/ 216578 w 233737"/>
                <a:gd name="connsiteY8" fmla="*/ 100879 h 334356"/>
                <a:gd name="connsiteX9" fmla="*/ 225158 w 233737"/>
                <a:gd name="connsiteY9" fmla="*/ 92299 h 334356"/>
                <a:gd name="connsiteX10" fmla="*/ 233738 w 233737"/>
                <a:gd name="connsiteY10" fmla="*/ 100879 h 334356"/>
                <a:gd name="connsiteX11" fmla="*/ 233738 w 233737"/>
                <a:gd name="connsiteY11" fmla="*/ 325776 h 334356"/>
                <a:gd name="connsiteX12" fmla="*/ 224117 w 233737"/>
                <a:gd name="connsiteY12" fmla="*/ 334356 h 334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3737" h="334356">
                  <a:moveTo>
                    <a:pt x="224117" y="334356"/>
                  </a:moveTo>
                  <a:lnTo>
                    <a:pt x="8580" y="334356"/>
                  </a:lnTo>
                  <a:cubicBezTo>
                    <a:pt x="4420" y="334356"/>
                    <a:pt x="0" y="331236"/>
                    <a:pt x="0" y="325776"/>
                  </a:cubicBezTo>
                  <a:lnTo>
                    <a:pt x="0" y="8580"/>
                  </a:lnTo>
                  <a:cubicBezTo>
                    <a:pt x="0" y="4420"/>
                    <a:pt x="3120" y="0"/>
                    <a:pt x="8580" y="0"/>
                  </a:cubicBezTo>
                  <a:cubicBezTo>
                    <a:pt x="14040" y="0"/>
                    <a:pt x="17160" y="3120"/>
                    <a:pt x="17160" y="8580"/>
                  </a:cubicBezTo>
                  <a:lnTo>
                    <a:pt x="17160" y="317456"/>
                  </a:lnTo>
                  <a:lnTo>
                    <a:pt x="216578" y="317456"/>
                  </a:lnTo>
                  <a:lnTo>
                    <a:pt x="216578" y="100879"/>
                  </a:lnTo>
                  <a:cubicBezTo>
                    <a:pt x="216578" y="96719"/>
                    <a:pt x="219697" y="92299"/>
                    <a:pt x="225158" y="92299"/>
                  </a:cubicBezTo>
                  <a:cubicBezTo>
                    <a:pt x="230617" y="92299"/>
                    <a:pt x="233738" y="95419"/>
                    <a:pt x="233738" y="100879"/>
                  </a:cubicBezTo>
                  <a:lnTo>
                    <a:pt x="233738" y="325776"/>
                  </a:lnTo>
                  <a:cubicBezTo>
                    <a:pt x="231397" y="331236"/>
                    <a:pt x="228277" y="334356"/>
                    <a:pt x="224117" y="334356"/>
                  </a:cubicBezTo>
                  <a:close/>
                </a:path>
              </a:pathLst>
            </a:custGeom>
            <a:solidFill>
              <a:srgbClr val="00005A"/>
            </a:solidFill>
            <a:ln w="2597" cap="flat">
              <a:noFill/>
              <a:prstDash val="solid"/>
              <a:miter/>
            </a:ln>
          </p:spPr>
          <p:txBody>
            <a:bodyPr rtlCol="0" anchor="ctr"/>
            <a:lstStyle/>
            <a:p>
              <a:endParaRPr lang="en-GB"/>
            </a:p>
          </p:txBody>
        </p:sp>
        <p:sp>
          <p:nvSpPr>
            <p:cNvPr id="854" name="Freeform: Shape 853">
              <a:extLst>
                <a:ext uri="{FF2B5EF4-FFF2-40B4-BE49-F238E27FC236}">
                  <a16:creationId xmlns:a16="http://schemas.microsoft.com/office/drawing/2014/main" id="{F02807FE-E344-6D84-57BF-970AA0A8ACE4}"/>
                </a:ext>
              </a:extLst>
            </p:cNvPr>
            <p:cNvSpPr/>
            <p:nvPr/>
          </p:nvSpPr>
          <p:spPr>
            <a:xfrm>
              <a:off x="7523510" y="3354997"/>
              <a:ext cx="281908" cy="128214"/>
            </a:xfrm>
            <a:custGeom>
              <a:avLst/>
              <a:gdLst>
                <a:gd name="connsiteX0" fmla="*/ 273293 w 281908"/>
                <a:gd name="connsiteY0" fmla="*/ 128215 h 128214"/>
                <a:gd name="connsiteX1" fmla="*/ 270173 w 281908"/>
                <a:gd name="connsiteY1" fmla="*/ 127175 h 128214"/>
                <a:gd name="connsiteX2" fmla="*/ 4976 w 281908"/>
                <a:gd name="connsiteY2" fmla="*/ 15636 h 128214"/>
                <a:gd name="connsiteX3" fmla="*/ 816 w 281908"/>
                <a:gd name="connsiteY3" fmla="*/ 4976 h 128214"/>
                <a:gd name="connsiteX4" fmla="*/ 11476 w 281908"/>
                <a:gd name="connsiteY4" fmla="*/ 816 h 128214"/>
                <a:gd name="connsiteX5" fmla="*/ 276933 w 281908"/>
                <a:gd name="connsiteY5" fmla="*/ 112355 h 128214"/>
                <a:gd name="connsiteX6" fmla="*/ 281093 w 281908"/>
                <a:gd name="connsiteY6" fmla="*/ 123015 h 128214"/>
                <a:gd name="connsiteX7" fmla="*/ 273293 w 281908"/>
                <a:gd name="connsiteY7" fmla="*/ 128215 h 128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908" h="128214">
                  <a:moveTo>
                    <a:pt x="273293" y="128215"/>
                  </a:moveTo>
                  <a:cubicBezTo>
                    <a:pt x="272253" y="128215"/>
                    <a:pt x="271213" y="128215"/>
                    <a:pt x="270173" y="127175"/>
                  </a:cubicBezTo>
                  <a:lnTo>
                    <a:pt x="4976" y="15636"/>
                  </a:lnTo>
                  <a:cubicBezTo>
                    <a:pt x="816" y="13556"/>
                    <a:pt x="-1264" y="9396"/>
                    <a:pt x="816" y="4976"/>
                  </a:cubicBezTo>
                  <a:cubicBezTo>
                    <a:pt x="2896" y="816"/>
                    <a:pt x="7056" y="-1264"/>
                    <a:pt x="11476" y="816"/>
                  </a:cubicBezTo>
                  <a:lnTo>
                    <a:pt x="276933" y="112355"/>
                  </a:lnTo>
                  <a:cubicBezTo>
                    <a:pt x="281093" y="114435"/>
                    <a:pt x="283172" y="118595"/>
                    <a:pt x="281093" y="123015"/>
                  </a:cubicBezTo>
                  <a:cubicBezTo>
                    <a:pt x="279533" y="126135"/>
                    <a:pt x="276413" y="128215"/>
                    <a:pt x="273293" y="128215"/>
                  </a:cubicBezTo>
                  <a:close/>
                </a:path>
              </a:pathLst>
            </a:custGeom>
            <a:solidFill>
              <a:srgbClr val="00005A"/>
            </a:solidFill>
            <a:ln w="2597" cap="flat">
              <a:noFill/>
              <a:prstDash val="solid"/>
              <a:miter/>
            </a:ln>
          </p:spPr>
          <p:txBody>
            <a:bodyPr rtlCol="0" anchor="ctr"/>
            <a:lstStyle/>
            <a:p>
              <a:endParaRPr lang="en-GB"/>
            </a:p>
          </p:txBody>
        </p:sp>
        <p:sp>
          <p:nvSpPr>
            <p:cNvPr id="855" name="Freeform: Shape 854">
              <a:extLst>
                <a:ext uri="{FF2B5EF4-FFF2-40B4-BE49-F238E27FC236}">
                  <a16:creationId xmlns:a16="http://schemas.microsoft.com/office/drawing/2014/main" id="{E0999525-8FCF-599C-B9BB-B0BBF9EEE0B1}"/>
                </a:ext>
              </a:extLst>
            </p:cNvPr>
            <p:cNvSpPr/>
            <p:nvPr/>
          </p:nvSpPr>
          <p:spPr>
            <a:xfrm>
              <a:off x="7592965" y="3573171"/>
              <a:ext cx="66039" cy="66039"/>
            </a:xfrm>
            <a:custGeom>
              <a:avLst/>
              <a:gdLst>
                <a:gd name="connsiteX0" fmla="*/ 57199 w 66039"/>
                <a:gd name="connsiteY0" fmla="*/ 66039 h 66039"/>
                <a:gd name="connsiteX1" fmla="*/ 8580 w 66039"/>
                <a:gd name="connsiteY1" fmla="*/ 66039 h 66039"/>
                <a:gd name="connsiteX2" fmla="*/ 0 w 66039"/>
                <a:gd name="connsiteY2" fmla="*/ 57459 h 66039"/>
                <a:gd name="connsiteX3" fmla="*/ 0 w 66039"/>
                <a:gd name="connsiteY3" fmla="*/ 8580 h 66039"/>
                <a:gd name="connsiteX4" fmla="*/ 8580 w 66039"/>
                <a:gd name="connsiteY4" fmla="*/ 0 h 66039"/>
                <a:gd name="connsiteX5" fmla="*/ 57460 w 66039"/>
                <a:gd name="connsiteY5" fmla="*/ 0 h 66039"/>
                <a:gd name="connsiteX6" fmla="*/ 66040 w 66039"/>
                <a:gd name="connsiteY6" fmla="*/ 8580 h 66039"/>
                <a:gd name="connsiteX7" fmla="*/ 66040 w 66039"/>
                <a:gd name="connsiteY7" fmla="*/ 57459 h 66039"/>
                <a:gd name="connsiteX8" fmla="*/ 57199 w 66039"/>
                <a:gd name="connsiteY8" fmla="*/ 66039 h 66039"/>
                <a:gd name="connsiteX9" fmla="*/ 16900 w 66039"/>
                <a:gd name="connsiteY9" fmla="*/ 50179 h 66039"/>
                <a:gd name="connsiteX10" fmla="*/ 49919 w 66039"/>
                <a:gd name="connsiteY10" fmla="*/ 50179 h 66039"/>
                <a:gd name="connsiteX11" fmla="*/ 49919 w 66039"/>
                <a:gd name="connsiteY11" fmla="*/ 18460 h 66039"/>
                <a:gd name="connsiteX12" fmla="*/ 16900 w 66039"/>
                <a:gd name="connsiteY12" fmla="*/ 18460 h 66039"/>
                <a:gd name="connsiteX13" fmla="*/ 16900 w 66039"/>
                <a:gd name="connsiteY13" fmla="*/ 50179 h 66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039" h="66039">
                  <a:moveTo>
                    <a:pt x="57199" y="66039"/>
                  </a:moveTo>
                  <a:lnTo>
                    <a:pt x="8580" y="66039"/>
                  </a:lnTo>
                  <a:cubicBezTo>
                    <a:pt x="4420" y="66039"/>
                    <a:pt x="0" y="62919"/>
                    <a:pt x="0" y="57459"/>
                  </a:cubicBezTo>
                  <a:lnTo>
                    <a:pt x="0" y="8580"/>
                  </a:lnTo>
                  <a:cubicBezTo>
                    <a:pt x="0" y="4420"/>
                    <a:pt x="3120" y="0"/>
                    <a:pt x="8580" y="0"/>
                  </a:cubicBezTo>
                  <a:lnTo>
                    <a:pt x="57460" y="0"/>
                  </a:lnTo>
                  <a:cubicBezTo>
                    <a:pt x="61619" y="0"/>
                    <a:pt x="66040" y="3120"/>
                    <a:pt x="66040" y="8580"/>
                  </a:cubicBezTo>
                  <a:lnTo>
                    <a:pt x="66040" y="57459"/>
                  </a:lnTo>
                  <a:cubicBezTo>
                    <a:pt x="64740" y="62659"/>
                    <a:pt x="61619" y="66039"/>
                    <a:pt x="57199" y="66039"/>
                  </a:cubicBezTo>
                  <a:close/>
                  <a:moveTo>
                    <a:pt x="16900" y="50179"/>
                  </a:moveTo>
                  <a:lnTo>
                    <a:pt x="49919" y="50179"/>
                  </a:lnTo>
                  <a:lnTo>
                    <a:pt x="49919" y="18460"/>
                  </a:lnTo>
                  <a:lnTo>
                    <a:pt x="16900" y="18460"/>
                  </a:lnTo>
                  <a:lnTo>
                    <a:pt x="16900" y="50179"/>
                  </a:lnTo>
                  <a:close/>
                </a:path>
              </a:pathLst>
            </a:custGeom>
            <a:solidFill>
              <a:srgbClr val="FFFFFF"/>
            </a:solidFill>
            <a:ln w="2597" cap="flat">
              <a:noFill/>
              <a:prstDash val="solid"/>
              <a:miter/>
            </a:ln>
          </p:spPr>
          <p:txBody>
            <a:bodyPr rtlCol="0" anchor="ctr"/>
            <a:lstStyle/>
            <a:p>
              <a:endParaRPr lang="en-GB"/>
            </a:p>
          </p:txBody>
        </p:sp>
        <p:sp>
          <p:nvSpPr>
            <p:cNvPr id="856" name="Freeform: Shape 855">
              <a:extLst>
                <a:ext uri="{FF2B5EF4-FFF2-40B4-BE49-F238E27FC236}">
                  <a16:creationId xmlns:a16="http://schemas.microsoft.com/office/drawing/2014/main" id="{2A7FE5BA-ED0F-C790-1ED3-4573C8A5AD3F}"/>
                </a:ext>
              </a:extLst>
            </p:cNvPr>
            <p:cNvSpPr/>
            <p:nvPr/>
          </p:nvSpPr>
          <p:spPr>
            <a:xfrm>
              <a:off x="7674605" y="3573171"/>
              <a:ext cx="66038" cy="66039"/>
            </a:xfrm>
            <a:custGeom>
              <a:avLst/>
              <a:gdLst>
                <a:gd name="connsiteX0" fmla="*/ 57459 w 66038"/>
                <a:gd name="connsiteY0" fmla="*/ 66039 h 66039"/>
                <a:gd name="connsiteX1" fmla="*/ 8579 w 66038"/>
                <a:gd name="connsiteY1" fmla="*/ 66039 h 66039"/>
                <a:gd name="connsiteX2" fmla="*/ 0 w 66038"/>
                <a:gd name="connsiteY2" fmla="*/ 57459 h 66039"/>
                <a:gd name="connsiteX3" fmla="*/ 0 w 66038"/>
                <a:gd name="connsiteY3" fmla="*/ 8580 h 66039"/>
                <a:gd name="connsiteX4" fmla="*/ 8579 w 66038"/>
                <a:gd name="connsiteY4" fmla="*/ 0 h 66039"/>
                <a:gd name="connsiteX5" fmla="*/ 57459 w 66038"/>
                <a:gd name="connsiteY5" fmla="*/ 0 h 66039"/>
                <a:gd name="connsiteX6" fmla="*/ 66039 w 66038"/>
                <a:gd name="connsiteY6" fmla="*/ 8580 h 66039"/>
                <a:gd name="connsiteX7" fmla="*/ 66039 w 66038"/>
                <a:gd name="connsiteY7" fmla="*/ 57459 h 66039"/>
                <a:gd name="connsiteX8" fmla="*/ 57459 w 66038"/>
                <a:gd name="connsiteY8" fmla="*/ 66039 h 66039"/>
                <a:gd name="connsiteX9" fmla="*/ 17159 w 66038"/>
                <a:gd name="connsiteY9" fmla="*/ 50179 h 66039"/>
                <a:gd name="connsiteX10" fmla="*/ 50179 w 66038"/>
                <a:gd name="connsiteY10" fmla="*/ 50179 h 66039"/>
                <a:gd name="connsiteX11" fmla="*/ 50179 w 66038"/>
                <a:gd name="connsiteY11" fmla="*/ 18460 h 66039"/>
                <a:gd name="connsiteX12" fmla="*/ 17159 w 66038"/>
                <a:gd name="connsiteY12" fmla="*/ 18460 h 66039"/>
                <a:gd name="connsiteX13" fmla="*/ 17159 w 66038"/>
                <a:gd name="connsiteY13" fmla="*/ 50179 h 66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038" h="66039">
                  <a:moveTo>
                    <a:pt x="57459" y="66039"/>
                  </a:moveTo>
                  <a:lnTo>
                    <a:pt x="8579" y="66039"/>
                  </a:lnTo>
                  <a:cubicBezTo>
                    <a:pt x="4420" y="66039"/>
                    <a:pt x="0" y="62919"/>
                    <a:pt x="0" y="57459"/>
                  </a:cubicBezTo>
                  <a:lnTo>
                    <a:pt x="0" y="8580"/>
                  </a:lnTo>
                  <a:cubicBezTo>
                    <a:pt x="0" y="4420"/>
                    <a:pt x="3120" y="0"/>
                    <a:pt x="8579" y="0"/>
                  </a:cubicBezTo>
                  <a:lnTo>
                    <a:pt x="57459" y="0"/>
                  </a:lnTo>
                  <a:cubicBezTo>
                    <a:pt x="61619" y="0"/>
                    <a:pt x="66039" y="3120"/>
                    <a:pt x="66039" y="8580"/>
                  </a:cubicBezTo>
                  <a:lnTo>
                    <a:pt x="66039" y="57459"/>
                  </a:lnTo>
                  <a:cubicBezTo>
                    <a:pt x="65779" y="62659"/>
                    <a:pt x="61619" y="66039"/>
                    <a:pt x="57459" y="66039"/>
                  </a:cubicBezTo>
                  <a:close/>
                  <a:moveTo>
                    <a:pt x="17159" y="50179"/>
                  </a:moveTo>
                  <a:lnTo>
                    <a:pt x="50179" y="50179"/>
                  </a:lnTo>
                  <a:lnTo>
                    <a:pt x="50179" y="18460"/>
                  </a:lnTo>
                  <a:lnTo>
                    <a:pt x="17159" y="18460"/>
                  </a:lnTo>
                  <a:lnTo>
                    <a:pt x="17159" y="50179"/>
                  </a:lnTo>
                  <a:close/>
                </a:path>
              </a:pathLst>
            </a:custGeom>
            <a:solidFill>
              <a:srgbClr val="FFFFFF"/>
            </a:solidFill>
            <a:ln w="2597" cap="flat">
              <a:noFill/>
              <a:prstDash val="solid"/>
              <a:miter/>
            </a:ln>
          </p:spPr>
          <p:txBody>
            <a:bodyPr rtlCol="0" anchor="ctr"/>
            <a:lstStyle/>
            <a:p>
              <a:endParaRPr lang="en-GB"/>
            </a:p>
          </p:txBody>
        </p:sp>
        <p:sp>
          <p:nvSpPr>
            <p:cNvPr id="857" name="Freeform: Shape 856">
              <a:extLst>
                <a:ext uri="{FF2B5EF4-FFF2-40B4-BE49-F238E27FC236}">
                  <a16:creationId xmlns:a16="http://schemas.microsoft.com/office/drawing/2014/main" id="{60469C3C-D417-542F-E6E0-2617C43F9A03}"/>
                </a:ext>
              </a:extLst>
            </p:cNvPr>
            <p:cNvSpPr/>
            <p:nvPr/>
          </p:nvSpPr>
          <p:spPr>
            <a:xfrm>
              <a:off x="7569566" y="4063265"/>
              <a:ext cx="362175" cy="252976"/>
            </a:xfrm>
            <a:custGeom>
              <a:avLst/>
              <a:gdLst>
                <a:gd name="connsiteX0" fmla="*/ 352296 w 362175"/>
                <a:gd name="connsiteY0" fmla="*/ 252977 h 252976"/>
                <a:gd name="connsiteX1" fmla="*/ 8580 w 362175"/>
                <a:gd name="connsiteY1" fmla="*/ 252977 h 252976"/>
                <a:gd name="connsiteX2" fmla="*/ 0 w 362175"/>
                <a:gd name="connsiteY2" fmla="*/ 244397 h 252976"/>
                <a:gd name="connsiteX3" fmla="*/ 8580 w 362175"/>
                <a:gd name="connsiteY3" fmla="*/ 235817 h 252976"/>
                <a:gd name="connsiteX4" fmla="*/ 345016 w 362175"/>
                <a:gd name="connsiteY4" fmla="*/ 235817 h 252976"/>
                <a:gd name="connsiteX5" fmla="*/ 345016 w 362175"/>
                <a:gd name="connsiteY5" fmla="*/ 8580 h 252976"/>
                <a:gd name="connsiteX6" fmla="*/ 353596 w 362175"/>
                <a:gd name="connsiteY6" fmla="*/ 0 h 252976"/>
                <a:gd name="connsiteX7" fmla="*/ 362176 w 362175"/>
                <a:gd name="connsiteY7" fmla="*/ 8580 h 252976"/>
                <a:gd name="connsiteX8" fmla="*/ 362176 w 362175"/>
                <a:gd name="connsiteY8" fmla="*/ 244137 h 252976"/>
                <a:gd name="connsiteX9" fmla="*/ 352296 w 362175"/>
                <a:gd name="connsiteY9" fmla="*/ 252977 h 252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2175" h="252976">
                  <a:moveTo>
                    <a:pt x="352296" y="252977"/>
                  </a:moveTo>
                  <a:lnTo>
                    <a:pt x="8580" y="252977"/>
                  </a:lnTo>
                  <a:cubicBezTo>
                    <a:pt x="4420" y="252977"/>
                    <a:pt x="0" y="249857"/>
                    <a:pt x="0" y="244397"/>
                  </a:cubicBezTo>
                  <a:cubicBezTo>
                    <a:pt x="0" y="238937"/>
                    <a:pt x="3120" y="235817"/>
                    <a:pt x="8580" y="235817"/>
                  </a:cubicBezTo>
                  <a:lnTo>
                    <a:pt x="345016" y="235817"/>
                  </a:lnTo>
                  <a:lnTo>
                    <a:pt x="345016" y="8580"/>
                  </a:lnTo>
                  <a:cubicBezTo>
                    <a:pt x="345016" y="4420"/>
                    <a:pt x="348136" y="0"/>
                    <a:pt x="353596" y="0"/>
                  </a:cubicBezTo>
                  <a:cubicBezTo>
                    <a:pt x="359056" y="0"/>
                    <a:pt x="362176" y="3120"/>
                    <a:pt x="362176" y="8580"/>
                  </a:cubicBezTo>
                  <a:lnTo>
                    <a:pt x="362176" y="244137"/>
                  </a:lnTo>
                  <a:cubicBezTo>
                    <a:pt x="360876" y="249857"/>
                    <a:pt x="356716" y="252977"/>
                    <a:pt x="352296" y="252977"/>
                  </a:cubicBezTo>
                  <a:close/>
                </a:path>
              </a:pathLst>
            </a:custGeom>
            <a:solidFill>
              <a:srgbClr val="00005A"/>
            </a:solidFill>
            <a:ln w="2597" cap="flat">
              <a:noFill/>
              <a:prstDash val="solid"/>
              <a:miter/>
            </a:ln>
          </p:spPr>
          <p:txBody>
            <a:bodyPr rtlCol="0" anchor="ctr"/>
            <a:lstStyle/>
            <a:p>
              <a:endParaRPr lang="en-GB"/>
            </a:p>
          </p:txBody>
        </p:sp>
        <p:sp>
          <p:nvSpPr>
            <p:cNvPr id="858" name="Freeform: Shape 857">
              <a:extLst>
                <a:ext uri="{FF2B5EF4-FFF2-40B4-BE49-F238E27FC236}">
                  <a16:creationId xmlns:a16="http://schemas.microsoft.com/office/drawing/2014/main" id="{4D99D1FD-0F7A-F15D-C404-54D57C0D9F1B}"/>
                </a:ext>
              </a:extLst>
            </p:cNvPr>
            <p:cNvSpPr/>
            <p:nvPr/>
          </p:nvSpPr>
          <p:spPr>
            <a:xfrm>
              <a:off x="7655365" y="3685749"/>
              <a:ext cx="17160" cy="630492"/>
            </a:xfrm>
            <a:custGeom>
              <a:avLst/>
              <a:gdLst>
                <a:gd name="connsiteX0" fmla="*/ 8580 w 17160"/>
                <a:gd name="connsiteY0" fmla="*/ 630493 h 630492"/>
                <a:gd name="connsiteX1" fmla="*/ 0 w 17160"/>
                <a:gd name="connsiteY1" fmla="*/ 621913 h 630492"/>
                <a:gd name="connsiteX2" fmla="*/ 0 w 17160"/>
                <a:gd name="connsiteY2" fmla="*/ 8580 h 630492"/>
                <a:gd name="connsiteX3" fmla="*/ 8580 w 17160"/>
                <a:gd name="connsiteY3" fmla="*/ 0 h 630492"/>
                <a:gd name="connsiteX4" fmla="*/ 17160 w 17160"/>
                <a:gd name="connsiteY4" fmla="*/ 8580 h 630492"/>
                <a:gd name="connsiteX5" fmla="*/ 17160 w 17160"/>
                <a:gd name="connsiteY5" fmla="*/ 621913 h 630492"/>
                <a:gd name="connsiteX6" fmla="*/ 8580 w 17160"/>
                <a:gd name="connsiteY6" fmla="*/ 630493 h 630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60" h="630492">
                  <a:moveTo>
                    <a:pt x="8580" y="630493"/>
                  </a:moveTo>
                  <a:cubicBezTo>
                    <a:pt x="4420" y="630493"/>
                    <a:pt x="0" y="627373"/>
                    <a:pt x="0" y="621913"/>
                  </a:cubicBezTo>
                  <a:lnTo>
                    <a:pt x="0" y="8580"/>
                  </a:lnTo>
                  <a:cubicBezTo>
                    <a:pt x="0" y="4420"/>
                    <a:pt x="3120" y="0"/>
                    <a:pt x="8580" y="0"/>
                  </a:cubicBezTo>
                  <a:cubicBezTo>
                    <a:pt x="13780" y="0"/>
                    <a:pt x="17160" y="3120"/>
                    <a:pt x="17160" y="8580"/>
                  </a:cubicBezTo>
                  <a:lnTo>
                    <a:pt x="17160" y="621913"/>
                  </a:lnTo>
                  <a:cubicBezTo>
                    <a:pt x="16120" y="627373"/>
                    <a:pt x="13000" y="630493"/>
                    <a:pt x="8580" y="630493"/>
                  </a:cubicBezTo>
                  <a:close/>
                </a:path>
              </a:pathLst>
            </a:custGeom>
            <a:solidFill>
              <a:srgbClr val="00005A"/>
            </a:solidFill>
            <a:ln w="2597" cap="flat">
              <a:noFill/>
              <a:prstDash val="solid"/>
              <a:miter/>
            </a:ln>
          </p:spPr>
          <p:txBody>
            <a:bodyPr rtlCol="0" anchor="ctr"/>
            <a:lstStyle/>
            <a:p>
              <a:endParaRPr lang="en-GB"/>
            </a:p>
          </p:txBody>
        </p:sp>
      </p:grpSp>
      <p:sp>
        <p:nvSpPr>
          <p:cNvPr id="520" name="TextBox 519">
            <a:extLst>
              <a:ext uri="{FF2B5EF4-FFF2-40B4-BE49-F238E27FC236}">
                <a16:creationId xmlns:a16="http://schemas.microsoft.com/office/drawing/2014/main" id="{6011C7C9-1F0C-6D36-F66F-08A5522FC1C8}"/>
              </a:ext>
            </a:extLst>
          </p:cNvPr>
          <p:cNvSpPr txBox="1"/>
          <p:nvPr/>
        </p:nvSpPr>
        <p:spPr>
          <a:xfrm>
            <a:off x="8818064" y="4324438"/>
            <a:ext cx="775302" cy="153888"/>
          </a:xfrm>
          <a:prstGeom prst="rect">
            <a:avLst/>
          </a:prstGeom>
          <a:noFill/>
        </p:spPr>
        <p:txBody>
          <a:bodyPr wrap="square" lIns="0" tIns="0" rIns="0" bIns="0" rtlCol="0" anchor="t">
            <a:spAutoFit/>
          </a:bodyPr>
          <a:lstStyle/>
          <a:p>
            <a:pPr algn="l"/>
            <a:r>
              <a:rPr lang="en-GB" sz="1000" spc="0" baseline="0">
                <a:ln/>
                <a:cs typeface="Arial"/>
                <a:sym typeface="Arial"/>
                <a:rtl val="0"/>
              </a:rPr>
              <a:t>Wärmenetze</a:t>
            </a:r>
          </a:p>
        </p:txBody>
      </p:sp>
      <p:grpSp>
        <p:nvGrpSpPr>
          <p:cNvPr id="521" name="Graphic 6">
            <a:extLst>
              <a:ext uri="{FF2B5EF4-FFF2-40B4-BE49-F238E27FC236}">
                <a16:creationId xmlns:a16="http://schemas.microsoft.com/office/drawing/2014/main" id="{8D0F5AC0-02DA-3074-D328-0C4671D65F27}"/>
              </a:ext>
            </a:extLst>
          </p:cNvPr>
          <p:cNvGrpSpPr/>
          <p:nvPr/>
        </p:nvGrpSpPr>
        <p:grpSpPr>
          <a:xfrm>
            <a:off x="8659896" y="3805298"/>
            <a:ext cx="302696" cy="349235"/>
            <a:chOff x="2506124" y="3671970"/>
            <a:chExt cx="607093" cy="700431"/>
          </a:xfrm>
        </p:grpSpPr>
        <p:grpSp>
          <p:nvGrpSpPr>
            <p:cNvPr id="798" name="Graphic 6">
              <a:extLst>
                <a:ext uri="{FF2B5EF4-FFF2-40B4-BE49-F238E27FC236}">
                  <a16:creationId xmlns:a16="http://schemas.microsoft.com/office/drawing/2014/main" id="{8D018C97-CFEC-1463-4D0D-BADFF92AA1D7}"/>
                </a:ext>
              </a:extLst>
            </p:cNvPr>
            <p:cNvGrpSpPr/>
            <p:nvPr/>
          </p:nvGrpSpPr>
          <p:grpSpPr>
            <a:xfrm>
              <a:off x="2538104" y="3705249"/>
              <a:ext cx="575113" cy="667152"/>
              <a:chOff x="2538104" y="3705249"/>
              <a:chExt cx="575113" cy="667152"/>
            </a:xfrm>
            <a:solidFill>
              <a:srgbClr val="0069FF"/>
            </a:solidFill>
          </p:grpSpPr>
          <p:grpSp>
            <p:nvGrpSpPr>
              <p:cNvPr id="826" name="Graphic 6">
                <a:extLst>
                  <a:ext uri="{FF2B5EF4-FFF2-40B4-BE49-F238E27FC236}">
                    <a16:creationId xmlns:a16="http://schemas.microsoft.com/office/drawing/2014/main" id="{B36662EE-5177-7154-4D40-4B9B6EC1E1EB}"/>
                  </a:ext>
                </a:extLst>
              </p:cNvPr>
              <p:cNvGrpSpPr/>
              <p:nvPr/>
            </p:nvGrpSpPr>
            <p:grpSpPr>
              <a:xfrm>
                <a:off x="2538104" y="3705249"/>
                <a:ext cx="575113" cy="618532"/>
                <a:chOff x="2538104" y="3705249"/>
                <a:chExt cx="575113" cy="618532"/>
              </a:xfrm>
              <a:solidFill>
                <a:srgbClr val="0069FF"/>
              </a:solidFill>
            </p:grpSpPr>
            <p:sp>
              <p:nvSpPr>
                <p:cNvPr id="833" name="Freeform: Shape 832">
                  <a:extLst>
                    <a:ext uri="{FF2B5EF4-FFF2-40B4-BE49-F238E27FC236}">
                      <a16:creationId xmlns:a16="http://schemas.microsoft.com/office/drawing/2014/main" id="{FE50176E-615A-F626-2BDE-655E5EF3E346}"/>
                    </a:ext>
                  </a:extLst>
                </p:cNvPr>
                <p:cNvSpPr/>
                <p:nvPr/>
              </p:nvSpPr>
              <p:spPr>
                <a:xfrm>
                  <a:off x="2543304" y="3710189"/>
                  <a:ext cx="564713" cy="608133"/>
                </a:xfrm>
                <a:custGeom>
                  <a:avLst/>
                  <a:gdLst>
                    <a:gd name="connsiteX0" fmla="*/ 0 w 564713"/>
                    <a:gd name="connsiteY0" fmla="*/ 0 h 608133"/>
                    <a:gd name="connsiteX1" fmla="*/ 564714 w 564713"/>
                    <a:gd name="connsiteY1" fmla="*/ 0 h 608133"/>
                    <a:gd name="connsiteX2" fmla="*/ 564714 w 564713"/>
                    <a:gd name="connsiteY2" fmla="*/ 608133 h 608133"/>
                    <a:gd name="connsiteX3" fmla="*/ 0 w 564713"/>
                    <a:gd name="connsiteY3" fmla="*/ 608133 h 608133"/>
                  </a:gdLst>
                  <a:ahLst/>
                  <a:cxnLst>
                    <a:cxn ang="0">
                      <a:pos x="connsiteX0" y="connsiteY0"/>
                    </a:cxn>
                    <a:cxn ang="0">
                      <a:pos x="connsiteX1" y="connsiteY1"/>
                    </a:cxn>
                    <a:cxn ang="0">
                      <a:pos x="connsiteX2" y="connsiteY2"/>
                    </a:cxn>
                    <a:cxn ang="0">
                      <a:pos x="connsiteX3" y="connsiteY3"/>
                    </a:cxn>
                  </a:cxnLst>
                  <a:rect l="l" t="t" r="r" b="b"/>
                  <a:pathLst>
                    <a:path w="564713" h="608133">
                      <a:moveTo>
                        <a:pt x="0" y="0"/>
                      </a:moveTo>
                      <a:lnTo>
                        <a:pt x="564714" y="0"/>
                      </a:lnTo>
                      <a:lnTo>
                        <a:pt x="564714" y="608133"/>
                      </a:lnTo>
                      <a:lnTo>
                        <a:pt x="0" y="608133"/>
                      </a:lnTo>
                      <a:close/>
                    </a:path>
                  </a:pathLst>
                </a:custGeom>
                <a:solidFill>
                  <a:srgbClr val="0069FF"/>
                </a:solidFill>
                <a:ln w="2597" cap="flat">
                  <a:noFill/>
                  <a:prstDash val="solid"/>
                  <a:miter/>
                </a:ln>
              </p:spPr>
              <p:txBody>
                <a:bodyPr rtlCol="0" anchor="ctr"/>
                <a:lstStyle/>
                <a:p>
                  <a:endParaRPr lang="en-GB"/>
                </a:p>
              </p:txBody>
            </p:sp>
            <p:sp>
              <p:nvSpPr>
                <p:cNvPr id="834" name="Freeform: Shape 833">
                  <a:extLst>
                    <a:ext uri="{FF2B5EF4-FFF2-40B4-BE49-F238E27FC236}">
                      <a16:creationId xmlns:a16="http://schemas.microsoft.com/office/drawing/2014/main" id="{5285AF06-5B19-53CA-73FA-69E9D8DD5497}"/>
                    </a:ext>
                  </a:extLst>
                </p:cNvPr>
                <p:cNvSpPr/>
                <p:nvPr/>
              </p:nvSpPr>
              <p:spPr>
                <a:xfrm>
                  <a:off x="2538104" y="3705249"/>
                  <a:ext cx="575113" cy="618532"/>
                </a:xfrm>
                <a:custGeom>
                  <a:avLst/>
                  <a:gdLst>
                    <a:gd name="connsiteX0" fmla="*/ 569653 w 575113"/>
                    <a:gd name="connsiteY0" fmla="*/ 618533 h 618532"/>
                    <a:gd name="connsiteX1" fmla="*/ 5200 w 575113"/>
                    <a:gd name="connsiteY1" fmla="*/ 618533 h 618532"/>
                    <a:gd name="connsiteX2" fmla="*/ 0 w 575113"/>
                    <a:gd name="connsiteY2" fmla="*/ 613333 h 618532"/>
                    <a:gd name="connsiteX3" fmla="*/ 0 w 575113"/>
                    <a:gd name="connsiteY3" fmla="*/ 5200 h 618532"/>
                    <a:gd name="connsiteX4" fmla="*/ 5200 w 575113"/>
                    <a:gd name="connsiteY4" fmla="*/ 0 h 618532"/>
                    <a:gd name="connsiteX5" fmla="*/ 569913 w 575113"/>
                    <a:gd name="connsiteY5" fmla="*/ 0 h 618532"/>
                    <a:gd name="connsiteX6" fmla="*/ 575113 w 575113"/>
                    <a:gd name="connsiteY6" fmla="*/ 5200 h 618532"/>
                    <a:gd name="connsiteX7" fmla="*/ 575113 w 575113"/>
                    <a:gd name="connsiteY7" fmla="*/ 613073 h 618532"/>
                    <a:gd name="connsiteX8" fmla="*/ 569653 w 575113"/>
                    <a:gd name="connsiteY8" fmla="*/ 618533 h 618532"/>
                    <a:gd name="connsiteX9" fmla="*/ 10400 w 575113"/>
                    <a:gd name="connsiteY9" fmla="*/ 607873 h 618532"/>
                    <a:gd name="connsiteX10" fmla="*/ 564453 w 575113"/>
                    <a:gd name="connsiteY10" fmla="*/ 607873 h 618532"/>
                    <a:gd name="connsiteX11" fmla="*/ 564453 w 575113"/>
                    <a:gd name="connsiteY11" fmla="*/ 10400 h 618532"/>
                    <a:gd name="connsiteX12" fmla="*/ 10400 w 575113"/>
                    <a:gd name="connsiteY12" fmla="*/ 10400 h 618532"/>
                    <a:gd name="connsiteX13" fmla="*/ 10400 w 575113"/>
                    <a:gd name="connsiteY13" fmla="*/ 607873 h 618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5113" h="618532">
                      <a:moveTo>
                        <a:pt x="569653" y="618533"/>
                      </a:moveTo>
                      <a:lnTo>
                        <a:pt x="5200" y="618533"/>
                      </a:lnTo>
                      <a:cubicBezTo>
                        <a:pt x="2080" y="618533"/>
                        <a:pt x="0" y="616453"/>
                        <a:pt x="0" y="613333"/>
                      </a:cubicBezTo>
                      <a:lnTo>
                        <a:pt x="0" y="5200"/>
                      </a:lnTo>
                      <a:cubicBezTo>
                        <a:pt x="0" y="2080"/>
                        <a:pt x="2080" y="0"/>
                        <a:pt x="5200" y="0"/>
                      </a:cubicBezTo>
                      <a:lnTo>
                        <a:pt x="569913" y="0"/>
                      </a:lnTo>
                      <a:cubicBezTo>
                        <a:pt x="573033" y="0"/>
                        <a:pt x="575113" y="2080"/>
                        <a:pt x="575113" y="5200"/>
                      </a:cubicBezTo>
                      <a:lnTo>
                        <a:pt x="575113" y="613073"/>
                      </a:lnTo>
                      <a:cubicBezTo>
                        <a:pt x="575113" y="616193"/>
                        <a:pt x="573033" y="618533"/>
                        <a:pt x="569653" y="618533"/>
                      </a:cubicBezTo>
                      <a:close/>
                      <a:moveTo>
                        <a:pt x="10400" y="607873"/>
                      </a:moveTo>
                      <a:lnTo>
                        <a:pt x="564453" y="607873"/>
                      </a:lnTo>
                      <a:lnTo>
                        <a:pt x="564453" y="10400"/>
                      </a:lnTo>
                      <a:lnTo>
                        <a:pt x="10400" y="10400"/>
                      </a:lnTo>
                      <a:lnTo>
                        <a:pt x="10400" y="607873"/>
                      </a:lnTo>
                      <a:close/>
                    </a:path>
                  </a:pathLst>
                </a:custGeom>
                <a:solidFill>
                  <a:srgbClr val="0069FF"/>
                </a:solidFill>
                <a:ln w="2597" cap="flat">
                  <a:noFill/>
                  <a:prstDash val="solid"/>
                  <a:miter/>
                </a:ln>
              </p:spPr>
              <p:txBody>
                <a:bodyPr rtlCol="0" anchor="ctr"/>
                <a:lstStyle/>
                <a:p>
                  <a:endParaRPr lang="en-GB"/>
                </a:p>
              </p:txBody>
            </p:sp>
          </p:grpSp>
          <p:grpSp>
            <p:nvGrpSpPr>
              <p:cNvPr id="827" name="Graphic 6">
                <a:extLst>
                  <a:ext uri="{FF2B5EF4-FFF2-40B4-BE49-F238E27FC236}">
                    <a16:creationId xmlns:a16="http://schemas.microsoft.com/office/drawing/2014/main" id="{E46814D6-6634-D81C-71FF-807715A56523}"/>
                  </a:ext>
                </a:extLst>
              </p:cNvPr>
              <p:cNvGrpSpPr/>
              <p:nvPr/>
            </p:nvGrpSpPr>
            <p:grpSpPr>
              <a:xfrm>
                <a:off x="2627283" y="4308962"/>
                <a:ext cx="104778" cy="63439"/>
                <a:chOff x="2627283" y="4308962"/>
                <a:chExt cx="104778" cy="63439"/>
              </a:xfrm>
              <a:solidFill>
                <a:srgbClr val="0069FF"/>
              </a:solidFill>
            </p:grpSpPr>
            <p:sp>
              <p:nvSpPr>
                <p:cNvPr id="831" name="Freeform: Shape 830">
                  <a:extLst>
                    <a:ext uri="{FF2B5EF4-FFF2-40B4-BE49-F238E27FC236}">
                      <a16:creationId xmlns:a16="http://schemas.microsoft.com/office/drawing/2014/main" id="{6B7DB90D-ED14-9DE5-58C7-CBE86DAED9E1}"/>
                    </a:ext>
                  </a:extLst>
                </p:cNvPr>
                <p:cNvSpPr/>
                <p:nvPr/>
              </p:nvSpPr>
              <p:spPr>
                <a:xfrm>
                  <a:off x="2632483" y="4314162"/>
                  <a:ext cx="94378" cy="53039"/>
                </a:xfrm>
                <a:custGeom>
                  <a:avLst/>
                  <a:gdLst>
                    <a:gd name="connsiteX0" fmla="*/ 0 w 94378"/>
                    <a:gd name="connsiteY0" fmla="*/ 0 h 53039"/>
                    <a:gd name="connsiteX1" fmla="*/ 94379 w 94378"/>
                    <a:gd name="connsiteY1" fmla="*/ 0 h 53039"/>
                    <a:gd name="connsiteX2" fmla="*/ 94379 w 94378"/>
                    <a:gd name="connsiteY2" fmla="*/ 53040 h 53039"/>
                    <a:gd name="connsiteX3" fmla="*/ 0 w 94378"/>
                    <a:gd name="connsiteY3" fmla="*/ 53040 h 53039"/>
                  </a:gdLst>
                  <a:ahLst/>
                  <a:cxnLst>
                    <a:cxn ang="0">
                      <a:pos x="connsiteX0" y="connsiteY0"/>
                    </a:cxn>
                    <a:cxn ang="0">
                      <a:pos x="connsiteX1" y="connsiteY1"/>
                    </a:cxn>
                    <a:cxn ang="0">
                      <a:pos x="connsiteX2" y="connsiteY2"/>
                    </a:cxn>
                    <a:cxn ang="0">
                      <a:pos x="connsiteX3" y="connsiteY3"/>
                    </a:cxn>
                  </a:cxnLst>
                  <a:rect l="l" t="t" r="r" b="b"/>
                  <a:pathLst>
                    <a:path w="94378" h="53039">
                      <a:moveTo>
                        <a:pt x="0" y="0"/>
                      </a:moveTo>
                      <a:lnTo>
                        <a:pt x="94379" y="0"/>
                      </a:lnTo>
                      <a:lnTo>
                        <a:pt x="94379" y="53040"/>
                      </a:lnTo>
                      <a:lnTo>
                        <a:pt x="0" y="53040"/>
                      </a:lnTo>
                      <a:close/>
                    </a:path>
                  </a:pathLst>
                </a:custGeom>
                <a:solidFill>
                  <a:srgbClr val="0069FF"/>
                </a:solidFill>
                <a:ln w="2597" cap="flat">
                  <a:noFill/>
                  <a:prstDash val="solid"/>
                  <a:miter/>
                </a:ln>
              </p:spPr>
              <p:txBody>
                <a:bodyPr rtlCol="0" anchor="ctr"/>
                <a:lstStyle/>
                <a:p>
                  <a:endParaRPr lang="en-GB"/>
                </a:p>
              </p:txBody>
            </p:sp>
            <p:sp>
              <p:nvSpPr>
                <p:cNvPr id="832" name="Freeform: Shape 831">
                  <a:extLst>
                    <a:ext uri="{FF2B5EF4-FFF2-40B4-BE49-F238E27FC236}">
                      <a16:creationId xmlns:a16="http://schemas.microsoft.com/office/drawing/2014/main" id="{3BE9A4FE-AE31-99F5-32F7-B5B598CF0A1E}"/>
                    </a:ext>
                  </a:extLst>
                </p:cNvPr>
                <p:cNvSpPr/>
                <p:nvPr/>
              </p:nvSpPr>
              <p:spPr>
                <a:xfrm>
                  <a:off x="2627283" y="4308962"/>
                  <a:ext cx="104778" cy="63439"/>
                </a:xfrm>
                <a:custGeom>
                  <a:avLst/>
                  <a:gdLst>
                    <a:gd name="connsiteX0" fmla="*/ 99579 w 104778"/>
                    <a:gd name="connsiteY0" fmla="*/ 63439 h 63439"/>
                    <a:gd name="connsiteX1" fmla="*/ 5200 w 104778"/>
                    <a:gd name="connsiteY1" fmla="*/ 63439 h 63439"/>
                    <a:gd name="connsiteX2" fmla="*/ 0 w 104778"/>
                    <a:gd name="connsiteY2" fmla="*/ 58239 h 63439"/>
                    <a:gd name="connsiteX3" fmla="*/ 0 w 104778"/>
                    <a:gd name="connsiteY3" fmla="*/ 5200 h 63439"/>
                    <a:gd name="connsiteX4" fmla="*/ 5200 w 104778"/>
                    <a:gd name="connsiteY4" fmla="*/ 0 h 63439"/>
                    <a:gd name="connsiteX5" fmla="*/ 99579 w 104778"/>
                    <a:gd name="connsiteY5" fmla="*/ 0 h 63439"/>
                    <a:gd name="connsiteX6" fmla="*/ 104779 w 104778"/>
                    <a:gd name="connsiteY6" fmla="*/ 5200 h 63439"/>
                    <a:gd name="connsiteX7" fmla="*/ 104779 w 104778"/>
                    <a:gd name="connsiteY7" fmla="*/ 58239 h 63439"/>
                    <a:gd name="connsiteX8" fmla="*/ 99579 w 104778"/>
                    <a:gd name="connsiteY8" fmla="*/ 63439 h 63439"/>
                    <a:gd name="connsiteX9" fmla="*/ 10400 w 104778"/>
                    <a:gd name="connsiteY9" fmla="*/ 53039 h 63439"/>
                    <a:gd name="connsiteX10" fmla="*/ 94119 w 104778"/>
                    <a:gd name="connsiteY10" fmla="*/ 53039 h 63439"/>
                    <a:gd name="connsiteX11" fmla="*/ 94119 w 104778"/>
                    <a:gd name="connsiteY11" fmla="*/ 10660 h 63439"/>
                    <a:gd name="connsiteX12" fmla="*/ 10400 w 104778"/>
                    <a:gd name="connsiteY12" fmla="*/ 10660 h 63439"/>
                    <a:gd name="connsiteX13" fmla="*/ 10400 w 104778"/>
                    <a:gd name="connsiteY13" fmla="*/ 53039 h 6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778" h="63439">
                      <a:moveTo>
                        <a:pt x="99579" y="63439"/>
                      </a:moveTo>
                      <a:lnTo>
                        <a:pt x="5200" y="63439"/>
                      </a:lnTo>
                      <a:cubicBezTo>
                        <a:pt x="2080" y="63439"/>
                        <a:pt x="0" y="61359"/>
                        <a:pt x="0" y="58239"/>
                      </a:cubicBezTo>
                      <a:lnTo>
                        <a:pt x="0" y="5200"/>
                      </a:lnTo>
                      <a:cubicBezTo>
                        <a:pt x="0" y="2080"/>
                        <a:pt x="2080" y="0"/>
                        <a:pt x="5200" y="0"/>
                      </a:cubicBezTo>
                      <a:lnTo>
                        <a:pt x="99579" y="0"/>
                      </a:lnTo>
                      <a:cubicBezTo>
                        <a:pt x="102699" y="0"/>
                        <a:pt x="104779" y="2080"/>
                        <a:pt x="104779" y="5200"/>
                      </a:cubicBezTo>
                      <a:lnTo>
                        <a:pt x="104779" y="58239"/>
                      </a:lnTo>
                      <a:cubicBezTo>
                        <a:pt x="104779" y="61359"/>
                        <a:pt x="102699" y="63439"/>
                        <a:pt x="99579" y="63439"/>
                      </a:cubicBezTo>
                      <a:close/>
                      <a:moveTo>
                        <a:pt x="10400" y="53039"/>
                      </a:moveTo>
                      <a:lnTo>
                        <a:pt x="94119" y="53039"/>
                      </a:lnTo>
                      <a:lnTo>
                        <a:pt x="94119" y="10660"/>
                      </a:lnTo>
                      <a:lnTo>
                        <a:pt x="10400" y="10660"/>
                      </a:lnTo>
                      <a:lnTo>
                        <a:pt x="10400" y="53039"/>
                      </a:lnTo>
                      <a:close/>
                    </a:path>
                  </a:pathLst>
                </a:custGeom>
                <a:solidFill>
                  <a:srgbClr val="0069FF"/>
                </a:solidFill>
                <a:ln w="2597" cap="flat">
                  <a:noFill/>
                  <a:prstDash val="solid"/>
                  <a:miter/>
                </a:ln>
              </p:spPr>
              <p:txBody>
                <a:bodyPr rtlCol="0" anchor="ctr"/>
                <a:lstStyle/>
                <a:p>
                  <a:endParaRPr lang="en-GB"/>
                </a:p>
              </p:txBody>
            </p:sp>
          </p:grpSp>
          <p:grpSp>
            <p:nvGrpSpPr>
              <p:cNvPr id="828" name="Graphic 6">
                <a:extLst>
                  <a:ext uri="{FF2B5EF4-FFF2-40B4-BE49-F238E27FC236}">
                    <a16:creationId xmlns:a16="http://schemas.microsoft.com/office/drawing/2014/main" id="{D816ABAA-22A1-401E-FD20-8EA8CD7A4AEB}"/>
                  </a:ext>
                </a:extLst>
              </p:cNvPr>
              <p:cNvGrpSpPr/>
              <p:nvPr/>
            </p:nvGrpSpPr>
            <p:grpSpPr>
              <a:xfrm>
                <a:off x="2922379" y="4308962"/>
                <a:ext cx="104778" cy="63439"/>
                <a:chOff x="2922379" y="4308962"/>
                <a:chExt cx="104778" cy="63439"/>
              </a:xfrm>
              <a:solidFill>
                <a:srgbClr val="0069FF"/>
              </a:solidFill>
            </p:grpSpPr>
            <p:sp>
              <p:nvSpPr>
                <p:cNvPr id="829" name="Freeform: Shape 828">
                  <a:extLst>
                    <a:ext uri="{FF2B5EF4-FFF2-40B4-BE49-F238E27FC236}">
                      <a16:creationId xmlns:a16="http://schemas.microsoft.com/office/drawing/2014/main" id="{0A0A731A-4966-A201-2E6B-ED430AEBAD8F}"/>
                    </a:ext>
                  </a:extLst>
                </p:cNvPr>
                <p:cNvSpPr/>
                <p:nvPr/>
              </p:nvSpPr>
              <p:spPr>
                <a:xfrm>
                  <a:off x="2927319" y="4314162"/>
                  <a:ext cx="94378" cy="53039"/>
                </a:xfrm>
                <a:custGeom>
                  <a:avLst/>
                  <a:gdLst>
                    <a:gd name="connsiteX0" fmla="*/ 0 w 94378"/>
                    <a:gd name="connsiteY0" fmla="*/ 0 h 53039"/>
                    <a:gd name="connsiteX1" fmla="*/ 94379 w 94378"/>
                    <a:gd name="connsiteY1" fmla="*/ 0 h 53039"/>
                    <a:gd name="connsiteX2" fmla="*/ 94379 w 94378"/>
                    <a:gd name="connsiteY2" fmla="*/ 53040 h 53039"/>
                    <a:gd name="connsiteX3" fmla="*/ 0 w 94378"/>
                    <a:gd name="connsiteY3" fmla="*/ 53040 h 53039"/>
                  </a:gdLst>
                  <a:ahLst/>
                  <a:cxnLst>
                    <a:cxn ang="0">
                      <a:pos x="connsiteX0" y="connsiteY0"/>
                    </a:cxn>
                    <a:cxn ang="0">
                      <a:pos x="connsiteX1" y="connsiteY1"/>
                    </a:cxn>
                    <a:cxn ang="0">
                      <a:pos x="connsiteX2" y="connsiteY2"/>
                    </a:cxn>
                    <a:cxn ang="0">
                      <a:pos x="connsiteX3" y="connsiteY3"/>
                    </a:cxn>
                  </a:cxnLst>
                  <a:rect l="l" t="t" r="r" b="b"/>
                  <a:pathLst>
                    <a:path w="94378" h="53039">
                      <a:moveTo>
                        <a:pt x="0" y="0"/>
                      </a:moveTo>
                      <a:lnTo>
                        <a:pt x="94379" y="0"/>
                      </a:lnTo>
                      <a:lnTo>
                        <a:pt x="94379" y="53040"/>
                      </a:lnTo>
                      <a:lnTo>
                        <a:pt x="0" y="53040"/>
                      </a:lnTo>
                      <a:close/>
                    </a:path>
                  </a:pathLst>
                </a:custGeom>
                <a:solidFill>
                  <a:srgbClr val="0069FF"/>
                </a:solidFill>
                <a:ln w="2597" cap="flat">
                  <a:noFill/>
                  <a:prstDash val="solid"/>
                  <a:miter/>
                </a:ln>
              </p:spPr>
              <p:txBody>
                <a:bodyPr rtlCol="0" anchor="ctr"/>
                <a:lstStyle/>
                <a:p>
                  <a:endParaRPr lang="en-GB"/>
                </a:p>
              </p:txBody>
            </p:sp>
            <p:sp>
              <p:nvSpPr>
                <p:cNvPr id="830" name="Freeform: Shape 829">
                  <a:extLst>
                    <a:ext uri="{FF2B5EF4-FFF2-40B4-BE49-F238E27FC236}">
                      <a16:creationId xmlns:a16="http://schemas.microsoft.com/office/drawing/2014/main" id="{B430D74F-F213-1B86-DF05-60EDFC5D5690}"/>
                    </a:ext>
                  </a:extLst>
                </p:cNvPr>
                <p:cNvSpPr/>
                <p:nvPr/>
              </p:nvSpPr>
              <p:spPr>
                <a:xfrm>
                  <a:off x="2922379" y="4308962"/>
                  <a:ext cx="104778" cy="63439"/>
                </a:xfrm>
                <a:custGeom>
                  <a:avLst/>
                  <a:gdLst>
                    <a:gd name="connsiteX0" fmla="*/ 99579 w 104778"/>
                    <a:gd name="connsiteY0" fmla="*/ 63439 h 63439"/>
                    <a:gd name="connsiteX1" fmla="*/ 5200 w 104778"/>
                    <a:gd name="connsiteY1" fmla="*/ 63439 h 63439"/>
                    <a:gd name="connsiteX2" fmla="*/ 0 w 104778"/>
                    <a:gd name="connsiteY2" fmla="*/ 58239 h 63439"/>
                    <a:gd name="connsiteX3" fmla="*/ 0 w 104778"/>
                    <a:gd name="connsiteY3" fmla="*/ 5200 h 63439"/>
                    <a:gd name="connsiteX4" fmla="*/ 5200 w 104778"/>
                    <a:gd name="connsiteY4" fmla="*/ 0 h 63439"/>
                    <a:gd name="connsiteX5" fmla="*/ 99579 w 104778"/>
                    <a:gd name="connsiteY5" fmla="*/ 0 h 63439"/>
                    <a:gd name="connsiteX6" fmla="*/ 104779 w 104778"/>
                    <a:gd name="connsiteY6" fmla="*/ 5200 h 63439"/>
                    <a:gd name="connsiteX7" fmla="*/ 104779 w 104778"/>
                    <a:gd name="connsiteY7" fmla="*/ 58239 h 63439"/>
                    <a:gd name="connsiteX8" fmla="*/ 99579 w 104778"/>
                    <a:gd name="connsiteY8" fmla="*/ 63439 h 63439"/>
                    <a:gd name="connsiteX9" fmla="*/ 10400 w 104778"/>
                    <a:gd name="connsiteY9" fmla="*/ 53039 h 63439"/>
                    <a:gd name="connsiteX10" fmla="*/ 94119 w 104778"/>
                    <a:gd name="connsiteY10" fmla="*/ 53039 h 63439"/>
                    <a:gd name="connsiteX11" fmla="*/ 94119 w 104778"/>
                    <a:gd name="connsiteY11" fmla="*/ 10660 h 63439"/>
                    <a:gd name="connsiteX12" fmla="*/ 10400 w 104778"/>
                    <a:gd name="connsiteY12" fmla="*/ 10660 h 63439"/>
                    <a:gd name="connsiteX13" fmla="*/ 10400 w 104778"/>
                    <a:gd name="connsiteY13" fmla="*/ 53039 h 6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778" h="63439">
                      <a:moveTo>
                        <a:pt x="99579" y="63439"/>
                      </a:moveTo>
                      <a:lnTo>
                        <a:pt x="5200" y="63439"/>
                      </a:lnTo>
                      <a:cubicBezTo>
                        <a:pt x="2080" y="63439"/>
                        <a:pt x="0" y="61359"/>
                        <a:pt x="0" y="58239"/>
                      </a:cubicBezTo>
                      <a:lnTo>
                        <a:pt x="0" y="5200"/>
                      </a:lnTo>
                      <a:cubicBezTo>
                        <a:pt x="0" y="2080"/>
                        <a:pt x="2080" y="0"/>
                        <a:pt x="5200" y="0"/>
                      </a:cubicBezTo>
                      <a:lnTo>
                        <a:pt x="99579" y="0"/>
                      </a:lnTo>
                      <a:cubicBezTo>
                        <a:pt x="102699" y="0"/>
                        <a:pt x="104779" y="2080"/>
                        <a:pt x="104779" y="5200"/>
                      </a:cubicBezTo>
                      <a:lnTo>
                        <a:pt x="104779" y="58239"/>
                      </a:lnTo>
                      <a:cubicBezTo>
                        <a:pt x="104779" y="61359"/>
                        <a:pt x="102699" y="63439"/>
                        <a:pt x="99579" y="63439"/>
                      </a:cubicBezTo>
                      <a:close/>
                      <a:moveTo>
                        <a:pt x="10400" y="53039"/>
                      </a:moveTo>
                      <a:lnTo>
                        <a:pt x="94119" y="53039"/>
                      </a:lnTo>
                      <a:lnTo>
                        <a:pt x="94119" y="10660"/>
                      </a:lnTo>
                      <a:lnTo>
                        <a:pt x="10400" y="10660"/>
                      </a:lnTo>
                      <a:lnTo>
                        <a:pt x="10400" y="53039"/>
                      </a:lnTo>
                      <a:close/>
                    </a:path>
                  </a:pathLst>
                </a:custGeom>
                <a:solidFill>
                  <a:srgbClr val="0069FF"/>
                </a:solidFill>
                <a:ln w="2597" cap="flat">
                  <a:noFill/>
                  <a:prstDash val="solid"/>
                  <a:miter/>
                </a:ln>
              </p:spPr>
              <p:txBody>
                <a:bodyPr rtlCol="0" anchor="ctr"/>
                <a:lstStyle/>
                <a:p>
                  <a:endParaRPr lang="en-GB"/>
                </a:p>
              </p:txBody>
            </p:sp>
          </p:grpSp>
        </p:grpSp>
        <p:sp>
          <p:nvSpPr>
            <p:cNvPr id="799" name="Freeform: Shape 798">
              <a:extLst>
                <a:ext uri="{FF2B5EF4-FFF2-40B4-BE49-F238E27FC236}">
                  <a16:creationId xmlns:a16="http://schemas.microsoft.com/office/drawing/2014/main" id="{FB8F31CB-10BF-3892-BB34-30C06F056D9B}"/>
                </a:ext>
              </a:extLst>
            </p:cNvPr>
            <p:cNvSpPr/>
            <p:nvPr/>
          </p:nvSpPr>
          <p:spPr>
            <a:xfrm>
              <a:off x="2506124" y="3671970"/>
              <a:ext cx="581873" cy="625292"/>
            </a:xfrm>
            <a:custGeom>
              <a:avLst/>
              <a:gdLst>
                <a:gd name="connsiteX0" fmla="*/ 573033 w 581873"/>
                <a:gd name="connsiteY0" fmla="*/ 625293 h 625292"/>
                <a:gd name="connsiteX1" fmla="*/ 8580 w 581873"/>
                <a:gd name="connsiteY1" fmla="*/ 625293 h 625292"/>
                <a:gd name="connsiteX2" fmla="*/ 0 w 581873"/>
                <a:gd name="connsiteY2" fmla="*/ 616713 h 625292"/>
                <a:gd name="connsiteX3" fmla="*/ 0 w 581873"/>
                <a:gd name="connsiteY3" fmla="*/ 8580 h 625292"/>
                <a:gd name="connsiteX4" fmla="*/ 8580 w 581873"/>
                <a:gd name="connsiteY4" fmla="*/ 0 h 625292"/>
                <a:gd name="connsiteX5" fmla="*/ 573293 w 581873"/>
                <a:gd name="connsiteY5" fmla="*/ 0 h 625292"/>
                <a:gd name="connsiteX6" fmla="*/ 581873 w 581873"/>
                <a:gd name="connsiteY6" fmla="*/ 8580 h 625292"/>
                <a:gd name="connsiteX7" fmla="*/ 581873 w 581873"/>
                <a:gd name="connsiteY7" fmla="*/ 616713 h 625292"/>
                <a:gd name="connsiteX8" fmla="*/ 573033 w 581873"/>
                <a:gd name="connsiteY8" fmla="*/ 625293 h 625292"/>
                <a:gd name="connsiteX9" fmla="*/ 15860 w 581873"/>
                <a:gd name="connsiteY9" fmla="*/ 609173 h 625292"/>
                <a:gd name="connsiteX10" fmla="*/ 564453 w 581873"/>
                <a:gd name="connsiteY10" fmla="*/ 609173 h 625292"/>
                <a:gd name="connsiteX11" fmla="*/ 564453 w 581873"/>
                <a:gd name="connsiteY11" fmla="*/ 17160 h 625292"/>
                <a:gd name="connsiteX12" fmla="*/ 15860 w 581873"/>
                <a:gd name="connsiteY12" fmla="*/ 17160 h 625292"/>
                <a:gd name="connsiteX13" fmla="*/ 15860 w 581873"/>
                <a:gd name="connsiteY13" fmla="*/ 609173 h 62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1873" h="625292">
                  <a:moveTo>
                    <a:pt x="573033" y="625293"/>
                  </a:moveTo>
                  <a:lnTo>
                    <a:pt x="8580" y="625293"/>
                  </a:lnTo>
                  <a:cubicBezTo>
                    <a:pt x="4420" y="625293"/>
                    <a:pt x="0" y="622173"/>
                    <a:pt x="0" y="616713"/>
                  </a:cubicBezTo>
                  <a:lnTo>
                    <a:pt x="0" y="8580"/>
                  </a:lnTo>
                  <a:cubicBezTo>
                    <a:pt x="0" y="4420"/>
                    <a:pt x="3120" y="0"/>
                    <a:pt x="8580" y="0"/>
                  </a:cubicBezTo>
                  <a:lnTo>
                    <a:pt x="573293" y="0"/>
                  </a:lnTo>
                  <a:cubicBezTo>
                    <a:pt x="577453" y="0"/>
                    <a:pt x="581873" y="3120"/>
                    <a:pt x="581873" y="8580"/>
                  </a:cubicBezTo>
                  <a:lnTo>
                    <a:pt x="581873" y="616713"/>
                  </a:lnTo>
                  <a:cubicBezTo>
                    <a:pt x="581613" y="621913"/>
                    <a:pt x="577453" y="625293"/>
                    <a:pt x="573033" y="625293"/>
                  </a:cubicBezTo>
                  <a:close/>
                  <a:moveTo>
                    <a:pt x="15860" y="609173"/>
                  </a:moveTo>
                  <a:lnTo>
                    <a:pt x="564453" y="609173"/>
                  </a:lnTo>
                  <a:lnTo>
                    <a:pt x="564453" y="17160"/>
                  </a:lnTo>
                  <a:lnTo>
                    <a:pt x="15860" y="17160"/>
                  </a:lnTo>
                  <a:lnTo>
                    <a:pt x="15860" y="609173"/>
                  </a:lnTo>
                  <a:close/>
                </a:path>
              </a:pathLst>
            </a:custGeom>
            <a:solidFill>
              <a:srgbClr val="00005A"/>
            </a:solidFill>
            <a:ln w="2597" cap="flat">
              <a:noFill/>
              <a:prstDash val="solid"/>
              <a:miter/>
            </a:ln>
          </p:spPr>
          <p:txBody>
            <a:bodyPr rtlCol="0" anchor="ctr"/>
            <a:lstStyle/>
            <a:p>
              <a:endParaRPr lang="en-GB"/>
            </a:p>
          </p:txBody>
        </p:sp>
        <p:grpSp>
          <p:nvGrpSpPr>
            <p:cNvPr id="800" name="Graphic 6">
              <a:extLst>
                <a:ext uri="{FF2B5EF4-FFF2-40B4-BE49-F238E27FC236}">
                  <a16:creationId xmlns:a16="http://schemas.microsoft.com/office/drawing/2014/main" id="{4156724F-5FE1-3808-9B11-75B1E87490B7}"/>
                </a:ext>
              </a:extLst>
            </p:cNvPr>
            <p:cNvGrpSpPr/>
            <p:nvPr/>
          </p:nvGrpSpPr>
          <p:grpSpPr>
            <a:xfrm>
              <a:off x="2875320" y="3794948"/>
              <a:ext cx="124278" cy="406635"/>
              <a:chOff x="2875320" y="3794948"/>
              <a:chExt cx="124278" cy="406635"/>
            </a:xfrm>
            <a:solidFill>
              <a:srgbClr val="FFFFFF"/>
            </a:solidFill>
          </p:grpSpPr>
          <p:sp>
            <p:nvSpPr>
              <p:cNvPr id="819" name="Freeform: Shape 818">
                <a:extLst>
                  <a:ext uri="{FF2B5EF4-FFF2-40B4-BE49-F238E27FC236}">
                    <a16:creationId xmlns:a16="http://schemas.microsoft.com/office/drawing/2014/main" id="{A1B62323-94DB-B917-DBFC-D2373F5F9CEE}"/>
                  </a:ext>
                </a:extLst>
              </p:cNvPr>
              <p:cNvSpPr/>
              <p:nvPr/>
            </p:nvSpPr>
            <p:spPr>
              <a:xfrm>
                <a:off x="2875320" y="3794948"/>
                <a:ext cx="124278" cy="17160"/>
              </a:xfrm>
              <a:custGeom>
                <a:avLst/>
                <a:gdLst>
                  <a:gd name="connsiteX0" fmla="*/ 115699 w 124278"/>
                  <a:gd name="connsiteY0" fmla="*/ 17160 h 17160"/>
                  <a:gd name="connsiteX1" fmla="*/ 8580 w 124278"/>
                  <a:gd name="connsiteY1" fmla="*/ 17160 h 17160"/>
                  <a:gd name="connsiteX2" fmla="*/ 0 w 124278"/>
                  <a:gd name="connsiteY2" fmla="*/ 8580 h 17160"/>
                  <a:gd name="connsiteX3" fmla="*/ 8580 w 124278"/>
                  <a:gd name="connsiteY3" fmla="*/ 0 h 17160"/>
                  <a:gd name="connsiteX4" fmla="*/ 115699 w 124278"/>
                  <a:gd name="connsiteY4" fmla="*/ 0 h 17160"/>
                  <a:gd name="connsiteX5" fmla="*/ 124279 w 124278"/>
                  <a:gd name="connsiteY5" fmla="*/ 8580 h 17160"/>
                  <a:gd name="connsiteX6" fmla="*/ 115699 w 124278"/>
                  <a:gd name="connsiteY6" fmla="*/ 17160 h 1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278" h="17160">
                    <a:moveTo>
                      <a:pt x="115699" y="17160"/>
                    </a:moveTo>
                    <a:lnTo>
                      <a:pt x="8580" y="17160"/>
                    </a:lnTo>
                    <a:cubicBezTo>
                      <a:pt x="4420" y="17160"/>
                      <a:pt x="0" y="14040"/>
                      <a:pt x="0" y="8580"/>
                    </a:cubicBezTo>
                    <a:cubicBezTo>
                      <a:pt x="0" y="3120"/>
                      <a:pt x="3120" y="0"/>
                      <a:pt x="8580" y="0"/>
                    </a:cubicBezTo>
                    <a:lnTo>
                      <a:pt x="115699" y="0"/>
                    </a:lnTo>
                    <a:cubicBezTo>
                      <a:pt x="119859" y="0"/>
                      <a:pt x="124279" y="3120"/>
                      <a:pt x="124279" y="8580"/>
                    </a:cubicBezTo>
                    <a:cubicBezTo>
                      <a:pt x="124279" y="14040"/>
                      <a:pt x="120119" y="17160"/>
                      <a:pt x="115699" y="17160"/>
                    </a:cubicBezTo>
                    <a:close/>
                  </a:path>
                </a:pathLst>
              </a:custGeom>
              <a:solidFill>
                <a:srgbClr val="FFFFFF"/>
              </a:solidFill>
              <a:ln w="2597" cap="flat">
                <a:noFill/>
                <a:prstDash val="solid"/>
                <a:miter/>
              </a:ln>
            </p:spPr>
            <p:txBody>
              <a:bodyPr rtlCol="0" anchor="ctr"/>
              <a:lstStyle/>
              <a:p>
                <a:endParaRPr lang="en-GB"/>
              </a:p>
            </p:txBody>
          </p:sp>
          <p:sp>
            <p:nvSpPr>
              <p:cNvPr id="820" name="Freeform: Shape 819">
                <a:extLst>
                  <a:ext uri="{FF2B5EF4-FFF2-40B4-BE49-F238E27FC236}">
                    <a16:creationId xmlns:a16="http://schemas.microsoft.com/office/drawing/2014/main" id="{F71ECF83-C768-FF9A-7729-348B823267F3}"/>
                  </a:ext>
                </a:extLst>
              </p:cNvPr>
              <p:cNvSpPr/>
              <p:nvPr/>
            </p:nvSpPr>
            <p:spPr>
              <a:xfrm>
                <a:off x="2875320" y="3860727"/>
                <a:ext cx="124278" cy="17159"/>
              </a:xfrm>
              <a:custGeom>
                <a:avLst/>
                <a:gdLst>
                  <a:gd name="connsiteX0" fmla="*/ 115699 w 124278"/>
                  <a:gd name="connsiteY0" fmla="*/ 17160 h 17159"/>
                  <a:gd name="connsiteX1" fmla="*/ 8580 w 124278"/>
                  <a:gd name="connsiteY1" fmla="*/ 17160 h 17159"/>
                  <a:gd name="connsiteX2" fmla="*/ 0 w 124278"/>
                  <a:gd name="connsiteY2" fmla="*/ 8580 h 17159"/>
                  <a:gd name="connsiteX3" fmla="*/ 8580 w 124278"/>
                  <a:gd name="connsiteY3" fmla="*/ 0 h 17159"/>
                  <a:gd name="connsiteX4" fmla="*/ 115699 w 124278"/>
                  <a:gd name="connsiteY4" fmla="*/ 0 h 17159"/>
                  <a:gd name="connsiteX5" fmla="*/ 124279 w 124278"/>
                  <a:gd name="connsiteY5" fmla="*/ 8580 h 17159"/>
                  <a:gd name="connsiteX6" fmla="*/ 115699 w 12427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278" h="17159">
                    <a:moveTo>
                      <a:pt x="115699" y="17160"/>
                    </a:moveTo>
                    <a:lnTo>
                      <a:pt x="8580" y="17160"/>
                    </a:lnTo>
                    <a:cubicBezTo>
                      <a:pt x="4420" y="17160"/>
                      <a:pt x="0" y="14040"/>
                      <a:pt x="0" y="8580"/>
                    </a:cubicBezTo>
                    <a:cubicBezTo>
                      <a:pt x="0" y="3120"/>
                      <a:pt x="3120" y="0"/>
                      <a:pt x="8580" y="0"/>
                    </a:cubicBezTo>
                    <a:lnTo>
                      <a:pt x="115699" y="0"/>
                    </a:lnTo>
                    <a:cubicBezTo>
                      <a:pt x="119859" y="0"/>
                      <a:pt x="124279" y="3120"/>
                      <a:pt x="124279" y="8580"/>
                    </a:cubicBezTo>
                    <a:cubicBezTo>
                      <a:pt x="124279" y="14040"/>
                      <a:pt x="120119" y="17160"/>
                      <a:pt x="115699" y="17160"/>
                    </a:cubicBezTo>
                    <a:close/>
                  </a:path>
                </a:pathLst>
              </a:custGeom>
              <a:solidFill>
                <a:srgbClr val="FFFFFF"/>
              </a:solidFill>
              <a:ln w="2597" cap="flat">
                <a:noFill/>
                <a:prstDash val="solid"/>
                <a:miter/>
              </a:ln>
            </p:spPr>
            <p:txBody>
              <a:bodyPr rtlCol="0" anchor="ctr"/>
              <a:lstStyle/>
              <a:p>
                <a:endParaRPr lang="en-GB"/>
              </a:p>
            </p:txBody>
          </p:sp>
          <p:sp>
            <p:nvSpPr>
              <p:cNvPr id="821" name="Freeform: Shape 820">
                <a:extLst>
                  <a:ext uri="{FF2B5EF4-FFF2-40B4-BE49-F238E27FC236}">
                    <a16:creationId xmlns:a16="http://schemas.microsoft.com/office/drawing/2014/main" id="{70E84D9D-F41A-E4C5-6A97-69DCFAB48800}"/>
                  </a:ext>
                </a:extLst>
              </p:cNvPr>
              <p:cNvSpPr/>
              <p:nvPr/>
            </p:nvSpPr>
            <p:spPr>
              <a:xfrm>
                <a:off x="2875320" y="3924427"/>
                <a:ext cx="124278" cy="17159"/>
              </a:xfrm>
              <a:custGeom>
                <a:avLst/>
                <a:gdLst>
                  <a:gd name="connsiteX0" fmla="*/ 115699 w 124278"/>
                  <a:gd name="connsiteY0" fmla="*/ 17160 h 17159"/>
                  <a:gd name="connsiteX1" fmla="*/ 8580 w 124278"/>
                  <a:gd name="connsiteY1" fmla="*/ 17160 h 17159"/>
                  <a:gd name="connsiteX2" fmla="*/ 0 w 124278"/>
                  <a:gd name="connsiteY2" fmla="*/ 8580 h 17159"/>
                  <a:gd name="connsiteX3" fmla="*/ 8580 w 124278"/>
                  <a:gd name="connsiteY3" fmla="*/ 0 h 17159"/>
                  <a:gd name="connsiteX4" fmla="*/ 115699 w 124278"/>
                  <a:gd name="connsiteY4" fmla="*/ 0 h 17159"/>
                  <a:gd name="connsiteX5" fmla="*/ 124279 w 124278"/>
                  <a:gd name="connsiteY5" fmla="*/ 8580 h 17159"/>
                  <a:gd name="connsiteX6" fmla="*/ 115699 w 12427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278" h="17159">
                    <a:moveTo>
                      <a:pt x="115699" y="17160"/>
                    </a:moveTo>
                    <a:lnTo>
                      <a:pt x="8580" y="17160"/>
                    </a:lnTo>
                    <a:cubicBezTo>
                      <a:pt x="4420" y="17160"/>
                      <a:pt x="0" y="14040"/>
                      <a:pt x="0" y="8580"/>
                    </a:cubicBezTo>
                    <a:cubicBezTo>
                      <a:pt x="0" y="3120"/>
                      <a:pt x="3120" y="0"/>
                      <a:pt x="8580" y="0"/>
                    </a:cubicBezTo>
                    <a:lnTo>
                      <a:pt x="115699" y="0"/>
                    </a:lnTo>
                    <a:cubicBezTo>
                      <a:pt x="119859" y="0"/>
                      <a:pt x="124279" y="3120"/>
                      <a:pt x="124279" y="8580"/>
                    </a:cubicBezTo>
                    <a:cubicBezTo>
                      <a:pt x="124279" y="14040"/>
                      <a:pt x="120119" y="17160"/>
                      <a:pt x="115699" y="17160"/>
                    </a:cubicBezTo>
                    <a:close/>
                  </a:path>
                </a:pathLst>
              </a:custGeom>
              <a:solidFill>
                <a:srgbClr val="FFFFFF"/>
              </a:solidFill>
              <a:ln w="2597" cap="flat">
                <a:noFill/>
                <a:prstDash val="solid"/>
                <a:miter/>
              </a:ln>
            </p:spPr>
            <p:txBody>
              <a:bodyPr rtlCol="0" anchor="ctr"/>
              <a:lstStyle/>
              <a:p>
                <a:endParaRPr lang="en-GB"/>
              </a:p>
            </p:txBody>
          </p:sp>
          <p:sp>
            <p:nvSpPr>
              <p:cNvPr id="822" name="Freeform: Shape 821">
                <a:extLst>
                  <a:ext uri="{FF2B5EF4-FFF2-40B4-BE49-F238E27FC236}">
                    <a16:creationId xmlns:a16="http://schemas.microsoft.com/office/drawing/2014/main" id="{B89D6E7F-6C3C-FA3F-D632-2701B1EA4DEC}"/>
                  </a:ext>
                </a:extLst>
              </p:cNvPr>
              <p:cNvSpPr/>
              <p:nvPr/>
            </p:nvSpPr>
            <p:spPr>
              <a:xfrm>
                <a:off x="2875320" y="3990206"/>
                <a:ext cx="124278" cy="17159"/>
              </a:xfrm>
              <a:custGeom>
                <a:avLst/>
                <a:gdLst>
                  <a:gd name="connsiteX0" fmla="*/ 115699 w 124278"/>
                  <a:gd name="connsiteY0" fmla="*/ 17160 h 17159"/>
                  <a:gd name="connsiteX1" fmla="*/ 8580 w 124278"/>
                  <a:gd name="connsiteY1" fmla="*/ 17160 h 17159"/>
                  <a:gd name="connsiteX2" fmla="*/ 0 w 124278"/>
                  <a:gd name="connsiteY2" fmla="*/ 8580 h 17159"/>
                  <a:gd name="connsiteX3" fmla="*/ 8580 w 124278"/>
                  <a:gd name="connsiteY3" fmla="*/ 0 h 17159"/>
                  <a:gd name="connsiteX4" fmla="*/ 115699 w 124278"/>
                  <a:gd name="connsiteY4" fmla="*/ 0 h 17159"/>
                  <a:gd name="connsiteX5" fmla="*/ 124279 w 124278"/>
                  <a:gd name="connsiteY5" fmla="*/ 8580 h 17159"/>
                  <a:gd name="connsiteX6" fmla="*/ 115699 w 12427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278" h="17159">
                    <a:moveTo>
                      <a:pt x="115699" y="17160"/>
                    </a:moveTo>
                    <a:lnTo>
                      <a:pt x="8580" y="17160"/>
                    </a:lnTo>
                    <a:cubicBezTo>
                      <a:pt x="4420" y="17160"/>
                      <a:pt x="0" y="14040"/>
                      <a:pt x="0" y="8580"/>
                    </a:cubicBezTo>
                    <a:cubicBezTo>
                      <a:pt x="0" y="3380"/>
                      <a:pt x="3120" y="0"/>
                      <a:pt x="8580" y="0"/>
                    </a:cubicBezTo>
                    <a:lnTo>
                      <a:pt x="115699" y="0"/>
                    </a:lnTo>
                    <a:cubicBezTo>
                      <a:pt x="119859" y="0"/>
                      <a:pt x="124279" y="3120"/>
                      <a:pt x="124279" y="8580"/>
                    </a:cubicBezTo>
                    <a:cubicBezTo>
                      <a:pt x="124279" y="14040"/>
                      <a:pt x="120119" y="17160"/>
                      <a:pt x="115699" y="17160"/>
                    </a:cubicBezTo>
                    <a:close/>
                  </a:path>
                </a:pathLst>
              </a:custGeom>
              <a:solidFill>
                <a:srgbClr val="FFFFFF"/>
              </a:solidFill>
              <a:ln w="2597" cap="flat">
                <a:noFill/>
                <a:prstDash val="solid"/>
                <a:miter/>
              </a:ln>
            </p:spPr>
            <p:txBody>
              <a:bodyPr rtlCol="0" anchor="ctr"/>
              <a:lstStyle/>
              <a:p>
                <a:endParaRPr lang="en-GB"/>
              </a:p>
            </p:txBody>
          </p:sp>
          <p:sp>
            <p:nvSpPr>
              <p:cNvPr id="823" name="Freeform: Shape 822">
                <a:extLst>
                  <a:ext uri="{FF2B5EF4-FFF2-40B4-BE49-F238E27FC236}">
                    <a16:creationId xmlns:a16="http://schemas.microsoft.com/office/drawing/2014/main" id="{3C310859-1DA6-3935-0A1C-D489CD5EB920}"/>
                  </a:ext>
                </a:extLst>
              </p:cNvPr>
              <p:cNvSpPr/>
              <p:nvPr/>
            </p:nvSpPr>
            <p:spPr>
              <a:xfrm>
                <a:off x="2875320" y="4053905"/>
                <a:ext cx="124278" cy="17159"/>
              </a:xfrm>
              <a:custGeom>
                <a:avLst/>
                <a:gdLst>
                  <a:gd name="connsiteX0" fmla="*/ 115699 w 124278"/>
                  <a:gd name="connsiteY0" fmla="*/ 17160 h 17159"/>
                  <a:gd name="connsiteX1" fmla="*/ 8580 w 124278"/>
                  <a:gd name="connsiteY1" fmla="*/ 17160 h 17159"/>
                  <a:gd name="connsiteX2" fmla="*/ 0 w 124278"/>
                  <a:gd name="connsiteY2" fmla="*/ 8580 h 17159"/>
                  <a:gd name="connsiteX3" fmla="*/ 8580 w 124278"/>
                  <a:gd name="connsiteY3" fmla="*/ 0 h 17159"/>
                  <a:gd name="connsiteX4" fmla="*/ 115699 w 124278"/>
                  <a:gd name="connsiteY4" fmla="*/ 0 h 17159"/>
                  <a:gd name="connsiteX5" fmla="*/ 124279 w 124278"/>
                  <a:gd name="connsiteY5" fmla="*/ 8580 h 17159"/>
                  <a:gd name="connsiteX6" fmla="*/ 115699 w 12427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278" h="17159">
                    <a:moveTo>
                      <a:pt x="115699" y="17160"/>
                    </a:moveTo>
                    <a:lnTo>
                      <a:pt x="8580" y="17160"/>
                    </a:lnTo>
                    <a:cubicBezTo>
                      <a:pt x="4420" y="17160"/>
                      <a:pt x="0" y="14040"/>
                      <a:pt x="0" y="8580"/>
                    </a:cubicBezTo>
                    <a:cubicBezTo>
                      <a:pt x="0" y="3380"/>
                      <a:pt x="3120" y="0"/>
                      <a:pt x="8580" y="0"/>
                    </a:cubicBezTo>
                    <a:lnTo>
                      <a:pt x="115699" y="0"/>
                    </a:lnTo>
                    <a:cubicBezTo>
                      <a:pt x="119859" y="0"/>
                      <a:pt x="124279" y="3120"/>
                      <a:pt x="124279" y="8580"/>
                    </a:cubicBezTo>
                    <a:cubicBezTo>
                      <a:pt x="124279" y="14040"/>
                      <a:pt x="120119" y="17160"/>
                      <a:pt x="115699" y="17160"/>
                    </a:cubicBezTo>
                    <a:close/>
                  </a:path>
                </a:pathLst>
              </a:custGeom>
              <a:solidFill>
                <a:srgbClr val="FFFFFF"/>
              </a:solidFill>
              <a:ln w="2597" cap="flat">
                <a:noFill/>
                <a:prstDash val="solid"/>
                <a:miter/>
              </a:ln>
            </p:spPr>
            <p:txBody>
              <a:bodyPr rtlCol="0" anchor="ctr"/>
              <a:lstStyle/>
              <a:p>
                <a:endParaRPr lang="en-GB"/>
              </a:p>
            </p:txBody>
          </p:sp>
          <p:sp>
            <p:nvSpPr>
              <p:cNvPr id="824" name="Freeform: Shape 823">
                <a:extLst>
                  <a:ext uri="{FF2B5EF4-FFF2-40B4-BE49-F238E27FC236}">
                    <a16:creationId xmlns:a16="http://schemas.microsoft.com/office/drawing/2014/main" id="{E257F5DC-745A-58C4-E5ED-D6ACB3C84CD7}"/>
                  </a:ext>
                </a:extLst>
              </p:cNvPr>
              <p:cNvSpPr/>
              <p:nvPr/>
            </p:nvSpPr>
            <p:spPr>
              <a:xfrm>
                <a:off x="2875320" y="4118644"/>
                <a:ext cx="124278" cy="17160"/>
              </a:xfrm>
              <a:custGeom>
                <a:avLst/>
                <a:gdLst>
                  <a:gd name="connsiteX0" fmla="*/ 115699 w 124278"/>
                  <a:gd name="connsiteY0" fmla="*/ 17160 h 17160"/>
                  <a:gd name="connsiteX1" fmla="*/ 8580 w 124278"/>
                  <a:gd name="connsiteY1" fmla="*/ 17160 h 17160"/>
                  <a:gd name="connsiteX2" fmla="*/ 0 w 124278"/>
                  <a:gd name="connsiteY2" fmla="*/ 8580 h 17160"/>
                  <a:gd name="connsiteX3" fmla="*/ 8580 w 124278"/>
                  <a:gd name="connsiteY3" fmla="*/ 0 h 17160"/>
                  <a:gd name="connsiteX4" fmla="*/ 115699 w 124278"/>
                  <a:gd name="connsiteY4" fmla="*/ 0 h 17160"/>
                  <a:gd name="connsiteX5" fmla="*/ 124279 w 124278"/>
                  <a:gd name="connsiteY5" fmla="*/ 8580 h 17160"/>
                  <a:gd name="connsiteX6" fmla="*/ 115699 w 124278"/>
                  <a:gd name="connsiteY6" fmla="*/ 17160 h 1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278" h="17160">
                    <a:moveTo>
                      <a:pt x="115699" y="17160"/>
                    </a:moveTo>
                    <a:lnTo>
                      <a:pt x="8580" y="17160"/>
                    </a:lnTo>
                    <a:cubicBezTo>
                      <a:pt x="4420" y="17160"/>
                      <a:pt x="0" y="14040"/>
                      <a:pt x="0" y="8580"/>
                    </a:cubicBezTo>
                    <a:cubicBezTo>
                      <a:pt x="0" y="3380"/>
                      <a:pt x="3120" y="0"/>
                      <a:pt x="8580" y="0"/>
                    </a:cubicBezTo>
                    <a:lnTo>
                      <a:pt x="115699" y="0"/>
                    </a:lnTo>
                    <a:cubicBezTo>
                      <a:pt x="119859" y="0"/>
                      <a:pt x="124279" y="3120"/>
                      <a:pt x="124279" y="8580"/>
                    </a:cubicBezTo>
                    <a:cubicBezTo>
                      <a:pt x="124279" y="14040"/>
                      <a:pt x="120119" y="17160"/>
                      <a:pt x="115699" y="17160"/>
                    </a:cubicBezTo>
                    <a:close/>
                  </a:path>
                </a:pathLst>
              </a:custGeom>
              <a:solidFill>
                <a:srgbClr val="FFFFFF"/>
              </a:solidFill>
              <a:ln w="2597" cap="flat">
                <a:noFill/>
                <a:prstDash val="solid"/>
                <a:miter/>
              </a:ln>
            </p:spPr>
            <p:txBody>
              <a:bodyPr rtlCol="0" anchor="ctr"/>
              <a:lstStyle/>
              <a:p>
                <a:endParaRPr lang="en-GB"/>
              </a:p>
            </p:txBody>
          </p:sp>
          <p:sp>
            <p:nvSpPr>
              <p:cNvPr id="825" name="Freeform: Shape 824">
                <a:extLst>
                  <a:ext uri="{FF2B5EF4-FFF2-40B4-BE49-F238E27FC236}">
                    <a16:creationId xmlns:a16="http://schemas.microsoft.com/office/drawing/2014/main" id="{6E82DCF1-DD7D-C5A2-55DA-F22788E1347A}"/>
                  </a:ext>
                </a:extLst>
              </p:cNvPr>
              <p:cNvSpPr/>
              <p:nvPr/>
            </p:nvSpPr>
            <p:spPr>
              <a:xfrm>
                <a:off x="2875320" y="4184424"/>
                <a:ext cx="124278" cy="17159"/>
              </a:xfrm>
              <a:custGeom>
                <a:avLst/>
                <a:gdLst>
                  <a:gd name="connsiteX0" fmla="*/ 115699 w 124278"/>
                  <a:gd name="connsiteY0" fmla="*/ 17160 h 17159"/>
                  <a:gd name="connsiteX1" fmla="*/ 8580 w 124278"/>
                  <a:gd name="connsiteY1" fmla="*/ 17160 h 17159"/>
                  <a:gd name="connsiteX2" fmla="*/ 0 w 124278"/>
                  <a:gd name="connsiteY2" fmla="*/ 8580 h 17159"/>
                  <a:gd name="connsiteX3" fmla="*/ 8580 w 124278"/>
                  <a:gd name="connsiteY3" fmla="*/ 0 h 17159"/>
                  <a:gd name="connsiteX4" fmla="*/ 115699 w 124278"/>
                  <a:gd name="connsiteY4" fmla="*/ 0 h 17159"/>
                  <a:gd name="connsiteX5" fmla="*/ 124279 w 124278"/>
                  <a:gd name="connsiteY5" fmla="*/ 8580 h 17159"/>
                  <a:gd name="connsiteX6" fmla="*/ 115699 w 12427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278" h="17159">
                    <a:moveTo>
                      <a:pt x="115699" y="17160"/>
                    </a:moveTo>
                    <a:lnTo>
                      <a:pt x="8580" y="17160"/>
                    </a:lnTo>
                    <a:cubicBezTo>
                      <a:pt x="4420" y="17160"/>
                      <a:pt x="0" y="14040"/>
                      <a:pt x="0" y="8580"/>
                    </a:cubicBezTo>
                    <a:cubicBezTo>
                      <a:pt x="0" y="3120"/>
                      <a:pt x="3120" y="0"/>
                      <a:pt x="8580" y="0"/>
                    </a:cubicBezTo>
                    <a:lnTo>
                      <a:pt x="115699" y="0"/>
                    </a:lnTo>
                    <a:cubicBezTo>
                      <a:pt x="119859" y="0"/>
                      <a:pt x="124279" y="3120"/>
                      <a:pt x="124279" y="8580"/>
                    </a:cubicBezTo>
                    <a:cubicBezTo>
                      <a:pt x="124279" y="14040"/>
                      <a:pt x="120119" y="17160"/>
                      <a:pt x="115699" y="17160"/>
                    </a:cubicBezTo>
                    <a:close/>
                  </a:path>
                </a:pathLst>
              </a:custGeom>
              <a:solidFill>
                <a:srgbClr val="FFFFFF"/>
              </a:solidFill>
              <a:ln w="2597" cap="flat">
                <a:noFill/>
                <a:prstDash val="solid"/>
                <a:miter/>
              </a:ln>
            </p:spPr>
            <p:txBody>
              <a:bodyPr rtlCol="0" anchor="ctr"/>
              <a:lstStyle/>
              <a:p>
                <a:endParaRPr lang="en-GB"/>
              </a:p>
            </p:txBody>
          </p:sp>
        </p:grpSp>
        <p:grpSp>
          <p:nvGrpSpPr>
            <p:cNvPr id="801" name="Graphic 6">
              <a:extLst>
                <a:ext uri="{FF2B5EF4-FFF2-40B4-BE49-F238E27FC236}">
                  <a16:creationId xmlns:a16="http://schemas.microsoft.com/office/drawing/2014/main" id="{EEA6C2C7-54D3-7FF6-A471-131693BCF79F}"/>
                </a:ext>
              </a:extLst>
            </p:cNvPr>
            <p:cNvGrpSpPr/>
            <p:nvPr/>
          </p:nvGrpSpPr>
          <p:grpSpPr>
            <a:xfrm>
              <a:off x="2619743" y="3795208"/>
              <a:ext cx="186677" cy="186677"/>
              <a:chOff x="2619743" y="3795208"/>
              <a:chExt cx="186677" cy="186677"/>
            </a:xfrm>
          </p:grpSpPr>
          <p:grpSp>
            <p:nvGrpSpPr>
              <p:cNvPr id="812" name="Graphic 6">
                <a:extLst>
                  <a:ext uri="{FF2B5EF4-FFF2-40B4-BE49-F238E27FC236}">
                    <a16:creationId xmlns:a16="http://schemas.microsoft.com/office/drawing/2014/main" id="{4D3F1896-0F56-EC3A-2C3A-6846D035554F}"/>
                  </a:ext>
                </a:extLst>
              </p:cNvPr>
              <p:cNvGrpSpPr/>
              <p:nvPr/>
            </p:nvGrpSpPr>
            <p:grpSpPr>
              <a:xfrm>
                <a:off x="2619743" y="3795208"/>
                <a:ext cx="186677" cy="186677"/>
                <a:chOff x="2619743" y="3795208"/>
                <a:chExt cx="186677" cy="186677"/>
              </a:xfrm>
              <a:solidFill>
                <a:srgbClr val="FFFFFF"/>
              </a:solidFill>
            </p:grpSpPr>
            <p:sp>
              <p:nvSpPr>
                <p:cNvPr id="816" name="Freeform: Shape 815">
                  <a:extLst>
                    <a:ext uri="{FF2B5EF4-FFF2-40B4-BE49-F238E27FC236}">
                      <a16:creationId xmlns:a16="http://schemas.microsoft.com/office/drawing/2014/main" id="{4C9C643F-14E5-BDE8-6DFA-EDBC8481300A}"/>
                    </a:ext>
                  </a:extLst>
                </p:cNvPr>
                <p:cNvSpPr/>
                <p:nvPr/>
              </p:nvSpPr>
              <p:spPr>
                <a:xfrm>
                  <a:off x="2619743" y="3795208"/>
                  <a:ext cx="186677" cy="186677"/>
                </a:xfrm>
                <a:custGeom>
                  <a:avLst/>
                  <a:gdLst>
                    <a:gd name="connsiteX0" fmla="*/ 93339 w 186677"/>
                    <a:gd name="connsiteY0" fmla="*/ 186678 h 186677"/>
                    <a:gd name="connsiteX1" fmla="*/ 0 w 186677"/>
                    <a:gd name="connsiteY1" fmla="*/ 93339 h 186677"/>
                    <a:gd name="connsiteX2" fmla="*/ 93339 w 186677"/>
                    <a:gd name="connsiteY2" fmla="*/ 0 h 186677"/>
                    <a:gd name="connsiteX3" fmla="*/ 186678 w 186677"/>
                    <a:gd name="connsiteY3" fmla="*/ 93339 h 186677"/>
                    <a:gd name="connsiteX4" fmla="*/ 93339 w 186677"/>
                    <a:gd name="connsiteY4" fmla="*/ 186678 h 186677"/>
                    <a:gd name="connsiteX5" fmla="*/ 93339 w 186677"/>
                    <a:gd name="connsiteY5" fmla="*/ 16900 h 186677"/>
                    <a:gd name="connsiteX6" fmla="*/ 16900 w 186677"/>
                    <a:gd name="connsiteY6" fmla="*/ 93339 h 186677"/>
                    <a:gd name="connsiteX7" fmla="*/ 93339 w 186677"/>
                    <a:gd name="connsiteY7" fmla="*/ 169778 h 186677"/>
                    <a:gd name="connsiteX8" fmla="*/ 169778 w 186677"/>
                    <a:gd name="connsiteY8" fmla="*/ 93339 h 186677"/>
                    <a:gd name="connsiteX9" fmla="*/ 93339 w 186677"/>
                    <a:gd name="connsiteY9" fmla="*/ 16900 h 186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677" h="186677">
                      <a:moveTo>
                        <a:pt x="93339" y="186678"/>
                      </a:moveTo>
                      <a:cubicBezTo>
                        <a:pt x="42379" y="186678"/>
                        <a:pt x="0" y="145338"/>
                        <a:pt x="0" y="93339"/>
                      </a:cubicBezTo>
                      <a:cubicBezTo>
                        <a:pt x="0" y="41339"/>
                        <a:pt x="41339" y="0"/>
                        <a:pt x="93339" y="0"/>
                      </a:cubicBezTo>
                      <a:cubicBezTo>
                        <a:pt x="145338" y="0"/>
                        <a:pt x="186678" y="41339"/>
                        <a:pt x="186678" y="93339"/>
                      </a:cubicBezTo>
                      <a:cubicBezTo>
                        <a:pt x="186678" y="145338"/>
                        <a:pt x="144298" y="186678"/>
                        <a:pt x="93339" y="186678"/>
                      </a:cubicBezTo>
                      <a:close/>
                      <a:moveTo>
                        <a:pt x="93339" y="16900"/>
                      </a:moveTo>
                      <a:cubicBezTo>
                        <a:pt x="50959" y="16900"/>
                        <a:pt x="16900" y="51999"/>
                        <a:pt x="16900" y="93339"/>
                      </a:cubicBezTo>
                      <a:cubicBezTo>
                        <a:pt x="16900" y="134678"/>
                        <a:pt x="51999" y="169778"/>
                        <a:pt x="93339" y="169778"/>
                      </a:cubicBezTo>
                      <a:cubicBezTo>
                        <a:pt x="134678" y="169778"/>
                        <a:pt x="169778" y="134678"/>
                        <a:pt x="169778" y="93339"/>
                      </a:cubicBezTo>
                      <a:cubicBezTo>
                        <a:pt x="169778" y="51999"/>
                        <a:pt x="135718" y="16900"/>
                        <a:pt x="93339" y="16900"/>
                      </a:cubicBezTo>
                      <a:close/>
                    </a:path>
                  </a:pathLst>
                </a:custGeom>
                <a:solidFill>
                  <a:srgbClr val="FFFFFF"/>
                </a:solidFill>
                <a:ln w="2597" cap="flat">
                  <a:noFill/>
                  <a:prstDash val="solid"/>
                  <a:miter/>
                </a:ln>
              </p:spPr>
              <p:txBody>
                <a:bodyPr rtlCol="0" anchor="ctr"/>
                <a:lstStyle/>
                <a:p>
                  <a:endParaRPr lang="en-GB"/>
                </a:p>
              </p:txBody>
            </p:sp>
            <p:sp>
              <p:nvSpPr>
                <p:cNvPr id="817" name="Freeform: Shape 816">
                  <a:extLst>
                    <a:ext uri="{FF2B5EF4-FFF2-40B4-BE49-F238E27FC236}">
                      <a16:creationId xmlns:a16="http://schemas.microsoft.com/office/drawing/2014/main" id="{6BE8DDDF-2A31-A9F1-22E0-7E94AF69D6DD}"/>
                    </a:ext>
                  </a:extLst>
                </p:cNvPr>
                <p:cNvSpPr/>
                <p:nvPr/>
              </p:nvSpPr>
              <p:spPr>
                <a:xfrm>
                  <a:off x="2649383" y="3825628"/>
                  <a:ext cx="126878" cy="126618"/>
                </a:xfrm>
                <a:custGeom>
                  <a:avLst/>
                  <a:gdLst>
                    <a:gd name="connsiteX0" fmla="*/ 7540 w 126878"/>
                    <a:gd name="connsiteY0" fmla="*/ 126619 h 126618"/>
                    <a:gd name="connsiteX1" fmla="*/ 2340 w 126878"/>
                    <a:gd name="connsiteY1" fmla="*/ 124539 h 126618"/>
                    <a:gd name="connsiteX2" fmla="*/ 2340 w 126878"/>
                    <a:gd name="connsiteY2" fmla="*/ 112839 h 126618"/>
                    <a:gd name="connsiteX3" fmla="*/ 112839 w 126878"/>
                    <a:gd name="connsiteY3" fmla="*/ 2340 h 126618"/>
                    <a:gd name="connsiteX4" fmla="*/ 124539 w 126878"/>
                    <a:gd name="connsiteY4" fmla="*/ 2340 h 126618"/>
                    <a:gd name="connsiteX5" fmla="*/ 124539 w 126878"/>
                    <a:gd name="connsiteY5" fmla="*/ 14040 h 126618"/>
                    <a:gd name="connsiteX6" fmla="*/ 14040 w 126878"/>
                    <a:gd name="connsiteY6" fmla="*/ 124539 h 126618"/>
                    <a:gd name="connsiteX7" fmla="*/ 7540 w 126878"/>
                    <a:gd name="connsiteY7" fmla="*/ 126619 h 126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78" h="126618">
                      <a:moveTo>
                        <a:pt x="7540" y="126619"/>
                      </a:moveTo>
                      <a:cubicBezTo>
                        <a:pt x="5460" y="126619"/>
                        <a:pt x="3380" y="125579"/>
                        <a:pt x="2340" y="124539"/>
                      </a:cubicBezTo>
                      <a:cubicBezTo>
                        <a:pt x="-780" y="121419"/>
                        <a:pt x="-780" y="115959"/>
                        <a:pt x="2340" y="112839"/>
                      </a:cubicBezTo>
                      <a:lnTo>
                        <a:pt x="112839" y="2340"/>
                      </a:lnTo>
                      <a:cubicBezTo>
                        <a:pt x="115959" y="-780"/>
                        <a:pt x="121419" y="-780"/>
                        <a:pt x="124539" y="2340"/>
                      </a:cubicBezTo>
                      <a:cubicBezTo>
                        <a:pt x="127659" y="5460"/>
                        <a:pt x="127659" y="10920"/>
                        <a:pt x="124539" y="14040"/>
                      </a:cubicBezTo>
                      <a:lnTo>
                        <a:pt x="14040" y="124539"/>
                      </a:lnTo>
                      <a:cubicBezTo>
                        <a:pt x="11700" y="126619"/>
                        <a:pt x="9620" y="126619"/>
                        <a:pt x="7540" y="126619"/>
                      </a:cubicBezTo>
                      <a:close/>
                    </a:path>
                  </a:pathLst>
                </a:custGeom>
                <a:solidFill>
                  <a:srgbClr val="FFFFFF"/>
                </a:solidFill>
                <a:ln w="2597" cap="flat">
                  <a:noFill/>
                  <a:prstDash val="solid"/>
                  <a:miter/>
                </a:ln>
              </p:spPr>
              <p:txBody>
                <a:bodyPr rtlCol="0" anchor="ctr"/>
                <a:lstStyle/>
                <a:p>
                  <a:endParaRPr lang="en-GB"/>
                </a:p>
              </p:txBody>
            </p:sp>
            <p:sp>
              <p:nvSpPr>
                <p:cNvPr id="818" name="Freeform: Shape 817">
                  <a:extLst>
                    <a:ext uri="{FF2B5EF4-FFF2-40B4-BE49-F238E27FC236}">
                      <a16:creationId xmlns:a16="http://schemas.microsoft.com/office/drawing/2014/main" id="{E002DA7C-BEAD-0889-4E07-009BA2F9C9FF}"/>
                    </a:ext>
                  </a:extLst>
                </p:cNvPr>
                <p:cNvSpPr/>
                <p:nvPr/>
              </p:nvSpPr>
              <p:spPr>
                <a:xfrm>
                  <a:off x="2653543" y="3829788"/>
                  <a:ext cx="127918" cy="127658"/>
                </a:xfrm>
                <a:custGeom>
                  <a:avLst/>
                  <a:gdLst>
                    <a:gd name="connsiteX0" fmla="*/ 119079 w 127918"/>
                    <a:gd name="connsiteY0" fmla="*/ 127658 h 127658"/>
                    <a:gd name="connsiteX1" fmla="*/ 113879 w 127918"/>
                    <a:gd name="connsiteY1" fmla="*/ 125579 h 127658"/>
                    <a:gd name="connsiteX2" fmla="*/ 2340 w 127918"/>
                    <a:gd name="connsiteY2" fmla="*/ 14040 h 127658"/>
                    <a:gd name="connsiteX3" fmla="*/ 2340 w 127918"/>
                    <a:gd name="connsiteY3" fmla="*/ 2340 h 127658"/>
                    <a:gd name="connsiteX4" fmla="*/ 14040 w 127918"/>
                    <a:gd name="connsiteY4" fmla="*/ 2340 h 127658"/>
                    <a:gd name="connsiteX5" fmla="*/ 125579 w 127918"/>
                    <a:gd name="connsiteY5" fmla="*/ 113879 h 127658"/>
                    <a:gd name="connsiteX6" fmla="*/ 125579 w 127918"/>
                    <a:gd name="connsiteY6" fmla="*/ 125579 h 127658"/>
                    <a:gd name="connsiteX7" fmla="*/ 119079 w 127918"/>
                    <a:gd name="connsiteY7" fmla="*/ 127658 h 127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918" h="127658">
                      <a:moveTo>
                        <a:pt x="119079" y="127658"/>
                      </a:moveTo>
                      <a:cubicBezTo>
                        <a:pt x="116999" y="127658"/>
                        <a:pt x="114919" y="126619"/>
                        <a:pt x="113879" y="125579"/>
                      </a:cubicBezTo>
                      <a:lnTo>
                        <a:pt x="2340" y="14040"/>
                      </a:lnTo>
                      <a:cubicBezTo>
                        <a:pt x="-780" y="10920"/>
                        <a:pt x="-780" y="5460"/>
                        <a:pt x="2340" y="2340"/>
                      </a:cubicBezTo>
                      <a:cubicBezTo>
                        <a:pt x="5460" y="-780"/>
                        <a:pt x="10920" y="-780"/>
                        <a:pt x="14040" y="2340"/>
                      </a:cubicBezTo>
                      <a:lnTo>
                        <a:pt x="125579" y="113879"/>
                      </a:lnTo>
                      <a:cubicBezTo>
                        <a:pt x="128699" y="116999"/>
                        <a:pt x="128699" y="122458"/>
                        <a:pt x="125579" y="125579"/>
                      </a:cubicBezTo>
                      <a:cubicBezTo>
                        <a:pt x="123239" y="126619"/>
                        <a:pt x="121159" y="127658"/>
                        <a:pt x="119079" y="127658"/>
                      </a:cubicBezTo>
                      <a:close/>
                    </a:path>
                  </a:pathLst>
                </a:custGeom>
                <a:solidFill>
                  <a:srgbClr val="FFFFFF"/>
                </a:solidFill>
                <a:ln w="2597" cap="flat">
                  <a:noFill/>
                  <a:prstDash val="solid"/>
                  <a:miter/>
                </a:ln>
              </p:spPr>
              <p:txBody>
                <a:bodyPr rtlCol="0" anchor="ctr"/>
                <a:lstStyle/>
                <a:p>
                  <a:endParaRPr lang="en-GB"/>
                </a:p>
              </p:txBody>
            </p:sp>
          </p:grpSp>
          <p:grpSp>
            <p:nvGrpSpPr>
              <p:cNvPr id="813" name="Graphic 6">
                <a:extLst>
                  <a:ext uri="{FF2B5EF4-FFF2-40B4-BE49-F238E27FC236}">
                    <a16:creationId xmlns:a16="http://schemas.microsoft.com/office/drawing/2014/main" id="{FFBCA01A-FDBA-8EC5-061B-A235BC3F67E0}"/>
                  </a:ext>
                </a:extLst>
              </p:cNvPr>
              <p:cNvGrpSpPr/>
              <p:nvPr/>
            </p:nvGrpSpPr>
            <p:grpSpPr>
              <a:xfrm>
                <a:off x="2682402" y="3857867"/>
                <a:ext cx="62399" cy="62399"/>
                <a:chOff x="2682402" y="3857867"/>
                <a:chExt cx="62399" cy="62399"/>
              </a:xfrm>
            </p:grpSpPr>
            <p:sp>
              <p:nvSpPr>
                <p:cNvPr id="814" name="Freeform: Shape 813">
                  <a:extLst>
                    <a:ext uri="{FF2B5EF4-FFF2-40B4-BE49-F238E27FC236}">
                      <a16:creationId xmlns:a16="http://schemas.microsoft.com/office/drawing/2014/main" id="{4E2528F7-B3EA-5B62-215A-02643CCEC89A}"/>
                    </a:ext>
                  </a:extLst>
                </p:cNvPr>
                <p:cNvSpPr/>
                <p:nvPr/>
              </p:nvSpPr>
              <p:spPr>
                <a:xfrm>
                  <a:off x="2690722" y="3866187"/>
                  <a:ext cx="46799" cy="46799"/>
                </a:xfrm>
                <a:custGeom>
                  <a:avLst/>
                  <a:gdLst>
                    <a:gd name="connsiteX0" fmla="*/ 46799 w 46799"/>
                    <a:gd name="connsiteY0" fmla="*/ 23400 h 46799"/>
                    <a:gd name="connsiteX1" fmla="*/ 23400 w 46799"/>
                    <a:gd name="connsiteY1" fmla="*/ 46799 h 46799"/>
                    <a:gd name="connsiteX2" fmla="*/ 0 w 46799"/>
                    <a:gd name="connsiteY2" fmla="*/ 23400 h 46799"/>
                    <a:gd name="connsiteX3" fmla="*/ 23400 w 46799"/>
                    <a:gd name="connsiteY3" fmla="*/ 0 h 46799"/>
                    <a:gd name="connsiteX4" fmla="*/ 46799 w 46799"/>
                    <a:gd name="connsiteY4" fmla="*/ 23400 h 46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99" h="46799">
                      <a:moveTo>
                        <a:pt x="46799" y="23400"/>
                      </a:moveTo>
                      <a:cubicBezTo>
                        <a:pt x="46799" y="36323"/>
                        <a:pt x="36323" y="46799"/>
                        <a:pt x="23400" y="46799"/>
                      </a:cubicBezTo>
                      <a:cubicBezTo>
                        <a:pt x="10476" y="46799"/>
                        <a:pt x="0" y="36323"/>
                        <a:pt x="0" y="23400"/>
                      </a:cubicBezTo>
                      <a:cubicBezTo>
                        <a:pt x="0" y="10476"/>
                        <a:pt x="10476" y="0"/>
                        <a:pt x="23400" y="0"/>
                      </a:cubicBezTo>
                      <a:cubicBezTo>
                        <a:pt x="36323" y="0"/>
                        <a:pt x="46799" y="10476"/>
                        <a:pt x="46799" y="23400"/>
                      </a:cubicBezTo>
                      <a:close/>
                    </a:path>
                  </a:pathLst>
                </a:custGeom>
                <a:solidFill>
                  <a:srgbClr val="0069FF"/>
                </a:solidFill>
                <a:ln w="2597" cap="flat">
                  <a:noFill/>
                  <a:prstDash val="solid"/>
                  <a:miter/>
                </a:ln>
              </p:spPr>
              <p:txBody>
                <a:bodyPr rtlCol="0" anchor="ctr"/>
                <a:lstStyle/>
                <a:p>
                  <a:endParaRPr lang="en-GB"/>
                </a:p>
              </p:txBody>
            </p:sp>
            <p:sp>
              <p:nvSpPr>
                <p:cNvPr id="815" name="Freeform: Shape 814">
                  <a:extLst>
                    <a:ext uri="{FF2B5EF4-FFF2-40B4-BE49-F238E27FC236}">
                      <a16:creationId xmlns:a16="http://schemas.microsoft.com/office/drawing/2014/main" id="{EAABF3F9-3668-A821-FD9A-EAA73D2F8FD1}"/>
                    </a:ext>
                  </a:extLst>
                </p:cNvPr>
                <p:cNvSpPr/>
                <p:nvPr/>
              </p:nvSpPr>
              <p:spPr>
                <a:xfrm>
                  <a:off x="2682402" y="3857867"/>
                  <a:ext cx="62399" cy="62399"/>
                </a:xfrm>
                <a:custGeom>
                  <a:avLst/>
                  <a:gdLst>
                    <a:gd name="connsiteX0" fmla="*/ 31720 w 62399"/>
                    <a:gd name="connsiteY0" fmla="*/ 62399 h 62399"/>
                    <a:gd name="connsiteX1" fmla="*/ 0 w 62399"/>
                    <a:gd name="connsiteY1" fmla="*/ 30679 h 62399"/>
                    <a:gd name="connsiteX2" fmla="*/ 31720 w 62399"/>
                    <a:gd name="connsiteY2" fmla="*/ 0 h 62399"/>
                    <a:gd name="connsiteX3" fmla="*/ 62399 w 62399"/>
                    <a:gd name="connsiteY3" fmla="*/ 30679 h 62399"/>
                    <a:gd name="connsiteX4" fmla="*/ 31720 w 62399"/>
                    <a:gd name="connsiteY4" fmla="*/ 62399 h 62399"/>
                    <a:gd name="connsiteX5" fmla="*/ 31720 w 62399"/>
                    <a:gd name="connsiteY5" fmla="*/ 16900 h 62399"/>
                    <a:gd name="connsiteX6" fmla="*/ 15860 w 62399"/>
                    <a:gd name="connsiteY6" fmla="*/ 31720 h 62399"/>
                    <a:gd name="connsiteX7" fmla="*/ 31720 w 62399"/>
                    <a:gd name="connsiteY7" fmla="*/ 47579 h 62399"/>
                    <a:gd name="connsiteX8" fmla="*/ 46540 w 62399"/>
                    <a:gd name="connsiteY8" fmla="*/ 31720 h 62399"/>
                    <a:gd name="connsiteX9" fmla="*/ 31720 w 62399"/>
                    <a:gd name="connsiteY9" fmla="*/ 16900 h 62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99" h="62399">
                      <a:moveTo>
                        <a:pt x="31720" y="62399"/>
                      </a:moveTo>
                      <a:cubicBezTo>
                        <a:pt x="14820" y="62399"/>
                        <a:pt x="0" y="48619"/>
                        <a:pt x="0" y="30679"/>
                      </a:cubicBezTo>
                      <a:cubicBezTo>
                        <a:pt x="0" y="13780"/>
                        <a:pt x="13780" y="0"/>
                        <a:pt x="31720" y="0"/>
                      </a:cubicBezTo>
                      <a:cubicBezTo>
                        <a:pt x="48619" y="0"/>
                        <a:pt x="62399" y="13780"/>
                        <a:pt x="62399" y="30679"/>
                      </a:cubicBezTo>
                      <a:cubicBezTo>
                        <a:pt x="62399" y="48619"/>
                        <a:pt x="48619" y="62399"/>
                        <a:pt x="31720" y="62399"/>
                      </a:cubicBezTo>
                      <a:close/>
                      <a:moveTo>
                        <a:pt x="31720" y="16900"/>
                      </a:moveTo>
                      <a:cubicBezTo>
                        <a:pt x="23140" y="16900"/>
                        <a:pt x="15860" y="24440"/>
                        <a:pt x="15860" y="31720"/>
                      </a:cubicBezTo>
                      <a:cubicBezTo>
                        <a:pt x="15860" y="40300"/>
                        <a:pt x="23400" y="47579"/>
                        <a:pt x="31720" y="47579"/>
                      </a:cubicBezTo>
                      <a:cubicBezTo>
                        <a:pt x="40300" y="47579"/>
                        <a:pt x="46540" y="40040"/>
                        <a:pt x="46540" y="31720"/>
                      </a:cubicBezTo>
                      <a:cubicBezTo>
                        <a:pt x="46540" y="23400"/>
                        <a:pt x="40300" y="16900"/>
                        <a:pt x="31720" y="16900"/>
                      </a:cubicBezTo>
                      <a:close/>
                    </a:path>
                  </a:pathLst>
                </a:custGeom>
                <a:solidFill>
                  <a:srgbClr val="FFFFFF"/>
                </a:solidFill>
                <a:ln w="2597" cap="flat">
                  <a:noFill/>
                  <a:prstDash val="solid"/>
                  <a:miter/>
                </a:ln>
              </p:spPr>
              <p:txBody>
                <a:bodyPr rtlCol="0" anchor="ctr"/>
                <a:lstStyle/>
                <a:p>
                  <a:endParaRPr lang="en-GB"/>
                </a:p>
              </p:txBody>
            </p:sp>
          </p:grpSp>
        </p:grpSp>
        <p:grpSp>
          <p:nvGrpSpPr>
            <p:cNvPr id="802" name="Graphic 6">
              <a:extLst>
                <a:ext uri="{FF2B5EF4-FFF2-40B4-BE49-F238E27FC236}">
                  <a16:creationId xmlns:a16="http://schemas.microsoft.com/office/drawing/2014/main" id="{1D09D466-22E1-5092-0F70-6587D97E71BC}"/>
                </a:ext>
              </a:extLst>
            </p:cNvPr>
            <p:cNvGrpSpPr/>
            <p:nvPr/>
          </p:nvGrpSpPr>
          <p:grpSpPr>
            <a:xfrm>
              <a:off x="2620783" y="4014906"/>
              <a:ext cx="186677" cy="186677"/>
              <a:chOff x="2620783" y="4014906"/>
              <a:chExt cx="186677" cy="186677"/>
            </a:xfrm>
          </p:grpSpPr>
          <p:grpSp>
            <p:nvGrpSpPr>
              <p:cNvPr id="805" name="Graphic 6">
                <a:extLst>
                  <a:ext uri="{FF2B5EF4-FFF2-40B4-BE49-F238E27FC236}">
                    <a16:creationId xmlns:a16="http://schemas.microsoft.com/office/drawing/2014/main" id="{E4E83E9C-33F5-E6CB-1EA8-4ACD45275EA3}"/>
                  </a:ext>
                </a:extLst>
              </p:cNvPr>
              <p:cNvGrpSpPr/>
              <p:nvPr/>
            </p:nvGrpSpPr>
            <p:grpSpPr>
              <a:xfrm>
                <a:off x="2620783" y="4014906"/>
                <a:ext cx="186677" cy="186677"/>
                <a:chOff x="2620783" y="4014906"/>
                <a:chExt cx="186677" cy="186677"/>
              </a:xfrm>
              <a:solidFill>
                <a:srgbClr val="FFFFFF"/>
              </a:solidFill>
            </p:grpSpPr>
            <p:sp>
              <p:nvSpPr>
                <p:cNvPr id="809" name="Freeform: Shape 808">
                  <a:extLst>
                    <a:ext uri="{FF2B5EF4-FFF2-40B4-BE49-F238E27FC236}">
                      <a16:creationId xmlns:a16="http://schemas.microsoft.com/office/drawing/2014/main" id="{84F45EB3-A724-6F55-E255-F9192E2BBBE4}"/>
                    </a:ext>
                  </a:extLst>
                </p:cNvPr>
                <p:cNvSpPr/>
                <p:nvPr/>
              </p:nvSpPr>
              <p:spPr>
                <a:xfrm>
                  <a:off x="2620783" y="4014906"/>
                  <a:ext cx="186677" cy="186677"/>
                </a:xfrm>
                <a:custGeom>
                  <a:avLst/>
                  <a:gdLst>
                    <a:gd name="connsiteX0" fmla="*/ 93339 w 186677"/>
                    <a:gd name="connsiteY0" fmla="*/ 186678 h 186677"/>
                    <a:gd name="connsiteX1" fmla="*/ 0 w 186677"/>
                    <a:gd name="connsiteY1" fmla="*/ 93339 h 186677"/>
                    <a:gd name="connsiteX2" fmla="*/ 93339 w 186677"/>
                    <a:gd name="connsiteY2" fmla="*/ 0 h 186677"/>
                    <a:gd name="connsiteX3" fmla="*/ 186678 w 186677"/>
                    <a:gd name="connsiteY3" fmla="*/ 93339 h 186677"/>
                    <a:gd name="connsiteX4" fmla="*/ 93339 w 186677"/>
                    <a:gd name="connsiteY4" fmla="*/ 186678 h 186677"/>
                    <a:gd name="connsiteX5" fmla="*/ 93339 w 186677"/>
                    <a:gd name="connsiteY5" fmla="*/ 16900 h 186677"/>
                    <a:gd name="connsiteX6" fmla="*/ 16900 w 186677"/>
                    <a:gd name="connsiteY6" fmla="*/ 93339 h 186677"/>
                    <a:gd name="connsiteX7" fmla="*/ 93339 w 186677"/>
                    <a:gd name="connsiteY7" fmla="*/ 169778 h 186677"/>
                    <a:gd name="connsiteX8" fmla="*/ 169778 w 186677"/>
                    <a:gd name="connsiteY8" fmla="*/ 93339 h 186677"/>
                    <a:gd name="connsiteX9" fmla="*/ 93339 w 186677"/>
                    <a:gd name="connsiteY9" fmla="*/ 16900 h 186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677" h="186677">
                      <a:moveTo>
                        <a:pt x="93339" y="186678"/>
                      </a:moveTo>
                      <a:cubicBezTo>
                        <a:pt x="42379" y="186678"/>
                        <a:pt x="0" y="145338"/>
                        <a:pt x="0" y="93339"/>
                      </a:cubicBezTo>
                      <a:cubicBezTo>
                        <a:pt x="0" y="41339"/>
                        <a:pt x="41340" y="0"/>
                        <a:pt x="93339" y="0"/>
                      </a:cubicBezTo>
                      <a:cubicBezTo>
                        <a:pt x="145338" y="0"/>
                        <a:pt x="186678" y="41339"/>
                        <a:pt x="186678" y="93339"/>
                      </a:cubicBezTo>
                      <a:cubicBezTo>
                        <a:pt x="186678" y="145338"/>
                        <a:pt x="144298" y="186678"/>
                        <a:pt x="93339" y="186678"/>
                      </a:cubicBezTo>
                      <a:close/>
                      <a:moveTo>
                        <a:pt x="93339" y="16900"/>
                      </a:moveTo>
                      <a:cubicBezTo>
                        <a:pt x="50960" y="16900"/>
                        <a:pt x="16900" y="51999"/>
                        <a:pt x="16900" y="93339"/>
                      </a:cubicBezTo>
                      <a:cubicBezTo>
                        <a:pt x="16900" y="134678"/>
                        <a:pt x="51999" y="169778"/>
                        <a:pt x="93339" y="169778"/>
                      </a:cubicBezTo>
                      <a:cubicBezTo>
                        <a:pt x="134678" y="169778"/>
                        <a:pt x="169778" y="134678"/>
                        <a:pt x="169778" y="93339"/>
                      </a:cubicBezTo>
                      <a:cubicBezTo>
                        <a:pt x="169778" y="51999"/>
                        <a:pt x="135718" y="16900"/>
                        <a:pt x="93339" y="16900"/>
                      </a:cubicBezTo>
                      <a:close/>
                    </a:path>
                  </a:pathLst>
                </a:custGeom>
                <a:solidFill>
                  <a:srgbClr val="FFFFFF"/>
                </a:solidFill>
                <a:ln w="2597" cap="flat">
                  <a:noFill/>
                  <a:prstDash val="solid"/>
                  <a:miter/>
                </a:ln>
              </p:spPr>
              <p:txBody>
                <a:bodyPr rtlCol="0" anchor="ctr"/>
                <a:lstStyle/>
                <a:p>
                  <a:endParaRPr lang="en-GB"/>
                </a:p>
              </p:txBody>
            </p:sp>
            <p:sp>
              <p:nvSpPr>
                <p:cNvPr id="810" name="Freeform: Shape 809">
                  <a:extLst>
                    <a:ext uri="{FF2B5EF4-FFF2-40B4-BE49-F238E27FC236}">
                      <a16:creationId xmlns:a16="http://schemas.microsoft.com/office/drawing/2014/main" id="{AA1A95B5-0D4C-8EB0-8D73-B8CC1183160F}"/>
                    </a:ext>
                  </a:extLst>
                </p:cNvPr>
                <p:cNvSpPr/>
                <p:nvPr/>
              </p:nvSpPr>
              <p:spPr>
                <a:xfrm>
                  <a:off x="2649383" y="4045325"/>
                  <a:ext cx="126878" cy="127658"/>
                </a:xfrm>
                <a:custGeom>
                  <a:avLst/>
                  <a:gdLst>
                    <a:gd name="connsiteX0" fmla="*/ 7540 w 126878"/>
                    <a:gd name="connsiteY0" fmla="*/ 127659 h 127658"/>
                    <a:gd name="connsiteX1" fmla="*/ 2340 w 126878"/>
                    <a:gd name="connsiteY1" fmla="*/ 125579 h 127658"/>
                    <a:gd name="connsiteX2" fmla="*/ 2340 w 126878"/>
                    <a:gd name="connsiteY2" fmla="*/ 113879 h 127658"/>
                    <a:gd name="connsiteX3" fmla="*/ 112839 w 126878"/>
                    <a:gd name="connsiteY3" fmla="*/ 2340 h 127658"/>
                    <a:gd name="connsiteX4" fmla="*/ 124539 w 126878"/>
                    <a:gd name="connsiteY4" fmla="*/ 2340 h 127658"/>
                    <a:gd name="connsiteX5" fmla="*/ 124539 w 126878"/>
                    <a:gd name="connsiteY5" fmla="*/ 14040 h 127658"/>
                    <a:gd name="connsiteX6" fmla="*/ 14040 w 126878"/>
                    <a:gd name="connsiteY6" fmla="*/ 125579 h 127658"/>
                    <a:gd name="connsiteX7" fmla="*/ 7540 w 126878"/>
                    <a:gd name="connsiteY7" fmla="*/ 127659 h 127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78" h="127658">
                      <a:moveTo>
                        <a:pt x="7540" y="127659"/>
                      </a:moveTo>
                      <a:cubicBezTo>
                        <a:pt x="5460" y="127659"/>
                        <a:pt x="3380" y="126619"/>
                        <a:pt x="2340" y="125579"/>
                      </a:cubicBezTo>
                      <a:cubicBezTo>
                        <a:pt x="-780" y="122459"/>
                        <a:pt x="-780" y="116999"/>
                        <a:pt x="2340" y="113879"/>
                      </a:cubicBezTo>
                      <a:lnTo>
                        <a:pt x="112839" y="2340"/>
                      </a:lnTo>
                      <a:cubicBezTo>
                        <a:pt x="115959" y="-780"/>
                        <a:pt x="121419" y="-780"/>
                        <a:pt x="124539" y="2340"/>
                      </a:cubicBezTo>
                      <a:cubicBezTo>
                        <a:pt x="127659" y="5460"/>
                        <a:pt x="127659" y="10920"/>
                        <a:pt x="124539" y="14040"/>
                      </a:cubicBezTo>
                      <a:lnTo>
                        <a:pt x="14040" y="125579"/>
                      </a:lnTo>
                      <a:cubicBezTo>
                        <a:pt x="11700" y="127659"/>
                        <a:pt x="9620" y="127659"/>
                        <a:pt x="7540" y="127659"/>
                      </a:cubicBezTo>
                      <a:close/>
                    </a:path>
                  </a:pathLst>
                </a:custGeom>
                <a:solidFill>
                  <a:srgbClr val="FFFFFF"/>
                </a:solidFill>
                <a:ln w="2597" cap="flat">
                  <a:noFill/>
                  <a:prstDash val="solid"/>
                  <a:miter/>
                </a:ln>
              </p:spPr>
              <p:txBody>
                <a:bodyPr rtlCol="0" anchor="ctr"/>
                <a:lstStyle/>
                <a:p>
                  <a:endParaRPr lang="en-GB"/>
                </a:p>
              </p:txBody>
            </p:sp>
            <p:sp>
              <p:nvSpPr>
                <p:cNvPr id="811" name="Freeform: Shape 810">
                  <a:extLst>
                    <a:ext uri="{FF2B5EF4-FFF2-40B4-BE49-F238E27FC236}">
                      <a16:creationId xmlns:a16="http://schemas.microsoft.com/office/drawing/2014/main" id="{21079010-5627-F994-474F-3ADD966AB5E5}"/>
                    </a:ext>
                  </a:extLst>
                </p:cNvPr>
                <p:cNvSpPr/>
                <p:nvPr/>
              </p:nvSpPr>
              <p:spPr>
                <a:xfrm>
                  <a:off x="2653543" y="4048445"/>
                  <a:ext cx="127918" cy="126618"/>
                </a:xfrm>
                <a:custGeom>
                  <a:avLst/>
                  <a:gdLst>
                    <a:gd name="connsiteX0" fmla="*/ 119079 w 127918"/>
                    <a:gd name="connsiteY0" fmla="*/ 126619 h 126618"/>
                    <a:gd name="connsiteX1" fmla="*/ 113879 w 127918"/>
                    <a:gd name="connsiteY1" fmla="*/ 124538 h 126618"/>
                    <a:gd name="connsiteX2" fmla="*/ 2340 w 127918"/>
                    <a:gd name="connsiteY2" fmla="*/ 14040 h 126618"/>
                    <a:gd name="connsiteX3" fmla="*/ 2340 w 127918"/>
                    <a:gd name="connsiteY3" fmla="*/ 2340 h 126618"/>
                    <a:gd name="connsiteX4" fmla="*/ 14040 w 127918"/>
                    <a:gd name="connsiteY4" fmla="*/ 2340 h 126618"/>
                    <a:gd name="connsiteX5" fmla="*/ 125579 w 127918"/>
                    <a:gd name="connsiteY5" fmla="*/ 112839 h 126618"/>
                    <a:gd name="connsiteX6" fmla="*/ 125579 w 127918"/>
                    <a:gd name="connsiteY6" fmla="*/ 124538 h 126618"/>
                    <a:gd name="connsiteX7" fmla="*/ 119079 w 127918"/>
                    <a:gd name="connsiteY7" fmla="*/ 126619 h 126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918" h="126618">
                      <a:moveTo>
                        <a:pt x="119079" y="126619"/>
                      </a:moveTo>
                      <a:cubicBezTo>
                        <a:pt x="116999" y="126619"/>
                        <a:pt x="114919" y="125579"/>
                        <a:pt x="113879" y="124538"/>
                      </a:cubicBezTo>
                      <a:lnTo>
                        <a:pt x="2340" y="14040"/>
                      </a:lnTo>
                      <a:cubicBezTo>
                        <a:pt x="-780" y="10920"/>
                        <a:pt x="-780" y="5460"/>
                        <a:pt x="2340" y="2340"/>
                      </a:cubicBezTo>
                      <a:cubicBezTo>
                        <a:pt x="5460" y="-780"/>
                        <a:pt x="10920" y="-780"/>
                        <a:pt x="14040" y="2340"/>
                      </a:cubicBezTo>
                      <a:lnTo>
                        <a:pt x="125579" y="112839"/>
                      </a:lnTo>
                      <a:cubicBezTo>
                        <a:pt x="128699" y="115959"/>
                        <a:pt x="128699" y="121419"/>
                        <a:pt x="125579" y="124538"/>
                      </a:cubicBezTo>
                      <a:cubicBezTo>
                        <a:pt x="123239" y="126619"/>
                        <a:pt x="121159" y="126619"/>
                        <a:pt x="119079" y="126619"/>
                      </a:cubicBezTo>
                      <a:close/>
                    </a:path>
                  </a:pathLst>
                </a:custGeom>
                <a:solidFill>
                  <a:srgbClr val="FFFFFF"/>
                </a:solidFill>
                <a:ln w="2597" cap="flat">
                  <a:noFill/>
                  <a:prstDash val="solid"/>
                  <a:miter/>
                </a:ln>
              </p:spPr>
              <p:txBody>
                <a:bodyPr rtlCol="0" anchor="ctr"/>
                <a:lstStyle/>
                <a:p>
                  <a:endParaRPr lang="en-GB"/>
                </a:p>
              </p:txBody>
            </p:sp>
          </p:grpSp>
          <p:grpSp>
            <p:nvGrpSpPr>
              <p:cNvPr id="806" name="Graphic 6">
                <a:extLst>
                  <a:ext uri="{FF2B5EF4-FFF2-40B4-BE49-F238E27FC236}">
                    <a16:creationId xmlns:a16="http://schemas.microsoft.com/office/drawing/2014/main" id="{5E017017-F888-73BC-89BE-4AB866EEDA15}"/>
                  </a:ext>
                </a:extLst>
              </p:cNvPr>
              <p:cNvGrpSpPr/>
              <p:nvPr/>
            </p:nvGrpSpPr>
            <p:grpSpPr>
              <a:xfrm>
                <a:off x="2682402" y="4077825"/>
                <a:ext cx="62399" cy="63439"/>
                <a:chOff x="2682402" y="4077825"/>
                <a:chExt cx="62399" cy="63439"/>
              </a:xfrm>
            </p:grpSpPr>
            <p:sp>
              <p:nvSpPr>
                <p:cNvPr id="807" name="Freeform: Shape 806">
                  <a:extLst>
                    <a:ext uri="{FF2B5EF4-FFF2-40B4-BE49-F238E27FC236}">
                      <a16:creationId xmlns:a16="http://schemas.microsoft.com/office/drawing/2014/main" id="{E0992558-E690-84D1-FBAB-37F0BF0BB19C}"/>
                    </a:ext>
                  </a:extLst>
                </p:cNvPr>
                <p:cNvSpPr/>
                <p:nvPr/>
              </p:nvSpPr>
              <p:spPr>
                <a:xfrm>
                  <a:off x="2690722" y="4085885"/>
                  <a:ext cx="46799" cy="46799"/>
                </a:xfrm>
                <a:custGeom>
                  <a:avLst/>
                  <a:gdLst>
                    <a:gd name="connsiteX0" fmla="*/ 46799 w 46799"/>
                    <a:gd name="connsiteY0" fmla="*/ 23400 h 46799"/>
                    <a:gd name="connsiteX1" fmla="*/ 23400 w 46799"/>
                    <a:gd name="connsiteY1" fmla="*/ 46799 h 46799"/>
                    <a:gd name="connsiteX2" fmla="*/ 0 w 46799"/>
                    <a:gd name="connsiteY2" fmla="*/ 23400 h 46799"/>
                    <a:gd name="connsiteX3" fmla="*/ 23400 w 46799"/>
                    <a:gd name="connsiteY3" fmla="*/ 0 h 46799"/>
                    <a:gd name="connsiteX4" fmla="*/ 46799 w 46799"/>
                    <a:gd name="connsiteY4" fmla="*/ 23400 h 46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99" h="46799">
                      <a:moveTo>
                        <a:pt x="46799" y="23400"/>
                      </a:moveTo>
                      <a:cubicBezTo>
                        <a:pt x="46799" y="36323"/>
                        <a:pt x="36323" y="46799"/>
                        <a:pt x="23400" y="46799"/>
                      </a:cubicBezTo>
                      <a:cubicBezTo>
                        <a:pt x="10476" y="46799"/>
                        <a:pt x="0" y="36323"/>
                        <a:pt x="0" y="23400"/>
                      </a:cubicBezTo>
                      <a:cubicBezTo>
                        <a:pt x="0" y="10476"/>
                        <a:pt x="10476" y="0"/>
                        <a:pt x="23400" y="0"/>
                      </a:cubicBezTo>
                      <a:cubicBezTo>
                        <a:pt x="36323" y="0"/>
                        <a:pt x="46799" y="10476"/>
                        <a:pt x="46799" y="23400"/>
                      </a:cubicBezTo>
                      <a:close/>
                    </a:path>
                  </a:pathLst>
                </a:custGeom>
                <a:solidFill>
                  <a:srgbClr val="0069FF"/>
                </a:solidFill>
                <a:ln w="2597" cap="flat">
                  <a:noFill/>
                  <a:prstDash val="solid"/>
                  <a:miter/>
                </a:ln>
              </p:spPr>
              <p:txBody>
                <a:bodyPr rtlCol="0" anchor="ctr"/>
                <a:lstStyle/>
                <a:p>
                  <a:endParaRPr lang="en-GB"/>
                </a:p>
              </p:txBody>
            </p:sp>
            <p:sp>
              <p:nvSpPr>
                <p:cNvPr id="808" name="Freeform: Shape 807">
                  <a:extLst>
                    <a:ext uri="{FF2B5EF4-FFF2-40B4-BE49-F238E27FC236}">
                      <a16:creationId xmlns:a16="http://schemas.microsoft.com/office/drawing/2014/main" id="{13664379-BEF8-477F-D12E-882008B4961B}"/>
                    </a:ext>
                  </a:extLst>
                </p:cNvPr>
                <p:cNvSpPr/>
                <p:nvPr/>
              </p:nvSpPr>
              <p:spPr>
                <a:xfrm>
                  <a:off x="2682402" y="4077825"/>
                  <a:ext cx="62399" cy="63439"/>
                </a:xfrm>
                <a:custGeom>
                  <a:avLst/>
                  <a:gdLst>
                    <a:gd name="connsiteX0" fmla="*/ 31720 w 62399"/>
                    <a:gd name="connsiteY0" fmla="*/ 63439 h 63439"/>
                    <a:gd name="connsiteX1" fmla="*/ 0 w 62399"/>
                    <a:gd name="connsiteY1" fmla="*/ 31720 h 63439"/>
                    <a:gd name="connsiteX2" fmla="*/ 31720 w 62399"/>
                    <a:gd name="connsiteY2" fmla="*/ 0 h 63439"/>
                    <a:gd name="connsiteX3" fmla="*/ 62399 w 62399"/>
                    <a:gd name="connsiteY3" fmla="*/ 31720 h 63439"/>
                    <a:gd name="connsiteX4" fmla="*/ 31720 w 62399"/>
                    <a:gd name="connsiteY4" fmla="*/ 63439 h 63439"/>
                    <a:gd name="connsiteX5" fmla="*/ 31720 w 62399"/>
                    <a:gd name="connsiteY5" fmla="*/ 15600 h 63439"/>
                    <a:gd name="connsiteX6" fmla="*/ 15860 w 62399"/>
                    <a:gd name="connsiteY6" fmla="*/ 31460 h 63439"/>
                    <a:gd name="connsiteX7" fmla="*/ 31720 w 62399"/>
                    <a:gd name="connsiteY7" fmla="*/ 47319 h 63439"/>
                    <a:gd name="connsiteX8" fmla="*/ 46540 w 62399"/>
                    <a:gd name="connsiteY8" fmla="*/ 31460 h 63439"/>
                    <a:gd name="connsiteX9" fmla="*/ 31720 w 62399"/>
                    <a:gd name="connsiteY9" fmla="*/ 15600 h 6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99" h="63439">
                      <a:moveTo>
                        <a:pt x="31720" y="63439"/>
                      </a:moveTo>
                      <a:cubicBezTo>
                        <a:pt x="14820" y="63439"/>
                        <a:pt x="0" y="49659"/>
                        <a:pt x="0" y="31720"/>
                      </a:cubicBezTo>
                      <a:cubicBezTo>
                        <a:pt x="0" y="13780"/>
                        <a:pt x="13780" y="0"/>
                        <a:pt x="31720" y="0"/>
                      </a:cubicBezTo>
                      <a:cubicBezTo>
                        <a:pt x="48619" y="0"/>
                        <a:pt x="62399" y="13780"/>
                        <a:pt x="62399" y="31720"/>
                      </a:cubicBezTo>
                      <a:cubicBezTo>
                        <a:pt x="62399" y="49659"/>
                        <a:pt x="48619" y="63439"/>
                        <a:pt x="31720" y="63439"/>
                      </a:cubicBezTo>
                      <a:close/>
                      <a:moveTo>
                        <a:pt x="31720" y="15600"/>
                      </a:moveTo>
                      <a:cubicBezTo>
                        <a:pt x="23140" y="15600"/>
                        <a:pt x="15860" y="23140"/>
                        <a:pt x="15860" y="31460"/>
                      </a:cubicBezTo>
                      <a:cubicBezTo>
                        <a:pt x="15860" y="40040"/>
                        <a:pt x="23400" y="47319"/>
                        <a:pt x="31720" y="47319"/>
                      </a:cubicBezTo>
                      <a:cubicBezTo>
                        <a:pt x="40300" y="47319"/>
                        <a:pt x="46540" y="39780"/>
                        <a:pt x="46540" y="31460"/>
                      </a:cubicBezTo>
                      <a:cubicBezTo>
                        <a:pt x="46540" y="22880"/>
                        <a:pt x="40300" y="15600"/>
                        <a:pt x="31720" y="15600"/>
                      </a:cubicBezTo>
                      <a:close/>
                    </a:path>
                  </a:pathLst>
                </a:custGeom>
                <a:solidFill>
                  <a:srgbClr val="FFFFFF"/>
                </a:solidFill>
                <a:ln w="2597" cap="flat">
                  <a:noFill/>
                  <a:prstDash val="solid"/>
                  <a:miter/>
                </a:ln>
              </p:spPr>
              <p:txBody>
                <a:bodyPr rtlCol="0" anchor="ctr"/>
                <a:lstStyle/>
                <a:p>
                  <a:endParaRPr lang="en-GB"/>
                </a:p>
              </p:txBody>
            </p:sp>
          </p:grpSp>
        </p:grpSp>
        <p:sp>
          <p:nvSpPr>
            <p:cNvPr id="803" name="Freeform: Shape 802">
              <a:extLst>
                <a:ext uri="{FF2B5EF4-FFF2-40B4-BE49-F238E27FC236}">
                  <a16:creationId xmlns:a16="http://schemas.microsoft.com/office/drawing/2014/main" id="{DC585F01-F589-34C9-7386-8F7A1BDE4CE9}"/>
                </a:ext>
              </a:extLst>
            </p:cNvPr>
            <p:cNvSpPr/>
            <p:nvPr/>
          </p:nvSpPr>
          <p:spPr>
            <a:xfrm>
              <a:off x="2595303" y="4280103"/>
              <a:ext cx="111538" cy="70199"/>
            </a:xfrm>
            <a:custGeom>
              <a:avLst/>
              <a:gdLst>
                <a:gd name="connsiteX0" fmla="*/ 102959 w 111538"/>
                <a:gd name="connsiteY0" fmla="*/ 70199 h 70199"/>
                <a:gd name="connsiteX1" fmla="*/ 8580 w 111538"/>
                <a:gd name="connsiteY1" fmla="*/ 70199 h 70199"/>
                <a:gd name="connsiteX2" fmla="*/ 0 w 111538"/>
                <a:gd name="connsiteY2" fmla="*/ 61619 h 70199"/>
                <a:gd name="connsiteX3" fmla="*/ 0 w 111538"/>
                <a:gd name="connsiteY3" fmla="*/ 8580 h 70199"/>
                <a:gd name="connsiteX4" fmla="*/ 8580 w 111538"/>
                <a:gd name="connsiteY4" fmla="*/ 0 h 70199"/>
                <a:gd name="connsiteX5" fmla="*/ 102959 w 111538"/>
                <a:gd name="connsiteY5" fmla="*/ 0 h 70199"/>
                <a:gd name="connsiteX6" fmla="*/ 111539 w 111538"/>
                <a:gd name="connsiteY6" fmla="*/ 8580 h 70199"/>
                <a:gd name="connsiteX7" fmla="*/ 111539 w 111538"/>
                <a:gd name="connsiteY7" fmla="*/ 61619 h 70199"/>
                <a:gd name="connsiteX8" fmla="*/ 102959 w 111538"/>
                <a:gd name="connsiteY8" fmla="*/ 70199 h 70199"/>
                <a:gd name="connsiteX9" fmla="*/ 15860 w 111538"/>
                <a:gd name="connsiteY9" fmla="*/ 54079 h 70199"/>
                <a:gd name="connsiteX10" fmla="*/ 95419 w 111538"/>
                <a:gd name="connsiteY10" fmla="*/ 54079 h 70199"/>
                <a:gd name="connsiteX11" fmla="*/ 95419 w 111538"/>
                <a:gd name="connsiteY11" fmla="*/ 16900 h 70199"/>
                <a:gd name="connsiteX12" fmla="*/ 16900 w 111538"/>
                <a:gd name="connsiteY12" fmla="*/ 16900 h 70199"/>
                <a:gd name="connsiteX13" fmla="*/ 16900 w 111538"/>
                <a:gd name="connsiteY13" fmla="*/ 54079 h 70199"/>
                <a:gd name="connsiteX14" fmla="*/ 15860 w 111538"/>
                <a:gd name="connsiteY14" fmla="*/ 54079 h 7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1538" h="70199">
                  <a:moveTo>
                    <a:pt x="102959" y="70199"/>
                  </a:moveTo>
                  <a:lnTo>
                    <a:pt x="8580" y="70199"/>
                  </a:lnTo>
                  <a:cubicBezTo>
                    <a:pt x="4420" y="70199"/>
                    <a:pt x="0" y="67079"/>
                    <a:pt x="0" y="61619"/>
                  </a:cubicBezTo>
                  <a:lnTo>
                    <a:pt x="0" y="8580"/>
                  </a:lnTo>
                  <a:cubicBezTo>
                    <a:pt x="0" y="4420"/>
                    <a:pt x="3120" y="0"/>
                    <a:pt x="8580" y="0"/>
                  </a:cubicBezTo>
                  <a:lnTo>
                    <a:pt x="102959" y="0"/>
                  </a:lnTo>
                  <a:cubicBezTo>
                    <a:pt x="107119" y="0"/>
                    <a:pt x="111539" y="3120"/>
                    <a:pt x="111539" y="8580"/>
                  </a:cubicBezTo>
                  <a:lnTo>
                    <a:pt x="111539" y="61619"/>
                  </a:lnTo>
                  <a:cubicBezTo>
                    <a:pt x="111279" y="65779"/>
                    <a:pt x="107119" y="70199"/>
                    <a:pt x="102959" y="70199"/>
                  </a:cubicBezTo>
                  <a:close/>
                  <a:moveTo>
                    <a:pt x="15860" y="54079"/>
                  </a:moveTo>
                  <a:lnTo>
                    <a:pt x="95419" y="54079"/>
                  </a:lnTo>
                  <a:lnTo>
                    <a:pt x="95419" y="16900"/>
                  </a:lnTo>
                  <a:lnTo>
                    <a:pt x="16900" y="16900"/>
                  </a:lnTo>
                  <a:lnTo>
                    <a:pt x="16900" y="54079"/>
                  </a:lnTo>
                  <a:lnTo>
                    <a:pt x="15860" y="54079"/>
                  </a:lnTo>
                  <a:close/>
                </a:path>
              </a:pathLst>
            </a:custGeom>
            <a:solidFill>
              <a:srgbClr val="00005A"/>
            </a:solidFill>
            <a:ln w="2597" cap="flat">
              <a:noFill/>
              <a:prstDash val="solid"/>
              <a:miter/>
            </a:ln>
          </p:spPr>
          <p:txBody>
            <a:bodyPr rtlCol="0" anchor="ctr"/>
            <a:lstStyle/>
            <a:p>
              <a:endParaRPr lang="en-GB"/>
            </a:p>
          </p:txBody>
        </p:sp>
        <p:sp>
          <p:nvSpPr>
            <p:cNvPr id="804" name="Freeform: Shape 803">
              <a:extLst>
                <a:ext uri="{FF2B5EF4-FFF2-40B4-BE49-F238E27FC236}">
                  <a16:creationId xmlns:a16="http://schemas.microsoft.com/office/drawing/2014/main" id="{899C0000-6DAB-3128-B2B2-CEF309972110}"/>
                </a:ext>
              </a:extLst>
            </p:cNvPr>
            <p:cNvSpPr/>
            <p:nvPr/>
          </p:nvSpPr>
          <p:spPr>
            <a:xfrm>
              <a:off x="2890400" y="4280103"/>
              <a:ext cx="111538" cy="70199"/>
            </a:xfrm>
            <a:custGeom>
              <a:avLst/>
              <a:gdLst>
                <a:gd name="connsiteX0" fmla="*/ 102959 w 111538"/>
                <a:gd name="connsiteY0" fmla="*/ 70199 h 70199"/>
                <a:gd name="connsiteX1" fmla="*/ 8580 w 111538"/>
                <a:gd name="connsiteY1" fmla="*/ 70199 h 70199"/>
                <a:gd name="connsiteX2" fmla="*/ 0 w 111538"/>
                <a:gd name="connsiteY2" fmla="*/ 61619 h 70199"/>
                <a:gd name="connsiteX3" fmla="*/ 0 w 111538"/>
                <a:gd name="connsiteY3" fmla="*/ 8580 h 70199"/>
                <a:gd name="connsiteX4" fmla="*/ 8580 w 111538"/>
                <a:gd name="connsiteY4" fmla="*/ 0 h 70199"/>
                <a:gd name="connsiteX5" fmla="*/ 102959 w 111538"/>
                <a:gd name="connsiteY5" fmla="*/ 0 h 70199"/>
                <a:gd name="connsiteX6" fmla="*/ 111539 w 111538"/>
                <a:gd name="connsiteY6" fmla="*/ 8580 h 70199"/>
                <a:gd name="connsiteX7" fmla="*/ 111539 w 111538"/>
                <a:gd name="connsiteY7" fmla="*/ 61619 h 70199"/>
                <a:gd name="connsiteX8" fmla="*/ 102959 w 111538"/>
                <a:gd name="connsiteY8" fmla="*/ 70199 h 70199"/>
                <a:gd name="connsiteX9" fmla="*/ 16900 w 111538"/>
                <a:gd name="connsiteY9" fmla="*/ 54079 h 70199"/>
                <a:gd name="connsiteX10" fmla="*/ 95419 w 111538"/>
                <a:gd name="connsiteY10" fmla="*/ 54079 h 70199"/>
                <a:gd name="connsiteX11" fmla="*/ 95419 w 111538"/>
                <a:gd name="connsiteY11" fmla="*/ 16900 h 70199"/>
                <a:gd name="connsiteX12" fmla="*/ 16900 w 111538"/>
                <a:gd name="connsiteY12" fmla="*/ 16900 h 70199"/>
                <a:gd name="connsiteX13" fmla="*/ 16900 w 111538"/>
                <a:gd name="connsiteY13" fmla="*/ 54079 h 7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38" h="70199">
                  <a:moveTo>
                    <a:pt x="102959" y="70199"/>
                  </a:moveTo>
                  <a:lnTo>
                    <a:pt x="8580" y="70199"/>
                  </a:lnTo>
                  <a:cubicBezTo>
                    <a:pt x="4420" y="70199"/>
                    <a:pt x="0" y="67079"/>
                    <a:pt x="0" y="61619"/>
                  </a:cubicBezTo>
                  <a:lnTo>
                    <a:pt x="0" y="8580"/>
                  </a:lnTo>
                  <a:cubicBezTo>
                    <a:pt x="0" y="4420"/>
                    <a:pt x="3120" y="0"/>
                    <a:pt x="8580" y="0"/>
                  </a:cubicBezTo>
                  <a:lnTo>
                    <a:pt x="102959" y="0"/>
                  </a:lnTo>
                  <a:cubicBezTo>
                    <a:pt x="107119" y="0"/>
                    <a:pt x="111539" y="3120"/>
                    <a:pt x="111539" y="8580"/>
                  </a:cubicBezTo>
                  <a:lnTo>
                    <a:pt x="111539" y="61619"/>
                  </a:lnTo>
                  <a:cubicBezTo>
                    <a:pt x="110239" y="65779"/>
                    <a:pt x="107119" y="70199"/>
                    <a:pt x="102959" y="70199"/>
                  </a:cubicBezTo>
                  <a:close/>
                  <a:moveTo>
                    <a:pt x="16900" y="54079"/>
                  </a:moveTo>
                  <a:lnTo>
                    <a:pt x="95419" y="54079"/>
                  </a:lnTo>
                  <a:lnTo>
                    <a:pt x="95419" y="16900"/>
                  </a:lnTo>
                  <a:lnTo>
                    <a:pt x="16900" y="16900"/>
                  </a:lnTo>
                  <a:lnTo>
                    <a:pt x="16900" y="54079"/>
                  </a:lnTo>
                  <a:close/>
                </a:path>
              </a:pathLst>
            </a:custGeom>
            <a:solidFill>
              <a:srgbClr val="00005A"/>
            </a:solidFill>
            <a:ln w="2597" cap="flat">
              <a:noFill/>
              <a:prstDash val="solid"/>
              <a:miter/>
            </a:ln>
          </p:spPr>
          <p:txBody>
            <a:bodyPr rtlCol="0" anchor="ctr"/>
            <a:lstStyle/>
            <a:p>
              <a:endParaRPr lang="en-GB"/>
            </a:p>
          </p:txBody>
        </p:sp>
      </p:grpSp>
      <p:grpSp>
        <p:nvGrpSpPr>
          <p:cNvPr id="522" name="Graphic 6">
            <a:extLst>
              <a:ext uri="{FF2B5EF4-FFF2-40B4-BE49-F238E27FC236}">
                <a16:creationId xmlns:a16="http://schemas.microsoft.com/office/drawing/2014/main" id="{13501292-B42F-B779-ACD1-C5650E7B5C74}"/>
              </a:ext>
            </a:extLst>
          </p:cNvPr>
          <p:cNvGrpSpPr/>
          <p:nvPr/>
        </p:nvGrpSpPr>
        <p:grpSpPr>
          <a:xfrm>
            <a:off x="8312174" y="5024538"/>
            <a:ext cx="443738" cy="351438"/>
            <a:chOff x="6019984" y="4698178"/>
            <a:chExt cx="889969" cy="704851"/>
          </a:xfrm>
        </p:grpSpPr>
        <p:grpSp>
          <p:nvGrpSpPr>
            <p:cNvPr id="770" name="Graphic 6">
              <a:extLst>
                <a:ext uri="{FF2B5EF4-FFF2-40B4-BE49-F238E27FC236}">
                  <a16:creationId xmlns:a16="http://schemas.microsoft.com/office/drawing/2014/main" id="{EBC43431-56A6-DDA5-9226-D725C72EDFE6}"/>
                </a:ext>
              </a:extLst>
            </p:cNvPr>
            <p:cNvGrpSpPr/>
            <p:nvPr/>
          </p:nvGrpSpPr>
          <p:grpSpPr>
            <a:xfrm>
              <a:off x="6050403" y="4731457"/>
              <a:ext cx="859550" cy="671572"/>
              <a:chOff x="6050403" y="4731457"/>
              <a:chExt cx="859550" cy="671572"/>
            </a:xfrm>
            <a:solidFill>
              <a:srgbClr val="0069FF"/>
            </a:solidFill>
          </p:grpSpPr>
          <p:grpSp>
            <p:nvGrpSpPr>
              <p:cNvPr id="792" name="Graphic 6">
                <a:extLst>
                  <a:ext uri="{FF2B5EF4-FFF2-40B4-BE49-F238E27FC236}">
                    <a16:creationId xmlns:a16="http://schemas.microsoft.com/office/drawing/2014/main" id="{1BBCAECE-E3F4-2EEA-8B58-C24BCC1FF1C2}"/>
                  </a:ext>
                </a:extLst>
              </p:cNvPr>
              <p:cNvGrpSpPr/>
              <p:nvPr/>
            </p:nvGrpSpPr>
            <p:grpSpPr>
              <a:xfrm>
                <a:off x="6050403" y="4731457"/>
                <a:ext cx="448754" cy="671572"/>
                <a:chOff x="6050403" y="4731457"/>
                <a:chExt cx="448754" cy="671572"/>
              </a:xfrm>
              <a:solidFill>
                <a:srgbClr val="0069FF"/>
              </a:solidFill>
            </p:grpSpPr>
            <p:sp>
              <p:nvSpPr>
                <p:cNvPr id="796" name="Freeform: Shape 795">
                  <a:extLst>
                    <a:ext uri="{FF2B5EF4-FFF2-40B4-BE49-F238E27FC236}">
                      <a16:creationId xmlns:a16="http://schemas.microsoft.com/office/drawing/2014/main" id="{38D61A23-9535-DA1D-EFBF-99B48ED7569C}"/>
                    </a:ext>
                  </a:extLst>
                </p:cNvPr>
                <p:cNvSpPr/>
                <p:nvPr/>
              </p:nvSpPr>
              <p:spPr>
                <a:xfrm>
                  <a:off x="6055083" y="4736657"/>
                  <a:ext cx="438355" cy="661172"/>
                </a:xfrm>
                <a:custGeom>
                  <a:avLst/>
                  <a:gdLst>
                    <a:gd name="connsiteX0" fmla="*/ 0 w 438355"/>
                    <a:gd name="connsiteY0" fmla="*/ 607873 h 661172"/>
                    <a:gd name="connsiteX1" fmla="*/ 65779 w 438355"/>
                    <a:gd name="connsiteY1" fmla="*/ 607873 h 661172"/>
                    <a:gd name="connsiteX2" fmla="*/ 65779 w 438355"/>
                    <a:gd name="connsiteY2" fmla="*/ 661172 h 661172"/>
                    <a:gd name="connsiteX3" fmla="*/ 161458 w 438355"/>
                    <a:gd name="connsiteY3" fmla="*/ 661172 h 661172"/>
                    <a:gd name="connsiteX4" fmla="*/ 161458 w 438355"/>
                    <a:gd name="connsiteY4" fmla="*/ 607873 h 661172"/>
                    <a:gd name="connsiteX5" fmla="*/ 275857 w 438355"/>
                    <a:gd name="connsiteY5" fmla="*/ 607873 h 661172"/>
                    <a:gd name="connsiteX6" fmla="*/ 275857 w 438355"/>
                    <a:gd name="connsiteY6" fmla="*/ 661172 h 661172"/>
                    <a:gd name="connsiteX7" fmla="*/ 371536 w 438355"/>
                    <a:gd name="connsiteY7" fmla="*/ 661172 h 661172"/>
                    <a:gd name="connsiteX8" fmla="*/ 371536 w 438355"/>
                    <a:gd name="connsiteY8" fmla="*/ 607873 h 661172"/>
                    <a:gd name="connsiteX9" fmla="*/ 438355 w 438355"/>
                    <a:gd name="connsiteY9" fmla="*/ 607873 h 661172"/>
                    <a:gd name="connsiteX10" fmla="*/ 438355 w 438355"/>
                    <a:gd name="connsiteY10" fmla="*/ 0 h 661172"/>
                    <a:gd name="connsiteX11" fmla="*/ 0 w 438355"/>
                    <a:gd name="connsiteY11" fmla="*/ 0 h 66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8355" h="661172">
                      <a:moveTo>
                        <a:pt x="0" y="607873"/>
                      </a:moveTo>
                      <a:lnTo>
                        <a:pt x="65779" y="607873"/>
                      </a:lnTo>
                      <a:lnTo>
                        <a:pt x="65779" y="661172"/>
                      </a:lnTo>
                      <a:lnTo>
                        <a:pt x="161458" y="661172"/>
                      </a:lnTo>
                      <a:lnTo>
                        <a:pt x="161458" y="607873"/>
                      </a:lnTo>
                      <a:lnTo>
                        <a:pt x="275857" y="607873"/>
                      </a:lnTo>
                      <a:lnTo>
                        <a:pt x="275857" y="661172"/>
                      </a:lnTo>
                      <a:lnTo>
                        <a:pt x="371536" y="661172"/>
                      </a:lnTo>
                      <a:lnTo>
                        <a:pt x="371536" y="607873"/>
                      </a:lnTo>
                      <a:lnTo>
                        <a:pt x="438355" y="607873"/>
                      </a:lnTo>
                      <a:lnTo>
                        <a:pt x="438355" y="0"/>
                      </a:lnTo>
                      <a:lnTo>
                        <a:pt x="0" y="0"/>
                      </a:lnTo>
                      <a:close/>
                    </a:path>
                  </a:pathLst>
                </a:custGeom>
                <a:solidFill>
                  <a:srgbClr val="0069FF"/>
                </a:solidFill>
                <a:ln w="2597" cap="flat">
                  <a:noFill/>
                  <a:prstDash val="solid"/>
                  <a:miter/>
                </a:ln>
              </p:spPr>
              <p:txBody>
                <a:bodyPr rtlCol="0" anchor="ctr"/>
                <a:lstStyle/>
                <a:p>
                  <a:endParaRPr lang="en-GB"/>
                </a:p>
              </p:txBody>
            </p:sp>
            <p:sp>
              <p:nvSpPr>
                <p:cNvPr id="797" name="Freeform: Shape 796">
                  <a:extLst>
                    <a:ext uri="{FF2B5EF4-FFF2-40B4-BE49-F238E27FC236}">
                      <a16:creationId xmlns:a16="http://schemas.microsoft.com/office/drawing/2014/main" id="{7628739F-42AC-E979-ECAF-53A401451E62}"/>
                    </a:ext>
                  </a:extLst>
                </p:cNvPr>
                <p:cNvSpPr/>
                <p:nvPr/>
              </p:nvSpPr>
              <p:spPr>
                <a:xfrm>
                  <a:off x="6050403" y="4731457"/>
                  <a:ext cx="448754" cy="671572"/>
                </a:xfrm>
                <a:custGeom>
                  <a:avLst/>
                  <a:gdLst>
                    <a:gd name="connsiteX0" fmla="*/ 376216 w 448754"/>
                    <a:gd name="connsiteY0" fmla="*/ 671572 h 671572"/>
                    <a:gd name="connsiteX1" fmla="*/ 280796 w 448754"/>
                    <a:gd name="connsiteY1" fmla="*/ 671572 h 671572"/>
                    <a:gd name="connsiteX2" fmla="*/ 275597 w 448754"/>
                    <a:gd name="connsiteY2" fmla="*/ 666372 h 671572"/>
                    <a:gd name="connsiteX3" fmla="*/ 275597 w 448754"/>
                    <a:gd name="connsiteY3" fmla="*/ 618533 h 671572"/>
                    <a:gd name="connsiteX4" fmla="*/ 171598 w 448754"/>
                    <a:gd name="connsiteY4" fmla="*/ 618533 h 671572"/>
                    <a:gd name="connsiteX5" fmla="*/ 171598 w 448754"/>
                    <a:gd name="connsiteY5" fmla="*/ 666372 h 671572"/>
                    <a:gd name="connsiteX6" fmla="*/ 166398 w 448754"/>
                    <a:gd name="connsiteY6" fmla="*/ 671572 h 671572"/>
                    <a:gd name="connsiteX7" fmla="*/ 70979 w 448754"/>
                    <a:gd name="connsiteY7" fmla="*/ 671572 h 671572"/>
                    <a:gd name="connsiteX8" fmla="*/ 65779 w 448754"/>
                    <a:gd name="connsiteY8" fmla="*/ 666372 h 671572"/>
                    <a:gd name="connsiteX9" fmla="*/ 65779 w 448754"/>
                    <a:gd name="connsiteY9" fmla="*/ 618533 h 671572"/>
                    <a:gd name="connsiteX10" fmla="*/ 5200 w 448754"/>
                    <a:gd name="connsiteY10" fmla="*/ 618533 h 671572"/>
                    <a:gd name="connsiteX11" fmla="*/ 0 w 448754"/>
                    <a:gd name="connsiteY11" fmla="*/ 613333 h 671572"/>
                    <a:gd name="connsiteX12" fmla="*/ 0 w 448754"/>
                    <a:gd name="connsiteY12" fmla="*/ 5200 h 671572"/>
                    <a:gd name="connsiteX13" fmla="*/ 5200 w 448754"/>
                    <a:gd name="connsiteY13" fmla="*/ 0 h 671572"/>
                    <a:gd name="connsiteX14" fmla="*/ 443555 w 448754"/>
                    <a:gd name="connsiteY14" fmla="*/ 0 h 671572"/>
                    <a:gd name="connsiteX15" fmla="*/ 448755 w 448754"/>
                    <a:gd name="connsiteY15" fmla="*/ 5200 h 671572"/>
                    <a:gd name="connsiteX16" fmla="*/ 448755 w 448754"/>
                    <a:gd name="connsiteY16" fmla="*/ 613333 h 671572"/>
                    <a:gd name="connsiteX17" fmla="*/ 443555 w 448754"/>
                    <a:gd name="connsiteY17" fmla="*/ 618533 h 671572"/>
                    <a:gd name="connsiteX18" fmla="*/ 381936 w 448754"/>
                    <a:gd name="connsiteY18" fmla="*/ 618533 h 671572"/>
                    <a:gd name="connsiteX19" fmla="*/ 381936 w 448754"/>
                    <a:gd name="connsiteY19" fmla="*/ 666372 h 671572"/>
                    <a:gd name="connsiteX20" fmla="*/ 376216 w 448754"/>
                    <a:gd name="connsiteY20" fmla="*/ 671572 h 671572"/>
                    <a:gd name="connsiteX21" fmla="*/ 285996 w 448754"/>
                    <a:gd name="connsiteY21" fmla="*/ 660912 h 671572"/>
                    <a:gd name="connsiteX22" fmla="*/ 371016 w 448754"/>
                    <a:gd name="connsiteY22" fmla="*/ 660912 h 671572"/>
                    <a:gd name="connsiteX23" fmla="*/ 371016 w 448754"/>
                    <a:gd name="connsiteY23" fmla="*/ 613073 h 671572"/>
                    <a:gd name="connsiteX24" fmla="*/ 376216 w 448754"/>
                    <a:gd name="connsiteY24" fmla="*/ 607873 h 671572"/>
                    <a:gd name="connsiteX25" fmla="*/ 437835 w 448754"/>
                    <a:gd name="connsiteY25" fmla="*/ 607873 h 671572"/>
                    <a:gd name="connsiteX26" fmla="*/ 437835 w 448754"/>
                    <a:gd name="connsiteY26" fmla="*/ 10400 h 671572"/>
                    <a:gd name="connsiteX27" fmla="*/ 10140 w 448754"/>
                    <a:gd name="connsiteY27" fmla="*/ 10400 h 671572"/>
                    <a:gd name="connsiteX28" fmla="*/ 10140 w 448754"/>
                    <a:gd name="connsiteY28" fmla="*/ 607873 h 671572"/>
                    <a:gd name="connsiteX29" fmla="*/ 70719 w 448754"/>
                    <a:gd name="connsiteY29" fmla="*/ 607873 h 671572"/>
                    <a:gd name="connsiteX30" fmla="*/ 75919 w 448754"/>
                    <a:gd name="connsiteY30" fmla="*/ 613073 h 671572"/>
                    <a:gd name="connsiteX31" fmla="*/ 75919 w 448754"/>
                    <a:gd name="connsiteY31" fmla="*/ 660912 h 671572"/>
                    <a:gd name="connsiteX32" fmla="*/ 160938 w 448754"/>
                    <a:gd name="connsiteY32" fmla="*/ 660912 h 671572"/>
                    <a:gd name="connsiteX33" fmla="*/ 160938 w 448754"/>
                    <a:gd name="connsiteY33" fmla="*/ 613073 h 671572"/>
                    <a:gd name="connsiteX34" fmla="*/ 166138 w 448754"/>
                    <a:gd name="connsiteY34" fmla="*/ 607873 h 671572"/>
                    <a:gd name="connsiteX35" fmla="*/ 280796 w 448754"/>
                    <a:gd name="connsiteY35" fmla="*/ 607873 h 671572"/>
                    <a:gd name="connsiteX36" fmla="*/ 285996 w 448754"/>
                    <a:gd name="connsiteY36" fmla="*/ 613073 h 671572"/>
                    <a:gd name="connsiteX37" fmla="*/ 285996 w 448754"/>
                    <a:gd name="connsiteY37" fmla="*/ 660912 h 671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48754" h="671572">
                      <a:moveTo>
                        <a:pt x="376216" y="671572"/>
                      </a:moveTo>
                      <a:lnTo>
                        <a:pt x="280796" y="671572"/>
                      </a:lnTo>
                      <a:cubicBezTo>
                        <a:pt x="277677" y="671572"/>
                        <a:pt x="275597" y="669492"/>
                        <a:pt x="275597" y="666372"/>
                      </a:cubicBezTo>
                      <a:lnTo>
                        <a:pt x="275597" y="618533"/>
                      </a:lnTo>
                      <a:lnTo>
                        <a:pt x="171598" y="618533"/>
                      </a:lnTo>
                      <a:lnTo>
                        <a:pt x="171598" y="666372"/>
                      </a:lnTo>
                      <a:cubicBezTo>
                        <a:pt x="171598" y="669492"/>
                        <a:pt x="169518" y="671572"/>
                        <a:pt x="166398" y="671572"/>
                      </a:cubicBezTo>
                      <a:lnTo>
                        <a:pt x="70979" y="671572"/>
                      </a:lnTo>
                      <a:cubicBezTo>
                        <a:pt x="67859" y="671572"/>
                        <a:pt x="65779" y="669492"/>
                        <a:pt x="65779" y="666372"/>
                      </a:cubicBezTo>
                      <a:lnTo>
                        <a:pt x="65779" y="618533"/>
                      </a:lnTo>
                      <a:lnTo>
                        <a:pt x="5200" y="618533"/>
                      </a:lnTo>
                      <a:cubicBezTo>
                        <a:pt x="2080" y="618533"/>
                        <a:pt x="0" y="616453"/>
                        <a:pt x="0" y="613333"/>
                      </a:cubicBezTo>
                      <a:lnTo>
                        <a:pt x="0" y="5200"/>
                      </a:lnTo>
                      <a:cubicBezTo>
                        <a:pt x="0" y="2080"/>
                        <a:pt x="2080" y="0"/>
                        <a:pt x="5200" y="0"/>
                      </a:cubicBezTo>
                      <a:lnTo>
                        <a:pt x="443555" y="0"/>
                      </a:lnTo>
                      <a:cubicBezTo>
                        <a:pt x="446675" y="0"/>
                        <a:pt x="448755" y="2080"/>
                        <a:pt x="448755" y="5200"/>
                      </a:cubicBezTo>
                      <a:lnTo>
                        <a:pt x="448755" y="613333"/>
                      </a:lnTo>
                      <a:cubicBezTo>
                        <a:pt x="448755" y="616453"/>
                        <a:pt x="446675" y="618533"/>
                        <a:pt x="443555" y="618533"/>
                      </a:cubicBezTo>
                      <a:lnTo>
                        <a:pt x="381936" y="618533"/>
                      </a:lnTo>
                      <a:lnTo>
                        <a:pt x="381936" y="666372"/>
                      </a:lnTo>
                      <a:cubicBezTo>
                        <a:pt x="381416" y="669492"/>
                        <a:pt x="379336" y="671572"/>
                        <a:pt x="376216" y="671572"/>
                      </a:cubicBezTo>
                      <a:close/>
                      <a:moveTo>
                        <a:pt x="285996" y="660912"/>
                      </a:moveTo>
                      <a:lnTo>
                        <a:pt x="371016" y="660912"/>
                      </a:lnTo>
                      <a:lnTo>
                        <a:pt x="371016" y="613073"/>
                      </a:lnTo>
                      <a:cubicBezTo>
                        <a:pt x="371016" y="609953"/>
                        <a:pt x="373095" y="607873"/>
                        <a:pt x="376216" y="607873"/>
                      </a:cubicBezTo>
                      <a:lnTo>
                        <a:pt x="437835" y="607873"/>
                      </a:lnTo>
                      <a:lnTo>
                        <a:pt x="437835" y="10400"/>
                      </a:lnTo>
                      <a:lnTo>
                        <a:pt x="10140" y="10400"/>
                      </a:lnTo>
                      <a:lnTo>
                        <a:pt x="10140" y="607873"/>
                      </a:lnTo>
                      <a:lnTo>
                        <a:pt x="70719" y="607873"/>
                      </a:lnTo>
                      <a:cubicBezTo>
                        <a:pt x="73839" y="607873"/>
                        <a:pt x="75919" y="609953"/>
                        <a:pt x="75919" y="613073"/>
                      </a:cubicBezTo>
                      <a:lnTo>
                        <a:pt x="75919" y="660912"/>
                      </a:lnTo>
                      <a:lnTo>
                        <a:pt x="160938" y="660912"/>
                      </a:lnTo>
                      <a:lnTo>
                        <a:pt x="160938" y="613073"/>
                      </a:lnTo>
                      <a:cubicBezTo>
                        <a:pt x="160938" y="609953"/>
                        <a:pt x="163018" y="607873"/>
                        <a:pt x="166138" y="607873"/>
                      </a:cubicBezTo>
                      <a:lnTo>
                        <a:pt x="280796" y="607873"/>
                      </a:lnTo>
                      <a:cubicBezTo>
                        <a:pt x="283917" y="607873"/>
                        <a:pt x="285996" y="609953"/>
                        <a:pt x="285996" y="613073"/>
                      </a:cubicBezTo>
                      <a:lnTo>
                        <a:pt x="285996" y="660912"/>
                      </a:lnTo>
                      <a:close/>
                    </a:path>
                  </a:pathLst>
                </a:custGeom>
                <a:solidFill>
                  <a:srgbClr val="0069FF"/>
                </a:solidFill>
                <a:ln w="2597" cap="flat">
                  <a:noFill/>
                  <a:prstDash val="solid"/>
                  <a:miter/>
                </a:ln>
              </p:spPr>
              <p:txBody>
                <a:bodyPr rtlCol="0" anchor="ctr"/>
                <a:lstStyle/>
                <a:p>
                  <a:endParaRPr lang="en-GB"/>
                </a:p>
              </p:txBody>
            </p:sp>
          </p:grpSp>
          <p:grpSp>
            <p:nvGrpSpPr>
              <p:cNvPr id="793" name="Graphic 6">
                <a:extLst>
                  <a:ext uri="{FF2B5EF4-FFF2-40B4-BE49-F238E27FC236}">
                    <a16:creationId xmlns:a16="http://schemas.microsoft.com/office/drawing/2014/main" id="{5B9C80FD-8291-A442-B3DE-B398FEDF84EE}"/>
                  </a:ext>
                </a:extLst>
              </p:cNvPr>
              <p:cNvGrpSpPr/>
              <p:nvPr/>
            </p:nvGrpSpPr>
            <p:grpSpPr>
              <a:xfrm>
                <a:off x="6485119" y="4863536"/>
                <a:ext cx="424834" cy="468514"/>
                <a:chOff x="6485119" y="4863536"/>
                <a:chExt cx="424834" cy="468514"/>
              </a:xfrm>
              <a:solidFill>
                <a:srgbClr val="0069FF"/>
              </a:solidFill>
            </p:grpSpPr>
            <p:sp>
              <p:nvSpPr>
                <p:cNvPr id="794" name="Freeform: Shape 793">
                  <a:extLst>
                    <a:ext uri="{FF2B5EF4-FFF2-40B4-BE49-F238E27FC236}">
                      <a16:creationId xmlns:a16="http://schemas.microsoft.com/office/drawing/2014/main" id="{B28D4065-FA6D-24D6-699E-AC9039861DBF}"/>
                    </a:ext>
                  </a:extLst>
                </p:cNvPr>
                <p:cNvSpPr/>
                <p:nvPr/>
              </p:nvSpPr>
              <p:spPr>
                <a:xfrm>
                  <a:off x="6490319" y="4868216"/>
                  <a:ext cx="413915" cy="458374"/>
                </a:xfrm>
                <a:custGeom>
                  <a:avLst/>
                  <a:gdLst>
                    <a:gd name="connsiteX0" fmla="*/ 339556 w 413915"/>
                    <a:gd name="connsiteY0" fmla="*/ 360876 h 458374"/>
                    <a:gd name="connsiteX1" fmla="*/ 394675 w 413915"/>
                    <a:gd name="connsiteY1" fmla="*/ 225937 h 458374"/>
                    <a:gd name="connsiteX2" fmla="*/ 392595 w 413915"/>
                    <a:gd name="connsiteY2" fmla="*/ 0 h 458374"/>
                    <a:gd name="connsiteX3" fmla="*/ 88139 w 413915"/>
                    <a:gd name="connsiteY3" fmla="*/ 0 h 458374"/>
                    <a:gd name="connsiteX4" fmla="*/ 88139 w 413915"/>
                    <a:gd name="connsiteY4" fmla="*/ 225937 h 458374"/>
                    <a:gd name="connsiteX5" fmla="*/ 143258 w 413915"/>
                    <a:gd name="connsiteY5" fmla="*/ 360876 h 458374"/>
                    <a:gd name="connsiteX6" fmla="*/ 70979 w 413915"/>
                    <a:gd name="connsiteY6" fmla="*/ 360876 h 458374"/>
                    <a:gd name="connsiteX7" fmla="*/ 70979 w 413915"/>
                    <a:gd name="connsiteY7" fmla="*/ 419115 h 458374"/>
                    <a:gd name="connsiteX8" fmla="*/ 0 w 413915"/>
                    <a:gd name="connsiteY8" fmla="*/ 419115 h 458374"/>
                    <a:gd name="connsiteX9" fmla="*/ 0 w 413915"/>
                    <a:gd name="connsiteY9" fmla="*/ 458375 h 458374"/>
                    <a:gd name="connsiteX10" fmla="*/ 70979 w 413915"/>
                    <a:gd name="connsiteY10" fmla="*/ 458375 h 458374"/>
                    <a:gd name="connsiteX11" fmla="*/ 413915 w 413915"/>
                    <a:gd name="connsiteY11" fmla="*/ 458375 h 458374"/>
                    <a:gd name="connsiteX12" fmla="*/ 413915 w 413915"/>
                    <a:gd name="connsiteY12" fmla="*/ 360876 h 458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915" h="458374">
                      <a:moveTo>
                        <a:pt x="339556" y="360876"/>
                      </a:moveTo>
                      <a:lnTo>
                        <a:pt x="394675" y="225937"/>
                      </a:lnTo>
                      <a:lnTo>
                        <a:pt x="392595" y="0"/>
                      </a:lnTo>
                      <a:lnTo>
                        <a:pt x="88139" y="0"/>
                      </a:lnTo>
                      <a:lnTo>
                        <a:pt x="88139" y="225937"/>
                      </a:lnTo>
                      <a:lnTo>
                        <a:pt x="143258" y="360876"/>
                      </a:lnTo>
                      <a:lnTo>
                        <a:pt x="70979" y="360876"/>
                      </a:lnTo>
                      <a:lnTo>
                        <a:pt x="70979" y="419115"/>
                      </a:lnTo>
                      <a:lnTo>
                        <a:pt x="0" y="419115"/>
                      </a:lnTo>
                      <a:lnTo>
                        <a:pt x="0" y="458375"/>
                      </a:lnTo>
                      <a:lnTo>
                        <a:pt x="70979" y="458375"/>
                      </a:lnTo>
                      <a:lnTo>
                        <a:pt x="413915" y="458375"/>
                      </a:lnTo>
                      <a:lnTo>
                        <a:pt x="413915" y="360876"/>
                      </a:lnTo>
                      <a:close/>
                    </a:path>
                  </a:pathLst>
                </a:custGeom>
                <a:solidFill>
                  <a:srgbClr val="0069FF"/>
                </a:solidFill>
                <a:ln w="2597" cap="flat">
                  <a:noFill/>
                  <a:prstDash val="solid"/>
                  <a:miter/>
                </a:ln>
              </p:spPr>
              <p:txBody>
                <a:bodyPr rtlCol="0" anchor="ctr"/>
                <a:lstStyle/>
                <a:p>
                  <a:endParaRPr lang="en-GB"/>
                </a:p>
              </p:txBody>
            </p:sp>
            <p:sp>
              <p:nvSpPr>
                <p:cNvPr id="795" name="Freeform: Shape 794">
                  <a:extLst>
                    <a:ext uri="{FF2B5EF4-FFF2-40B4-BE49-F238E27FC236}">
                      <a16:creationId xmlns:a16="http://schemas.microsoft.com/office/drawing/2014/main" id="{3C2A78B7-E9D1-3710-7031-27164619DBB2}"/>
                    </a:ext>
                  </a:extLst>
                </p:cNvPr>
                <p:cNvSpPr/>
                <p:nvPr/>
              </p:nvSpPr>
              <p:spPr>
                <a:xfrm>
                  <a:off x="6485119" y="4863536"/>
                  <a:ext cx="424834" cy="468514"/>
                </a:xfrm>
                <a:custGeom>
                  <a:avLst/>
                  <a:gdLst>
                    <a:gd name="connsiteX0" fmla="*/ 419115 w 424834"/>
                    <a:gd name="connsiteY0" fmla="*/ 468515 h 468514"/>
                    <a:gd name="connsiteX1" fmla="*/ 5200 w 424834"/>
                    <a:gd name="connsiteY1" fmla="*/ 468515 h 468514"/>
                    <a:gd name="connsiteX2" fmla="*/ 0 w 424834"/>
                    <a:gd name="connsiteY2" fmla="*/ 463315 h 468514"/>
                    <a:gd name="connsiteX3" fmla="*/ 0 w 424834"/>
                    <a:gd name="connsiteY3" fmla="*/ 424055 h 468514"/>
                    <a:gd name="connsiteX4" fmla="*/ 5200 w 424834"/>
                    <a:gd name="connsiteY4" fmla="*/ 418855 h 468514"/>
                    <a:gd name="connsiteX5" fmla="*/ 70979 w 424834"/>
                    <a:gd name="connsiteY5" fmla="*/ 418855 h 468514"/>
                    <a:gd name="connsiteX6" fmla="*/ 70979 w 424834"/>
                    <a:gd name="connsiteY6" fmla="*/ 365816 h 468514"/>
                    <a:gd name="connsiteX7" fmla="*/ 76179 w 424834"/>
                    <a:gd name="connsiteY7" fmla="*/ 360616 h 468514"/>
                    <a:gd name="connsiteX8" fmla="*/ 140918 w 424834"/>
                    <a:gd name="connsiteY8" fmla="*/ 360616 h 468514"/>
                    <a:gd name="connsiteX9" fmla="*/ 88919 w 424834"/>
                    <a:gd name="connsiteY9" fmla="*/ 233218 h 468514"/>
                    <a:gd name="connsiteX10" fmla="*/ 88919 w 424834"/>
                    <a:gd name="connsiteY10" fmla="*/ 231137 h 468514"/>
                    <a:gd name="connsiteX11" fmla="*/ 88919 w 424834"/>
                    <a:gd name="connsiteY11" fmla="*/ 5200 h 468514"/>
                    <a:gd name="connsiteX12" fmla="*/ 94119 w 424834"/>
                    <a:gd name="connsiteY12" fmla="*/ 0 h 468514"/>
                    <a:gd name="connsiteX13" fmla="*/ 397535 w 424834"/>
                    <a:gd name="connsiteY13" fmla="*/ 0 h 468514"/>
                    <a:gd name="connsiteX14" fmla="*/ 402735 w 424834"/>
                    <a:gd name="connsiteY14" fmla="*/ 5200 h 468514"/>
                    <a:gd name="connsiteX15" fmla="*/ 404815 w 424834"/>
                    <a:gd name="connsiteY15" fmla="*/ 231137 h 468514"/>
                    <a:gd name="connsiteX16" fmla="*/ 404815 w 424834"/>
                    <a:gd name="connsiteY16" fmla="*/ 233218 h 468514"/>
                    <a:gd name="connsiteX17" fmla="*/ 352816 w 424834"/>
                    <a:gd name="connsiteY17" fmla="*/ 360616 h 468514"/>
                    <a:gd name="connsiteX18" fmla="*/ 419635 w 424834"/>
                    <a:gd name="connsiteY18" fmla="*/ 360616 h 468514"/>
                    <a:gd name="connsiteX19" fmla="*/ 424835 w 424834"/>
                    <a:gd name="connsiteY19" fmla="*/ 365816 h 468514"/>
                    <a:gd name="connsiteX20" fmla="*/ 424835 w 424834"/>
                    <a:gd name="connsiteY20" fmla="*/ 463575 h 468514"/>
                    <a:gd name="connsiteX21" fmla="*/ 419115 w 424834"/>
                    <a:gd name="connsiteY21" fmla="*/ 468515 h 468514"/>
                    <a:gd name="connsiteX22" fmla="*/ 10400 w 424834"/>
                    <a:gd name="connsiteY22" fmla="*/ 457855 h 468514"/>
                    <a:gd name="connsiteX23" fmla="*/ 413655 w 424834"/>
                    <a:gd name="connsiteY23" fmla="*/ 457855 h 468514"/>
                    <a:gd name="connsiteX24" fmla="*/ 413655 w 424834"/>
                    <a:gd name="connsiteY24" fmla="*/ 370756 h 468514"/>
                    <a:gd name="connsiteX25" fmla="*/ 344756 w 424834"/>
                    <a:gd name="connsiteY25" fmla="*/ 370756 h 468514"/>
                    <a:gd name="connsiteX26" fmla="*/ 340596 w 424834"/>
                    <a:gd name="connsiteY26" fmla="*/ 368676 h 468514"/>
                    <a:gd name="connsiteX27" fmla="*/ 340596 w 424834"/>
                    <a:gd name="connsiteY27" fmla="*/ 363476 h 468514"/>
                    <a:gd name="connsiteX28" fmla="*/ 395715 w 424834"/>
                    <a:gd name="connsiteY28" fmla="*/ 229837 h 468514"/>
                    <a:gd name="connsiteX29" fmla="*/ 393635 w 424834"/>
                    <a:gd name="connsiteY29" fmla="*/ 10140 h 468514"/>
                    <a:gd name="connsiteX30" fmla="*/ 99578 w 424834"/>
                    <a:gd name="connsiteY30" fmla="*/ 10140 h 468514"/>
                    <a:gd name="connsiteX31" fmla="*/ 99578 w 424834"/>
                    <a:gd name="connsiteY31" fmla="*/ 229837 h 468514"/>
                    <a:gd name="connsiteX32" fmla="*/ 154698 w 424834"/>
                    <a:gd name="connsiteY32" fmla="*/ 363476 h 468514"/>
                    <a:gd name="connsiteX33" fmla="*/ 154698 w 424834"/>
                    <a:gd name="connsiteY33" fmla="*/ 368676 h 468514"/>
                    <a:gd name="connsiteX34" fmla="*/ 150538 w 424834"/>
                    <a:gd name="connsiteY34" fmla="*/ 370756 h 468514"/>
                    <a:gd name="connsiteX35" fmla="*/ 83719 w 424834"/>
                    <a:gd name="connsiteY35" fmla="*/ 370756 h 468514"/>
                    <a:gd name="connsiteX36" fmla="*/ 83719 w 424834"/>
                    <a:gd name="connsiteY36" fmla="*/ 423795 h 468514"/>
                    <a:gd name="connsiteX37" fmla="*/ 78519 w 424834"/>
                    <a:gd name="connsiteY37" fmla="*/ 428995 h 468514"/>
                    <a:gd name="connsiteX38" fmla="*/ 12740 w 424834"/>
                    <a:gd name="connsiteY38" fmla="*/ 428995 h 468514"/>
                    <a:gd name="connsiteX39" fmla="*/ 12740 w 424834"/>
                    <a:gd name="connsiteY39" fmla="*/ 457595 h 468514"/>
                    <a:gd name="connsiteX40" fmla="*/ 10400 w 424834"/>
                    <a:gd name="connsiteY40" fmla="*/ 457855 h 468514"/>
                    <a:gd name="connsiteX41" fmla="*/ 10400 w 424834"/>
                    <a:gd name="connsiteY41" fmla="*/ 457855 h 468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24834" h="468514">
                      <a:moveTo>
                        <a:pt x="419115" y="468515"/>
                      </a:moveTo>
                      <a:lnTo>
                        <a:pt x="5200" y="468515"/>
                      </a:lnTo>
                      <a:cubicBezTo>
                        <a:pt x="2079" y="468515"/>
                        <a:pt x="0" y="466435"/>
                        <a:pt x="0" y="463315"/>
                      </a:cubicBezTo>
                      <a:lnTo>
                        <a:pt x="0" y="424055"/>
                      </a:lnTo>
                      <a:cubicBezTo>
                        <a:pt x="0" y="420935"/>
                        <a:pt x="2079" y="418855"/>
                        <a:pt x="5200" y="418855"/>
                      </a:cubicBezTo>
                      <a:lnTo>
                        <a:pt x="70979" y="418855"/>
                      </a:lnTo>
                      <a:lnTo>
                        <a:pt x="70979" y="365816"/>
                      </a:lnTo>
                      <a:cubicBezTo>
                        <a:pt x="70979" y="362696"/>
                        <a:pt x="73059" y="360616"/>
                        <a:pt x="76179" y="360616"/>
                      </a:cubicBezTo>
                      <a:lnTo>
                        <a:pt x="140918" y="360616"/>
                      </a:lnTo>
                      <a:lnTo>
                        <a:pt x="88919" y="233218"/>
                      </a:lnTo>
                      <a:cubicBezTo>
                        <a:pt x="88919" y="232177"/>
                        <a:pt x="88919" y="232177"/>
                        <a:pt x="88919" y="231137"/>
                      </a:cubicBezTo>
                      <a:lnTo>
                        <a:pt x="88919" y="5200"/>
                      </a:lnTo>
                      <a:cubicBezTo>
                        <a:pt x="88919" y="2080"/>
                        <a:pt x="90999" y="0"/>
                        <a:pt x="94119" y="0"/>
                      </a:cubicBezTo>
                      <a:lnTo>
                        <a:pt x="397535" y="0"/>
                      </a:lnTo>
                      <a:cubicBezTo>
                        <a:pt x="400655" y="0"/>
                        <a:pt x="402735" y="2080"/>
                        <a:pt x="402735" y="5200"/>
                      </a:cubicBezTo>
                      <a:lnTo>
                        <a:pt x="404815" y="231137"/>
                      </a:lnTo>
                      <a:cubicBezTo>
                        <a:pt x="404815" y="232177"/>
                        <a:pt x="404815" y="232177"/>
                        <a:pt x="404815" y="233218"/>
                      </a:cubicBezTo>
                      <a:lnTo>
                        <a:pt x="352816" y="360616"/>
                      </a:lnTo>
                      <a:lnTo>
                        <a:pt x="419635" y="360616"/>
                      </a:lnTo>
                      <a:cubicBezTo>
                        <a:pt x="422755" y="360616"/>
                        <a:pt x="424835" y="362696"/>
                        <a:pt x="424835" y="365816"/>
                      </a:cubicBezTo>
                      <a:lnTo>
                        <a:pt x="424835" y="463575"/>
                      </a:lnTo>
                      <a:cubicBezTo>
                        <a:pt x="424315" y="466175"/>
                        <a:pt x="422235" y="468515"/>
                        <a:pt x="419115" y="468515"/>
                      </a:cubicBezTo>
                      <a:close/>
                      <a:moveTo>
                        <a:pt x="10400" y="457855"/>
                      </a:moveTo>
                      <a:lnTo>
                        <a:pt x="413655" y="457855"/>
                      </a:lnTo>
                      <a:lnTo>
                        <a:pt x="413655" y="370756"/>
                      </a:lnTo>
                      <a:lnTo>
                        <a:pt x="344756" y="370756"/>
                      </a:lnTo>
                      <a:cubicBezTo>
                        <a:pt x="342676" y="370756"/>
                        <a:pt x="341636" y="369716"/>
                        <a:pt x="340596" y="368676"/>
                      </a:cubicBezTo>
                      <a:cubicBezTo>
                        <a:pt x="339556" y="367636"/>
                        <a:pt x="339556" y="365556"/>
                        <a:pt x="340596" y="363476"/>
                      </a:cubicBezTo>
                      <a:lnTo>
                        <a:pt x="395715" y="229837"/>
                      </a:lnTo>
                      <a:lnTo>
                        <a:pt x="393635" y="10140"/>
                      </a:lnTo>
                      <a:lnTo>
                        <a:pt x="99578" y="10140"/>
                      </a:lnTo>
                      <a:lnTo>
                        <a:pt x="99578" y="229837"/>
                      </a:lnTo>
                      <a:lnTo>
                        <a:pt x="154698" y="363476"/>
                      </a:lnTo>
                      <a:cubicBezTo>
                        <a:pt x="155738" y="365556"/>
                        <a:pt x="154698" y="366596"/>
                        <a:pt x="154698" y="368676"/>
                      </a:cubicBezTo>
                      <a:cubicBezTo>
                        <a:pt x="153658" y="369716"/>
                        <a:pt x="152618" y="370756"/>
                        <a:pt x="150538" y="370756"/>
                      </a:cubicBezTo>
                      <a:lnTo>
                        <a:pt x="83719" y="370756"/>
                      </a:lnTo>
                      <a:lnTo>
                        <a:pt x="83719" y="423795"/>
                      </a:lnTo>
                      <a:cubicBezTo>
                        <a:pt x="83719" y="426915"/>
                        <a:pt x="81639" y="428995"/>
                        <a:pt x="78519" y="428995"/>
                      </a:cubicBezTo>
                      <a:lnTo>
                        <a:pt x="12740" y="428995"/>
                      </a:lnTo>
                      <a:lnTo>
                        <a:pt x="12740" y="457595"/>
                      </a:lnTo>
                      <a:lnTo>
                        <a:pt x="10400" y="457855"/>
                      </a:lnTo>
                      <a:lnTo>
                        <a:pt x="10400" y="457855"/>
                      </a:lnTo>
                      <a:close/>
                    </a:path>
                  </a:pathLst>
                </a:custGeom>
                <a:solidFill>
                  <a:srgbClr val="0069FF"/>
                </a:solidFill>
                <a:ln w="2597" cap="flat">
                  <a:noFill/>
                  <a:prstDash val="solid"/>
                  <a:miter/>
                </a:ln>
              </p:spPr>
              <p:txBody>
                <a:bodyPr rtlCol="0" anchor="ctr"/>
                <a:lstStyle/>
                <a:p>
                  <a:endParaRPr lang="en-GB"/>
                </a:p>
              </p:txBody>
            </p:sp>
          </p:grpSp>
        </p:grpSp>
        <p:grpSp>
          <p:nvGrpSpPr>
            <p:cNvPr id="771" name="Graphic 6">
              <a:extLst>
                <a:ext uri="{FF2B5EF4-FFF2-40B4-BE49-F238E27FC236}">
                  <a16:creationId xmlns:a16="http://schemas.microsoft.com/office/drawing/2014/main" id="{81BBBF09-564B-9D7E-EA00-453783AD9557}"/>
                </a:ext>
              </a:extLst>
            </p:cNvPr>
            <p:cNvGrpSpPr/>
            <p:nvPr/>
          </p:nvGrpSpPr>
          <p:grpSpPr>
            <a:xfrm>
              <a:off x="6019984" y="4698178"/>
              <a:ext cx="871509" cy="678332"/>
              <a:chOff x="6019984" y="4698178"/>
              <a:chExt cx="871509" cy="678332"/>
            </a:xfrm>
          </p:grpSpPr>
          <p:sp>
            <p:nvSpPr>
              <p:cNvPr id="772" name="Freeform: Shape 771">
                <a:extLst>
                  <a:ext uri="{FF2B5EF4-FFF2-40B4-BE49-F238E27FC236}">
                    <a16:creationId xmlns:a16="http://schemas.microsoft.com/office/drawing/2014/main" id="{93B3F986-5CF2-0415-F68C-CA3721F74D4B}"/>
                  </a:ext>
                </a:extLst>
              </p:cNvPr>
              <p:cNvSpPr/>
              <p:nvPr/>
            </p:nvSpPr>
            <p:spPr>
              <a:xfrm>
                <a:off x="6019984" y="4698178"/>
                <a:ext cx="456554" cy="625292"/>
              </a:xfrm>
              <a:custGeom>
                <a:avLst/>
                <a:gdLst>
                  <a:gd name="connsiteX0" fmla="*/ 447975 w 456554"/>
                  <a:gd name="connsiteY0" fmla="*/ 625293 h 625292"/>
                  <a:gd name="connsiteX1" fmla="*/ 8580 w 456554"/>
                  <a:gd name="connsiteY1" fmla="*/ 625293 h 625292"/>
                  <a:gd name="connsiteX2" fmla="*/ 0 w 456554"/>
                  <a:gd name="connsiteY2" fmla="*/ 616713 h 625292"/>
                  <a:gd name="connsiteX3" fmla="*/ 0 w 456554"/>
                  <a:gd name="connsiteY3" fmla="*/ 8580 h 625292"/>
                  <a:gd name="connsiteX4" fmla="*/ 8580 w 456554"/>
                  <a:gd name="connsiteY4" fmla="*/ 0 h 625292"/>
                  <a:gd name="connsiteX5" fmla="*/ 447975 w 456554"/>
                  <a:gd name="connsiteY5" fmla="*/ 0 h 625292"/>
                  <a:gd name="connsiteX6" fmla="*/ 456555 w 456554"/>
                  <a:gd name="connsiteY6" fmla="*/ 8580 h 625292"/>
                  <a:gd name="connsiteX7" fmla="*/ 456555 w 456554"/>
                  <a:gd name="connsiteY7" fmla="*/ 616713 h 625292"/>
                  <a:gd name="connsiteX8" fmla="*/ 447975 w 456554"/>
                  <a:gd name="connsiteY8" fmla="*/ 625293 h 625292"/>
                  <a:gd name="connsiteX9" fmla="*/ 16120 w 456554"/>
                  <a:gd name="connsiteY9" fmla="*/ 610473 h 625292"/>
                  <a:gd name="connsiteX10" fmla="*/ 439655 w 456554"/>
                  <a:gd name="connsiteY10" fmla="*/ 610473 h 625292"/>
                  <a:gd name="connsiteX11" fmla="*/ 439655 w 456554"/>
                  <a:gd name="connsiteY11" fmla="*/ 18200 h 625292"/>
                  <a:gd name="connsiteX12" fmla="*/ 16120 w 456554"/>
                  <a:gd name="connsiteY12" fmla="*/ 18200 h 625292"/>
                  <a:gd name="connsiteX13" fmla="*/ 16120 w 456554"/>
                  <a:gd name="connsiteY13" fmla="*/ 610473 h 62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6554" h="625292">
                    <a:moveTo>
                      <a:pt x="447975" y="625293"/>
                    </a:moveTo>
                    <a:lnTo>
                      <a:pt x="8580" y="625293"/>
                    </a:lnTo>
                    <a:cubicBezTo>
                      <a:pt x="4420" y="625293"/>
                      <a:pt x="0" y="622173"/>
                      <a:pt x="0" y="616713"/>
                    </a:cubicBezTo>
                    <a:lnTo>
                      <a:pt x="0" y="8580"/>
                    </a:lnTo>
                    <a:cubicBezTo>
                      <a:pt x="0" y="4420"/>
                      <a:pt x="3120" y="0"/>
                      <a:pt x="8580" y="0"/>
                    </a:cubicBezTo>
                    <a:lnTo>
                      <a:pt x="447975" y="0"/>
                    </a:lnTo>
                    <a:cubicBezTo>
                      <a:pt x="452135" y="0"/>
                      <a:pt x="456555" y="3120"/>
                      <a:pt x="456555" y="8580"/>
                    </a:cubicBezTo>
                    <a:lnTo>
                      <a:pt x="456555" y="616713"/>
                    </a:lnTo>
                    <a:cubicBezTo>
                      <a:pt x="456555" y="622173"/>
                      <a:pt x="452135" y="625293"/>
                      <a:pt x="447975" y="625293"/>
                    </a:cubicBezTo>
                    <a:close/>
                    <a:moveTo>
                      <a:pt x="16120" y="610473"/>
                    </a:moveTo>
                    <a:lnTo>
                      <a:pt x="439655" y="610473"/>
                    </a:lnTo>
                    <a:lnTo>
                      <a:pt x="439655" y="18200"/>
                    </a:lnTo>
                    <a:lnTo>
                      <a:pt x="16120" y="18200"/>
                    </a:lnTo>
                    <a:lnTo>
                      <a:pt x="16120" y="610473"/>
                    </a:lnTo>
                    <a:close/>
                  </a:path>
                </a:pathLst>
              </a:custGeom>
              <a:solidFill>
                <a:srgbClr val="00005A"/>
              </a:solidFill>
              <a:ln w="2597" cap="flat">
                <a:noFill/>
                <a:prstDash val="solid"/>
                <a:miter/>
              </a:ln>
            </p:spPr>
            <p:txBody>
              <a:bodyPr rtlCol="0" anchor="ctr"/>
              <a:lstStyle/>
              <a:p>
                <a:endParaRPr lang="en-GB"/>
              </a:p>
            </p:txBody>
          </p:sp>
          <p:grpSp>
            <p:nvGrpSpPr>
              <p:cNvPr id="773" name="Graphic 6">
                <a:extLst>
                  <a:ext uri="{FF2B5EF4-FFF2-40B4-BE49-F238E27FC236}">
                    <a16:creationId xmlns:a16="http://schemas.microsoft.com/office/drawing/2014/main" id="{DD9C6F64-3AC2-9A51-1CAD-B72153A3CA7A}"/>
                  </a:ext>
                </a:extLst>
              </p:cNvPr>
              <p:cNvGrpSpPr/>
              <p:nvPr/>
            </p:nvGrpSpPr>
            <p:grpSpPr>
              <a:xfrm>
                <a:off x="6087063" y="5306311"/>
                <a:ext cx="323696" cy="70199"/>
                <a:chOff x="6087063" y="5306311"/>
                <a:chExt cx="323696" cy="70199"/>
              </a:xfrm>
              <a:solidFill>
                <a:srgbClr val="00005A"/>
              </a:solidFill>
            </p:grpSpPr>
            <p:sp>
              <p:nvSpPr>
                <p:cNvPr id="790" name="Freeform: Shape 789">
                  <a:extLst>
                    <a:ext uri="{FF2B5EF4-FFF2-40B4-BE49-F238E27FC236}">
                      <a16:creationId xmlns:a16="http://schemas.microsoft.com/office/drawing/2014/main" id="{0F659F07-FD30-F49F-262C-E95C23082C15}"/>
                    </a:ext>
                  </a:extLst>
                </p:cNvPr>
                <p:cNvSpPr/>
                <p:nvPr/>
              </p:nvSpPr>
              <p:spPr>
                <a:xfrm>
                  <a:off x="6298180" y="5306311"/>
                  <a:ext cx="112578" cy="70199"/>
                </a:xfrm>
                <a:custGeom>
                  <a:avLst/>
                  <a:gdLst>
                    <a:gd name="connsiteX0" fmla="*/ 103999 w 112578"/>
                    <a:gd name="connsiteY0" fmla="*/ 70199 h 70199"/>
                    <a:gd name="connsiteX1" fmla="*/ 8580 w 112578"/>
                    <a:gd name="connsiteY1" fmla="*/ 70199 h 70199"/>
                    <a:gd name="connsiteX2" fmla="*/ 0 w 112578"/>
                    <a:gd name="connsiteY2" fmla="*/ 61619 h 70199"/>
                    <a:gd name="connsiteX3" fmla="*/ 0 w 112578"/>
                    <a:gd name="connsiteY3" fmla="*/ 8580 h 70199"/>
                    <a:gd name="connsiteX4" fmla="*/ 8580 w 112578"/>
                    <a:gd name="connsiteY4" fmla="*/ 0 h 70199"/>
                    <a:gd name="connsiteX5" fmla="*/ 103999 w 112578"/>
                    <a:gd name="connsiteY5" fmla="*/ 0 h 70199"/>
                    <a:gd name="connsiteX6" fmla="*/ 112579 w 112578"/>
                    <a:gd name="connsiteY6" fmla="*/ 8580 h 70199"/>
                    <a:gd name="connsiteX7" fmla="*/ 112579 w 112578"/>
                    <a:gd name="connsiteY7" fmla="*/ 61619 h 70199"/>
                    <a:gd name="connsiteX8" fmla="*/ 103999 w 112578"/>
                    <a:gd name="connsiteY8" fmla="*/ 70199 h 70199"/>
                    <a:gd name="connsiteX9" fmla="*/ 16900 w 112578"/>
                    <a:gd name="connsiteY9" fmla="*/ 55379 h 70199"/>
                    <a:gd name="connsiteX10" fmla="*/ 96459 w 112578"/>
                    <a:gd name="connsiteY10" fmla="*/ 55379 h 70199"/>
                    <a:gd name="connsiteX11" fmla="*/ 96459 w 112578"/>
                    <a:gd name="connsiteY11" fmla="*/ 18200 h 70199"/>
                    <a:gd name="connsiteX12" fmla="*/ 16900 w 112578"/>
                    <a:gd name="connsiteY12" fmla="*/ 18200 h 70199"/>
                    <a:gd name="connsiteX13" fmla="*/ 16900 w 112578"/>
                    <a:gd name="connsiteY13" fmla="*/ 55379 h 7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578" h="70199">
                      <a:moveTo>
                        <a:pt x="103999" y="70199"/>
                      </a:moveTo>
                      <a:lnTo>
                        <a:pt x="8580" y="70199"/>
                      </a:lnTo>
                      <a:cubicBezTo>
                        <a:pt x="4420" y="70199"/>
                        <a:pt x="0" y="67079"/>
                        <a:pt x="0" y="61619"/>
                      </a:cubicBezTo>
                      <a:lnTo>
                        <a:pt x="0" y="8580"/>
                      </a:lnTo>
                      <a:cubicBezTo>
                        <a:pt x="0" y="4420"/>
                        <a:pt x="3120" y="0"/>
                        <a:pt x="8580" y="0"/>
                      </a:cubicBezTo>
                      <a:lnTo>
                        <a:pt x="103999" y="0"/>
                      </a:lnTo>
                      <a:cubicBezTo>
                        <a:pt x="108159" y="0"/>
                        <a:pt x="112579" y="3120"/>
                        <a:pt x="112579" y="8580"/>
                      </a:cubicBezTo>
                      <a:lnTo>
                        <a:pt x="112579" y="61619"/>
                      </a:lnTo>
                      <a:cubicBezTo>
                        <a:pt x="112579" y="67079"/>
                        <a:pt x="108159" y="70199"/>
                        <a:pt x="103999" y="70199"/>
                      </a:cubicBezTo>
                      <a:close/>
                      <a:moveTo>
                        <a:pt x="16900" y="55379"/>
                      </a:moveTo>
                      <a:lnTo>
                        <a:pt x="96459" y="55379"/>
                      </a:lnTo>
                      <a:lnTo>
                        <a:pt x="96459" y="18200"/>
                      </a:lnTo>
                      <a:lnTo>
                        <a:pt x="16900" y="18200"/>
                      </a:lnTo>
                      <a:lnTo>
                        <a:pt x="16900" y="55379"/>
                      </a:lnTo>
                      <a:close/>
                    </a:path>
                  </a:pathLst>
                </a:custGeom>
                <a:solidFill>
                  <a:srgbClr val="00005A"/>
                </a:solidFill>
                <a:ln w="2597" cap="flat">
                  <a:noFill/>
                  <a:prstDash val="solid"/>
                  <a:miter/>
                </a:ln>
              </p:spPr>
              <p:txBody>
                <a:bodyPr rtlCol="0" anchor="ctr"/>
                <a:lstStyle/>
                <a:p>
                  <a:endParaRPr lang="en-GB"/>
                </a:p>
              </p:txBody>
            </p:sp>
            <p:sp>
              <p:nvSpPr>
                <p:cNvPr id="791" name="Freeform: Shape 790">
                  <a:extLst>
                    <a:ext uri="{FF2B5EF4-FFF2-40B4-BE49-F238E27FC236}">
                      <a16:creationId xmlns:a16="http://schemas.microsoft.com/office/drawing/2014/main" id="{2C5A3AE3-9D8E-F208-4924-ACE0AD26494F}"/>
                    </a:ext>
                  </a:extLst>
                </p:cNvPr>
                <p:cNvSpPr/>
                <p:nvPr/>
              </p:nvSpPr>
              <p:spPr>
                <a:xfrm>
                  <a:off x="6087063" y="5306311"/>
                  <a:ext cx="112578" cy="70199"/>
                </a:xfrm>
                <a:custGeom>
                  <a:avLst/>
                  <a:gdLst>
                    <a:gd name="connsiteX0" fmla="*/ 103999 w 112578"/>
                    <a:gd name="connsiteY0" fmla="*/ 70199 h 70199"/>
                    <a:gd name="connsiteX1" fmla="*/ 8580 w 112578"/>
                    <a:gd name="connsiteY1" fmla="*/ 70199 h 70199"/>
                    <a:gd name="connsiteX2" fmla="*/ 0 w 112578"/>
                    <a:gd name="connsiteY2" fmla="*/ 61619 h 70199"/>
                    <a:gd name="connsiteX3" fmla="*/ 0 w 112578"/>
                    <a:gd name="connsiteY3" fmla="*/ 8580 h 70199"/>
                    <a:gd name="connsiteX4" fmla="*/ 8580 w 112578"/>
                    <a:gd name="connsiteY4" fmla="*/ 0 h 70199"/>
                    <a:gd name="connsiteX5" fmla="*/ 103999 w 112578"/>
                    <a:gd name="connsiteY5" fmla="*/ 0 h 70199"/>
                    <a:gd name="connsiteX6" fmla="*/ 112579 w 112578"/>
                    <a:gd name="connsiteY6" fmla="*/ 8580 h 70199"/>
                    <a:gd name="connsiteX7" fmla="*/ 112579 w 112578"/>
                    <a:gd name="connsiteY7" fmla="*/ 61619 h 70199"/>
                    <a:gd name="connsiteX8" fmla="*/ 103999 w 112578"/>
                    <a:gd name="connsiteY8" fmla="*/ 70199 h 70199"/>
                    <a:gd name="connsiteX9" fmla="*/ 15860 w 112578"/>
                    <a:gd name="connsiteY9" fmla="*/ 55379 h 70199"/>
                    <a:gd name="connsiteX10" fmla="*/ 95419 w 112578"/>
                    <a:gd name="connsiteY10" fmla="*/ 55379 h 70199"/>
                    <a:gd name="connsiteX11" fmla="*/ 95419 w 112578"/>
                    <a:gd name="connsiteY11" fmla="*/ 18200 h 70199"/>
                    <a:gd name="connsiteX12" fmla="*/ 15860 w 112578"/>
                    <a:gd name="connsiteY12" fmla="*/ 18200 h 70199"/>
                    <a:gd name="connsiteX13" fmla="*/ 15860 w 112578"/>
                    <a:gd name="connsiteY13" fmla="*/ 55379 h 7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578" h="70199">
                      <a:moveTo>
                        <a:pt x="103999" y="70199"/>
                      </a:moveTo>
                      <a:lnTo>
                        <a:pt x="8580" y="70199"/>
                      </a:lnTo>
                      <a:cubicBezTo>
                        <a:pt x="4420" y="70199"/>
                        <a:pt x="0" y="67079"/>
                        <a:pt x="0" y="61619"/>
                      </a:cubicBezTo>
                      <a:lnTo>
                        <a:pt x="0" y="8580"/>
                      </a:lnTo>
                      <a:cubicBezTo>
                        <a:pt x="0" y="4420"/>
                        <a:pt x="3120" y="0"/>
                        <a:pt x="8580" y="0"/>
                      </a:cubicBezTo>
                      <a:lnTo>
                        <a:pt x="103999" y="0"/>
                      </a:lnTo>
                      <a:cubicBezTo>
                        <a:pt x="108159" y="0"/>
                        <a:pt x="112579" y="3120"/>
                        <a:pt x="112579" y="8580"/>
                      </a:cubicBezTo>
                      <a:lnTo>
                        <a:pt x="112579" y="61619"/>
                      </a:lnTo>
                      <a:cubicBezTo>
                        <a:pt x="111279" y="67079"/>
                        <a:pt x="108159" y="70199"/>
                        <a:pt x="103999" y="70199"/>
                      </a:cubicBezTo>
                      <a:close/>
                      <a:moveTo>
                        <a:pt x="15860" y="55379"/>
                      </a:moveTo>
                      <a:lnTo>
                        <a:pt x="95419" y="55379"/>
                      </a:lnTo>
                      <a:lnTo>
                        <a:pt x="95419" y="18200"/>
                      </a:lnTo>
                      <a:lnTo>
                        <a:pt x="15860" y="18200"/>
                      </a:lnTo>
                      <a:lnTo>
                        <a:pt x="15860" y="55379"/>
                      </a:lnTo>
                      <a:close/>
                    </a:path>
                  </a:pathLst>
                </a:custGeom>
                <a:solidFill>
                  <a:srgbClr val="00005A"/>
                </a:solidFill>
                <a:ln w="2597" cap="flat">
                  <a:noFill/>
                  <a:prstDash val="solid"/>
                  <a:miter/>
                </a:ln>
              </p:spPr>
              <p:txBody>
                <a:bodyPr rtlCol="0" anchor="ctr"/>
                <a:lstStyle/>
                <a:p>
                  <a:endParaRPr lang="en-GB"/>
                </a:p>
              </p:txBody>
            </p:sp>
          </p:grpSp>
          <p:sp>
            <p:nvSpPr>
              <p:cNvPr id="774" name="Freeform: Shape 773">
                <a:extLst>
                  <a:ext uri="{FF2B5EF4-FFF2-40B4-BE49-F238E27FC236}">
                    <a16:creationId xmlns:a16="http://schemas.microsoft.com/office/drawing/2014/main" id="{A2CC436C-2B97-BCF8-DAF0-71E34A32B6DF}"/>
                  </a:ext>
                </a:extLst>
              </p:cNvPr>
              <p:cNvSpPr/>
              <p:nvPr/>
            </p:nvSpPr>
            <p:spPr>
              <a:xfrm>
                <a:off x="6460678" y="5254311"/>
                <a:ext cx="88139" cy="56419"/>
              </a:xfrm>
              <a:custGeom>
                <a:avLst/>
                <a:gdLst>
                  <a:gd name="connsiteX0" fmla="*/ 79559 w 88139"/>
                  <a:gd name="connsiteY0" fmla="*/ 56419 h 56419"/>
                  <a:gd name="connsiteX1" fmla="*/ 8580 w 88139"/>
                  <a:gd name="connsiteY1" fmla="*/ 56419 h 56419"/>
                  <a:gd name="connsiteX2" fmla="*/ 0 w 88139"/>
                  <a:gd name="connsiteY2" fmla="*/ 47840 h 56419"/>
                  <a:gd name="connsiteX3" fmla="*/ 0 w 88139"/>
                  <a:gd name="connsiteY3" fmla="*/ 8580 h 56419"/>
                  <a:gd name="connsiteX4" fmla="*/ 8580 w 88139"/>
                  <a:gd name="connsiteY4" fmla="*/ 0 h 56419"/>
                  <a:gd name="connsiteX5" fmla="*/ 79559 w 88139"/>
                  <a:gd name="connsiteY5" fmla="*/ 0 h 56419"/>
                  <a:gd name="connsiteX6" fmla="*/ 88139 w 88139"/>
                  <a:gd name="connsiteY6" fmla="*/ 8580 h 56419"/>
                  <a:gd name="connsiteX7" fmla="*/ 88139 w 88139"/>
                  <a:gd name="connsiteY7" fmla="*/ 47840 h 56419"/>
                  <a:gd name="connsiteX8" fmla="*/ 79559 w 88139"/>
                  <a:gd name="connsiteY8" fmla="*/ 56419 h 56419"/>
                  <a:gd name="connsiteX9" fmla="*/ 16900 w 88139"/>
                  <a:gd name="connsiteY9" fmla="*/ 40559 h 56419"/>
                  <a:gd name="connsiteX10" fmla="*/ 72019 w 88139"/>
                  <a:gd name="connsiteY10" fmla="*/ 40559 h 56419"/>
                  <a:gd name="connsiteX11" fmla="*/ 72019 w 88139"/>
                  <a:gd name="connsiteY11" fmla="*/ 17160 h 56419"/>
                  <a:gd name="connsiteX12" fmla="*/ 16900 w 88139"/>
                  <a:gd name="connsiteY12" fmla="*/ 17160 h 56419"/>
                  <a:gd name="connsiteX13" fmla="*/ 16900 w 88139"/>
                  <a:gd name="connsiteY13" fmla="*/ 40559 h 56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139" h="56419">
                    <a:moveTo>
                      <a:pt x="79559" y="56419"/>
                    </a:moveTo>
                    <a:lnTo>
                      <a:pt x="8580" y="56419"/>
                    </a:lnTo>
                    <a:cubicBezTo>
                      <a:pt x="4420" y="56419"/>
                      <a:pt x="0" y="53299"/>
                      <a:pt x="0" y="47840"/>
                    </a:cubicBezTo>
                    <a:lnTo>
                      <a:pt x="0" y="8580"/>
                    </a:lnTo>
                    <a:cubicBezTo>
                      <a:pt x="0" y="4420"/>
                      <a:pt x="3120" y="0"/>
                      <a:pt x="8580" y="0"/>
                    </a:cubicBezTo>
                    <a:lnTo>
                      <a:pt x="79559" y="0"/>
                    </a:lnTo>
                    <a:cubicBezTo>
                      <a:pt x="83719" y="0"/>
                      <a:pt x="88139" y="3120"/>
                      <a:pt x="88139" y="8580"/>
                    </a:cubicBezTo>
                    <a:lnTo>
                      <a:pt x="88139" y="47840"/>
                    </a:lnTo>
                    <a:cubicBezTo>
                      <a:pt x="87879" y="53299"/>
                      <a:pt x="83719" y="56419"/>
                      <a:pt x="79559" y="56419"/>
                    </a:cubicBezTo>
                    <a:close/>
                    <a:moveTo>
                      <a:pt x="16900" y="40559"/>
                    </a:moveTo>
                    <a:lnTo>
                      <a:pt x="72019" y="40559"/>
                    </a:lnTo>
                    <a:lnTo>
                      <a:pt x="72019" y="17160"/>
                    </a:lnTo>
                    <a:lnTo>
                      <a:pt x="16900" y="17160"/>
                    </a:lnTo>
                    <a:lnTo>
                      <a:pt x="16900" y="40559"/>
                    </a:lnTo>
                    <a:close/>
                  </a:path>
                </a:pathLst>
              </a:custGeom>
              <a:solidFill>
                <a:srgbClr val="00005A"/>
              </a:solidFill>
              <a:ln w="2597" cap="flat">
                <a:noFill/>
                <a:prstDash val="solid"/>
                <a:miter/>
              </a:ln>
            </p:spPr>
            <p:txBody>
              <a:bodyPr rtlCol="0" anchor="ctr"/>
              <a:lstStyle/>
              <a:p>
                <a:endParaRPr lang="en-GB"/>
              </a:p>
            </p:txBody>
          </p:sp>
          <p:sp>
            <p:nvSpPr>
              <p:cNvPr id="775" name="Freeform: Shape 774">
                <a:extLst>
                  <a:ext uri="{FF2B5EF4-FFF2-40B4-BE49-F238E27FC236}">
                    <a16:creationId xmlns:a16="http://schemas.microsoft.com/office/drawing/2014/main" id="{8BAD057F-12A3-5B46-00D7-F255A81AA3B9}"/>
                  </a:ext>
                </a:extLst>
              </p:cNvPr>
              <p:cNvSpPr/>
              <p:nvPr/>
            </p:nvSpPr>
            <p:spPr>
              <a:xfrm>
                <a:off x="6531658" y="5195812"/>
                <a:ext cx="359835" cy="114918"/>
              </a:xfrm>
              <a:custGeom>
                <a:avLst/>
                <a:gdLst>
                  <a:gd name="connsiteX0" fmla="*/ 351256 w 359835"/>
                  <a:gd name="connsiteY0" fmla="*/ 114919 h 114918"/>
                  <a:gd name="connsiteX1" fmla="*/ 8580 w 359835"/>
                  <a:gd name="connsiteY1" fmla="*/ 114919 h 114918"/>
                  <a:gd name="connsiteX2" fmla="*/ 0 w 359835"/>
                  <a:gd name="connsiteY2" fmla="*/ 106339 h 114918"/>
                  <a:gd name="connsiteX3" fmla="*/ 0 w 359835"/>
                  <a:gd name="connsiteY3" fmla="*/ 8580 h 114918"/>
                  <a:gd name="connsiteX4" fmla="*/ 8580 w 359835"/>
                  <a:gd name="connsiteY4" fmla="*/ 0 h 114918"/>
                  <a:gd name="connsiteX5" fmla="*/ 351256 w 359835"/>
                  <a:gd name="connsiteY5" fmla="*/ 0 h 114918"/>
                  <a:gd name="connsiteX6" fmla="*/ 359836 w 359835"/>
                  <a:gd name="connsiteY6" fmla="*/ 8580 h 114918"/>
                  <a:gd name="connsiteX7" fmla="*/ 359836 w 359835"/>
                  <a:gd name="connsiteY7" fmla="*/ 106339 h 114918"/>
                  <a:gd name="connsiteX8" fmla="*/ 351256 w 359835"/>
                  <a:gd name="connsiteY8" fmla="*/ 114919 h 114918"/>
                  <a:gd name="connsiteX9" fmla="*/ 16900 w 359835"/>
                  <a:gd name="connsiteY9" fmla="*/ 99059 h 114918"/>
                  <a:gd name="connsiteX10" fmla="*/ 343716 w 359835"/>
                  <a:gd name="connsiteY10" fmla="*/ 99059 h 114918"/>
                  <a:gd name="connsiteX11" fmla="*/ 343716 w 359835"/>
                  <a:gd name="connsiteY11" fmla="*/ 17420 h 114918"/>
                  <a:gd name="connsiteX12" fmla="*/ 16900 w 359835"/>
                  <a:gd name="connsiteY12" fmla="*/ 17420 h 114918"/>
                  <a:gd name="connsiteX13" fmla="*/ 16900 w 359835"/>
                  <a:gd name="connsiteY13" fmla="*/ 99059 h 11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35" h="114918">
                    <a:moveTo>
                      <a:pt x="351256" y="114919"/>
                    </a:moveTo>
                    <a:lnTo>
                      <a:pt x="8580" y="114919"/>
                    </a:lnTo>
                    <a:cubicBezTo>
                      <a:pt x="4420" y="114919"/>
                      <a:pt x="0" y="111799"/>
                      <a:pt x="0" y="106339"/>
                    </a:cubicBezTo>
                    <a:lnTo>
                      <a:pt x="0" y="8580"/>
                    </a:lnTo>
                    <a:cubicBezTo>
                      <a:pt x="0" y="4420"/>
                      <a:pt x="3120" y="0"/>
                      <a:pt x="8580" y="0"/>
                    </a:cubicBezTo>
                    <a:lnTo>
                      <a:pt x="351256" y="0"/>
                    </a:lnTo>
                    <a:cubicBezTo>
                      <a:pt x="355416" y="0"/>
                      <a:pt x="359836" y="3120"/>
                      <a:pt x="359836" y="8580"/>
                    </a:cubicBezTo>
                    <a:lnTo>
                      <a:pt x="359836" y="106339"/>
                    </a:lnTo>
                    <a:cubicBezTo>
                      <a:pt x="359836" y="111799"/>
                      <a:pt x="355416" y="114919"/>
                      <a:pt x="351256" y="114919"/>
                    </a:cubicBezTo>
                    <a:close/>
                    <a:moveTo>
                      <a:pt x="16900" y="99059"/>
                    </a:moveTo>
                    <a:lnTo>
                      <a:pt x="343716" y="99059"/>
                    </a:lnTo>
                    <a:lnTo>
                      <a:pt x="343716" y="17420"/>
                    </a:lnTo>
                    <a:lnTo>
                      <a:pt x="16900" y="17420"/>
                    </a:lnTo>
                    <a:lnTo>
                      <a:pt x="16900" y="99059"/>
                    </a:lnTo>
                    <a:close/>
                  </a:path>
                </a:pathLst>
              </a:custGeom>
              <a:solidFill>
                <a:srgbClr val="00005A"/>
              </a:solidFill>
              <a:ln w="2597" cap="flat">
                <a:noFill/>
                <a:prstDash val="solid"/>
                <a:miter/>
              </a:ln>
            </p:spPr>
            <p:txBody>
              <a:bodyPr rtlCol="0" anchor="ctr"/>
              <a:lstStyle/>
              <a:p>
                <a:endParaRPr lang="en-GB"/>
              </a:p>
            </p:txBody>
          </p:sp>
          <p:sp>
            <p:nvSpPr>
              <p:cNvPr id="776" name="Freeform: Shape 775">
                <a:extLst>
                  <a:ext uri="{FF2B5EF4-FFF2-40B4-BE49-F238E27FC236}">
                    <a16:creationId xmlns:a16="http://schemas.microsoft.com/office/drawing/2014/main" id="{48BDD186-91A2-37D1-CBE0-7B0B8D362BD3}"/>
                  </a:ext>
                </a:extLst>
              </p:cNvPr>
              <p:cNvSpPr/>
              <p:nvPr/>
            </p:nvSpPr>
            <p:spPr>
              <a:xfrm>
                <a:off x="6548558" y="4833116"/>
                <a:ext cx="323956" cy="379855"/>
              </a:xfrm>
              <a:custGeom>
                <a:avLst/>
                <a:gdLst>
                  <a:gd name="connsiteX0" fmla="*/ 259997 w 323956"/>
                  <a:gd name="connsiteY0" fmla="*/ 379856 h 379855"/>
                  <a:gd name="connsiteX1" fmla="*/ 63699 w 323956"/>
                  <a:gd name="connsiteY1" fmla="*/ 379856 h 379855"/>
                  <a:gd name="connsiteX2" fmla="*/ 56160 w 323956"/>
                  <a:gd name="connsiteY2" fmla="*/ 374656 h 379855"/>
                  <a:gd name="connsiteX3" fmla="*/ 1040 w 323956"/>
                  <a:gd name="connsiteY3" fmla="*/ 239977 h 379855"/>
                  <a:gd name="connsiteX4" fmla="*/ 0 w 323956"/>
                  <a:gd name="connsiteY4" fmla="*/ 236857 h 379855"/>
                  <a:gd name="connsiteX5" fmla="*/ 0 w 323956"/>
                  <a:gd name="connsiteY5" fmla="*/ 8580 h 379855"/>
                  <a:gd name="connsiteX6" fmla="*/ 8580 w 323956"/>
                  <a:gd name="connsiteY6" fmla="*/ 0 h 379855"/>
                  <a:gd name="connsiteX7" fmla="*/ 313296 w 323956"/>
                  <a:gd name="connsiteY7" fmla="*/ 0 h 379855"/>
                  <a:gd name="connsiteX8" fmla="*/ 321876 w 323956"/>
                  <a:gd name="connsiteY8" fmla="*/ 7540 h 379855"/>
                  <a:gd name="connsiteX9" fmla="*/ 323957 w 323956"/>
                  <a:gd name="connsiteY9" fmla="*/ 235817 h 379855"/>
                  <a:gd name="connsiteX10" fmla="*/ 322916 w 323956"/>
                  <a:gd name="connsiteY10" fmla="*/ 238937 h 379855"/>
                  <a:gd name="connsiteX11" fmla="*/ 267797 w 323956"/>
                  <a:gd name="connsiteY11" fmla="*/ 373616 h 379855"/>
                  <a:gd name="connsiteX12" fmla="*/ 259997 w 323956"/>
                  <a:gd name="connsiteY12" fmla="*/ 379856 h 379855"/>
                  <a:gd name="connsiteX13" fmla="*/ 69159 w 323956"/>
                  <a:gd name="connsiteY13" fmla="*/ 363996 h 379855"/>
                  <a:gd name="connsiteX14" fmla="*/ 254797 w 323956"/>
                  <a:gd name="connsiteY14" fmla="*/ 363996 h 379855"/>
                  <a:gd name="connsiteX15" fmla="*/ 307836 w 323956"/>
                  <a:gd name="connsiteY15" fmla="*/ 235557 h 379855"/>
                  <a:gd name="connsiteX16" fmla="*/ 305757 w 323956"/>
                  <a:gd name="connsiteY16" fmla="*/ 16900 h 379855"/>
                  <a:gd name="connsiteX17" fmla="*/ 16120 w 323956"/>
                  <a:gd name="connsiteY17" fmla="*/ 16900 h 379855"/>
                  <a:gd name="connsiteX18" fmla="*/ 16120 w 323956"/>
                  <a:gd name="connsiteY18" fmla="*/ 235557 h 379855"/>
                  <a:gd name="connsiteX19" fmla="*/ 69159 w 323956"/>
                  <a:gd name="connsiteY19" fmla="*/ 363996 h 37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3956" h="379855">
                    <a:moveTo>
                      <a:pt x="259997" y="379856"/>
                    </a:moveTo>
                    <a:lnTo>
                      <a:pt x="63699" y="379856"/>
                    </a:lnTo>
                    <a:cubicBezTo>
                      <a:pt x="60579" y="379856"/>
                      <a:pt x="57460" y="377776"/>
                      <a:pt x="56160" y="374656"/>
                    </a:cubicBezTo>
                    <a:lnTo>
                      <a:pt x="1040" y="239977"/>
                    </a:lnTo>
                    <a:cubicBezTo>
                      <a:pt x="1040" y="238937"/>
                      <a:pt x="0" y="237897"/>
                      <a:pt x="0" y="236857"/>
                    </a:cubicBezTo>
                    <a:lnTo>
                      <a:pt x="0" y="8580"/>
                    </a:lnTo>
                    <a:cubicBezTo>
                      <a:pt x="0" y="4420"/>
                      <a:pt x="3120" y="0"/>
                      <a:pt x="8580" y="0"/>
                    </a:cubicBezTo>
                    <a:lnTo>
                      <a:pt x="313296" y="0"/>
                    </a:lnTo>
                    <a:cubicBezTo>
                      <a:pt x="317457" y="0"/>
                      <a:pt x="320836" y="3120"/>
                      <a:pt x="321876" y="7540"/>
                    </a:cubicBezTo>
                    <a:lnTo>
                      <a:pt x="323957" y="235817"/>
                    </a:lnTo>
                    <a:cubicBezTo>
                      <a:pt x="323957" y="236857"/>
                      <a:pt x="323957" y="237897"/>
                      <a:pt x="322916" y="238937"/>
                    </a:cubicBezTo>
                    <a:lnTo>
                      <a:pt x="267797" y="373616"/>
                    </a:lnTo>
                    <a:cubicBezTo>
                      <a:pt x="266497" y="378816"/>
                      <a:pt x="263377" y="379856"/>
                      <a:pt x="259997" y="379856"/>
                    </a:cubicBezTo>
                    <a:close/>
                    <a:moveTo>
                      <a:pt x="69159" y="363996"/>
                    </a:moveTo>
                    <a:lnTo>
                      <a:pt x="254797" y="363996"/>
                    </a:lnTo>
                    <a:lnTo>
                      <a:pt x="307836" y="235557"/>
                    </a:lnTo>
                    <a:lnTo>
                      <a:pt x="305757" y="16900"/>
                    </a:lnTo>
                    <a:lnTo>
                      <a:pt x="16120" y="16900"/>
                    </a:lnTo>
                    <a:lnTo>
                      <a:pt x="16120" y="235557"/>
                    </a:lnTo>
                    <a:lnTo>
                      <a:pt x="69159" y="363996"/>
                    </a:lnTo>
                    <a:close/>
                  </a:path>
                </a:pathLst>
              </a:custGeom>
              <a:solidFill>
                <a:srgbClr val="00005A"/>
              </a:solidFill>
              <a:ln w="2597" cap="flat">
                <a:noFill/>
                <a:prstDash val="solid"/>
                <a:miter/>
              </a:ln>
            </p:spPr>
            <p:txBody>
              <a:bodyPr rtlCol="0" anchor="ctr"/>
              <a:lstStyle/>
              <a:p>
                <a:endParaRPr lang="en-GB"/>
              </a:p>
            </p:txBody>
          </p:sp>
          <p:grpSp>
            <p:nvGrpSpPr>
              <p:cNvPr id="777" name="Graphic 6">
                <a:extLst>
                  <a:ext uri="{FF2B5EF4-FFF2-40B4-BE49-F238E27FC236}">
                    <a16:creationId xmlns:a16="http://schemas.microsoft.com/office/drawing/2014/main" id="{0477496D-EF15-7A20-855C-A2D9609F59BD}"/>
                  </a:ext>
                </a:extLst>
              </p:cNvPr>
              <p:cNvGrpSpPr/>
              <p:nvPr/>
            </p:nvGrpSpPr>
            <p:grpSpPr>
              <a:xfrm>
                <a:off x="6081603" y="4905135"/>
                <a:ext cx="335395" cy="223077"/>
                <a:chOff x="6081603" y="4905135"/>
                <a:chExt cx="335395" cy="223077"/>
              </a:xfrm>
              <a:solidFill>
                <a:srgbClr val="FFFFFF"/>
              </a:solidFill>
            </p:grpSpPr>
            <p:sp>
              <p:nvSpPr>
                <p:cNvPr id="785" name="Freeform: Shape 784">
                  <a:extLst>
                    <a:ext uri="{FF2B5EF4-FFF2-40B4-BE49-F238E27FC236}">
                      <a16:creationId xmlns:a16="http://schemas.microsoft.com/office/drawing/2014/main" id="{936152C9-127A-A436-09E3-11E0CA9BF50C}"/>
                    </a:ext>
                  </a:extLst>
                </p:cNvPr>
                <p:cNvSpPr/>
                <p:nvPr/>
              </p:nvSpPr>
              <p:spPr>
                <a:xfrm>
                  <a:off x="6200678" y="4960091"/>
                  <a:ext cx="83982" cy="117161"/>
                </a:xfrm>
                <a:custGeom>
                  <a:avLst/>
                  <a:gdLst>
                    <a:gd name="connsiteX0" fmla="*/ 43423 w 83982"/>
                    <a:gd name="connsiteY0" fmla="*/ 117162 h 117161"/>
                    <a:gd name="connsiteX1" fmla="*/ 27563 w 83982"/>
                    <a:gd name="connsiteY1" fmla="*/ 115082 h 117161"/>
                    <a:gd name="connsiteX2" fmla="*/ 16903 w 83982"/>
                    <a:gd name="connsiteY2" fmla="*/ 108842 h 117161"/>
                    <a:gd name="connsiteX3" fmla="*/ 13783 w 83982"/>
                    <a:gd name="connsiteY3" fmla="*/ 106762 h 117161"/>
                    <a:gd name="connsiteX4" fmla="*/ 12743 w 83982"/>
                    <a:gd name="connsiteY4" fmla="*/ 105722 h 117161"/>
                    <a:gd name="connsiteX5" fmla="*/ 3123 w 83982"/>
                    <a:gd name="connsiteY5" fmla="*/ 91942 h 117161"/>
                    <a:gd name="connsiteX6" fmla="*/ 10663 w 83982"/>
                    <a:gd name="connsiteY6" fmla="*/ 39943 h 117161"/>
                    <a:gd name="connsiteX7" fmla="*/ 11703 w 83982"/>
                    <a:gd name="connsiteY7" fmla="*/ 38903 h 117161"/>
                    <a:gd name="connsiteX8" fmla="*/ 19243 w 83982"/>
                    <a:gd name="connsiteY8" fmla="*/ 36823 h 117161"/>
                    <a:gd name="connsiteX9" fmla="*/ 21323 w 83982"/>
                    <a:gd name="connsiteY9" fmla="*/ 37863 h 117161"/>
                    <a:gd name="connsiteX10" fmla="*/ 47843 w 83982"/>
                    <a:gd name="connsiteY10" fmla="*/ 1723 h 117161"/>
                    <a:gd name="connsiteX11" fmla="*/ 49923 w 83982"/>
                    <a:gd name="connsiteY11" fmla="*/ 683 h 117161"/>
                    <a:gd name="connsiteX12" fmla="*/ 58502 w 83982"/>
                    <a:gd name="connsiteY12" fmla="*/ 1723 h 117161"/>
                    <a:gd name="connsiteX13" fmla="*/ 61622 w 83982"/>
                    <a:gd name="connsiteY13" fmla="*/ 14463 h 117161"/>
                    <a:gd name="connsiteX14" fmla="*/ 72282 w 83982"/>
                    <a:gd name="connsiteY14" fmla="*/ 46183 h 117161"/>
                    <a:gd name="connsiteX15" fmla="*/ 81902 w 83982"/>
                    <a:gd name="connsiteY15" fmla="*/ 59963 h 117161"/>
                    <a:gd name="connsiteX16" fmla="*/ 83982 w 83982"/>
                    <a:gd name="connsiteY16" fmla="*/ 75822 h 117161"/>
                    <a:gd name="connsiteX17" fmla="*/ 81902 w 83982"/>
                    <a:gd name="connsiteY17" fmla="*/ 91682 h 117161"/>
                    <a:gd name="connsiteX18" fmla="*/ 75662 w 83982"/>
                    <a:gd name="connsiteY18" fmla="*/ 101302 h 117161"/>
                    <a:gd name="connsiteX19" fmla="*/ 73582 w 83982"/>
                    <a:gd name="connsiteY19" fmla="*/ 104422 h 117161"/>
                    <a:gd name="connsiteX20" fmla="*/ 58763 w 83982"/>
                    <a:gd name="connsiteY20" fmla="*/ 115082 h 117161"/>
                    <a:gd name="connsiteX21" fmla="*/ 43423 w 83982"/>
                    <a:gd name="connsiteY21" fmla="*/ 117162 h 117161"/>
                    <a:gd name="connsiteX22" fmla="*/ 24183 w 83982"/>
                    <a:gd name="connsiteY22" fmla="*/ 92722 h 117161"/>
                    <a:gd name="connsiteX23" fmla="*/ 27303 w 83982"/>
                    <a:gd name="connsiteY23" fmla="*/ 95842 h 117161"/>
                    <a:gd name="connsiteX24" fmla="*/ 31463 w 83982"/>
                    <a:gd name="connsiteY24" fmla="*/ 98962 h 117161"/>
                    <a:gd name="connsiteX25" fmla="*/ 43163 w 83982"/>
                    <a:gd name="connsiteY25" fmla="*/ 101042 h 117161"/>
                    <a:gd name="connsiteX26" fmla="*/ 54863 w 83982"/>
                    <a:gd name="connsiteY26" fmla="*/ 98962 h 117161"/>
                    <a:gd name="connsiteX27" fmla="*/ 61102 w 83982"/>
                    <a:gd name="connsiteY27" fmla="*/ 94802 h 117161"/>
                    <a:gd name="connsiteX28" fmla="*/ 64222 w 83982"/>
                    <a:gd name="connsiteY28" fmla="*/ 90642 h 117161"/>
                    <a:gd name="connsiteX29" fmla="*/ 67343 w 83982"/>
                    <a:gd name="connsiteY29" fmla="*/ 86482 h 117161"/>
                    <a:gd name="connsiteX30" fmla="*/ 69422 w 83982"/>
                    <a:gd name="connsiteY30" fmla="*/ 74782 h 117161"/>
                    <a:gd name="connsiteX31" fmla="*/ 67343 w 83982"/>
                    <a:gd name="connsiteY31" fmla="*/ 63082 h 117161"/>
                    <a:gd name="connsiteX32" fmla="*/ 62143 w 83982"/>
                    <a:gd name="connsiteY32" fmla="*/ 55542 h 117161"/>
                    <a:gd name="connsiteX33" fmla="*/ 46283 w 83982"/>
                    <a:gd name="connsiteY33" fmla="*/ 22523 h 117161"/>
                    <a:gd name="connsiteX34" fmla="*/ 41083 w 83982"/>
                    <a:gd name="connsiteY34" fmla="*/ 60742 h 117161"/>
                    <a:gd name="connsiteX35" fmla="*/ 42123 w 83982"/>
                    <a:gd name="connsiteY35" fmla="*/ 71403 h 117161"/>
                    <a:gd name="connsiteX36" fmla="*/ 34583 w 83982"/>
                    <a:gd name="connsiteY36" fmla="*/ 75562 h 117161"/>
                    <a:gd name="connsiteX37" fmla="*/ 21843 w 83982"/>
                    <a:gd name="connsiteY37" fmla="*/ 62823 h 117161"/>
                    <a:gd name="connsiteX38" fmla="*/ 18723 w 83982"/>
                    <a:gd name="connsiteY38" fmla="*/ 57623 h 117161"/>
                    <a:gd name="connsiteX39" fmla="*/ 17683 w 83982"/>
                    <a:gd name="connsiteY39" fmla="*/ 86222 h 117161"/>
                    <a:gd name="connsiteX40" fmla="*/ 24183 w 83982"/>
                    <a:gd name="connsiteY40" fmla="*/ 92722 h 11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3982" h="117161">
                      <a:moveTo>
                        <a:pt x="43423" y="117162"/>
                      </a:moveTo>
                      <a:cubicBezTo>
                        <a:pt x="37183" y="117162"/>
                        <a:pt x="31723" y="116122"/>
                        <a:pt x="27563" y="115082"/>
                      </a:cubicBezTo>
                      <a:cubicBezTo>
                        <a:pt x="23403" y="114042"/>
                        <a:pt x="20023" y="110922"/>
                        <a:pt x="16903" y="108842"/>
                      </a:cubicBezTo>
                      <a:cubicBezTo>
                        <a:pt x="15863" y="107802"/>
                        <a:pt x="14823" y="106762"/>
                        <a:pt x="13783" y="106762"/>
                      </a:cubicBezTo>
                      <a:lnTo>
                        <a:pt x="12743" y="105722"/>
                      </a:lnTo>
                      <a:cubicBezTo>
                        <a:pt x="10663" y="103642"/>
                        <a:pt x="5203" y="98182"/>
                        <a:pt x="3123" y="91942"/>
                      </a:cubicBezTo>
                      <a:cubicBezTo>
                        <a:pt x="-4417" y="70622"/>
                        <a:pt x="3123" y="51643"/>
                        <a:pt x="10663" y="39943"/>
                      </a:cubicBezTo>
                      <a:cubicBezTo>
                        <a:pt x="10663" y="38903"/>
                        <a:pt x="11703" y="38903"/>
                        <a:pt x="11703" y="38903"/>
                      </a:cubicBezTo>
                      <a:cubicBezTo>
                        <a:pt x="13783" y="36823"/>
                        <a:pt x="16903" y="35783"/>
                        <a:pt x="19243" y="36823"/>
                      </a:cubicBezTo>
                      <a:cubicBezTo>
                        <a:pt x="20283" y="36823"/>
                        <a:pt x="20283" y="36823"/>
                        <a:pt x="21323" y="37863"/>
                      </a:cubicBezTo>
                      <a:cubicBezTo>
                        <a:pt x="24443" y="25123"/>
                        <a:pt x="33023" y="13423"/>
                        <a:pt x="47843" y="1723"/>
                      </a:cubicBezTo>
                      <a:cubicBezTo>
                        <a:pt x="48883" y="683"/>
                        <a:pt x="48883" y="683"/>
                        <a:pt x="49923" y="683"/>
                      </a:cubicBezTo>
                      <a:cubicBezTo>
                        <a:pt x="53042" y="-357"/>
                        <a:pt x="56163" y="-357"/>
                        <a:pt x="58502" y="1723"/>
                      </a:cubicBezTo>
                      <a:cubicBezTo>
                        <a:pt x="62663" y="4843"/>
                        <a:pt x="62663" y="10303"/>
                        <a:pt x="61622" y="14463"/>
                      </a:cubicBezTo>
                      <a:cubicBezTo>
                        <a:pt x="60582" y="23043"/>
                        <a:pt x="60582" y="35783"/>
                        <a:pt x="72282" y="46183"/>
                      </a:cubicBezTo>
                      <a:cubicBezTo>
                        <a:pt x="74362" y="48263"/>
                        <a:pt x="79822" y="53723"/>
                        <a:pt x="81902" y="59963"/>
                      </a:cubicBezTo>
                      <a:cubicBezTo>
                        <a:pt x="82942" y="63082"/>
                        <a:pt x="83982" y="69582"/>
                        <a:pt x="83982" y="75822"/>
                      </a:cubicBezTo>
                      <a:cubicBezTo>
                        <a:pt x="83982" y="82062"/>
                        <a:pt x="82942" y="87522"/>
                        <a:pt x="81902" y="91682"/>
                      </a:cubicBezTo>
                      <a:cubicBezTo>
                        <a:pt x="80862" y="95842"/>
                        <a:pt x="77742" y="99222"/>
                        <a:pt x="75662" y="101302"/>
                      </a:cubicBezTo>
                      <a:cubicBezTo>
                        <a:pt x="74622" y="102342"/>
                        <a:pt x="73582" y="103382"/>
                        <a:pt x="73582" y="104422"/>
                      </a:cubicBezTo>
                      <a:cubicBezTo>
                        <a:pt x="70462" y="109622"/>
                        <a:pt x="62922" y="114042"/>
                        <a:pt x="58763" y="115082"/>
                      </a:cubicBezTo>
                      <a:cubicBezTo>
                        <a:pt x="56163" y="115082"/>
                        <a:pt x="49663" y="117162"/>
                        <a:pt x="43423" y="117162"/>
                      </a:cubicBezTo>
                      <a:close/>
                      <a:moveTo>
                        <a:pt x="24183" y="92722"/>
                      </a:moveTo>
                      <a:cubicBezTo>
                        <a:pt x="25223" y="93762"/>
                        <a:pt x="26263" y="94802"/>
                        <a:pt x="27303" y="95842"/>
                      </a:cubicBezTo>
                      <a:cubicBezTo>
                        <a:pt x="28343" y="96882"/>
                        <a:pt x="30423" y="98962"/>
                        <a:pt x="31463" y="98962"/>
                      </a:cubicBezTo>
                      <a:cubicBezTo>
                        <a:pt x="34583" y="100002"/>
                        <a:pt x="39003" y="101042"/>
                        <a:pt x="43163" y="101042"/>
                      </a:cubicBezTo>
                      <a:cubicBezTo>
                        <a:pt x="47323" y="101042"/>
                        <a:pt x="51742" y="100002"/>
                        <a:pt x="54863" y="98962"/>
                      </a:cubicBezTo>
                      <a:cubicBezTo>
                        <a:pt x="56943" y="97922"/>
                        <a:pt x="60063" y="95842"/>
                        <a:pt x="61102" y="94802"/>
                      </a:cubicBezTo>
                      <a:cubicBezTo>
                        <a:pt x="62143" y="93762"/>
                        <a:pt x="63182" y="91682"/>
                        <a:pt x="64222" y="90642"/>
                      </a:cubicBezTo>
                      <a:cubicBezTo>
                        <a:pt x="65263" y="89602"/>
                        <a:pt x="67343" y="87522"/>
                        <a:pt x="67343" y="86482"/>
                      </a:cubicBezTo>
                      <a:cubicBezTo>
                        <a:pt x="68382" y="83362"/>
                        <a:pt x="69422" y="80242"/>
                        <a:pt x="69422" y="74782"/>
                      </a:cubicBezTo>
                      <a:cubicBezTo>
                        <a:pt x="69422" y="70622"/>
                        <a:pt x="68382" y="66203"/>
                        <a:pt x="67343" y="63082"/>
                      </a:cubicBezTo>
                      <a:cubicBezTo>
                        <a:pt x="67343" y="62042"/>
                        <a:pt x="65263" y="58923"/>
                        <a:pt x="62143" y="55542"/>
                      </a:cubicBezTo>
                      <a:cubicBezTo>
                        <a:pt x="50442" y="44883"/>
                        <a:pt x="47323" y="32143"/>
                        <a:pt x="46283" y="22523"/>
                      </a:cubicBezTo>
                      <a:cubicBezTo>
                        <a:pt x="30423" y="40463"/>
                        <a:pt x="37703" y="54242"/>
                        <a:pt x="41083" y="60742"/>
                      </a:cubicBezTo>
                      <a:cubicBezTo>
                        <a:pt x="42123" y="62823"/>
                        <a:pt x="44202" y="66982"/>
                        <a:pt x="42123" y="71403"/>
                      </a:cubicBezTo>
                      <a:cubicBezTo>
                        <a:pt x="41083" y="74522"/>
                        <a:pt x="37963" y="75562"/>
                        <a:pt x="34583" y="75562"/>
                      </a:cubicBezTo>
                      <a:cubicBezTo>
                        <a:pt x="29383" y="75562"/>
                        <a:pt x="27043" y="72442"/>
                        <a:pt x="21843" y="62823"/>
                      </a:cubicBezTo>
                      <a:cubicBezTo>
                        <a:pt x="20803" y="61782"/>
                        <a:pt x="19763" y="59703"/>
                        <a:pt x="18723" y="57623"/>
                      </a:cubicBezTo>
                      <a:cubicBezTo>
                        <a:pt x="15603" y="66203"/>
                        <a:pt x="14563" y="75562"/>
                        <a:pt x="17683" y="86222"/>
                      </a:cubicBezTo>
                      <a:cubicBezTo>
                        <a:pt x="20023" y="87522"/>
                        <a:pt x="21063" y="90642"/>
                        <a:pt x="24183" y="92722"/>
                      </a:cubicBezTo>
                      <a:close/>
                    </a:path>
                  </a:pathLst>
                </a:custGeom>
                <a:solidFill>
                  <a:srgbClr val="FFFFFF"/>
                </a:solidFill>
                <a:ln w="2597" cap="flat">
                  <a:noFill/>
                  <a:prstDash val="solid"/>
                  <a:miter/>
                </a:ln>
              </p:spPr>
              <p:txBody>
                <a:bodyPr rtlCol="0" anchor="ctr"/>
                <a:lstStyle/>
                <a:p>
                  <a:endParaRPr lang="en-GB"/>
                </a:p>
              </p:txBody>
            </p:sp>
            <p:sp>
              <p:nvSpPr>
                <p:cNvPr id="786" name="Freeform: Shape 785">
                  <a:extLst>
                    <a:ext uri="{FF2B5EF4-FFF2-40B4-BE49-F238E27FC236}">
                      <a16:creationId xmlns:a16="http://schemas.microsoft.com/office/drawing/2014/main" id="{9ED5604B-3A88-CE25-7E42-49D7A2F55511}"/>
                    </a:ext>
                  </a:extLst>
                </p:cNvPr>
                <p:cNvSpPr/>
                <p:nvPr/>
              </p:nvSpPr>
              <p:spPr>
                <a:xfrm>
                  <a:off x="6120603" y="4905135"/>
                  <a:ext cx="296396" cy="223077"/>
                </a:xfrm>
                <a:custGeom>
                  <a:avLst/>
                  <a:gdLst>
                    <a:gd name="connsiteX0" fmla="*/ 287817 w 296396"/>
                    <a:gd name="connsiteY0" fmla="*/ 223078 h 223077"/>
                    <a:gd name="connsiteX1" fmla="*/ 8580 w 296396"/>
                    <a:gd name="connsiteY1" fmla="*/ 223078 h 223077"/>
                    <a:gd name="connsiteX2" fmla="*/ 0 w 296396"/>
                    <a:gd name="connsiteY2" fmla="*/ 214498 h 223077"/>
                    <a:gd name="connsiteX3" fmla="*/ 0 w 296396"/>
                    <a:gd name="connsiteY3" fmla="*/ 8580 h 223077"/>
                    <a:gd name="connsiteX4" fmla="*/ 8580 w 296396"/>
                    <a:gd name="connsiteY4" fmla="*/ 0 h 223077"/>
                    <a:gd name="connsiteX5" fmla="*/ 287817 w 296396"/>
                    <a:gd name="connsiteY5" fmla="*/ 0 h 223077"/>
                    <a:gd name="connsiteX6" fmla="*/ 296396 w 296396"/>
                    <a:gd name="connsiteY6" fmla="*/ 8580 h 223077"/>
                    <a:gd name="connsiteX7" fmla="*/ 296396 w 296396"/>
                    <a:gd name="connsiteY7" fmla="*/ 214498 h 223077"/>
                    <a:gd name="connsiteX8" fmla="*/ 287817 w 296396"/>
                    <a:gd name="connsiteY8" fmla="*/ 223078 h 223077"/>
                    <a:gd name="connsiteX9" fmla="*/ 17420 w 296396"/>
                    <a:gd name="connsiteY9" fmla="*/ 205918 h 223077"/>
                    <a:gd name="connsiteX10" fmla="*/ 280537 w 296396"/>
                    <a:gd name="connsiteY10" fmla="*/ 205918 h 223077"/>
                    <a:gd name="connsiteX11" fmla="*/ 280537 w 296396"/>
                    <a:gd name="connsiteY11" fmla="*/ 15860 h 223077"/>
                    <a:gd name="connsiteX12" fmla="*/ 17420 w 296396"/>
                    <a:gd name="connsiteY12" fmla="*/ 15860 h 223077"/>
                    <a:gd name="connsiteX13" fmla="*/ 17420 w 296396"/>
                    <a:gd name="connsiteY13" fmla="*/ 205918 h 223077"/>
                    <a:gd name="connsiteX14" fmla="*/ 17420 w 296396"/>
                    <a:gd name="connsiteY14" fmla="*/ 205918 h 223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6396" h="223077">
                      <a:moveTo>
                        <a:pt x="287817" y="223078"/>
                      </a:moveTo>
                      <a:lnTo>
                        <a:pt x="8580" y="223078"/>
                      </a:lnTo>
                      <a:cubicBezTo>
                        <a:pt x="4420" y="223078"/>
                        <a:pt x="0" y="219958"/>
                        <a:pt x="0" y="214498"/>
                      </a:cubicBezTo>
                      <a:lnTo>
                        <a:pt x="0" y="8580"/>
                      </a:lnTo>
                      <a:cubicBezTo>
                        <a:pt x="0" y="4420"/>
                        <a:pt x="3120" y="0"/>
                        <a:pt x="8580" y="0"/>
                      </a:cubicBezTo>
                      <a:lnTo>
                        <a:pt x="287817" y="0"/>
                      </a:lnTo>
                      <a:cubicBezTo>
                        <a:pt x="291976" y="0"/>
                        <a:pt x="296396" y="3120"/>
                        <a:pt x="296396" y="8580"/>
                      </a:cubicBezTo>
                      <a:lnTo>
                        <a:pt x="296396" y="214498"/>
                      </a:lnTo>
                      <a:cubicBezTo>
                        <a:pt x="295357" y="218658"/>
                        <a:pt x="292237" y="223078"/>
                        <a:pt x="287817" y="223078"/>
                      </a:cubicBezTo>
                      <a:close/>
                      <a:moveTo>
                        <a:pt x="17420" y="205918"/>
                      </a:moveTo>
                      <a:lnTo>
                        <a:pt x="280537" y="205918"/>
                      </a:lnTo>
                      <a:lnTo>
                        <a:pt x="280537" y="15860"/>
                      </a:lnTo>
                      <a:lnTo>
                        <a:pt x="17420" y="15860"/>
                      </a:lnTo>
                      <a:lnTo>
                        <a:pt x="17420" y="205918"/>
                      </a:lnTo>
                      <a:lnTo>
                        <a:pt x="17420" y="205918"/>
                      </a:lnTo>
                      <a:close/>
                    </a:path>
                  </a:pathLst>
                </a:custGeom>
                <a:solidFill>
                  <a:srgbClr val="FFFFFF"/>
                </a:solidFill>
                <a:ln w="2597" cap="flat">
                  <a:noFill/>
                  <a:prstDash val="solid"/>
                  <a:miter/>
                </a:ln>
              </p:spPr>
              <p:txBody>
                <a:bodyPr rtlCol="0" anchor="ctr"/>
                <a:lstStyle/>
                <a:p>
                  <a:endParaRPr lang="en-GB"/>
                </a:p>
              </p:txBody>
            </p:sp>
            <p:grpSp>
              <p:nvGrpSpPr>
                <p:cNvPr id="787" name="Graphic 6">
                  <a:extLst>
                    <a:ext uri="{FF2B5EF4-FFF2-40B4-BE49-F238E27FC236}">
                      <a16:creationId xmlns:a16="http://schemas.microsoft.com/office/drawing/2014/main" id="{E1BD3C3A-23AB-9255-D618-B2A22E55963B}"/>
                    </a:ext>
                  </a:extLst>
                </p:cNvPr>
                <p:cNvGrpSpPr/>
                <p:nvPr/>
              </p:nvGrpSpPr>
              <p:grpSpPr>
                <a:xfrm>
                  <a:off x="6081603" y="4993274"/>
                  <a:ext cx="56419" cy="48879"/>
                  <a:chOff x="6081603" y="4993274"/>
                  <a:chExt cx="56419" cy="48879"/>
                </a:xfrm>
                <a:solidFill>
                  <a:srgbClr val="FFFFFF"/>
                </a:solidFill>
              </p:grpSpPr>
              <p:sp>
                <p:nvSpPr>
                  <p:cNvPr id="788" name="Freeform: Shape 787">
                    <a:extLst>
                      <a:ext uri="{FF2B5EF4-FFF2-40B4-BE49-F238E27FC236}">
                        <a16:creationId xmlns:a16="http://schemas.microsoft.com/office/drawing/2014/main" id="{34421336-8DE8-6A9A-CF8F-E07A34501DFF}"/>
                      </a:ext>
                    </a:extLst>
                  </p:cNvPr>
                  <p:cNvSpPr/>
                  <p:nvPr/>
                </p:nvSpPr>
                <p:spPr>
                  <a:xfrm>
                    <a:off x="6081603" y="4993274"/>
                    <a:ext cx="56419" cy="17159"/>
                  </a:xfrm>
                  <a:custGeom>
                    <a:avLst/>
                    <a:gdLst>
                      <a:gd name="connsiteX0" fmla="*/ 47840 w 56419"/>
                      <a:gd name="connsiteY0" fmla="*/ 17160 h 17159"/>
                      <a:gd name="connsiteX1" fmla="*/ 8580 w 56419"/>
                      <a:gd name="connsiteY1" fmla="*/ 17160 h 17159"/>
                      <a:gd name="connsiteX2" fmla="*/ 0 w 56419"/>
                      <a:gd name="connsiteY2" fmla="*/ 8580 h 17159"/>
                      <a:gd name="connsiteX3" fmla="*/ 8580 w 56419"/>
                      <a:gd name="connsiteY3" fmla="*/ 0 h 17159"/>
                      <a:gd name="connsiteX4" fmla="*/ 47840 w 56419"/>
                      <a:gd name="connsiteY4" fmla="*/ 0 h 17159"/>
                      <a:gd name="connsiteX5" fmla="*/ 56419 w 56419"/>
                      <a:gd name="connsiteY5" fmla="*/ 8580 h 17159"/>
                      <a:gd name="connsiteX6" fmla="*/ 47840 w 56419"/>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419" h="17159">
                        <a:moveTo>
                          <a:pt x="47840" y="17160"/>
                        </a:moveTo>
                        <a:lnTo>
                          <a:pt x="8580" y="17160"/>
                        </a:lnTo>
                        <a:cubicBezTo>
                          <a:pt x="4420" y="17160"/>
                          <a:pt x="0" y="14040"/>
                          <a:pt x="0" y="8580"/>
                        </a:cubicBezTo>
                        <a:cubicBezTo>
                          <a:pt x="0" y="3380"/>
                          <a:pt x="3120" y="0"/>
                          <a:pt x="8580" y="0"/>
                        </a:cubicBezTo>
                        <a:lnTo>
                          <a:pt x="47840" y="0"/>
                        </a:lnTo>
                        <a:cubicBezTo>
                          <a:pt x="51999" y="0"/>
                          <a:pt x="56419" y="3120"/>
                          <a:pt x="56419" y="8580"/>
                        </a:cubicBezTo>
                        <a:cubicBezTo>
                          <a:pt x="56419" y="13780"/>
                          <a:pt x="51999" y="17160"/>
                          <a:pt x="47840" y="17160"/>
                        </a:cubicBezTo>
                        <a:close/>
                      </a:path>
                    </a:pathLst>
                  </a:custGeom>
                  <a:solidFill>
                    <a:srgbClr val="FFFFFF"/>
                  </a:solidFill>
                  <a:ln w="2597" cap="flat">
                    <a:noFill/>
                    <a:prstDash val="solid"/>
                    <a:miter/>
                  </a:ln>
                </p:spPr>
                <p:txBody>
                  <a:bodyPr rtlCol="0" anchor="ctr"/>
                  <a:lstStyle/>
                  <a:p>
                    <a:endParaRPr lang="en-GB"/>
                  </a:p>
                </p:txBody>
              </p:sp>
              <p:sp>
                <p:nvSpPr>
                  <p:cNvPr id="789" name="Freeform: Shape 788">
                    <a:extLst>
                      <a:ext uri="{FF2B5EF4-FFF2-40B4-BE49-F238E27FC236}">
                        <a16:creationId xmlns:a16="http://schemas.microsoft.com/office/drawing/2014/main" id="{4B502A46-FF2E-4063-A168-7D268B555278}"/>
                      </a:ext>
                    </a:extLst>
                  </p:cNvPr>
                  <p:cNvSpPr/>
                  <p:nvPr/>
                </p:nvSpPr>
                <p:spPr>
                  <a:xfrm>
                    <a:off x="6081603" y="5024994"/>
                    <a:ext cx="56419" cy="17159"/>
                  </a:xfrm>
                  <a:custGeom>
                    <a:avLst/>
                    <a:gdLst>
                      <a:gd name="connsiteX0" fmla="*/ 47840 w 56419"/>
                      <a:gd name="connsiteY0" fmla="*/ 17160 h 17159"/>
                      <a:gd name="connsiteX1" fmla="*/ 8580 w 56419"/>
                      <a:gd name="connsiteY1" fmla="*/ 17160 h 17159"/>
                      <a:gd name="connsiteX2" fmla="*/ 0 w 56419"/>
                      <a:gd name="connsiteY2" fmla="*/ 8580 h 17159"/>
                      <a:gd name="connsiteX3" fmla="*/ 8580 w 56419"/>
                      <a:gd name="connsiteY3" fmla="*/ 0 h 17159"/>
                      <a:gd name="connsiteX4" fmla="*/ 47840 w 56419"/>
                      <a:gd name="connsiteY4" fmla="*/ 0 h 17159"/>
                      <a:gd name="connsiteX5" fmla="*/ 56419 w 56419"/>
                      <a:gd name="connsiteY5" fmla="*/ 8580 h 17159"/>
                      <a:gd name="connsiteX6" fmla="*/ 47840 w 56419"/>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419" h="17159">
                        <a:moveTo>
                          <a:pt x="47840" y="17160"/>
                        </a:moveTo>
                        <a:lnTo>
                          <a:pt x="8580" y="17160"/>
                        </a:lnTo>
                        <a:cubicBezTo>
                          <a:pt x="4420" y="17160"/>
                          <a:pt x="0" y="14040"/>
                          <a:pt x="0" y="8580"/>
                        </a:cubicBezTo>
                        <a:cubicBezTo>
                          <a:pt x="0" y="3380"/>
                          <a:pt x="3120" y="0"/>
                          <a:pt x="8580" y="0"/>
                        </a:cubicBezTo>
                        <a:lnTo>
                          <a:pt x="47840" y="0"/>
                        </a:lnTo>
                        <a:cubicBezTo>
                          <a:pt x="51999" y="0"/>
                          <a:pt x="56419" y="3120"/>
                          <a:pt x="56419" y="8580"/>
                        </a:cubicBezTo>
                        <a:cubicBezTo>
                          <a:pt x="56419" y="14040"/>
                          <a:pt x="51999" y="17160"/>
                          <a:pt x="47840" y="17160"/>
                        </a:cubicBezTo>
                        <a:close/>
                      </a:path>
                    </a:pathLst>
                  </a:custGeom>
                  <a:solidFill>
                    <a:srgbClr val="FFFFFF"/>
                  </a:solidFill>
                  <a:ln w="2597" cap="flat">
                    <a:noFill/>
                    <a:prstDash val="solid"/>
                    <a:miter/>
                  </a:ln>
                </p:spPr>
                <p:txBody>
                  <a:bodyPr rtlCol="0" anchor="ctr"/>
                  <a:lstStyle/>
                  <a:p>
                    <a:endParaRPr lang="en-GB"/>
                  </a:p>
                </p:txBody>
              </p:sp>
            </p:grpSp>
          </p:grpSp>
          <p:sp>
            <p:nvSpPr>
              <p:cNvPr id="778" name="Freeform: Shape 777">
                <a:extLst>
                  <a:ext uri="{FF2B5EF4-FFF2-40B4-BE49-F238E27FC236}">
                    <a16:creationId xmlns:a16="http://schemas.microsoft.com/office/drawing/2014/main" id="{821F9283-4830-DB83-2FC8-97CB0F618B5F}"/>
                  </a:ext>
                </a:extLst>
              </p:cNvPr>
              <p:cNvSpPr/>
              <p:nvPr/>
            </p:nvSpPr>
            <p:spPr>
              <a:xfrm>
                <a:off x="6368120" y="4939195"/>
                <a:ext cx="17159" cy="150798"/>
              </a:xfrm>
              <a:custGeom>
                <a:avLst/>
                <a:gdLst>
                  <a:gd name="connsiteX0" fmla="*/ 8579 w 17159"/>
                  <a:gd name="connsiteY0" fmla="*/ 150798 h 150798"/>
                  <a:gd name="connsiteX1" fmla="*/ 0 w 17159"/>
                  <a:gd name="connsiteY1" fmla="*/ 142218 h 150798"/>
                  <a:gd name="connsiteX2" fmla="*/ 0 w 17159"/>
                  <a:gd name="connsiteY2" fmla="*/ 8580 h 150798"/>
                  <a:gd name="connsiteX3" fmla="*/ 8579 w 17159"/>
                  <a:gd name="connsiteY3" fmla="*/ 0 h 150798"/>
                  <a:gd name="connsiteX4" fmla="*/ 17159 w 17159"/>
                  <a:gd name="connsiteY4" fmla="*/ 8580 h 150798"/>
                  <a:gd name="connsiteX5" fmla="*/ 17159 w 17159"/>
                  <a:gd name="connsiteY5" fmla="*/ 142218 h 150798"/>
                  <a:gd name="connsiteX6" fmla="*/ 8579 w 17159"/>
                  <a:gd name="connsiteY6" fmla="*/ 150798 h 15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59" h="150798">
                    <a:moveTo>
                      <a:pt x="8579" y="150798"/>
                    </a:moveTo>
                    <a:cubicBezTo>
                      <a:pt x="4420" y="150798"/>
                      <a:pt x="0" y="147678"/>
                      <a:pt x="0" y="142218"/>
                    </a:cubicBezTo>
                    <a:lnTo>
                      <a:pt x="0" y="8580"/>
                    </a:lnTo>
                    <a:cubicBezTo>
                      <a:pt x="0" y="4420"/>
                      <a:pt x="3120" y="0"/>
                      <a:pt x="8579" y="0"/>
                    </a:cubicBezTo>
                    <a:cubicBezTo>
                      <a:pt x="14040" y="0"/>
                      <a:pt x="17159" y="3120"/>
                      <a:pt x="17159" y="8580"/>
                    </a:cubicBezTo>
                    <a:lnTo>
                      <a:pt x="17159" y="142218"/>
                    </a:lnTo>
                    <a:cubicBezTo>
                      <a:pt x="16120" y="146378"/>
                      <a:pt x="12740" y="150798"/>
                      <a:pt x="8579" y="150798"/>
                    </a:cubicBezTo>
                    <a:close/>
                  </a:path>
                </a:pathLst>
              </a:custGeom>
              <a:solidFill>
                <a:srgbClr val="FFFFFF"/>
              </a:solidFill>
              <a:ln w="2597" cap="flat">
                <a:noFill/>
                <a:prstDash val="solid"/>
                <a:miter/>
              </a:ln>
            </p:spPr>
            <p:txBody>
              <a:bodyPr rtlCol="0" anchor="ctr"/>
              <a:lstStyle/>
              <a:p>
                <a:endParaRPr lang="en-GB"/>
              </a:p>
            </p:txBody>
          </p:sp>
          <p:sp>
            <p:nvSpPr>
              <p:cNvPr id="779" name="Freeform: Shape 778">
                <a:extLst>
                  <a:ext uri="{FF2B5EF4-FFF2-40B4-BE49-F238E27FC236}">
                    <a16:creationId xmlns:a16="http://schemas.microsoft.com/office/drawing/2014/main" id="{4C6CB19F-1E72-E60D-1DF5-70956DFFC6B6}"/>
                  </a:ext>
                </a:extLst>
              </p:cNvPr>
              <p:cNvSpPr/>
              <p:nvPr/>
            </p:nvSpPr>
            <p:spPr>
              <a:xfrm>
                <a:off x="6628377" y="4912675"/>
                <a:ext cx="53039" cy="76439"/>
              </a:xfrm>
              <a:custGeom>
                <a:avLst/>
                <a:gdLst>
                  <a:gd name="connsiteX0" fmla="*/ 29640 w 53039"/>
                  <a:gd name="connsiteY0" fmla="*/ 76439 h 76439"/>
                  <a:gd name="connsiteX1" fmla="*/ 25480 w 53039"/>
                  <a:gd name="connsiteY1" fmla="*/ 76439 h 76439"/>
                  <a:gd name="connsiteX2" fmla="*/ 0 w 53039"/>
                  <a:gd name="connsiteY2" fmla="*/ 50959 h 76439"/>
                  <a:gd name="connsiteX3" fmla="*/ 0 w 53039"/>
                  <a:gd name="connsiteY3" fmla="*/ 24440 h 76439"/>
                  <a:gd name="connsiteX4" fmla="*/ 25480 w 53039"/>
                  <a:gd name="connsiteY4" fmla="*/ 0 h 76439"/>
                  <a:gd name="connsiteX5" fmla="*/ 28600 w 53039"/>
                  <a:gd name="connsiteY5" fmla="*/ 0 h 76439"/>
                  <a:gd name="connsiteX6" fmla="*/ 53040 w 53039"/>
                  <a:gd name="connsiteY6" fmla="*/ 24440 h 76439"/>
                  <a:gd name="connsiteX7" fmla="*/ 53040 w 53039"/>
                  <a:gd name="connsiteY7" fmla="*/ 50959 h 76439"/>
                  <a:gd name="connsiteX8" fmla="*/ 29640 w 53039"/>
                  <a:gd name="connsiteY8" fmla="*/ 76439 h 76439"/>
                  <a:gd name="connsiteX9" fmla="*/ 25220 w 53039"/>
                  <a:gd name="connsiteY9" fmla="*/ 15860 h 76439"/>
                  <a:gd name="connsiteX10" fmla="*/ 15600 w 53039"/>
                  <a:gd name="connsiteY10" fmla="*/ 24440 h 76439"/>
                  <a:gd name="connsiteX11" fmla="*/ 15600 w 53039"/>
                  <a:gd name="connsiteY11" fmla="*/ 50959 h 76439"/>
                  <a:gd name="connsiteX12" fmla="*/ 25220 w 53039"/>
                  <a:gd name="connsiteY12" fmla="*/ 60579 h 76439"/>
                  <a:gd name="connsiteX13" fmla="*/ 29380 w 53039"/>
                  <a:gd name="connsiteY13" fmla="*/ 60579 h 76439"/>
                  <a:gd name="connsiteX14" fmla="*/ 37960 w 53039"/>
                  <a:gd name="connsiteY14" fmla="*/ 50959 h 76439"/>
                  <a:gd name="connsiteX15" fmla="*/ 37960 w 53039"/>
                  <a:gd name="connsiteY15" fmla="*/ 25480 h 76439"/>
                  <a:gd name="connsiteX16" fmla="*/ 29380 w 53039"/>
                  <a:gd name="connsiteY16" fmla="*/ 16900 h 76439"/>
                  <a:gd name="connsiteX17" fmla="*/ 25220 w 53039"/>
                  <a:gd name="connsiteY17" fmla="*/ 16900 h 76439"/>
                  <a:gd name="connsiteX18" fmla="*/ 25220 w 53039"/>
                  <a:gd name="connsiteY18" fmla="*/ 15860 h 7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3039" h="76439">
                    <a:moveTo>
                      <a:pt x="29640" y="76439"/>
                    </a:moveTo>
                    <a:lnTo>
                      <a:pt x="25480" y="76439"/>
                    </a:lnTo>
                    <a:cubicBezTo>
                      <a:pt x="11700" y="76439"/>
                      <a:pt x="0" y="64739"/>
                      <a:pt x="0" y="50959"/>
                    </a:cubicBezTo>
                    <a:lnTo>
                      <a:pt x="0" y="24440"/>
                    </a:lnTo>
                    <a:cubicBezTo>
                      <a:pt x="0" y="10660"/>
                      <a:pt x="11700" y="0"/>
                      <a:pt x="25480" y="0"/>
                    </a:cubicBezTo>
                    <a:lnTo>
                      <a:pt x="28600" y="0"/>
                    </a:lnTo>
                    <a:cubicBezTo>
                      <a:pt x="42380" y="0"/>
                      <a:pt x="53040" y="11700"/>
                      <a:pt x="53040" y="24440"/>
                    </a:cubicBezTo>
                    <a:lnTo>
                      <a:pt x="53040" y="50959"/>
                    </a:lnTo>
                    <a:cubicBezTo>
                      <a:pt x="51740" y="65779"/>
                      <a:pt x="42380" y="76439"/>
                      <a:pt x="29640" y="76439"/>
                    </a:cubicBezTo>
                    <a:close/>
                    <a:moveTo>
                      <a:pt x="25220" y="15860"/>
                    </a:moveTo>
                    <a:cubicBezTo>
                      <a:pt x="20020" y="15860"/>
                      <a:pt x="15600" y="21060"/>
                      <a:pt x="15600" y="24440"/>
                    </a:cubicBezTo>
                    <a:lnTo>
                      <a:pt x="15600" y="50959"/>
                    </a:lnTo>
                    <a:cubicBezTo>
                      <a:pt x="15600" y="56159"/>
                      <a:pt x="20800" y="60579"/>
                      <a:pt x="25220" y="60579"/>
                    </a:cubicBezTo>
                    <a:lnTo>
                      <a:pt x="29380" y="60579"/>
                    </a:lnTo>
                    <a:cubicBezTo>
                      <a:pt x="32500" y="60579"/>
                      <a:pt x="36919" y="57459"/>
                      <a:pt x="37960" y="50959"/>
                    </a:cubicBezTo>
                    <a:lnTo>
                      <a:pt x="37960" y="25480"/>
                    </a:lnTo>
                    <a:cubicBezTo>
                      <a:pt x="37960" y="20280"/>
                      <a:pt x="32760" y="16900"/>
                      <a:pt x="29380" y="16900"/>
                    </a:cubicBezTo>
                    <a:lnTo>
                      <a:pt x="25220" y="16900"/>
                    </a:lnTo>
                    <a:lnTo>
                      <a:pt x="25220" y="15860"/>
                    </a:lnTo>
                    <a:close/>
                  </a:path>
                </a:pathLst>
              </a:custGeom>
              <a:solidFill>
                <a:srgbClr val="FFFFFF"/>
              </a:solidFill>
              <a:ln w="2597" cap="flat">
                <a:noFill/>
                <a:prstDash val="solid"/>
                <a:miter/>
              </a:ln>
            </p:spPr>
            <p:txBody>
              <a:bodyPr rtlCol="0" anchor="ctr"/>
              <a:lstStyle/>
              <a:p>
                <a:endParaRPr lang="en-GB"/>
              </a:p>
            </p:txBody>
          </p:sp>
          <p:sp>
            <p:nvSpPr>
              <p:cNvPr id="780" name="Freeform: Shape 779">
                <a:extLst>
                  <a:ext uri="{FF2B5EF4-FFF2-40B4-BE49-F238E27FC236}">
                    <a16:creationId xmlns:a16="http://schemas.microsoft.com/office/drawing/2014/main" id="{B5AFE565-2384-AF9F-5BC8-01DC8BB3770D}"/>
                  </a:ext>
                </a:extLst>
              </p:cNvPr>
              <p:cNvSpPr/>
              <p:nvPr/>
            </p:nvSpPr>
            <p:spPr>
              <a:xfrm>
                <a:off x="6628377" y="5000814"/>
                <a:ext cx="53039" cy="76439"/>
              </a:xfrm>
              <a:custGeom>
                <a:avLst/>
                <a:gdLst>
                  <a:gd name="connsiteX0" fmla="*/ 29640 w 53039"/>
                  <a:gd name="connsiteY0" fmla="*/ 76439 h 76439"/>
                  <a:gd name="connsiteX1" fmla="*/ 25480 w 53039"/>
                  <a:gd name="connsiteY1" fmla="*/ 76439 h 76439"/>
                  <a:gd name="connsiteX2" fmla="*/ 0 w 53039"/>
                  <a:gd name="connsiteY2" fmla="*/ 51999 h 76439"/>
                  <a:gd name="connsiteX3" fmla="*/ 0 w 53039"/>
                  <a:gd name="connsiteY3" fmla="*/ 25480 h 76439"/>
                  <a:gd name="connsiteX4" fmla="*/ 25480 w 53039"/>
                  <a:gd name="connsiteY4" fmla="*/ 0 h 76439"/>
                  <a:gd name="connsiteX5" fmla="*/ 28600 w 53039"/>
                  <a:gd name="connsiteY5" fmla="*/ 0 h 76439"/>
                  <a:gd name="connsiteX6" fmla="*/ 53040 w 53039"/>
                  <a:gd name="connsiteY6" fmla="*/ 25480 h 76439"/>
                  <a:gd name="connsiteX7" fmla="*/ 53040 w 53039"/>
                  <a:gd name="connsiteY7" fmla="*/ 51999 h 76439"/>
                  <a:gd name="connsiteX8" fmla="*/ 29640 w 53039"/>
                  <a:gd name="connsiteY8" fmla="*/ 76439 h 76439"/>
                  <a:gd name="connsiteX9" fmla="*/ 25220 w 53039"/>
                  <a:gd name="connsiteY9" fmla="*/ 15860 h 76439"/>
                  <a:gd name="connsiteX10" fmla="*/ 15600 w 53039"/>
                  <a:gd name="connsiteY10" fmla="*/ 25480 h 76439"/>
                  <a:gd name="connsiteX11" fmla="*/ 15600 w 53039"/>
                  <a:gd name="connsiteY11" fmla="*/ 51999 h 76439"/>
                  <a:gd name="connsiteX12" fmla="*/ 25220 w 53039"/>
                  <a:gd name="connsiteY12" fmla="*/ 60579 h 76439"/>
                  <a:gd name="connsiteX13" fmla="*/ 29380 w 53039"/>
                  <a:gd name="connsiteY13" fmla="*/ 60579 h 76439"/>
                  <a:gd name="connsiteX14" fmla="*/ 37960 w 53039"/>
                  <a:gd name="connsiteY14" fmla="*/ 50959 h 76439"/>
                  <a:gd name="connsiteX15" fmla="*/ 37960 w 53039"/>
                  <a:gd name="connsiteY15" fmla="*/ 25480 h 76439"/>
                  <a:gd name="connsiteX16" fmla="*/ 29380 w 53039"/>
                  <a:gd name="connsiteY16" fmla="*/ 15860 h 76439"/>
                  <a:gd name="connsiteX17" fmla="*/ 25220 w 53039"/>
                  <a:gd name="connsiteY17" fmla="*/ 15860 h 7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3039" h="76439">
                    <a:moveTo>
                      <a:pt x="29640" y="76439"/>
                    </a:moveTo>
                    <a:lnTo>
                      <a:pt x="25480" y="76439"/>
                    </a:lnTo>
                    <a:cubicBezTo>
                      <a:pt x="11700" y="76439"/>
                      <a:pt x="0" y="64739"/>
                      <a:pt x="0" y="51999"/>
                    </a:cubicBezTo>
                    <a:lnTo>
                      <a:pt x="0" y="25480"/>
                    </a:lnTo>
                    <a:cubicBezTo>
                      <a:pt x="0" y="11700"/>
                      <a:pt x="11700" y="0"/>
                      <a:pt x="25480" y="0"/>
                    </a:cubicBezTo>
                    <a:lnTo>
                      <a:pt x="28600" y="0"/>
                    </a:lnTo>
                    <a:cubicBezTo>
                      <a:pt x="42380" y="0"/>
                      <a:pt x="53040" y="11700"/>
                      <a:pt x="53040" y="25480"/>
                    </a:cubicBezTo>
                    <a:lnTo>
                      <a:pt x="53040" y="51999"/>
                    </a:lnTo>
                    <a:cubicBezTo>
                      <a:pt x="51740" y="65779"/>
                      <a:pt x="41340" y="76439"/>
                      <a:pt x="29640" y="76439"/>
                    </a:cubicBezTo>
                    <a:close/>
                    <a:moveTo>
                      <a:pt x="25220" y="15860"/>
                    </a:moveTo>
                    <a:cubicBezTo>
                      <a:pt x="20020" y="15860"/>
                      <a:pt x="15600" y="21060"/>
                      <a:pt x="15600" y="25480"/>
                    </a:cubicBezTo>
                    <a:lnTo>
                      <a:pt x="15600" y="51999"/>
                    </a:lnTo>
                    <a:cubicBezTo>
                      <a:pt x="15600" y="57199"/>
                      <a:pt x="20800" y="60579"/>
                      <a:pt x="25220" y="60579"/>
                    </a:cubicBezTo>
                    <a:lnTo>
                      <a:pt x="29380" y="60579"/>
                    </a:lnTo>
                    <a:cubicBezTo>
                      <a:pt x="32500" y="60579"/>
                      <a:pt x="36919" y="56419"/>
                      <a:pt x="37960" y="50959"/>
                    </a:cubicBezTo>
                    <a:lnTo>
                      <a:pt x="37960" y="25480"/>
                    </a:lnTo>
                    <a:cubicBezTo>
                      <a:pt x="37960" y="20280"/>
                      <a:pt x="32760" y="15860"/>
                      <a:pt x="29380" y="15860"/>
                    </a:cubicBezTo>
                    <a:lnTo>
                      <a:pt x="25220" y="15860"/>
                    </a:lnTo>
                    <a:close/>
                  </a:path>
                </a:pathLst>
              </a:custGeom>
              <a:solidFill>
                <a:srgbClr val="FFFFFF"/>
              </a:solidFill>
              <a:ln w="2597" cap="flat">
                <a:noFill/>
                <a:prstDash val="solid"/>
                <a:miter/>
              </a:ln>
            </p:spPr>
            <p:txBody>
              <a:bodyPr rtlCol="0" anchor="ctr"/>
              <a:lstStyle/>
              <a:p>
                <a:endParaRPr lang="en-GB"/>
              </a:p>
            </p:txBody>
          </p:sp>
          <p:sp>
            <p:nvSpPr>
              <p:cNvPr id="781" name="Freeform: Shape 780">
                <a:extLst>
                  <a:ext uri="{FF2B5EF4-FFF2-40B4-BE49-F238E27FC236}">
                    <a16:creationId xmlns:a16="http://schemas.microsoft.com/office/drawing/2014/main" id="{155DA55C-EB9F-DAA3-2BD1-266176C85CB2}"/>
                  </a:ext>
                </a:extLst>
              </p:cNvPr>
              <p:cNvSpPr/>
              <p:nvPr/>
            </p:nvSpPr>
            <p:spPr>
              <a:xfrm>
                <a:off x="6769555" y="4912675"/>
                <a:ext cx="53414" cy="76439"/>
              </a:xfrm>
              <a:custGeom>
                <a:avLst/>
                <a:gdLst>
                  <a:gd name="connsiteX0" fmla="*/ 28600 w 53414"/>
                  <a:gd name="connsiteY0" fmla="*/ 76439 h 76439"/>
                  <a:gd name="connsiteX1" fmla="*/ 25480 w 53414"/>
                  <a:gd name="connsiteY1" fmla="*/ 76439 h 76439"/>
                  <a:gd name="connsiteX2" fmla="*/ 0 w 53414"/>
                  <a:gd name="connsiteY2" fmla="*/ 50959 h 76439"/>
                  <a:gd name="connsiteX3" fmla="*/ 0 w 53414"/>
                  <a:gd name="connsiteY3" fmla="*/ 24440 h 76439"/>
                  <a:gd name="connsiteX4" fmla="*/ 25480 w 53414"/>
                  <a:gd name="connsiteY4" fmla="*/ 0 h 76439"/>
                  <a:gd name="connsiteX5" fmla="*/ 28600 w 53414"/>
                  <a:gd name="connsiteY5" fmla="*/ 0 h 76439"/>
                  <a:gd name="connsiteX6" fmla="*/ 53039 w 53414"/>
                  <a:gd name="connsiteY6" fmla="*/ 24440 h 76439"/>
                  <a:gd name="connsiteX7" fmla="*/ 53039 w 53414"/>
                  <a:gd name="connsiteY7" fmla="*/ 49920 h 76439"/>
                  <a:gd name="connsiteX8" fmla="*/ 48880 w 53414"/>
                  <a:gd name="connsiteY8" fmla="*/ 66819 h 76439"/>
                  <a:gd name="connsiteX9" fmla="*/ 28600 w 53414"/>
                  <a:gd name="connsiteY9" fmla="*/ 76439 h 76439"/>
                  <a:gd name="connsiteX10" fmla="*/ 25220 w 53414"/>
                  <a:gd name="connsiteY10" fmla="*/ 15860 h 76439"/>
                  <a:gd name="connsiteX11" fmla="*/ 15600 w 53414"/>
                  <a:gd name="connsiteY11" fmla="*/ 24440 h 76439"/>
                  <a:gd name="connsiteX12" fmla="*/ 15600 w 53414"/>
                  <a:gd name="connsiteY12" fmla="*/ 50959 h 76439"/>
                  <a:gd name="connsiteX13" fmla="*/ 25220 w 53414"/>
                  <a:gd name="connsiteY13" fmla="*/ 60579 h 76439"/>
                  <a:gd name="connsiteX14" fmla="*/ 28339 w 53414"/>
                  <a:gd name="connsiteY14" fmla="*/ 60579 h 76439"/>
                  <a:gd name="connsiteX15" fmla="*/ 36919 w 53414"/>
                  <a:gd name="connsiteY15" fmla="*/ 57459 h 76439"/>
                  <a:gd name="connsiteX16" fmla="*/ 37960 w 53414"/>
                  <a:gd name="connsiteY16" fmla="*/ 53299 h 76439"/>
                  <a:gd name="connsiteX17" fmla="*/ 37960 w 53414"/>
                  <a:gd name="connsiteY17" fmla="*/ 52259 h 76439"/>
                  <a:gd name="connsiteX18" fmla="*/ 37960 w 53414"/>
                  <a:gd name="connsiteY18" fmla="*/ 25740 h 76439"/>
                  <a:gd name="connsiteX19" fmla="*/ 29380 w 53414"/>
                  <a:gd name="connsiteY19" fmla="*/ 17160 h 76439"/>
                  <a:gd name="connsiteX20" fmla="*/ 25220 w 53414"/>
                  <a:gd name="connsiteY20" fmla="*/ 17160 h 76439"/>
                  <a:gd name="connsiteX21" fmla="*/ 25220 w 53414"/>
                  <a:gd name="connsiteY21" fmla="*/ 15860 h 76439"/>
                  <a:gd name="connsiteX22" fmla="*/ 25220 w 53414"/>
                  <a:gd name="connsiteY22" fmla="*/ 15860 h 7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3414" h="76439">
                    <a:moveTo>
                      <a:pt x="28600" y="76439"/>
                    </a:moveTo>
                    <a:lnTo>
                      <a:pt x="25480" y="76439"/>
                    </a:lnTo>
                    <a:cubicBezTo>
                      <a:pt x="11700" y="76439"/>
                      <a:pt x="0" y="64739"/>
                      <a:pt x="0" y="50959"/>
                    </a:cubicBezTo>
                    <a:lnTo>
                      <a:pt x="0" y="24440"/>
                    </a:lnTo>
                    <a:cubicBezTo>
                      <a:pt x="0" y="10660"/>
                      <a:pt x="11700" y="0"/>
                      <a:pt x="25480" y="0"/>
                    </a:cubicBezTo>
                    <a:lnTo>
                      <a:pt x="28600" y="0"/>
                    </a:lnTo>
                    <a:cubicBezTo>
                      <a:pt x="42380" y="0"/>
                      <a:pt x="53039" y="11700"/>
                      <a:pt x="53039" y="24440"/>
                    </a:cubicBezTo>
                    <a:lnTo>
                      <a:pt x="53039" y="49920"/>
                    </a:lnTo>
                    <a:cubicBezTo>
                      <a:pt x="54080" y="56159"/>
                      <a:pt x="53039" y="62659"/>
                      <a:pt x="48880" y="66819"/>
                    </a:cubicBezTo>
                    <a:cubicBezTo>
                      <a:pt x="44460" y="72279"/>
                      <a:pt x="36919" y="76439"/>
                      <a:pt x="28600" y="76439"/>
                    </a:cubicBezTo>
                    <a:close/>
                    <a:moveTo>
                      <a:pt x="25220" y="15860"/>
                    </a:moveTo>
                    <a:cubicBezTo>
                      <a:pt x="20020" y="15860"/>
                      <a:pt x="15600" y="21060"/>
                      <a:pt x="15600" y="24440"/>
                    </a:cubicBezTo>
                    <a:lnTo>
                      <a:pt x="15600" y="50959"/>
                    </a:lnTo>
                    <a:cubicBezTo>
                      <a:pt x="15600" y="56159"/>
                      <a:pt x="20800" y="60579"/>
                      <a:pt x="25220" y="60579"/>
                    </a:cubicBezTo>
                    <a:lnTo>
                      <a:pt x="28339" y="60579"/>
                    </a:lnTo>
                    <a:cubicBezTo>
                      <a:pt x="31460" y="60579"/>
                      <a:pt x="34580" y="59539"/>
                      <a:pt x="36919" y="57459"/>
                    </a:cubicBezTo>
                    <a:cubicBezTo>
                      <a:pt x="37960" y="56420"/>
                      <a:pt x="37960" y="55379"/>
                      <a:pt x="37960" y="53299"/>
                    </a:cubicBezTo>
                    <a:lnTo>
                      <a:pt x="37960" y="52259"/>
                    </a:lnTo>
                    <a:lnTo>
                      <a:pt x="37960" y="25740"/>
                    </a:lnTo>
                    <a:cubicBezTo>
                      <a:pt x="37960" y="20540"/>
                      <a:pt x="32760" y="17160"/>
                      <a:pt x="29380" y="17160"/>
                    </a:cubicBezTo>
                    <a:lnTo>
                      <a:pt x="25220" y="17160"/>
                    </a:lnTo>
                    <a:lnTo>
                      <a:pt x="25220" y="15860"/>
                    </a:lnTo>
                    <a:lnTo>
                      <a:pt x="25220" y="15860"/>
                    </a:lnTo>
                    <a:close/>
                  </a:path>
                </a:pathLst>
              </a:custGeom>
              <a:solidFill>
                <a:srgbClr val="FFFFFF"/>
              </a:solidFill>
              <a:ln w="2597" cap="flat">
                <a:noFill/>
                <a:prstDash val="solid"/>
                <a:miter/>
              </a:ln>
            </p:spPr>
            <p:txBody>
              <a:bodyPr rtlCol="0" anchor="ctr"/>
              <a:lstStyle/>
              <a:p>
                <a:endParaRPr lang="en-GB"/>
              </a:p>
            </p:txBody>
          </p:sp>
          <p:sp>
            <p:nvSpPr>
              <p:cNvPr id="782" name="Freeform: Shape 781">
                <a:extLst>
                  <a:ext uri="{FF2B5EF4-FFF2-40B4-BE49-F238E27FC236}">
                    <a16:creationId xmlns:a16="http://schemas.microsoft.com/office/drawing/2014/main" id="{6164489B-7D14-7DA5-1FB2-9EAC6A9E4243}"/>
                  </a:ext>
                </a:extLst>
              </p:cNvPr>
              <p:cNvSpPr/>
              <p:nvPr/>
            </p:nvSpPr>
            <p:spPr>
              <a:xfrm>
                <a:off x="6769555" y="5000814"/>
                <a:ext cx="53414" cy="76439"/>
              </a:xfrm>
              <a:custGeom>
                <a:avLst/>
                <a:gdLst>
                  <a:gd name="connsiteX0" fmla="*/ 28600 w 53414"/>
                  <a:gd name="connsiteY0" fmla="*/ 76439 h 76439"/>
                  <a:gd name="connsiteX1" fmla="*/ 25480 w 53414"/>
                  <a:gd name="connsiteY1" fmla="*/ 76439 h 76439"/>
                  <a:gd name="connsiteX2" fmla="*/ 0 w 53414"/>
                  <a:gd name="connsiteY2" fmla="*/ 51999 h 76439"/>
                  <a:gd name="connsiteX3" fmla="*/ 0 w 53414"/>
                  <a:gd name="connsiteY3" fmla="*/ 25480 h 76439"/>
                  <a:gd name="connsiteX4" fmla="*/ 25480 w 53414"/>
                  <a:gd name="connsiteY4" fmla="*/ 0 h 76439"/>
                  <a:gd name="connsiteX5" fmla="*/ 28600 w 53414"/>
                  <a:gd name="connsiteY5" fmla="*/ 0 h 76439"/>
                  <a:gd name="connsiteX6" fmla="*/ 53039 w 53414"/>
                  <a:gd name="connsiteY6" fmla="*/ 25480 h 76439"/>
                  <a:gd name="connsiteX7" fmla="*/ 53039 w 53414"/>
                  <a:gd name="connsiteY7" fmla="*/ 50959 h 76439"/>
                  <a:gd name="connsiteX8" fmla="*/ 48880 w 53414"/>
                  <a:gd name="connsiteY8" fmla="*/ 66819 h 76439"/>
                  <a:gd name="connsiteX9" fmla="*/ 28600 w 53414"/>
                  <a:gd name="connsiteY9" fmla="*/ 76439 h 76439"/>
                  <a:gd name="connsiteX10" fmla="*/ 25220 w 53414"/>
                  <a:gd name="connsiteY10" fmla="*/ 15860 h 76439"/>
                  <a:gd name="connsiteX11" fmla="*/ 15600 w 53414"/>
                  <a:gd name="connsiteY11" fmla="*/ 25480 h 76439"/>
                  <a:gd name="connsiteX12" fmla="*/ 15600 w 53414"/>
                  <a:gd name="connsiteY12" fmla="*/ 51999 h 76439"/>
                  <a:gd name="connsiteX13" fmla="*/ 25220 w 53414"/>
                  <a:gd name="connsiteY13" fmla="*/ 60579 h 76439"/>
                  <a:gd name="connsiteX14" fmla="*/ 28339 w 53414"/>
                  <a:gd name="connsiteY14" fmla="*/ 60579 h 76439"/>
                  <a:gd name="connsiteX15" fmla="*/ 36919 w 53414"/>
                  <a:gd name="connsiteY15" fmla="*/ 57459 h 76439"/>
                  <a:gd name="connsiteX16" fmla="*/ 37960 w 53414"/>
                  <a:gd name="connsiteY16" fmla="*/ 53299 h 76439"/>
                  <a:gd name="connsiteX17" fmla="*/ 37960 w 53414"/>
                  <a:gd name="connsiteY17" fmla="*/ 51219 h 76439"/>
                  <a:gd name="connsiteX18" fmla="*/ 37960 w 53414"/>
                  <a:gd name="connsiteY18" fmla="*/ 24700 h 76439"/>
                  <a:gd name="connsiteX19" fmla="*/ 29380 w 53414"/>
                  <a:gd name="connsiteY19" fmla="*/ 15080 h 76439"/>
                  <a:gd name="connsiteX20" fmla="*/ 25220 w 53414"/>
                  <a:gd name="connsiteY20" fmla="*/ 15080 h 76439"/>
                  <a:gd name="connsiteX21" fmla="*/ 25220 w 53414"/>
                  <a:gd name="connsiteY21" fmla="*/ 15860 h 76439"/>
                  <a:gd name="connsiteX22" fmla="*/ 25220 w 53414"/>
                  <a:gd name="connsiteY22" fmla="*/ 15860 h 7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3414" h="76439">
                    <a:moveTo>
                      <a:pt x="28600" y="76439"/>
                    </a:moveTo>
                    <a:lnTo>
                      <a:pt x="25480" y="76439"/>
                    </a:lnTo>
                    <a:cubicBezTo>
                      <a:pt x="11700" y="76439"/>
                      <a:pt x="0" y="64739"/>
                      <a:pt x="0" y="51999"/>
                    </a:cubicBezTo>
                    <a:lnTo>
                      <a:pt x="0" y="25480"/>
                    </a:lnTo>
                    <a:cubicBezTo>
                      <a:pt x="0" y="11700"/>
                      <a:pt x="11700" y="0"/>
                      <a:pt x="25480" y="0"/>
                    </a:cubicBezTo>
                    <a:lnTo>
                      <a:pt x="28600" y="0"/>
                    </a:lnTo>
                    <a:cubicBezTo>
                      <a:pt x="42380" y="0"/>
                      <a:pt x="53039" y="11700"/>
                      <a:pt x="53039" y="25480"/>
                    </a:cubicBezTo>
                    <a:lnTo>
                      <a:pt x="53039" y="50959"/>
                    </a:lnTo>
                    <a:cubicBezTo>
                      <a:pt x="54080" y="57199"/>
                      <a:pt x="53039" y="62659"/>
                      <a:pt x="48880" y="66819"/>
                    </a:cubicBezTo>
                    <a:cubicBezTo>
                      <a:pt x="44460" y="73319"/>
                      <a:pt x="36919" y="76439"/>
                      <a:pt x="28600" y="76439"/>
                    </a:cubicBezTo>
                    <a:close/>
                    <a:moveTo>
                      <a:pt x="25220" y="15860"/>
                    </a:moveTo>
                    <a:cubicBezTo>
                      <a:pt x="20020" y="15860"/>
                      <a:pt x="15600" y="21060"/>
                      <a:pt x="15600" y="25480"/>
                    </a:cubicBezTo>
                    <a:lnTo>
                      <a:pt x="15600" y="51999"/>
                    </a:lnTo>
                    <a:cubicBezTo>
                      <a:pt x="15600" y="57199"/>
                      <a:pt x="20800" y="60579"/>
                      <a:pt x="25220" y="60579"/>
                    </a:cubicBezTo>
                    <a:lnTo>
                      <a:pt x="28339" y="60579"/>
                    </a:lnTo>
                    <a:cubicBezTo>
                      <a:pt x="31460" y="60579"/>
                      <a:pt x="34580" y="59539"/>
                      <a:pt x="36919" y="57459"/>
                    </a:cubicBezTo>
                    <a:cubicBezTo>
                      <a:pt x="37960" y="56419"/>
                      <a:pt x="37960" y="55379"/>
                      <a:pt x="37960" y="53299"/>
                    </a:cubicBezTo>
                    <a:cubicBezTo>
                      <a:pt x="37960" y="52259"/>
                      <a:pt x="37960" y="52259"/>
                      <a:pt x="37960" y="51219"/>
                    </a:cubicBezTo>
                    <a:lnTo>
                      <a:pt x="37960" y="24700"/>
                    </a:lnTo>
                    <a:cubicBezTo>
                      <a:pt x="37960" y="19500"/>
                      <a:pt x="32760" y="15080"/>
                      <a:pt x="29380" y="15080"/>
                    </a:cubicBezTo>
                    <a:lnTo>
                      <a:pt x="25220" y="15080"/>
                    </a:lnTo>
                    <a:lnTo>
                      <a:pt x="25220" y="15860"/>
                    </a:lnTo>
                    <a:lnTo>
                      <a:pt x="25220" y="15860"/>
                    </a:lnTo>
                    <a:close/>
                  </a:path>
                </a:pathLst>
              </a:custGeom>
              <a:solidFill>
                <a:srgbClr val="FFFFFF"/>
              </a:solidFill>
              <a:ln w="2597" cap="flat">
                <a:noFill/>
                <a:prstDash val="solid"/>
                <a:miter/>
              </a:ln>
            </p:spPr>
            <p:txBody>
              <a:bodyPr rtlCol="0" anchor="ctr"/>
              <a:lstStyle/>
              <a:p>
                <a:endParaRPr lang="en-GB"/>
              </a:p>
            </p:txBody>
          </p:sp>
          <p:sp>
            <p:nvSpPr>
              <p:cNvPr id="783" name="Freeform: Shape 782">
                <a:extLst>
                  <a:ext uri="{FF2B5EF4-FFF2-40B4-BE49-F238E27FC236}">
                    <a16:creationId xmlns:a16="http://schemas.microsoft.com/office/drawing/2014/main" id="{17348973-FD1A-6033-5CD0-E333AA57A317}"/>
                  </a:ext>
                </a:extLst>
              </p:cNvPr>
              <p:cNvSpPr/>
              <p:nvPr/>
            </p:nvSpPr>
            <p:spPr>
              <a:xfrm>
                <a:off x="6700396" y="4963635"/>
                <a:ext cx="53039" cy="76439"/>
              </a:xfrm>
              <a:custGeom>
                <a:avLst/>
                <a:gdLst>
                  <a:gd name="connsiteX0" fmla="*/ 28600 w 53039"/>
                  <a:gd name="connsiteY0" fmla="*/ 76439 h 76439"/>
                  <a:gd name="connsiteX1" fmla="*/ 25480 w 53039"/>
                  <a:gd name="connsiteY1" fmla="*/ 76439 h 76439"/>
                  <a:gd name="connsiteX2" fmla="*/ 0 w 53039"/>
                  <a:gd name="connsiteY2" fmla="*/ 50960 h 76439"/>
                  <a:gd name="connsiteX3" fmla="*/ 0 w 53039"/>
                  <a:gd name="connsiteY3" fmla="*/ 24440 h 76439"/>
                  <a:gd name="connsiteX4" fmla="*/ 25480 w 53039"/>
                  <a:gd name="connsiteY4" fmla="*/ 0 h 76439"/>
                  <a:gd name="connsiteX5" fmla="*/ 28600 w 53039"/>
                  <a:gd name="connsiteY5" fmla="*/ 0 h 76439"/>
                  <a:gd name="connsiteX6" fmla="*/ 53040 w 53039"/>
                  <a:gd name="connsiteY6" fmla="*/ 24440 h 76439"/>
                  <a:gd name="connsiteX7" fmla="*/ 53040 w 53039"/>
                  <a:gd name="connsiteY7" fmla="*/ 50960 h 76439"/>
                  <a:gd name="connsiteX8" fmla="*/ 28600 w 53039"/>
                  <a:gd name="connsiteY8" fmla="*/ 76439 h 76439"/>
                  <a:gd name="connsiteX9" fmla="*/ 25480 w 53039"/>
                  <a:gd name="connsiteY9" fmla="*/ 15860 h 76439"/>
                  <a:gd name="connsiteX10" fmla="*/ 15860 w 53039"/>
                  <a:gd name="connsiteY10" fmla="*/ 24440 h 76439"/>
                  <a:gd name="connsiteX11" fmla="*/ 15860 w 53039"/>
                  <a:gd name="connsiteY11" fmla="*/ 50960 h 76439"/>
                  <a:gd name="connsiteX12" fmla="*/ 25480 w 53039"/>
                  <a:gd name="connsiteY12" fmla="*/ 60579 h 76439"/>
                  <a:gd name="connsiteX13" fmla="*/ 28600 w 53039"/>
                  <a:gd name="connsiteY13" fmla="*/ 60579 h 76439"/>
                  <a:gd name="connsiteX14" fmla="*/ 38220 w 53039"/>
                  <a:gd name="connsiteY14" fmla="*/ 50960 h 76439"/>
                  <a:gd name="connsiteX15" fmla="*/ 38220 w 53039"/>
                  <a:gd name="connsiteY15" fmla="*/ 25480 h 76439"/>
                  <a:gd name="connsiteX16" fmla="*/ 29640 w 53039"/>
                  <a:gd name="connsiteY16" fmla="*/ 16900 h 76439"/>
                  <a:gd name="connsiteX17" fmla="*/ 25480 w 53039"/>
                  <a:gd name="connsiteY17" fmla="*/ 16900 h 76439"/>
                  <a:gd name="connsiteX18" fmla="*/ 25480 w 53039"/>
                  <a:gd name="connsiteY18" fmla="*/ 15860 h 76439"/>
                  <a:gd name="connsiteX19" fmla="*/ 25480 w 53039"/>
                  <a:gd name="connsiteY19" fmla="*/ 15860 h 7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039" h="76439">
                    <a:moveTo>
                      <a:pt x="28600" y="76439"/>
                    </a:moveTo>
                    <a:lnTo>
                      <a:pt x="25480" y="76439"/>
                    </a:lnTo>
                    <a:cubicBezTo>
                      <a:pt x="11700" y="76439"/>
                      <a:pt x="0" y="64739"/>
                      <a:pt x="0" y="50960"/>
                    </a:cubicBezTo>
                    <a:lnTo>
                      <a:pt x="0" y="24440"/>
                    </a:lnTo>
                    <a:cubicBezTo>
                      <a:pt x="0" y="10660"/>
                      <a:pt x="11700" y="0"/>
                      <a:pt x="25480" y="0"/>
                    </a:cubicBezTo>
                    <a:lnTo>
                      <a:pt x="28600" y="0"/>
                    </a:lnTo>
                    <a:cubicBezTo>
                      <a:pt x="42380" y="0"/>
                      <a:pt x="53040" y="11700"/>
                      <a:pt x="53040" y="24440"/>
                    </a:cubicBezTo>
                    <a:lnTo>
                      <a:pt x="53040" y="50960"/>
                    </a:lnTo>
                    <a:cubicBezTo>
                      <a:pt x="51999" y="65779"/>
                      <a:pt x="41340" y="76439"/>
                      <a:pt x="28600" y="76439"/>
                    </a:cubicBezTo>
                    <a:close/>
                    <a:moveTo>
                      <a:pt x="25480" y="15860"/>
                    </a:moveTo>
                    <a:cubicBezTo>
                      <a:pt x="20280" y="15860"/>
                      <a:pt x="15860" y="21060"/>
                      <a:pt x="15860" y="24440"/>
                    </a:cubicBezTo>
                    <a:lnTo>
                      <a:pt x="15860" y="50960"/>
                    </a:lnTo>
                    <a:cubicBezTo>
                      <a:pt x="15860" y="56160"/>
                      <a:pt x="21060" y="60579"/>
                      <a:pt x="25480" y="60579"/>
                    </a:cubicBezTo>
                    <a:lnTo>
                      <a:pt x="28600" y="60579"/>
                    </a:lnTo>
                    <a:cubicBezTo>
                      <a:pt x="32760" y="60579"/>
                      <a:pt x="37180" y="56420"/>
                      <a:pt x="38220" y="50960"/>
                    </a:cubicBezTo>
                    <a:lnTo>
                      <a:pt x="38220" y="25480"/>
                    </a:lnTo>
                    <a:cubicBezTo>
                      <a:pt x="38220" y="20280"/>
                      <a:pt x="33020" y="16900"/>
                      <a:pt x="29640" y="16900"/>
                    </a:cubicBezTo>
                    <a:lnTo>
                      <a:pt x="25480" y="16900"/>
                    </a:lnTo>
                    <a:lnTo>
                      <a:pt x="25480" y="15860"/>
                    </a:lnTo>
                    <a:lnTo>
                      <a:pt x="25480" y="15860"/>
                    </a:lnTo>
                    <a:close/>
                  </a:path>
                </a:pathLst>
              </a:custGeom>
              <a:solidFill>
                <a:srgbClr val="FFFFFF"/>
              </a:solidFill>
              <a:ln w="2597" cap="flat">
                <a:noFill/>
                <a:prstDash val="solid"/>
                <a:miter/>
              </a:ln>
            </p:spPr>
            <p:txBody>
              <a:bodyPr rtlCol="0" anchor="ctr"/>
              <a:lstStyle/>
              <a:p>
                <a:endParaRPr lang="en-GB"/>
              </a:p>
            </p:txBody>
          </p:sp>
          <p:sp>
            <p:nvSpPr>
              <p:cNvPr id="784" name="Freeform: Shape 783">
                <a:extLst>
                  <a:ext uri="{FF2B5EF4-FFF2-40B4-BE49-F238E27FC236}">
                    <a16:creationId xmlns:a16="http://schemas.microsoft.com/office/drawing/2014/main" id="{0F5EB1D2-7BB8-0CAB-5E97-2B69AAB0BCFF}"/>
                  </a:ext>
                </a:extLst>
              </p:cNvPr>
              <p:cNvSpPr/>
              <p:nvPr/>
            </p:nvSpPr>
            <p:spPr>
              <a:xfrm>
                <a:off x="6700396" y="5051774"/>
                <a:ext cx="53039" cy="76439"/>
              </a:xfrm>
              <a:custGeom>
                <a:avLst/>
                <a:gdLst>
                  <a:gd name="connsiteX0" fmla="*/ 28600 w 53039"/>
                  <a:gd name="connsiteY0" fmla="*/ 76439 h 76439"/>
                  <a:gd name="connsiteX1" fmla="*/ 25480 w 53039"/>
                  <a:gd name="connsiteY1" fmla="*/ 76439 h 76439"/>
                  <a:gd name="connsiteX2" fmla="*/ 0 w 53039"/>
                  <a:gd name="connsiteY2" fmla="*/ 51999 h 76439"/>
                  <a:gd name="connsiteX3" fmla="*/ 0 w 53039"/>
                  <a:gd name="connsiteY3" fmla="*/ 25480 h 76439"/>
                  <a:gd name="connsiteX4" fmla="*/ 25480 w 53039"/>
                  <a:gd name="connsiteY4" fmla="*/ 0 h 76439"/>
                  <a:gd name="connsiteX5" fmla="*/ 28600 w 53039"/>
                  <a:gd name="connsiteY5" fmla="*/ 0 h 76439"/>
                  <a:gd name="connsiteX6" fmla="*/ 53040 w 53039"/>
                  <a:gd name="connsiteY6" fmla="*/ 25480 h 76439"/>
                  <a:gd name="connsiteX7" fmla="*/ 53040 w 53039"/>
                  <a:gd name="connsiteY7" fmla="*/ 51999 h 76439"/>
                  <a:gd name="connsiteX8" fmla="*/ 28600 w 53039"/>
                  <a:gd name="connsiteY8" fmla="*/ 76439 h 76439"/>
                  <a:gd name="connsiteX9" fmla="*/ 25480 w 53039"/>
                  <a:gd name="connsiteY9" fmla="*/ 14820 h 76439"/>
                  <a:gd name="connsiteX10" fmla="*/ 15860 w 53039"/>
                  <a:gd name="connsiteY10" fmla="*/ 24440 h 76439"/>
                  <a:gd name="connsiteX11" fmla="*/ 15860 w 53039"/>
                  <a:gd name="connsiteY11" fmla="*/ 50959 h 76439"/>
                  <a:gd name="connsiteX12" fmla="*/ 25480 w 53039"/>
                  <a:gd name="connsiteY12" fmla="*/ 59539 h 76439"/>
                  <a:gd name="connsiteX13" fmla="*/ 28600 w 53039"/>
                  <a:gd name="connsiteY13" fmla="*/ 59539 h 76439"/>
                  <a:gd name="connsiteX14" fmla="*/ 38220 w 53039"/>
                  <a:gd name="connsiteY14" fmla="*/ 49920 h 76439"/>
                  <a:gd name="connsiteX15" fmla="*/ 38220 w 53039"/>
                  <a:gd name="connsiteY15" fmla="*/ 24440 h 76439"/>
                  <a:gd name="connsiteX16" fmla="*/ 29640 w 53039"/>
                  <a:gd name="connsiteY16" fmla="*/ 14820 h 76439"/>
                  <a:gd name="connsiteX17" fmla="*/ 25480 w 53039"/>
                  <a:gd name="connsiteY17" fmla="*/ 14820 h 7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3039" h="76439">
                    <a:moveTo>
                      <a:pt x="28600" y="76439"/>
                    </a:moveTo>
                    <a:lnTo>
                      <a:pt x="25480" y="76439"/>
                    </a:lnTo>
                    <a:cubicBezTo>
                      <a:pt x="11700" y="76439"/>
                      <a:pt x="0" y="64739"/>
                      <a:pt x="0" y="51999"/>
                    </a:cubicBezTo>
                    <a:lnTo>
                      <a:pt x="0" y="25480"/>
                    </a:lnTo>
                    <a:cubicBezTo>
                      <a:pt x="0" y="11700"/>
                      <a:pt x="11700" y="0"/>
                      <a:pt x="25480" y="0"/>
                    </a:cubicBezTo>
                    <a:lnTo>
                      <a:pt x="28600" y="0"/>
                    </a:lnTo>
                    <a:cubicBezTo>
                      <a:pt x="42380" y="0"/>
                      <a:pt x="53040" y="11700"/>
                      <a:pt x="53040" y="25480"/>
                    </a:cubicBezTo>
                    <a:lnTo>
                      <a:pt x="53040" y="51999"/>
                    </a:lnTo>
                    <a:cubicBezTo>
                      <a:pt x="51999" y="65779"/>
                      <a:pt x="41340" y="76439"/>
                      <a:pt x="28600" y="76439"/>
                    </a:cubicBezTo>
                    <a:close/>
                    <a:moveTo>
                      <a:pt x="25480" y="14820"/>
                    </a:moveTo>
                    <a:cubicBezTo>
                      <a:pt x="20280" y="14820"/>
                      <a:pt x="15860" y="20020"/>
                      <a:pt x="15860" y="24440"/>
                    </a:cubicBezTo>
                    <a:lnTo>
                      <a:pt x="15860" y="50959"/>
                    </a:lnTo>
                    <a:cubicBezTo>
                      <a:pt x="15860" y="56159"/>
                      <a:pt x="21060" y="59539"/>
                      <a:pt x="25480" y="59539"/>
                    </a:cubicBezTo>
                    <a:lnTo>
                      <a:pt x="28600" y="59539"/>
                    </a:lnTo>
                    <a:cubicBezTo>
                      <a:pt x="32760" y="59539"/>
                      <a:pt x="37180" y="55379"/>
                      <a:pt x="38220" y="49920"/>
                    </a:cubicBezTo>
                    <a:lnTo>
                      <a:pt x="38220" y="24440"/>
                    </a:lnTo>
                    <a:cubicBezTo>
                      <a:pt x="38220" y="19240"/>
                      <a:pt x="33020" y="14820"/>
                      <a:pt x="29640" y="14820"/>
                    </a:cubicBezTo>
                    <a:lnTo>
                      <a:pt x="25480" y="14820"/>
                    </a:lnTo>
                    <a:close/>
                  </a:path>
                </a:pathLst>
              </a:custGeom>
              <a:solidFill>
                <a:srgbClr val="FFFFFF"/>
              </a:solidFill>
              <a:ln w="2597" cap="flat">
                <a:noFill/>
                <a:prstDash val="solid"/>
                <a:miter/>
              </a:ln>
            </p:spPr>
            <p:txBody>
              <a:bodyPr rtlCol="0" anchor="ctr"/>
              <a:lstStyle/>
              <a:p>
                <a:endParaRPr lang="en-GB"/>
              </a:p>
            </p:txBody>
          </p:sp>
        </p:grpSp>
      </p:grpSp>
      <p:grpSp>
        <p:nvGrpSpPr>
          <p:cNvPr id="523" name="Graphic 6">
            <a:extLst>
              <a:ext uri="{FF2B5EF4-FFF2-40B4-BE49-F238E27FC236}">
                <a16:creationId xmlns:a16="http://schemas.microsoft.com/office/drawing/2014/main" id="{8BBEA295-0429-6362-A744-9FEAF4B61BD6}"/>
              </a:ext>
            </a:extLst>
          </p:cNvPr>
          <p:cNvGrpSpPr/>
          <p:nvPr/>
        </p:nvGrpSpPr>
        <p:grpSpPr>
          <a:xfrm>
            <a:off x="6557294" y="4289727"/>
            <a:ext cx="365308" cy="349363"/>
            <a:chOff x="3683131" y="2521483"/>
            <a:chExt cx="732671" cy="700691"/>
          </a:xfrm>
        </p:grpSpPr>
        <p:grpSp>
          <p:nvGrpSpPr>
            <p:cNvPr id="731" name="Graphic 6">
              <a:extLst>
                <a:ext uri="{FF2B5EF4-FFF2-40B4-BE49-F238E27FC236}">
                  <a16:creationId xmlns:a16="http://schemas.microsoft.com/office/drawing/2014/main" id="{CEE5951D-6EAB-6617-A1B9-2975D3EF9576}"/>
                </a:ext>
              </a:extLst>
            </p:cNvPr>
            <p:cNvGrpSpPr/>
            <p:nvPr/>
          </p:nvGrpSpPr>
          <p:grpSpPr>
            <a:xfrm>
              <a:off x="3888008" y="2553722"/>
              <a:ext cx="217357" cy="668452"/>
              <a:chOff x="3888008" y="2553722"/>
              <a:chExt cx="217357" cy="668452"/>
            </a:xfrm>
            <a:solidFill>
              <a:srgbClr val="0069FF"/>
            </a:solidFill>
          </p:grpSpPr>
          <p:sp>
            <p:nvSpPr>
              <p:cNvPr id="768" name="Freeform: Shape 767">
                <a:extLst>
                  <a:ext uri="{FF2B5EF4-FFF2-40B4-BE49-F238E27FC236}">
                    <a16:creationId xmlns:a16="http://schemas.microsoft.com/office/drawing/2014/main" id="{9D2511AE-759F-59E1-086A-82ABD5483F51}"/>
                  </a:ext>
                </a:extLst>
              </p:cNvPr>
              <p:cNvSpPr/>
              <p:nvPr/>
            </p:nvSpPr>
            <p:spPr>
              <a:xfrm>
                <a:off x="3893208" y="2558662"/>
                <a:ext cx="206957" cy="658052"/>
              </a:xfrm>
              <a:custGeom>
                <a:avLst/>
                <a:gdLst>
                  <a:gd name="connsiteX0" fmla="*/ 206958 w 206957"/>
                  <a:gd name="connsiteY0" fmla="*/ 658052 h 658052"/>
                  <a:gd name="connsiteX1" fmla="*/ 0 w 206957"/>
                  <a:gd name="connsiteY1" fmla="*/ 615673 h 658052"/>
                  <a:gd name="connsiteX2" fmla="*/ 0 w 206957"/>
                  <a:gd name="connsiteY2" fmla="*/ 102959 h 658052"/>
                  <a:gd name="connsiteX3" fmla="*/ 0 w 206957"/>
                  <a:gd name="connsiteY3" fmla="*/ 42639 h 658052"/>
                  <a:gd name="connsiteX4" fmla="*/ 206958 w 206957"/>
                  <a:gd name="connsiteY4" fmla="*/ 0 h 658052"/>
                  <a:gd name="connsiteX5" fmla="*/ 206958 w 206957"/>
                  <a:gd name="connsiteY5" fmla="*/ 54079 h 65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957" h="658052">
                    <a:moveTo>
                      <a:pt x="206958" y="658052"/>
                    </a:moveTo>
                    <a:lnTo>
                      <a:pt x="0" y="615673"/>
                    </a:lnTo>
                    <a:lnTo>
                      <a:pt x="0" y="102959"/>
                    </a:lnTo>
                    <a:lnTo>
                      <a:pt x="0" y="42639"/>
                    </a:lnTo>
                    <a:lnTo>
                      <a:pt x="206958" y="0"/>
                    </a:lnTo>
                    <a:lnTo>
                      <a:pt x="206958" y="54079"/>
                    </a:lnTo>
                    <a:close/>
                  </a:path>
                </a:pathLst>
              </a:custGeom>
              <a:solidFill>
                <a:srgbClr val="0069FF"/>
              </a:solidFill>
              <a:ln w="2597" cap="flat">
                <a:noFill/>
                <a:prstDash val="solid"/>
                <a:miter/>
              </a:ln>
            </p:spPr>
            <p:txBody>
              <a:bodyPr rtlCol="0" anchor="ctr"/>
              <a:lstStyle/>
              <a:p>
                <a:endParaRPr lang="en-GB"/>
              </a:p>
            </p:txBody>
          </p:sp>
          <p:sp>
            <p:nvSpPr>
              <p:cNvPr id="769" name="Freeform: Shape 768">
                <a:extLst>
                  <a:ext uri="{FF2B5EF4-FFF2-40B4-BE49-F238E27FC236}">
                    <a16:creationId xmlns:a16="http://schemas.microsoft.com/office/drawing/2014/main" id="{E2A7A09D-ADD5-03AA-888A-BB4A9E88FA14}"/>
                  </a:ext>
                </a:extLst>
              </p:cNvPr>
              <p:cNvSpPr/>
              <p:nvPr/>
            </p:nvSpPr>
            <p:spPr>
              <a:xfrm>
                <a:off x="3888008" y="2553722"/>
                <a:ext cx="217357" cy="668452"/>
              </a:xfrm>
              <a:custGeom>
                <a:avLst/>
                <a:gdLst>
                  <a:gd name="connsiteX0" fmla="*/ 212158 w 217357"/>
                  <a:gd name="connsiteY0" fmla="*/ 668452 h 668452"/>
                  <a:gd name="connsiteX1" fmla="*/ 211118 w 217357"/>
                  <a:gd name="connsiteY1" fmla="*/ 668452 h 668452"/>
                  <a:gd name="connsiteX2" fmla="*/ 4160 w 217357"/>
                  <a:gd name="connsiteY2" fmla="*/ 626073 h 668452"/>
                  <a:gd name="connsiteX3" fmla="*/ 0 w 217357"/>
                  <a:gd name="connsiteY3" fmla="*/ 620873 h 668452"/>
                  <a:gd name="connsiteX4" fmla="*/ 0 w 217357"/>
                  <a:gd name="connsiteY4" fmla="*/ 47579 h 668452"/>
                  <a:gd name="connsiteX5" fmla="*/ 4160 w 217357"/>
                  <a:gd name="connsiteY5" fmla="*/ 42379 h 668452"/>
                  <a:gd name="connsiteX6" fmla="*/ 211118 w 217357"/>
                  <a:gd name="connsiteY6" fmla="*/ 0 h 668452"/>
                  <a:gd name="connsiteX7" fmla="*/ 215278 w 217357"/>
                  <a:gd name="connsiteY7" fmla="*/ 1040 h 668452"/>
                  <a:gd name="connsiteX8" fmla="*/ 217358 w 217357"/>
                  <a:gd name="connsiteY8" fmla="*/ 5200 h 668452"/>
                  <a:gd name="connsiteX9" fmla="*/ 217358 w 217357"/>
                  <a:gd name="connsiteY9" fmla="*/ 663253 h 668452"/>
                  <a:gd name="connsiteX10" fmla="*/ 215278 w 217357"/>
                  <a:gd name="connsiteY10" fmla="*/ 667412 h 668452"/>
                  <a:gd name="connsiteX11" fmla="*/ 212158 w 217357"/>
                  <a:gd name="connsiteY11" fmla="*/ 668452 h 668452"/>
                  <a:gd name="connsiteX12" fmla="*/ 10660 w 217357"/>
                  <a:gd name="connsiteY12" fmla="*/ 616453 h 668452"/>
                  <a:gd name="connsiteX13" fmla="*/ 206958 w 217357"/>
                  <a:gd name="connsiteY13" fmla="*/ 656753 h 668452"/>
                  <a:gd name="connsiteX14" fmla="*/ 206958 w 217357"/>
                  <a:gd name="connsiteY14" fmla="*/ 11440 h 668452"/>
                  <a:gd name="connsiteX15" fmla="*/ 10660 w 217357"/>
                  <a:gd name="connsiteY15" fmla="*/ 51739 h 668452"/>
                  <a:gd name="connsiteX16" fmla="*/ 10660 w 217357"/>
                  <a:gd name="connsiteY16" fmla="*/ 616453 h 66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7357" h="668452">
                    <a:moveTo>
                      <a:pt x="212158" y="668452"/>
                    </a:moveTo>
                    <a:lnTo>
                      <a:pt x="211118" y="668452"/>
                    </a:lnTo>
                    <a:lnTo>
                      <a:pt x="4160" y="626073"/>
                    </a:lnTo>
                    <a:cubicBezTo>
                      <a:pt x="2080" y="626073"/>
                      <a:pt x="0" y="622953"/>
                      <a:pt x="0" y="620873"/>
                    </a:cubicBezTo>
                    <a:lnTo>
                      <a:pt x="0" y="47579"/>
                    </a:lnTo>
                    <a:cubicBezTo>
                      <a:pt x="0" y="45499"/>
                      <a:pt x="2080" y="43420"/>
                      <a:pt x="4160" y="42379"/>
                    </a:cubicBezTo>
                    <a:lnTo>
                      <a:pt x="211118" y="0"/>
                    </a:lnTo>
                    <a:cubicBezTo>
                      <a:pt x="212158" y="0"/>
                      <a:pt x="214238" y="0"/>
                      <a:pt x="215278" y="1040"/>
                    </a:cubicBezTo>
                    <a:cubicBezTo>
                      <a:pt x="216318" y="2080"/>
                      <a:pt x="217358" y="3120"/>
                      <a:pt x="217358" y="5200"/>
                    </a:cubicBezTo>
                    <a:lnTo>
                      <a:pt x="217358" y="663253"/>
                    </a:lnTo>
                    <a:cubicBezTo>
                      <a:pt x="217358" y="665332"/>
                      <a:pt x="216318" y="666372"/>
                      <a:pt x="215278" y="667412"/>
                    </a:cubicBezTo>
                    <a:cubicBezTo>
                      <a:pt x="214238" y="668452"/>
                      <a:pt x="213198" y="668452"/>
                      <a:pt x="212158" y="668452"/>
                    </a:cubicBezTo>
                    <a:close/>
                    <a:moveTo>
                      <a:pt x="10660" y="616453"/>
                    </a:moveTo>
                    <a:lnTo>
                      <a:pt x="206958" y="656753"/>
                    </a:lnTo>
                    <a:lnTo>
                      <a:pt x="206958" y="11440"/>
                    </a:lnTo>
                    <a:lnTo>
                      <a:pt x="10660" y="51739"/>
                    </a:lnTo>
                    <a:lnTo>
                      <a:pt x="10660" y="616453"/>
                    </a:lnTo>
                    <a:close/>
                  </a:path>
                </a:pathLst>
              </a:custGeom>
              <a:solidFill>
                <a:srgbClr val="0069FF"/>
              </a:solidFill>
              <a:ln w="2597" cap="flat">
                <a:noFill/>
                <a:prstDash val="solid"/>
                <a:miter/>
              </a:ln>
            </p:spPr>
            <p:txBody>
              <a:bodyPr rtlCol="0" anchor="ctr"/>
              <a:lstStyle/>
              <a:p>
                <a:endParaRPr lang="en-GB"/>
              </a:p>
            </p:txBody>
          </p:sp>
        </p:grpSp>
        <p:sp>
          <p:nvSpPr>
            <p:cNvPr id="732" name="Freeform: Shape 731">
              <a:extLst>
                <a:ext uri="{FF2B5EF4-FFF2-40B4-BE49-F238E27FC236}">
                  <a16:creationId xmlns:a16="http://schemas.microsoft.com/office/drawing/2014/main" id="{415D00F9-84C1-B3BB-4823-7517FCA9A044}"/>
                </a:ext>
              </a:extLst>
            </p:cNvPr>
            <p:cNvSpPr/>
            <p:nvPr/>
          </p:nvSpPr>
          <p:spPr>
            <a:xfrm>
              <a:off x="3860449" y="2521483"/>
              <a:ext cx="221517" cy="671832"/>
            </a:xfrm>
            <a:custGeom>
              <a:avLst/>
              <a:gdLst>
                <a:gd name="connsiteX0" fmla="*/ 213198 w 221517"/>
                <a:gd name="connsiteY0" fmla="*/ 671832 h 671832"/>
                <a:gd name="connsiteX1" fmla="*/ 212157 w 221517"/>
                <a:gd name="connsiteY1" fmla="*/ 671832 h 671832"/>
                <a:gd name="connsiteX2" fmla="*/ 6240 w 221517"/>
                <a:gd name="connsiteY2" fmla="*/ 630493 h 671832"/>
                <a:gd name="connsiteX3" fmla="*/ 0 w 221517"/>
                <a:gd name="connsiteY3" fmla="*/ 622953 h 671832"/>
                <a:gd name="connsiteX4" fmla="*/ 0 w 221517"/>
                <a:gd name="connsiteY4" fmla="*/ 48879 h 671832"/>
                <a:gd name="connsiteX5" fmla="*/ 6240 w 221517"/>
                <a:gd name="connsiteY5" fmla="*/ 41339 h 671832"/>
                <a:gd name="connsiteX6" fmla="*/ 212157 w 221517"/>
                <a:gd name="connsiteY6" fmla="*/ 0 h 671832"/>
                <a:gd name="connsiteX7" fmla="*/ 218397 w 221517"/>
                <a:gd name="connsiteY7" fmla="*/ 2080 h 671832"/>
                <a:gd name="connsiteX8" fmla="*/ 221518 w 221517"/>
                <a:gd name="connsiteY8" fmla="*/ 8320 h 671832"/>
                <a:gd name="connsiteX9" fmla="*/ 221518 w 221517"/>
                <a:gd name="connsiteY9" fmla="*/ 665332 h 671832"/>
                <a:gd name="connsiteX10" fmla="*/ 218397 w 221517"/>
                <a:gd name="connsiteY10" fmla="*/ 671572 h 671832"/>
                <a:gd name="connsiteX11" fmla="*/ 213198 w 221517"/>
                <a:gd name="connsiteY11" fmla="*/ 671832 h 671832"/>
                <a:gd name="connsiteX12" fmla="*/ 14820 w 221517"/>
                <a:gd name="connsiteY12" fmla="*/ 616713 h 671832"/>
                <a:gd name="connsiteX13" fmla="*/ 204878 w 221517"/>
                <a:gd name="connsiteY13" fmla="*/ 654932 h 671832"/>
                <a:gd name="connsiteX14" fmla="*/ 204878 w 221517"/>
                <a:gd name="connsiteY14" fmla="*/ 17160 h 671832"/>
                <a:gd name="connsiteX15" fmla="*/ 14820 w 221517"/>
                <a:gd name="connsiteY15" fmla="*/ 55379 h 671832"/>
                <a:gd name="connsiteX16" fmla="*/ 14820 w 221517"/>
                <a:gd name="connsiteY16" fmla="*/ 616713 h 67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1517" h="671832">
                  <a:moveTo>
                    <a:pt x="213198" y="671832"/>
                  </a:moveTo>
                  <a:lnTo>
                    <a:pt x="212157" y="671832"/>
                  </a:lnTo>
                  <a:lnTo>
                    <a:pt x="6240" y="630493"/>
                  </a:lnTo>
                  <a:cubicBezTo>
                    <a:pt x="2080" y="629453"/>
                    <a:pt x="0" y="626333"/>
                    <a:pt x="0" y="622953"/>
                  </a:cubicBezTo>
                  <a:lnTo>
                    <a:pt x="0" y="48879"/>
                  </a:lnTo>
                  <a:cubicBezTo>
                    <a:pt x="0" y="44719"/>
                    <a:pt x="3120" y="41339"/>
                    <a:pt x="6240" y="41339"/>
                  </a:cubicBezTo>
                  <a:lnTo>
                    <a:pt x="212157" y="0"/>
                  </a:lnTo>
                  <a:cubicBezTo>
                    <a:pt x="214238" y="0"/>
                    <a:pt x="216318" y="0"/>
                    <a:pt x="218397" y="2080"/>
                  </a:cubicBezTo>
                  <a:cubicBezTo>
                    <a:pt x="220478" y="4160"/>
                    <a:pt x="221518" y="6240"/>
                    <a:pt x="221518" y="8320"/>
                  </a:cubicBezTo>
                  <a:lnTo>
                    <a:pt x="221518" y="665332"/>
                  </a:lnTo>
                  <a:cubicBezTo>
                    <a:pt x="221518" y="667412"/>
                    <a:pt x="220478" y="669492"/>
                    <a:pt x="218397" y="671572"/>
                  </a:cubicBezTo>
                  <a:cubicBezTo>
                    <a:pt x="216318" y="671832"/>
                    <a:pt x="215278" y="671832"/>
                    <a:pt x="213198" y="671832"/>
                  </a:cubicBezTo>
                  <a:close/>
                  <a:moveTo>
                    <a:pt x="14820" y="616713"/>
                  </a:moveTo>
                  <a:lnTo>
                    <a:pt x="204878" y="654932"/>
                  </a:lnTo>
                  <a:lnTo>
                    <a:pt x="204878" y="17160"/>
                  </a:lnTo>
                  <a:lnTo>
                    <a:pt x="14820" y="55379"/>
                  </a:lnTo>
                  <a:lnTo>
                    <a:pt x="14820" y="616713"/>
                  </a:lnTo>
                  <a:close/>
                </a:path>
              </a:pathLst>
            </a:custGeom>
            <a:solidFill>
              <a:srgbClr val="00005A"/>
            </a:solidFill>
            <a:ln w="2597" cap="flat">
              <a:noFill/>
              <a:prstDash val="solid"/>
              <a:miter/>
            </a:ln>
          </p:spPr>
          <p:txBody>
            <a:bodyPr rtlCol="0" anchor="ctr"/>
            <a:lstStyle/>
            <a:p>
              <a:endParaRPr lang="en-GB"/>
            </a:p>
          </p:txBody>
        </p:sp>
        <p:sp>
          <p:nvSpPr>
            <p:cNvPr id="733" name="Freeform: Shape 732">
              <a:extLst>
                <a:ext uri="{FF2B5EF4-FFF2-40B4-BE49-F238E27FC236}">
                  <a16:creationId xmlns:a16="http://schemas.microsoft.com/office/drawing/2014/main" id="{EB3CDCDE-4335-C797-779A-0268C07573AC}"/>
                </a:ext>
              </a:extLst>
            </p:cNvPr>
            <p:cNvSpPr/>
            <p:nvPr/>
          </p:nvSpPr>
          <p:spPr>
            <a:xfrm>
              <a:off x="3869607" y="2554301"/>
              <a:ext cx="212560" cy="52200"/>
            </a:xfrm>
            <a:custGeom>
              <a:avLst/>
              <a:gdLst>
                <a:gd name="connsiteX0" fmla="*/ 7741 w 212560"/>
                <a:gd name="connsiteY0" fmla="*/ 52201 h 52200"/>
                <a:gd name="connsiteX1" fmla="*/ 201 w 212560"/>
                <a:gd name="connsiteY1" fmla="*/ 45961 h 52200"/>
                <a:gd name="connsiteX2" fmla="*/ 6441 w 212560"/>
                <a:gd name="connsiteY2" fmla="*/ 36341 h 52200"/>
                <a:gd name="connsiteX3" fmla="*/ 202739 w 212560"/>
                <a:gd name="connsiteY3" fmla="*/ 202 h 52200"/>
                <a:gd name="connsiteX4" fmla="*/ 212359 w 212560"/>
                <a:gd name="connsiteY4" fmla="*/ 6442 h 52200"/>
                <a:gd name="connsiteX5" fmla="*/ 206119 w 212560"/>
                <a:gd name="connsiteY5" fmla="*/ 16061 h 52200"/>
                <a:gd name="connsiteX6" fmla="*/ 9822 w 212560"/>
                <a:gd name="connsiteY6" fmla="*/ 52201 h 52200"/>
                <a:gd name="connsiteX7" fmla="*/ 7741 w 212560"/>
                <a:gd name="connsiteY7" fmla="*/ 52201 h 5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560" h="52200">
                  <a:moveTo>
                    <a:pt x="7741" y="52201"/>
                  </a:moveTo>
                  <a:cubicBezTo>
                    <a:pt x="3582" y="52201"/>
                    <a:pt x="201" y="49081"/>
                    <a:pt x="201" y="45961"/>
                  </a:cubicBezTo>
                  <a:cubicBezTo>
                    <a:pt x="-838" y="41801"/>
                    <a:pt x="2282" y="37381"/>
                    <a:pt x="6441" y="36341"/>
                  </a:cubicBezTo>
                  <a:lnTo>
                    <a:pt x="202739" y="202"/>
                  </a:lnTo>
                  <a:cubicBezTo>
                    <a:pt x="206899" y="-838"/>
                    <a:pt x="211319" y="2282"/>
                    <a:pt x="212359" y="6442"/>
                  </a:cubicBezTo>
                  <a:cubicBezTo>
                    <a:pt x="213399" y="10601"/>
                    <a:pt x="210279" y="15021"/>
                    <a:pt x="206119" y="16061"/>
                  </a:cubicBezTo>
                  <a:lnTo>
                    <a:pt x="9822" y="52201"/>
                  </a:lnTo>
                  <a:cubicBezTo>
                    <a:pt x="8782" y="52201"/>
                    <a:pt x="7741" y="52201"/>
                    <a:pt x="7741" y="52201"/>
                  </a:cubicBezTo>
                  <a:close/>
                </a:path>
              </a:pathLst>
            </a:custGeom>
            <a:solidFill>
              <a:srgbClr val="00005A"/>
            </a:solidFill>
            <a:ln w="2597" cap="flat">
              <a:noFill/>
              <a:prstDash val="solid"/>
              <a:miter/>
            </a:ln>
          </p:spPr>
          <p:txBody>
            <a:bodyPr rtlCol="0" anchor="ctr"/>
            <a:lstStyle/>
            <a:p>
              <a:endParaRPr lang="en-GB"/>
            </a:p>
          </p:txBody>
        </p:sp>
        <p:sp>
          <p:nvSpPr>
            <p:cNvPr id="734" name="Freeform: Shape 733">
              <a:extLst>
                <a:ext uri="{FF2B5EF4-FFF2-40B4-BE49-F238E27FC236}">
                  <a16:creationId xmlns:a16="http://schemas.microsoft.com/office/drawing/2014/main" id="{5B10BF1D-8828-798E-3A55-7A7D44D6BF8E}"/>
                </a:ext>
              </a:extLst>
            </p:cNvPr>
            <p:cNvSpPr/>
            <p:nvPr/>
          </p:nvSpPr>
          <p:spPr>
            <a:xfrm>
              <a:off x="3859990" y="2743061"/>
              <a:ext cx="222434" cy="41798"/>
            </a:xfrm>
            <a:custGeom>
              <a:avLst/>
              <a:gdLst>
                <a:gd name="connsiteX0" fmla="*/ 7739 w 222434"/>
                <a:gd name="connsiteY0" fmla="*/ 41798 h 41798"/>
                <a:gd name="connsiteX1" fmla="*/ 199 w 222434"/>
                <a:gd name="connsiteY1" fmla="*/ 34258 h 41798"/>
                <a:gd name="connsiteX2" fmla="*/ 7739 w 222434"/>
                <a:gd name="connsiteY2" fmla="*/ 25678 h 41798"/>
                <a:gd name="connsiteX3" fmla="*/ 213656 w 222434"/>
                <a:gd name="connsiteY3" fmla="*/ 199 h 41798"/>
                <a:gd name="connsiteX4" fmla="*/ 222236 w 222434"/>
                <a:gd name="connsiteY4" fmla="*/ 7739 h 41798"/>
                <a:gd name="connsiteX5" fmla="*/ 214696 w 222434"/>
                <a:gd name="connsiteY5" fmla="*/ 16319 h 41798"/>
                <a:gd name="connsiteX6" fmla="*/ 7739 w 222434"/>
                <a:gd name="connsiteY6" fmla="*/ 41798 h 41798"/>
                <a:gd name="connsiteX7" fmla="*/ 7739 w 222434"/>
                <a:gd name="connsiteY7" fmla="*/ 41798 h 41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434" h="41798">
                  <a:moveTo>
                    <a:pt x="7739" y="41798"/>
                  </a:moveTo>
                  <a:cubicBezTo>
                    <a:pt x="3579" y="41798"/>
                    <a:pt x="199" y="38678"/>
                    <a:pt x="199" y="34258"/>
                  </a:cubicBezTo>
                  <a:cubicBezTo>
                    <a:pt x="-841" y="30098"/>
                    <a:pt x="2279" y="25678"/>
                    <a:pt x="7739" y="25678"/>
                  </a:cubicBezTo>
                  <a:lnTo>
                    <a:pt x="213656" y="199"/>
                  </a:lnTo>
                  <a:cubicBezTo>
                    <a:pt x="217816" y="-841"/>
                    <a:pt x="222236" y="2279"/>
                    <a:pt x="222236" y="7739"/>
                  </a:cubicBezTo>
                  <a:cubicBezTo>
                    <a:pt x="223276" y="11899"/>
                    <a:pt x="220156" y="16319"/>
                    <a:pt x="214696" y="16319"/>
                  </a:cubicBezTo>
                  <a:lnTo>
                    <a:pt x="7739" y="41798"/>
                  </a:lnTo>
                  <a:cubicBezTo>
                    <a:pt x="8779" y="40758"/>
                    <a:pt x="7739" y="41798"/>
                    <a:pt x="7739" y="41798"/>
                  </a:cubicBezTo>
                  <a:close/>
                </a:path>
              </a:pathLst>
            </a:custGeom>
            <a:solidFill>
              <a:srgbClr val="00005A"/>
            </a:solidFill>
            <a:ln w="2597" cap="flat">
              <a:noFill/>
              <a:prstDash val="solid"/>
              <a:miter/>
            </a:ln>
          </p:spPr>
          <p:txBody>
            <a:bodyPr rtlCol="0" anchor="ctr"/>
            <a:lstStyle/>
            <a:p>
              <a:endParaRPr lang="en-GB"/>
            </a:p>
          </p:txBody>
        </p:sp>
        <p:sp>
          <p:nvSpPr>
            <p:cNvPr id="735" name="Freeform: Shape 734">
              <a:extLst>
                <a:ext uri="{FF2B5EF4-FFF2-40B4-BE49-F238E27FC236}">
                  <a16:creationId xmlns:a16="http://schemas.microsoft.com/office/drawing/2014/main" id="{7C9EAD68-AF33-E81C-EA22-7EA723CFCB57}"/>
                </a:ext>
              </a:extLst>
            </p:cNvPr>
            <p:cNvSpPr/>
            <p:nvPr/>
          </p:nvSpPr>
          <p:spPr>
            <a:xfrm>
              <a:off x="3860166" y="2965015"/>
              <a:ext cx="221302" cy="44741"/>
            </a:xfrm>
            <a:custGeom>
              <a:avLst/>
              <a:gdLst>
                <a:gd name="connsiteX0" fmla="*/ 213480 w 221302"/>
                <a:gd name="connsiteY0" fmla="*/ 44742 h 44741"/>
                <a:gd name="connsiteX1" fmla="*/ 212440 w 221302"/>
                <a:gd name="connsiteY1" fmla="*/ 44742 h 44741"/>
                <a:gd name="connsiteX2" fmla="*/ 6522 w 221302"/>
                <a:gd name="connsiteY2" fmla="*/ 15102 h 44741"/>
                <a:gd name="connsiteX3" fmla="*/ 282 w 221302"/>
                <a:gd name="connsiteY3" fmla="*/ 6522 h 44741"/>
                <a:gd name="connsiteX4" fmla="*/ 8862 w 221302"/>
                <a:gd name="connsiteY4" fmla="*/ 282 h 44741"/>
                <a:gd name="connsiteX5" fmla="*/ 214780 w 221302"/>
                <a:gd name="connsiteY5" fmla="*/ 29922 h 44741"/>
                <a:gd name="connsiteX6" fmla="*/ 221020 w 221302"/>
                <a:gd name="connsiteY6" fmla="*/ 38502 h 44741"/>
                <a:gd name="connsiteX7" fmla="*/ 213480 w 221302"/>
                <a:gd name="connsiteY7" fmla="*/ 44742 h 44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1302" h="44741">
                  <a:moveTo>
                    <a:pt x="213480" y="44742"/>
                  </a:moveTo>
                  <a:lnTo>
                    <a:pt x="212440" y="44742"/>
                  </a:lnTo>
                  <a:lnTo>
                    <a:pt x="6522" y="15102"/>
                  </a:lnTo>
                  <a:cubicBezTo>
                    <a:pt x="2362" y="14062"/>
                    <a:pt x="-1018" y="10942"/>
                    <a:pt x="282" y="6522"/>
                  </a:cubicBezTo>
                  <a:cubicBezTo>
                    <a:pt x="1322" y="2362"/>
                    <a:pt x="4442" y="-1018"/>
                    <a:pt x="8862" y="282"/>
                  </a:cubicBezTo>
                  <a:lnTo>
                    <a:pt x="214780" y="29922"/>
                  </a:lnTo>
                  <a:cubicBezTo>
                    <a:pt x="218940" y="30962"/>
                    <a:pt x="222320" y="34082"/>
                    <a:pt x="221020" y="38502"/>
                  </a:cubicBezTo>
                  <a:cubicBezTo>
                    <a:pt x="221020" y="42662"/>
                    <a:pt x="217640" y="44742"/>
                    <a:pt x="213480" y="44742"/>
                  </a:cubicBezTo>
                  <a:close/>
                </a:path>
              </a:pathLst>
            </a:custGeom>
            <a:solidFill>
              <a:srgbClr val="00005A"/>
            </a:solidFill>
            <a:ln w="2597" cap="flat">
              <a:noFill/>
              <a:prstDash val="solid"/>
              <a:miter/>
            </a:ln>
          </p:spPr>
          <p:txBody>
            <a:bodyPr rtlCol="0" anchor="ctr"/>
            <a:lstStyle/>
            <a:p>
              <a:endParaRPr lang="en-GB"/>
            </a:p>
          </p:txBody>
        </p:sp>
        <p:sp>
          <p:nvSpPr>
            <p:cNvPr id="736" name="Freeform: Shape 735">
              <a:extLst>
                <a:ext uri="{FF2B5EF4-FFF2-40B4-BE49-F238E27FC236}">
                  <a16:creationId xmlns:a16="http://schemas.microsoft.com/office/drawing/2014/main" id="{F8117369-3989-6551-0014-85466E348BB1}"/>
                </a:ext>
              </a:extLst>
            </p:cNvPr>
            <p:cNvSpPr/>
            <p:nvPr/>
          </p:nvSpPr>
          <p:spPr>
            <a:xfrm>
              <a:off x="3931428" y="2579982"/>
              <a:ext cx="17159" cy="585773"/>
            </a:xfrm>
            <a:custGeom>
              <a:avLst/>
              <a:gdLst>
                <a:gd name="connsiteX0" fmla="*/ 8580 w 17159"/>
                <a:gd name="connsiteY0" fmla="*/ 585773 h 585773"/>
                <a:gd name="connsiteX1" fmla="*/ 0 w 17159"/>
                <a:gd name="connsiteY1" fmla="*/ 577193 h 585773"/>
                <a:gd name="connsiteX2" fmla="*/ 0 w 17159"/>
                <a:gd name="connsiteY2" fmla="*/ 8580 h 585773"/>
                <a:gd name="connsiteX3" fmla="*/ 8580 w 17159"/>
                <a:gd name="connsiteY3" fmla="*/ 0 h 585773"/>
                <a:gd name="connsiteX4" fmla="*/ 17160 w 17159"/>
                <a:gd name="connsiteY4" fmla="*/ 8580 h 585773"/>
                <a:gd name="connsiteX5" fmla="*/ 17160 w 17159"/>
                <a:gd name="connsiteY5" fmla="*/ 577453 h 585773"/>
                <a:gd name="connsiteX6" fmla="*/ 8580 w 17159"/>
                <a:gd name="connsiteY6" fmla="*/ 585773 h 585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59" h="585773">
                  <a:moveTo>
                    <a:pt x="8580" y="585773"/>
                  </a:moveTo>
                  <a:cubicBezTo>
                    <a:pt x="4420" y="585773"/>
                    <a:pt x="0" y="582653"/>
                    <a:pt x="0" y="577193"/>
                  </a:cubicBezTo>
                  <a:lnTo>
                    <a:pt x="0" y="8580"/>
                  </a:lnTo>
                  <a:cubicBezTo>
                    <a:pt x="0" y="4420"/>
                    <a:pt x="3120" y="0"/>
                    <a:pt x="8580" y="0"/>
                  </a:cubicBezTo>
                  <a:cubicBezTo>
                    <a:pt x="13780" y="0"/>
                    <a:pt x="17160" y="3120"/>
                    <a:pt x="17160" y="8580"/>
                  </a:cubicBezTo>
                  <a:lnTo>
                    <a:pt x="17160" y="577453"/>
                  </a:lnTo>
                  <a:cubicBezTo>
                    <a:pt x="16900" y="581613"/>
                    <a:pt x="12740" y="585773"/>
                    <a:pt x="8580" y="585773"/>
                  </a:cubicBezTo>
                  <a:close/>
                </a:path>
              </a:pathLst>
            </a:custGeom>
            <a:solidFill>
              <a:srgbClr val="00005A"/>
            </a:solidFill>
            <a:ln w="2597" cap="flat">
              <a:noFill/>
              <a:prstDash val="solid"/>
              <a:miter/>
            </a:ln>
          </p:spPr>
          <p:txBody>
            <a:bodyPr rtlCol="0" anchor="ctr"/>
            <a:lstStyle/>
            <a:p>
              <a:endParaRPr lang="en-GB"/>
            </a:p>
          </p:txBody>
        </p:sp>
        <p:sp>
          <p:nvSpPr>
            <p:cNvPr id="737" name="Freeform: Shape 736">
              <a:extLst>
                <a:ext uri="{FF2B5EF4-FFF2-40B4-BE49-F238E27FC236}">
                  <a16:creationId xmlns:a16="http://schemas.microsoft.com/office/drawing/2014/main" id="{A6148BE9-9C04-C7E5-A722-20F612001351}"/>
                </a:ext>
              </a:extLst>
            </p:cNvPr>
            <p:cNvSpPr/>
            <p:nvPr/>
          </p:nvSpPr>
          <p:spPr>
            <a:xfrm>
              <a:off x="3998247" y="2571402"/>
              <a:ext cx="17159" cy="608133"/>
            </a:xfrm>
            <a:custGeom>
              <a:avLst/>
              <a:gdLst>
                <a:gd name="connsiteX0" fmla="*/ 8580 w 17159"/>
                <a:gd name="connsiteY0" fmla="*/ 608133 h 608133"/>
                <a:gd name="connsiteX1" fmla="*/ 0 w 17159"/>
                <a:gd name="connsiteY1" fmla="*/ 599553 h 608133"/>
                <a:gd name="connsiteX2" fmla="*/ 0 w 17159"/>
                <a:gd name="connsiteY2" fmla="*/ 8580 h 608133"/>
                <a:gd name="connsiteX3" fmla="*/ 8580 w 17159"/>
                <a:gd name="connsiteY3" fmla="*/ 0 h 608133"/>
                <a:gd name="connsiteX4" fmla="*/ 17160 w 17159"/>
                <a:gd name="connsiteY4" fmla="*/ 8580 h 608133"/>
                <a:gd name="connsiteX5" fmla="*/ 17160 w 17159"/>
                <a:gd name="connsiteY5" fmla="*/ 599813 h 608133"/>
                <a:gd name="connsiteX6" fmla="*/ 8580 w 17159"/>
                <a:gd name="connsiteY6" fmla="*/ 608133 h 60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59" h="608133">
                  <a:moveTo>
                    <a:pt x="8580" y="608133"/>
                  </a:moveTo>
                  <a:cubicBezTo>
                    <a:pt x="4420" y="608133"/>
                    <a:pt x="0" y="605013"/>
                    <a:pt x="0" y="599553"/>
                  </a:cubicBezTo>
                  <a:lnTo>
                    <a:pt x="0" y="8580"/>
                  </a:lnTo>
                  <a:cubicBezTo>
                    <a:pt x="0" y="4420"/>
                    <a:pt x="3120" y="0"/>
                    <a:pt x="8580" y="0"/>
                  </a:cubicBezTo>
                  <a:cubicBezTo>
                    <a:pt x="13780" y="0"/>
                    <a:pt x="17160" y="3120"/>
                    <a:pt x="17160" y="8580"/>
                  </a:cubicBezTo>
                  <a:lnTo>
                    <a:pt x="17160" y="599813"/>
                  </a:lnTo>
                  <a:cubicBezTo>
                    <a:pt x="17160" y="605013"/>
                    <a:pt x="12740" y="608133"/>
                    <a:pt x="8580" y="608133"/>
                  </a:cubicBezTo>
                  <a:close/>
                </a:path>
              </a:pathLst>
            </a:custGeom>
            <a:solidFill>
              <a:srgbClr val="00005A"/>
            </a:solidFill>
            <a:ln w="2597" cap="flat">
              <a:noFill/>
              <a:prstDash val="solid"/>
              <a:miter/>
            </a:ln>
          </p:spPr>
          <p:txBody>
            <a:bodyPr rtlCol="0" anchor="ctr"/>
            <a:lstStyle/>
            <a:p>
              <a:endParaRPr lang="en-GB"/>
            </a:p>
          </p:txBody>
        </p:sp>
        <p:sp>
          <p:nvSpPr>
            <p:cNvPr id="738" name="Freeform: Shape 737">
              <a:extLst>
                <a:ext uri="{FF2B5EF4-FFF2-40B4-BE49-F238E27FC236}">
                  <a16:creationId xmlns:a16="http://schemas.microsoft.com/office/drawing/2014/main" id="{2BEB3B5B-D2A3-2CDD-A7A8-5CB5687D147C}"/>
                </a:ext>
              </a:extLst>
            </p:cNvPr>
            <p:cNvSpPr/>
            <p:nvPr/>
          </p:nvSpPr>
          <p:spPr>
            <a:xfrm>
              <a:off x="3683131" y="2707121"/>
              <a:ext cx="20279" cy="20279"/>
            </a:xfrm>
            <a:custGeom>
              <a:avLst/>
              <a:gdLst>
                <a:gd name="connsiteX0" fmla="*/ 9620 w 20279"/>
                <a:gd name="connsiteY0" fmla="*/ 20280 h 20279"/>
                <a:gd name="connsiteX1" fmla="*/ 0 w 20279"/>
                <a:gd name="connsiteY1" fmla="*/ 10660 h 20279"/>
                <a:gd name="connsiteX2" fmla="*/ 9620 w 20279"/>
                <a:gd name="connsiteY2" fmla="*/ 0 h 20279"/>
                <a:gd name="connsiteX3" fmla="*/ 20280 w 20279"/>
                <a:gd name="connsiteY3" fmla="*/ 10660 h 20279"/>
                <a:gd name="connsiteX4" fmla="*/ 9620 w 20279"/>
                <a:gd name="connsiteY4" fmla="*/ 20280 h 20279"/>
                <a:gd name="connsiteX5" fmla="*/ 9620 w 20279"/>
                <a:gd name="connsiteY5" fmla="*/ 4420 h 20279"/>
                <a:gd name="connsiteX6" fmla="*/ 4420 w 20279"/>
                <a:gd name="connsiteY6" fmla="*/ 10660 h 20279"/>
                <a:gd name="connsiteX7" fmla="*/ 9620 w 20279"/>
                <a:gd name="connsiteY7" fmla="*/ 15860 h 20279"/>
                <a:gd name="connsiteX8" fmla="*/ 15860 w 20279"/>
                <a:gd name="connsiteY8" fmla="*/ 10660 h 20279"/>
                <a:gd name="connsiteX9" fmla="*/ 9620 w 20279"/>
                <a:gd name="connsiteY9" fmla="*/ 442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9620" y="20280"/>
                  </a:moveTo>
                  <a:cubicBezTo>
                    <a:pt x="4420" y="20280"/>
                    <a:pt x="0" y="16120"/>
                    <a:pt x="0" y="10660"/>
                  </a:cubicBezTo>
                  <a:cubicBezTo>
                    <a:pt x="0" y="5460"/>
                    <a:pt x="4160" y="0"/>
                    <a:pt x="9620" y="0"/>
                  </a:cubicBezTo>
                  <a:cubicBezTo>
                    <a:pt x="14820" y="0"/>
                    <a:pt x="20280" y="4160"/>
                    <a:pt x="20280" y="10660"/>
                  </a:cubicBezTo>
                  <a:cubicBezTo>
                    <a:pt x="20020" y="16120"/>
                    <a:pt x="14820" y="20280"/>
                    <a:pt x="9620" y="20280"/>
                  </a:cubicBezTo>
                  <a:close/>
                  <a:moveTo>
                    <a:pt x="9620" y="4420"/>
                  </a:moveTo>
                  <a:cubicBezTo>
                    <a:pt x="6500" y="4420"/>
                    <a:pt x="4420" y="6500"/>
                    <a:pt x="4420" y="10660"/>
                  </a:cubicBezTo>
                  <a:cubicBezTo>
                    <a:pt x="4420" y="14820"/>
                    <a:pt x="6500" y="15860"/>
                    <a:pt x="9620" y="15860"/>
                  </a:cubicBezTo>
                  <a:cubicBezTo>
                    <a:pt x="12740" y="15860"/>
                    <a:pt x="15860" y="13780"/>
                    <a:pt x="15860" y="10660"/>
                  </a:cubicBezTo>
                  <a:cubicBezTo>
                    <a:pt x="15860" y="7540"/>
                    <a:pt x="12740" y="4420"/>
                    <a:pt x="9620" y="4420"/>
                  </a:cubicBezTo>
                  <a:close/>
                </a:path>
              </a:pathLst>
            </a:custGeom>
            <a:solidFill>
              <a:srgbClr val="00005A"/>
            </a:solidFill>
            <a:ln w="2597" cap="flat">
              <a:noFill/>
              <a:prstDash val="solid"/>
              <a:miter/>
            </a:ln>
          </p:spPr>
          <p:txBody>
            <a:bodyPr rtlCol="0" anchor="ctr"/>
            <a:lstStyle/>
            <a:p>
              <a:endParaRPr lang="en-GB"/>
            </a:p>
          </p:txBody>
        </p:sp>
        <p:sp>
          <p:nvSpPr>
            <p:cNvPr id="739" name="Freeform: Shape 738">
              <a:extLst>
                <a:ext uri="{FF2B5EF4-FFF2-40B4-BE49-F238E27FC236}">
                  <a16:creationId xmlns:a16="http://schemas.microsoft.com/office/drawing/2014/main" id="{12D68B2C-7730-141E-2E3E-A32A7BBC9959}"/>
                </a:ext>
              </a:extLst>
            </p:cNvPr>
            <p:cNvSpPr/>
            <p:nvPr/>
          </p:nvSpPr>
          <p:spPr>
            <a:xfrm>
              <a:off x="3827429" y="2694381"/>
              <a:ext cx="20279" cy="20279"/>
            </a:xfrm>
            <a:custGeom>
              <a:avLst/>
              <a:gdLst>
                <a:gd name="connsiteX0" fmla="*/ 10660 w 20279"/>
                <a:gd name="connsiteY0" fmla="*/ 20280 h 20279"/>
                <a:gd name="connsiteX1" fmla="*/ 0 w 20279"/>
                <a:gd name="connsiteY1" fmla="*/ 9620 h 20279"/>
                <a:gd name="connsiteX2" fmla="*/ 10660 w 20279"/>
                <a:gd name="connsiteY2" fmla="*/ 0 h 20279"/>
                <a:gd name="connsiteX3" fmla="*/ 20280 w 20279"/>
                <a:gd name="connsiteY3" fmla="*/ 9620 h 20279"/>
                <a:gd name="connsiteX4" fmla="*/ 10660 w 20279"/>
                <a:gd name="connsiteY4" fmla="*/ 20280 h 20279"/>
                <a:gd name="connsiteX5" fmla="*/ 10660 w 20279"/>
                <a:gd name="connsiteY5" fmla="*/ 4420 h 20279"/>
                <a:gd name="connsiteX6" fmla="*/ 4420 w 20279"/>
                <a:gd name="connsiteY6" fmla="*/ 9620 h 20279"/>
                <a:gd name="connsiteX7" fmla="*/ 10660 w 20279"/>
                <a:gd name="connsiteY7" fmla="*/ 15860 h 20279"/>
                <a:gd name="connsiteX8" fmla="*/ 15860 w 20279"/>
                <a:gd name="connsiteY8" fmla="*/ 9620 h 20279"/>
                <a:gd name="connsiteX9" fmla="*/ 10660 w 20279"/>
                <a:gd name="connsiteY9" fmla="*/ 442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10660" y="20280"/>
                  </a:moveTo>
                  <a:cubicBezTo>
                    <a:pt x="5460" y="20280"/>
                    <a:pt x="0" y="16120"/>
                    <a:pt x="0" y="9620"/>
                  </a:cubicBezTo>
                  <a:cubicBezTo>
                    <a:pt x="0" y="4420"/>
                    <a:pt x="4160" y="0"/>
                    <a:pt x="10660" y="0"/>
                  </a:cubicBezTo>
                  <a:cubicBezTo>
                    <a:pt x="15860" y="0"/>
                    <a:pt x="20280" y="4160"/>
                    <a:pt x="20280" y="9620"/>
                  </a:cubicBezTo>
                  <a:cubicBezTo>
                    <a:pt x="20280" y="15080"/>
                    <a:pt x="15860" y="20280"/>
                    <a:pt x="10660" y="20280"/>
                  </a:cubicBezTo>
                  <a:close/>
                  <a:moveTo>
                    <a:pt x="10660" y="4420"/>
                  </a:moveTo>
                  <a:cubicBezTo>
                    <a:pt x="7540" y="4420"/>
                    <a:pt x="4420" y="6500"/>
                    <a:pt x="4420" y="9620"/>
                  </a:cubicBezTo>
                  <a:cubicBezTo>
                    <a:pt x="4420" y="12740"/>
                    <a:pt x="6500" y="15860"/>
                    <a:pt x="10660" y="15860"/>
                  </a:cubicBezTo>
                  <a:cubicBezTo>
                    <a:pt x="14820" y="15860"/>
                    <a:pt x="15860" y="13780"/>
                    <a:pt x="15860" y="9620"/>
                  </a:cubicBezTo>
                  <a:cubicBezTo>
                    <a:pt x="15860" y="5460"/>
                    <a:pt x="13780" y="4420"/>
                    <a:pt x="10660" y="4420"/>
                  </a:cubicBezTo>
                  <a:close/>
                </a:path>
              </a:pathLst>
            </a:custGeom>
            <a:solidFill>
              <a:srgbClr val="00005A"/>
            </a:solidFill>
            <a:ln w="2597" cap="flat">
              <a:noFill/>
              <a:prstDash val="solid"/>
              <a:miter/>
            </a:ln>
          </p:spPr>
          <p:txBody>
            <a:bodyPr rtlCol="0" anchor="ctr"/>
            <a:lstStyle/>
            <a:p>
              <a:endParaRPr lang="en-GB"/>
            </a:p>
          </p:txBody>
        </p:sp>
        <p:sp>
          <p:nvSpPr>
            <p:cNvPr id="740" name="Freeform: Shape 739">
              <a:extLst>
                <a:ext uri="{FF2B5EF4-FFF2-40B4-BE49-F238E27FC236}">
                  <a16:creationId xmlns:a16="http://schemas.microsoft.com/office/drawing/2014/main" id="{95B061D7-C29D-BDA5-2004-38EEC2C24026}"/>
                </a:ext>
              </a:extLst>
            </p:cNvPr>
            <p:cNvSpPr/>
            <p:nvPr/>
          </p:nvSpPr>
          <p:spPr>
            <a:xfrm>
              <a:off x="3884628" y="2731560"/>
              <a:ext cx="21319" cy="21319"/>
            </a:xfrm>
            <a:custGeom>
              <a:avLst/>
              <a:gdLst>
                <a:gd name="connsiteX0" fmla="*/ 10660 w 21319"/>
                <a:gd name="connsiteY0" fmla="*/ 21320 h 21319"/>
                <a:gd name="connsiteX1" fmla="*/ 0 w 21319"/>
                <a:gd name="connsiteY1" fmla="*/ 10660 h 21319"/>
                <a:gd name="connsiteX2" fmla="*/ 10660 w 21319"/>
                <a:gd name="connsiteY2" fmla="*/ 0 h 21319"/>
                <a:gd name="connsiteX3" fmla="*/ 21320 w 21319"/>
                <a:gd name="connsiteY3" fmla="*/ 10660 h 21319"/>
                <a:gd name="connsiteX4" fmla="*/ 10660 w 21319"/>
                <a:gd name="connsiteY4" fmla="*/ 21320 h 21319"/>
                <a:gd name="connsiteX5" fmla="*/ 10660 w 21319"/>
                <a:gd name="connsiteY5" fmla="*/ 5460 h 21319"/>
                <a:gd name="connsiteX6" fmla="*/ 5460 w 21319"/>
                <a:gd name="connsiteY6" fmla="*/ 10660 h 21319"/>
                <a:gd name="connsiteX7" fmla="*/ 10660 w 21319"/>
                <a:gd name="connsiteY7" fmla="*/ 15860 h 21319"/>
                <a:gd name="connsiteX8" fmla="*/ 15860 w 21319"/>
                <a:gd name="connsiteY8" fmla="*/ 10660 h 21319"/>
                <a:gd name="connsiteX9" fmla="*/ 10660 w 21319"/>
                <a:gd name="connsiteY9" fmla="*/ 5460 h 2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19" h="21319">
                  <a:moveTo>
                    <a:pt x="10660" y="21320"/>
                  </a:moveTo>
                  <a:cubicBezTo>
                    <a:pt x="5460" y="21320"/>
                    <a:pt x="0" y="17160"/>
                    <a:pt x="0" y="10660"/>
                  </a:cubicBezTo>
                  <a:cubicBezTo>
                    <a:pt x="0" y="4160"/>
                    <a:pt x="4160" y="0"/>
                    <a:pt x="10660" y="0"/>
                  </a:cubicBezTo>
                  <a:cubicBezTo>
                    <a:pt x="17160" y="0"/>
                    <a:pt x="21320" y="4160"/>
                    <a:pt x="21320" y="10660"/>
                  </a:cubicBezTo>
                  <a:cubicBezTo>
                    <a:pt x="21320" y="17160"/>
                    <a:pt x="16120" y="21320"/>
                    <a:pt x="10660" y="21320"/>
                  </a:cubicBezTo>
                  <a:close/>
                  <a:moveTo>
                    <a:pt x="10660" y="5460"/>
                  </a:moveTo>
                  <a:cubicBezTo>
                    <a:pt x="7540" y="5460"/>
                    <a:pt x="5460" y="7540"/>
                    <a:pt x="5460" y="10660"/>
                  </a:cubicBezTo>
                  <a:cubicBezTo>
                    <a:pt x="5460" y="13780"/>
                    <a:pt x="7540" y="15860"/>
                    <a:pt x="10660" y="15860"/>
                  </a:cubicBezTo>
                  <a:cubicBezTo>
                    <a:pt x="13780" y="15860"/>
                    <a:pt x="15860" y="13780"/>
                    <a:pt x="15860" y="10660"/>
                  </a:cubicBezTo>
                  <a:cubicBezTo>
                    <a:pt x="15860" y="7540"/>
                    <a:pt x="14040" y="5460"/>
                    <a:pt x="10660" y="5460"/>
                  </a:cubicBezTo>
                  <a:close/>
                </a:path>
              </a:pathLst>
            </a:custGeom>
            <a:solidFill>
              <a:srgbClr val="00005A"/>
            </a:solidFill>
            <a:ln w="2597" cap="flat">
              <a:noFill/>
              <a:prstDash val="solid"/>
              <a:miter/>
            </a:ln>
          </p:spPr>
          <p:txBody>
            <a:bodyPr rtlCol="0" anchor="ctr"/>
            <a:lstStyle/>
            <a:p>
              <a:endParaRPr lang="en-GB"/>
            </a:p>
          </p:txBody>
        </p:sp>
        <p:sp>
          <p:nvSpPr>
            <p:cNvPr id="741" name="Freeform: Shape 740">
              <a:extLst>
                <a:ext uri="{FF2B5EF4-FFF2-40B4-BE49-F238E27FC236}">
                  <a16:creationId xmlns:a16="http://schemas.microsoft.com/office/drawing/2014/main" id="{E231E4F3-6EB0-24DC-5C30-3A822B0CB3D3}"/>
                </a:ext>
              </a:extLst>
            </p:cNvPr>
            <p:cNvSpPr/>
            <p:nvPr/>
          </p:nvSpPr>
          <p:spPr>
            <a:xfrm>
              <a:off x="3758530" y="2763540"/>
              <a:ext cx="20279" cy="20279"/>
            </a:xfrm>
            <a:custGeom>
              <a:avLst/>
              <a:gdLst>
                <a:gd name="connsiteX0" fmla="*/ 10660 w 20279"/>
                <a:gd name="connsiteY0" fmla="*/ 20280 h 20279"/>
                <a:gd name="connsiteX1" fmla="*/ 0 w 20279"/>
                <a:gd name="connsiteY1" fmla="*/ 9620 h 20279"/>
                <a:gd name="connsiteX2" fmla="*/ 10660 w 20279"/>
                <a:gd name="connsiteY2" fmla="*/ 0 h 20279"/>
                <a:gd name="connsiteX3" fmla="*/ 20280 w 20279"/>
                <a:gd name="connsiteY3" fmla="*/ 9620 h 20279"/>
                <a:gd name="connsiteX4" fmla="*/ 10660 w 20279"/>
                <a:gd name="connsiteY4" fmla="*/ 20280 h 20279"/>
                <a:gd name="connsiteX5" fmla="*/ 10660 w 20279"/>
                <a:gd name="connsiteY5" fmla="*/ 4160 h 20279"/>
                <a:gd name="connsiteX6" fmla="*/ 4420 w 20279"/>
                <a:gd name="connsiteY6" fmla="*/ 9360 h 20279"/>
                <a:gd name="connsiteX7" fmla="*/ 10660 w 20279"/>
                <a:gd name="connsiteY7" fmla="*/ 15600 h 20279"/>
                <a:gd name="connsiteX8" fmla="*/ 15860 w 20279"/>
                <a:gd name="connsiteY8" fmla="*/ 9360 h 20279"/>
                <a:gd name="connsiteX9" fmla="*/ 10660 w 20279"/>
                <a:gd name="connsiteY9" fmla="*/ 416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10660" y="20280"/>
                  </a:moveTo>
                  <a:cubicBezTo>
                    <a:pt x="5460" y="20280"/>
                    <a:pt x="0" y="16120"/>
                    <a:pt x="0" y="9620"/>
                  </a:cubicBezTo>
                  <a:cubicBezTo>
                    <a:pt x="0" y="4420"/>
                    <a:pt x="4160" y="0"/>
                    <a:pt x="10660" y="0"/>
                  </a:cubicBezTo>
                  <a:cubicBezTo>
                    <a:pt x="15860" y="0"/>
                    <a:pt x="20280" y="4160"/>
                    <a:pt x="20280" y="9620"/>
                  </a:cubicBezTo>
                  <a:cubicBezTo>
                    <a:pt x="20280" y="15080"/>
                    <a:pt x="15860" y="20280"/>
                    <a:pt x="10660" y="20280"/>
                  </a:cubicBezTo>
                  <a:close/>
                  <a:moveTo>
                    <a:pt x="10660" y="4160"/>
                  </a:moveTo>
                  <a:cubicBezTo>
                    <a:pt x="7540" y="4160"/>
                    <a:pt x="4420" y="6240"/>
                    <a:pt x="4420" y="9360"/>
                  </a:cubicBezTo>
                  <a:cubicBezTo>
                    <a:pt x="4420" y="12480"/>
                    <a:pt x="6500" y="15600"/>
                    <a:pt x="10660" y="15600"/>
                  </a:cubicBezTo>
                  <a:cubicBezTo>
                    <a:pt x="14820" y="15600"/>
                    <a:pt x="15860" y="13520"/>
                    <a:pt x="15860" y="9360"/>
                  </a:cubicBezTo>
                  <a:cubicBezTo>
                    <a:pt x="15860" y="5200"/>
                    <a:pt x="13780" y="4160"/>
                    <a:pt x="10660" y="4160"/>
                  </a:cubicBezTo>
                  <a:close/>
                </a:path>
              </a:pathLst>
            </a:custGeom>
            <a:solidFill>
              <a:srgbClr val="00005A"/>
            </a:solidFill>
            <a:ln w="2597" cap="flat">
              <a:noFill/>
              <a:prstDash val="solid"/>
              <a:miter/>
            </a:ln>
          </p:spPr>
          <p:txBody>
            <a:bodyPr rtlCol="0" anchor="ctr"/>
            <a:lstStyle/>
            <a:p>
              <a:endParaRPr lang="en-GB"/>
            </a:p>
          </p:txBody>
        </p:sp>
        <p:sp>
          <p:nvSpPr>
            <p:cNvPr id="742" name="Freeform: Shape 741">
              <a:extLst>
                <a:ext uri="{FF2B5EF4-FFF2-40B4-BE49-F238E27FC236}">
                  <a16:creationId xmlns:a16="http://schemas.microsoft.com/office/drawing/2014/main" id="{BF5A13A0-162B-9968-A94F-ACD24AD5AAC0}"/>
                </a:ext>
              </a:extLst>
            </p:cNvPr>
            <p:cNvSpPr/>
            <p:nvPr/>
          </p:nvSpPr>
          <p:spPr>
            <a:xfrm>
              <a:off x="3963147" y="2858959"/>
              <a:ext cx="20279" cy="21319"/>
            </a:xfrm>
            <a:custGeom>
              <a:avLst/>
              <a:gdLst>
                <a:gd name="connsiteX0" fmla="*/ 9620 w 20279"/>
                <a:gd name="connsiteY0" fmla="*/ 21320 h 21319"/>
                <a:gd name="connsiteX1" fmla="*/ 0 w 20279"/>
                <a:gd name="connsiteY1" fmla="*/ 10660 h 21319"/>
                <a:gd name="connsiteX2" fmla="*/ 9620 w 20279"/>
                <a:gd name="connsiteY2" fmla="*/ 0 h 21319"/>
                <a:gd name="connsiteX3" fmla="*/ 20280 w 20279"/>
                <a:gd name="connsiteY3" fmla="*/ 10660 h 21319"/>
                <a:gd name="connsiteX4" fmla="*/ 9620 w 20279"/>
                <a:gd name="connsiteY4" fmla="*/ 21320 h 21319"/>
                <a:gd name="connsiteX5" fmla="*/ 9620 w 20279"/>
                <a:gd name="connsiteY5" fmla="*/ 5460 h 21319"/>
                <a:gd name="connsiteX6" fmla="*/ 4420 w 20279"/>
                <a:gd name="connsiteY6" fmla="*/ 10660 h 21319"/>
                <a:gd name="connsiteX7" fmla="*/ 9620 w 20279"/>
                <a:gd name="connsiteY7" fmla="*/ 15860 h 21319"/>
                <a:gd name="connsiteX8" fmla="*/ 15860 w 20279"/>
                <a:gd name="connsiteY8" fmla="*/ 10660 h 21319"/>
                <a:gd name="connsiteX9" fmla="*/ 9620 w 20279"/>
                <a:gd name="connsiteY9" fmla="*/ 5460 h 2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1319">
                  <a:moveTo>
                    <a:pt x="9620" y="21320"/>
                  </a:moveTo>
                  <a:cubicBezTo>
                    <a:pt x="4420" y="21320"/>
                    <a:pt x="0" y="17160"/>
                    <a:pt x="0" y="10660"/>
                  </a:cubicBezTo>
                  <a:cubicBezTo>
                    <a:pt x="0" y="4160"/>
                    <a:pt x="4160" y="0"/>
                    <a:pt x="9620" y="0"/>
                  </a:cubicBezTo>
                  <a:cubicBezTo>
                    <a:pt x="14820" y="0"/>
                    <a:pt x="20280" y="4160"/>
                    <a:pt x="20280" y="10660"/>
                  </a:cubicBezTo>
                  <a:cubicBezTo>
                    <a:pt x="20280" y="17160"/>
                    <a:pt x="15080" y="21320"/>
                    <a:pt x="9620" y="21320"/>
                  </a:cubicBezTo>
                  <a:close/>
                  <a:moveTo>
                    <a:pt x="9620" y="5460"/>
                  </a:moveTo>
                  <a:cubicBezTo>
                    <a:pt x="6500" y="5460"/>
                    <a:pt x="4420" y="7540"/>
                    <a:pt x="4420" y="10660"/>
                  </a:cubicBezTo>
                  <a:cubicBezTo>
                    <a:pt x="4420" y="13780"/>
                    <a:pt x="6500" y="15860"/>
                    <a:pt x="9620" y="15860"/>
                  </a:cubicBezTo>
                  <a:cubicBezTo>
                    <a:pt x="12740" y="15860"/>
                    <a:pt x="15860" y="13780"/>
                    <a:pt x="15860" y="10660"/>
                  </a:cubicBezTo>
                  <a:cubicBezTo>
                    <a:pt x="15860" y="7540"/>
                    <a:pt x="13000" y="5460"/>
                    <a:pt x="9620" y="5460"/>
                  </a:cubicBezTo>
                  <a:close/>
                </a:path>
              </a:pathLst>
            </a:custGeom>
            <a:solidFill>
              <a:srgbClr val="00005A"/>
            </a:solidFill>
            <a:ln w="2597" cap="flat">
              <a:noFill/>
              <a:prstDash val="solid"/>
              <a:miter/>
            </a:ln>
          </p:spPr>
          <p:txBody>
            <a:bodyPr rtlCol="0" anchor="ctr"/>
            <a:lstStyle/>
            <a:p>
              <a:endParaRPr lang="en-GB"/>
            </a:p>
          </p:txBody>
        </p:sp>
        <p:sp>
          <p:nvSpPr>
            <p:cNvPr id="743" name="Freeform: Shape 742">
              <a:extLst>
                <a:ext uri="{FF2B5EF4-FFF2-40B4-BE49-F238E27FC236}">
                  <a16:creationId xmlns:a16="http://schemas.microsoft.com/office/drawing/2014/main" id="{90EE469F-7005-9442-2D08-2338C2FDC9CF}"/>
                </a:ext>
              </a:extLst>
            </p:cNvPr>
            <p:cNvSpPr/>
            <p:nvPr/>
          </p:nvSpPr>
          <p:spPr>
            <a:xfrm>
              <a:off x="3756190" y="2930198"/>
              <a:ext cx="20279" cy="20279"/>
            </a:xfrm>
            <a:custGeom>
              <a:avLst/>
              <a:gdLst>
                <a:gd name="connsiteX0" fmla="*/ 9620 w 20279"/>
                <a:gd name="connsiteY0" fmla="*/ 20280 h 20279"/>
                <a:gd name="connsiteX1" fmla="*/ 0 w 20279"/>
                <a:gd name="connsiteY1" fmla="*/ 10660 h 20279"/>
                <a:gd name="connsiteX2" fmla="*/ 9620 w 20279"/>
                <a:gd name="connsiteY2" fmla="*/ 0 h 20279"/>
                <a:gd name="connsiteX3" fmla="*/ 20280 w 20279"/>
                <a:gd name="connsiteY3" fmla="*/ 10660 h 20279"/>
                <a:gd name="connsiteX4" fmla="*/ 9620 w 20279"/>
                <a:gd name="connsiteY4" fmla="*/ 20280 h 20279"/>
                <a:gd name="connsiteX5" fmla="*/ 9620 w 20279"/>
                <a:gd name="connsiteY5" fmla="*/ 4160 h 20279"/>
                <a:gd name="connsiteX6" fmla="*/ 4420 w 20279"/>
                <a:gd name="connsiteY6" fmla="*/ 10400 h 20279"/>
                <a:gd name="connsiteX7" fmla="*/ 9620 w 20279"/>
                <a:gd name="connsiteY7" fmla="*/ 15600 h 20279"/>
                <a:gd name="connsiteX8" fmla="*/ 15860 w 20279"/>
                <a:gd name="connsiteY8" fmla="*/ 10400 h 20279"/>
                <a:gd name="connsiteX9" fmla="*/ 9620 w 20279"/>
                <a:gd name="connsiteY9" fmla="*/ 416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9620" y="20280"/>
                  </a:moveTo>
                  <a:cubicBezTo>
                    <a:pt x="4420" y="20280"/>
                    <a:pt x="0" y="16120"/>
                    <a:pt x="0" y="10660"/>
                  </a:cubicBezTo>
                  <a:cubicBezTo>
                    <a:pt x="0" y="5460"/>
                    <a:pt x="4160" y="0"/>
                    <a:pt x="9620" y="0"/>
                  </a:cubicBezTo>
                  <a:cubicBezTo>
                    <a:pt x="15080" y="0"/>
                    <a:pt x="20280" y="4160"/>
                    <a:pt x="20280" y="10660"/>
                  </a:cubicBezTo>
                  <a:cubicBezTo>
                    <a:pt x="19240" y="15860"/>
                    <a:pt x="15080" y="20280"/>
                    <a:pt x="9620" y="20280"/>
                  </a:cubicBezTo>
                  <a:close/>
                  <a:moveTo>
                    <a:pt x="9620" y="4160"/>
                  </a:moveTo>
                  <a:cubicBezTo>
                    <a:pt x="6500" y="4160"/>
                    <a:pt x="4420" y="6240"/>
                    <a:pt x="4420" y="10400"/>
                  </a:cubicBezTo>
                  <a:cubicBezTo>
                    <a:pt x="4420" y="14560"/>
                    <a:pt x="6500" y="15600"/>
                    <a:pt x="9620" y="15600"/>
                  </a:cubicBezTo>
                  <a:cubicBezTo>
                    <a:pt x="12740" y="15600"/>
                    <a:pt x="15860" y="13520"/>
                    <a:pt x="15860" y="10400"/>
                  </a:cubicBezTo>
                  <a:cubicBezTo>
                    <a:pt x="15860" y="7280"/>
                    <a:pt x="13000" y="4160"/>
                    <a:pt x="9620" y="4160"/>
                  </a:cubicBezTo>
                  <a:close/>
                </a:path>
              </a:pathLst>
            </a:custGeom>
            <a:solidFill>
              <a:srgbClr val="00005A"/>
            </a:solidFill>
            <a:ln w="2597" cap="flat">
              <a:noFill/>
              <a:prstDash val="solid"/>
              <a:miter/>
            </a:ln>
          </p:spPr>
          <p:txBody>
            <a:bodyPr rtlCol="0" anchor="ctr"/>
            <a:lstStyle/>
            <a:p>
              <a:endParaRPr lang="en-GB"/>
            </a:p>
          </p:txBody>
        </p:sp>
        <p:sp>
          <p:nvSpPr>
            <p:cNvPr id="744" name="Freeform: Shape 743">
              <a:extLst>
                <a:ext uri="{FF2B5EF4-FFF2-40B4-BE49-F238E27FC236}">
                  <a16:creationId xmlns:a16="http://schemas.microsoft.com/office/drawing/2014/main" id="{B2C22D00-2508-FD1F-0B5E-1E153142F98F}"/>
                </a:ext>
              </a:extLst>
            </p:cNvPr>
            <p:cNvSpPr/>
            <p:nvPr/>
          </p:nvSpPr>
          <p:spPr>
            <a:xfrm>
              <a:off x="3756190" y="3103096"/>
              <a:ext cx="20279" cy="21319"/>
            </a:xfrm>
            <a:custGeom>
              <a:avLst/>
              <a:gdLst>
                <a:gd name="connsiteX0" fmla="*/ 9620 w 20279"/>
                <a:gd name="connsiteY0" fmla="*/ 21320 h 21319"/>
                <a:gd name="connsiteX1" fmla="*/ 0 w 20279"/>
                <a:gd name="connsiteY1" fmla="*/ 10660 h 21319"/>
                <a:gd name="connsiteX2" fmla="*/ 9620 w 20279"/>
                <a:gd name="connsiteY2" fmla="*/ 0 h 21319"/>
                <a:gd name="connsiteX3" fmla="*/ 20280 w 20279"/>
                <a:gd name="connsiteY3" fmla="*/ 10660 h 21319"/>
                <a:gd name="connsiteX4" fmla="*/ 9620 w 20279"/>
                <a:gd name="connsiteY4" fmla="*/ 21320 h 21319"/>
                <a:gd name="connsiteX5" fmla="*/ 9620 w 20279"/>
                <a:gd name="connsiteY5" fmla="*/ 5460 h 21319"/>
                <a:gd name="connsiteX6" fmla="*/ 4420 w 20279"/>
                <a:gd name="connsiteY6" fmla="*/ 10660 h 21319"/>
                <a:gd name="connsiteX7" fmla="*/ 9620 w 20279"/>
                <a:gd name="connsiteY7" fmla="*/ 15860 h 21319"/>
                <a:gd name="connsiteX8" fmla="*/ 15860 w 20279"/>
                <a:gd name="connsiteY8" fmla="*/ 10660 h 21319"/>
                <a:gd name="connsiteX9" fmla="*/ 9620 w 20279"/>
                <a:gd name="connsiteY9" fmla="*/ 5460 h 2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1319">
                  <a:moveTo>
                    <a:pt x="9620" y="21320"/>
                  </a:moveTo>
                  <a:cubicBezTo>
                    <a:pt x="4420" y="21320"/>
                    <a:pt x="0" y="17160"/>
                    <a:pt x="0" y="10660"/>
                  </a:cubicBezTo>
                  <a:cubicBezTo>
                    <a:pt x="0" y="4160"/>
                    <a:pt x="4160" y="0"/>
                    <a:pt x="9620" y="0"/>
                  </a:cubicBezTo>
                  <a:cubicBezTo>
                    <a:pt x="15080" y="0"/>
                    <a:pt x="20280" y="4160"/>
                    <a:pt x="20280" y="10660"/>
                  </a:cubicBezTo>
                  <a:cubicBezTo>
                    <a:pt x="20280" y="17160"/>
                    <a:pt x="15080" y="21320"/>
                    <a:pt x="9620" y="21320"/>
                  </a:cubicBezTo>
                  <a:close/>
                  <a:moveTo>
                    <a:pt x="9620" y="5460"/>
                  </a:moveTo>
                  <a:cubicBezTo>
                    <a:pt x="6500" y="5460"/>
                    <a:pt x="4420" y="7540"/>
                    <a:pt x="4420" y="10660"/>
                  </a:cubicBezTo>
                  <a:cubicBezTo>
                    <a:pt x="4420" y="13780"/>
                    <a:pt x="6500" y="15860"/>
                    <a:pt x="9620" y="15860"/>
                  </a:cubicBezTo>
                  <a:cubicBezTo>
                    <a:pt x="12740" y="15860"/>
                    <a:pt x="15860" y="13780"/>
                    <a:pt x="15860" y="10660"/>
                  </a:cubicBezTo>
                  <a:cubicBezTo>
                    <a:pt x="15860" y="7540"/>
                    <a:pt x="13000" y="5460"/>
                    <a:pt x="9620" y="5460"/>
                  </a:cubicBezTo>
                  <a:close/>
                </a:path>
              </a:pathLst>
            </a:custGeom>
            <a:solidFill>
              <a:srgbClr val="00005A"/>
            </a:solidFill>
            <a:ln w="2597" cap="flat">
              <a:noFill/>
              <a:prstDash val="solid"/>
              <a:miter/>
            </a:ln>
          </p:spPr>
          <p:txBody>
            <a:bodyPr rtlCol="0" anchor="ctr"/>
            <a:lstStyle/>
            <a:p>
              <a:endParaRPr lang="en-GB"/>
            </a:p>
          </p:txBody>
        </p:sp>
        <p:sp>
          <p:nvSpPr>
            <p:cNvPr id="745" name="Freeform: Shape 744">
              <a:extLst>
                <a:ext uri="{FF2B5EF4-FFF2-40B4-BE49-F238E27FC236}">
                  <a16:creationId xmlns:a16="http://schemas.microsoft.com/office/drawing/2014/main" id="{9068E567-198C-962B-0E0E-B9B5E0ADA588}"/>
                </a:ext>
              </a:extLst>
            </p:cNvPr>
            <p:cNvSpPr/>
            <p:nvPr/>
          </p:nvSpPr>
          <p:spPr>
            <a:xfrm>
              <a:off x="3827429" y="2868579"/>
              <a:ext cx="20279" cy="20279"/>
            </a:xfrm>
            <a:custGeom>
              <a:avLst/>
              <a:gdLst>
                <a:gd name="connsiteX0" fmla="*/ 10660 w 20279"/>
                <a:gd name="connsiteY0" fmla="*/ 20280 h 20279"/>
                <a:gd name="connsiteX1" fmla="*/ 0 w 20279"/>
                <a:gd name="connsiteY1" fmla="*/ 9620 h 20279"/>
                <a:gd name="connsiteX2" fmla="*/ 10660 w 20279"/>
                <a:gd name="connsiteY2" fmla="*/ 0 h 20279"/>
                <a:gd name="connsiteX3" fmla="*/ 20280 w 20279"/>
                <a:gd name="connsiteY3" fmla="*/ 9620 h 20279"/>
                <a:gd name="connsiteX4" fmla="*/ 10660 w 20279"/>
                <a:gd name="connsiteY4" fmla="*/ 20280 h 20279"/>
                <a:gd name="connsiteX5" fmla="*/ 10660 w 20279"/>
                <a:gd name="connsiteY5" fmla="*/ 3120 h 20279"/>
                <a:gd name="connsiteX6" fmla="*/ 4420 w 20279"/>
                <a:gd name="connsiteY6" fmla="*/ 8320 h 20279"/>
                <a:gd name="connsiteX7" fmla="*/ 10660 w 20279"/>
                <a:gd name="connsiteY7" fmla="*/ 14560 h 20279"/>
                <a:gd name="connsiteX8" fmla="*/ 15860 w 20279"/>
                <a:gd name="connsiteY8" fmla="*/ 8320 h 20279"/>
                <a:gd name="connsiteX9" fmla="*/ 10660 w 20279"/>
                <a:gd name="connsiteY9" fmla="*/ 312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10660" y="20280"/>
                  </a:moveTo>
                  <a:cubicBezTo>
                    <a:pt x="5460" y="20280"/>
                    <a:pt x="0" y="16120"/>
                    <a:pt x="0" y="9620"/>
                  </a:cubicBezTo>
                  <a:cubicBezTo>
                    <a:pt x="0" y="4420"/>
                    <a:pt x="4160" y="0"/>
                    <a:pt x="10660" y="0"/>
                  </a:cubicBezTo>
                  <a:cubicBezTo>
                    <a:pt x="15860" y="0"/>
                    <a:pt x="20280" y="4160"/>
                    <a:pt x="20280" y="9620"/>
                  </a:cubicBezTo>
                  <a:cubicBezTo>
                    <a:pt x="20280" y="15080"/>
                    <a:pt x="15860" y="20280"/>
                    <a:pt x="10660" y="20280"/>
                  </a:cubicBezTo>
                  <a:close/>
                  <a:moveTo>
                    <a:pt x="10660" y="3120"/>
                  </a:moveTo>
                  <a:cubicBezTo>
                    <a:pt x="7540" y="3120"/>
                    <a:pt x="4420" y="5200"/>
                    <a:pt x="4420" y="8320"/>
                  </a:cubicBezTo>
                  <a:cubicBezTo>
                    <a:pt x="4420" y="11440"/>
                    <a:pt x="6500" y="14560"/>
                    <a:pt x="10660" y="14560"/>
                  </a:cubicBezTo>
                  <a:cubicBezTo>
                    <a:pt x="14820" y="14560"/>
                    <a:pt x="15860" y="12480"/>
                    <a:pt x="15860" y="8320"/>
                  </a:cubicBezTo>
                  <a:cubicBezTo>
                    <a:pt x="15860" y="4420"/>
                    <a:pt x="13780" y="3120"/>
                    <a:pt x="10660" y="3120"/>
                  </a:cubicBezTo>
                  <a:close/>
                </a:path>
              </a:pathLst>
            </a:custGeom>
            <a:solidFill>
              <a:srgbClr val="00005A"/>
            </a:solidFill>
            <a:ln w="2597" cap="flat">
              <a:noFill/>
              <a:prstDash val="solid"/>
              <a:miter/>
            </a:ln>
          </p:spPr>
          <p:txBody>
            <a:bodyPr rtlCol="0" anchor="ctr"/>
            <a:lstStyle/>
            <a:p>
              <a:endParaRPr lang="en-GB"/>
            </a:p>
          </p:txBody>
        </p:sp>
        <p:sp>
          <p:nvSpPr>
            <p:cNvPr id="746" name="Freeform: Shape 745">
              <a:extLst>
                <a:ext uri="{FF2B5EF4-FFF2-40B4-BE49-F238E27FC236}">
                  <a16:creationId xmlns:a16="http://schemas.microsoft.com/office/drawing/2014/main" id="{708F2177-4173-2BCB-4D23-D73896585E43}"/>
                </a:ext>
              </a:extLst>
            </p:cNvPr>
            <p:cNvSpPr/>
            <p:nvPr/>
          </p:nvSpPr>
          <p:spPr>
            <a:xfrm>
              <a:off x="3827429" y="3039397"/>
              <a:ext cx="20279" cy="21319"/>
            </a:xfrm>
            <a:custGeom>
              <a:avLst/>
              <a:gdLst>
                <a:gd name="connsiteX0" fmla="*/ 10660 w 20279"/>
                <a:gd name="connsiteY0" fmla="*/ 21320 h 21319"/>
                <a:gd name="connsiteX1" fmla="*/ 0 w 20279"/>
                <a:gd name="connsiteY1" fmla="*/ 10660 h 21319"/>
                <a:gd name="connsiteX2" fmla="*/ 10660 w 20279"/>
                <a:gd name="connsiteY2" fmla="*/ 0 h 21319"/>
                <a:gd name="connsiteX3" fmla="*/ 20280 w 20279"/>
                <a:gd name="connsiteY3" fmla="*/ 10660 h 21319"/>
                <a:gd name="connsiteX4" fmla="*/ 10660 w 20279"/>
                <a:gd name="connsiteY4" fmla="*/ 21320 h 21319"/>
                <a:gd name="connsiteX5" fmla="*/ 10660 w 20279"/>
                <a:gd name="connsiteY5" fmla="*/ 5460 h 21319"/>
                <a:gd name="connsiteX6" fmla="*/ 4420 w 20279"/>
                <a:gd name="connsiteY6" fmla="*/ 10660 h 21319"/>
                <a:gd name="connsiteX7" fmla="*/ 10660 w 20279"/>
                <a:gd name="connsiteY7" fmla="*/ 15860 h 21319"/>
                <a:gd name="connsiteX8" fmla="*/ 15860 w 20279"/>
                <a:gd name="connsiteY8" fmla="*/ 10660 h 21319"/>
                <a:gd name="connsiteX9" fmla="*/ 10660 w 20279"/>
                <a:gd name="connsiteY9" fmla="*/ 5460 h 2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1319">
                  <a:moveTo>
                    <a:pt x="10660" y="21320"/>
                  </a:moveTo>
                  <a:cubicBezTo>
                    <a:pt x="5460" y="21320"/>
                    <a:pt x="0" y="17160"/>
                    <a:pt x="0" y="10660"/>
                  </a:cubicBezTo>
                  <a:cubicBezTo>
                    <a:pt x="0" y="4160"/>
                    <a:pt x="4160" y="0"/>
                    <a:pt x="10660" y="0"/>
                  </a:cubicBezTo>
                  <a:cubicBezTo>
                    <a:pt x="15860" y="0"/>
                    <a:pt x="20280" y="4160"/>
                    <a:pt x="20280" y="10660"/>
                  </a:cubicBezTo>
                  <a:cubicBezTo>
                    <a:pt x="20280" y="17160"/>
                    <a:pt x="15860" y="21320"/>
                    <a:pt x="10660" y="21320"/>
                  </a:cubicBezTo>
                  <a:close/>
                  <a:moveTo>
                    <a:pt x="10660" y="5460"/>
                  </a:moveTo>
                  <a:cubicBezTo>
                    <a:pt x="7540" y="5460"/>
                    <a:pt x="4420" y="7540"/>
                    <a:pt x="4420" y="10660"/>
                  </a:cubicBezTo>
                  <a:cubicBezTo>
                    <a:pt x="4420" y="13780"/>
                    <a:pt x="6500" y="15860"/>
                    <a:pt x="10660" y="15860"/>
                  </a:cubicBezTo>
                  <a:cubicBezTo>
                    <a:pt x="14820" y="15860"/>
                    <a:pt x="15860" y="13780"/>
                    <a:pt x="15860" y="10660"/>
                  </a:cubicBezTo>
                  <a:cubicBezTo>
                    <a:pt x="15860" y="7540"/>
                    <a:pt x="13780" y="5460"/>
                    <a:pt x="10660" y="5460"/>
                  </a:cubicBezTo>
                  <a:close/>
                </a:path>
              </a:pathLst>
            </a:custGeom>
            <a:solidFill>
              <a:srgbClr val="00005A"/>
            </a:solidFill>
            <a:ln w="2597" cap="flat">
              <a:noFill/>
              <a:prstDash val="solid"/>
              <a:miter/>
            </a:ln>
          </p:spPr>
          <p:txBody>
            <a:bodyPr rtlCol="0" anchor="ctr"/>
            <a:lstStyle/>
            <a:p>
              <a:endParaRPr lang="en-GB"/>
            </a:p>
          </p:txBody>
        </p:sp>
        <p:sp>
          <p:nvSpPr>
            <p:cNvPr id="747" name="Freeform: Shape 746">
              <a:extLst>
                <a:ext uri="{FF2B5EF4-FFF2-40B4-BE49-F238E27FC236}">
                  <a16:creationId xmlns:a16="http://schemas.microsoft.com/office/drawing/2014/main" id="{0FCAD426-F60E-2F68-CD8E-79DC31403FA5}"/>
                </a:ext>
              </a:extLst>
            </p:cNvPr>
            <p:cNvSpPr/>
            <p:nvPr/>
          </p:nvSpPr>
          <p:spPr>
            <a:xfrm>
              <a:off x="3958988" y="3034197"/>
              <a:ext cx="21319" cy="20279"/>
            </a:xfrm>
            <a:custGeom>
              <a:avLst/>
              <a:gdLst>
                <a:gd name="connsiteX0" fmla="*/ 10660 w 21319"/>
                <a:gd name="connsiteY0" fmla="*/ 20280 h 20279"/>
                <a:gd name="connsiteX1" fmla="*/ 0 w 21319"/>
                <a:gd name="connsiteY1" fmla="*/ 9620 h 20279"/>
                <a:gd name="connsiteX2" fmla="*/ 10660 w 21319"/>
                <a:gd name="connsiteY2" fmla="*/ 0 h 20279"/>
                <a:gd name="connsiteX3" fmla="*/ 21320 w 21319"/>
                <a:gd name="connsiteY3" fmla="*/ 9620 h 20279"/>
                <a:gd name="connsiteX4" fmla="*/ 10660 w 21319"/>
                <a:gd name="connsiteY4" fmla="*/ 20280 h 20279"/>
                <a:gd name="connsiteX5" fmla="*/ 10660 w 21319"/>
                <a:gd name="connsiteY5" fmla="*/ 4160 h 20279"/>
                <a:gd name="connsiteX6" fmla="*/ 5460 w 21319"/>
                <a:gd name="connsiteY6" fmla="*/ 9360 h 20279"/>
                <a:gd name="connsiteX7" fmla="*/ 10660 w 21319"/>
                <a:gd name="connsiteY7" fmla="*/ 15600 h 20279"/>
                <a:gd name="connsiteX8" fmla="*/ 15860 w 21319"/>
                <a:gd name="connsiteY8" fmla="*/ 9360 h 20279"/>
                <a:gd name="connsiteX9" fmla="*/ 10660 w 21319"/>
                <a:gd name="connsiteY9" fmla="*/ 416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19" h="20279">
                  <a:moveTo>
                    <a:pt x="10660" y="20280"/>
                  </a:moveTo>
                  <a:cubicBezTo>
                    <a:pt x="5460" y="20280"/>
                    <a:pt x="0" y="16120"/>
                    <a:pt x="0" y="9620"/>
                  </a:cubicBezTo>
                  <a:cubicBezTo>
                    <a:pt x="0" y="4420"/>
                    <a:pt x="4160" y="0"/>
                    <a:pt x="10660" y="0"/>
                  </a:cubicBezTo>
                  <a:cubicBezTo>
                    <a:pt x="17160" y="0"/>
                    <a:pt x="21320" y="4160"/>
                    <a:pt x="21320" y="9620"/>
                  </a:cubicBezTo>
                  <a:cubicBezTo>
                    <a:pt x="21320" y="14820"/>
                    <a:pt x="15860" y="20280"/>
                    <a:pt x="10660" y="20280"/>
                  </a:cubicBezTo>
                  <a:close/>
                  <a:moveTo>
                    <a:pt x="10660" y="4160"/>
                  </a:moveTo>
                  <a:cubicBezTo>
                    <a:pt x="7540" y="4160"/>
                    <a:pt x="5460" y="6240"/>
                    <a:pt x="5460" y="9360"/>
                  </a:cubicBezTo>
                  <a:cubicBezTo>
                    <a:pt x="5460" y="12480"/>
                    <a:pt x="7540" y="15600"/>
                    <a:pt x="10660" y="15600"/>
                  </a:cubicBezTo>
                  <a:cubicBezTo>
                    <a:pt x="13780" y="15600"/>
                    <a:pt x="15860" y="13520"/>
                    <a:pt x="15860" y="9360"/>
                  </a:cubicBezTo>
                  <a:cubicBezTo>
                    <a:pt x="15860" y="5200"/>
                    <a:pt x="13780" y="4160"/>
                    <a:pt x="10660" y="4160"/>
                  </a:cubicBezTo>
                  <a:close/>
                </a:path>
              </a:pathLst>
            </a:custGeom>
            <a:solidFill>
              <a:srgbClr val="00005A"/>
            </a:solidFill>
            <a:ln w="2597" cap="flat">
              <a:noFill/>
              <a:prstDash val="solid"/>
              <a:miter/>
            </a:ln>
          </p:spPr>
          <p:txBody>
            <a:bodyPr rtlCol="0" anchor="ctr"/>
            <a:lstStyle/>
            <a:p>
              <a:endParaRPr lang="en-GB"/>
            </a:p>
          </p:txBody>
        </p:sp>
        <p:sp>
          <p:nvSpPr>
            <p:cNvPr id="748" name="Freeform: Shape 747">
              <a:extLst>
                <a:ext uri="{FF2B5EF4-FFF2-40B4-BE49-F238E27FC236}">
                  <a16:creationId xmlns:a16="http://schemas.microsoft.com/office/drawing/2014/main" id="{0731303C-368C-3F1D-39CF-07183D4561E9}"/>
                </a:ext>
              </a:extLst>
            </p:cNvPr>
            <p:cNvSpPr/>
            <p:nvPr/>
          </p:nvSpPr>
          <p:spPr>
            <a:xfrm>
              <a:off x="3886708" y="2904718"/>
              <a:ext cx="20279" cy="20279"/>
            </a:xfrm>
            <a:custGeom>
              <a:avLst/>
              <a:gdLst>
                <a:gd name="connsiteX0" fmla="*/ 10660 w 20279"/>
                <a:gd name="connsiteY0" fmla="*/ 20280 h 20279"/>
                <a:gd name="connsiteX1" fmla="*/ 0 w 20279"/>
                <a:gd name="connsiteY1" fmla="*/ 9620 h 20279"/>
                <a:gd name="connsiteX2" fmla="*/ 10660 w 20279"/>
                <a:gd name="connsiteY2" fmla="*/ 0 h 20279"/>
                <a:gd name="connsiteX3" fmla="*/ 20280 w 20279"/>
                <a:gd name="connsiteY3" fmla="*/ 9620 h 20279"/>
                <a:gd name="connsiteX4" fmla="*/ 10660 w 20279"/>
                <a:gd name="connsiteY4" fmla="*/ 20280 h 20279"/>
                <a:gd name="connsiteX5" fmla="*/ 10660 w 20279"/>
                <a:gd name="connsiteY5" fmla="*/ 5200 h 20279"/>
                <a:gd name="connsiteX6" fmla="*/ 4420 w 20279"/>
                <a:gd name="connsiteY6" fmla="*/ 10400 h 20279"/>
                <a:gd name="connsiteX7" fmla="*/ 10660 w 20279"/>
                <a:gd name="connsiteY7" fmla="*/ 16640 h 20279"/>
                <a:gd name="connsiteX8" fmla="*/ 15860 w 20279"/>
                <a:gd name="connsiteY8" fmla="*/ 10400 h 20279"/>
                <a:gd name="connsiteX9" fmla="*/ 10660 w 20279"/>
                <a:gd name="connsiteY9" fmla="*/ 520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10660" y="20280"/>
                  </a:moveTo>
                  <a:cubicBezTo>
                    <a:pt x="5460" y="20280"/>
                    <a:pt x="0" y="16120"/>
                    <a:pt x="0" y="9620"/>
                  </a:cubicBezTo>
                  <a:cubicBezTo>
                    <a:pt x="0" y="4420"/>
                    <a:pt x="4160" y="0"/>
                    <a:pt x="10660" y="0"/>
                  </a:cubicBezTo>
                  <a:cubicBezTo>
                    <a:pt x="15860" y="0"/>
                    <a:pt x="20280" y="4160"/>
                    <a:pt x="20280" y="9620"/>
                  </a:cubicBezTo>
                  <a:cubicBezTo>
                    <a:pt x="20280" y="15860"/>
                    <a:pt x="16120" y="20280"/>
                    <a:pt x="10660" y="20280"/>
                  </a:cubicBezTo>
                  <a:close/>
                  <a:moveTo>
                    <a:pt x="10660" y="5200"/>
                  </a:moveTo>
                  <a:cubicBezTo>
                    <a:pt x="7540" y="5200"/>
                    <a:pt x="4420" y="7280"/>
                    <a:pt x="4420" y="10400"/>
                  </a:cubicBezTo>
                  <a:cubicBezTo>
                    <a:pt x="4420" y="13520"/>
                    <a:pt x="6500" y="16640"/>
                    <a:pt x="10660" y="16640"/>
                  </a:cubicBezTo>
                  <a:cubicBezTo>
                    <a:pt x="14820" y="16640"/>
                    <a:pt x="15860" y="14560"/>
                    <a:pt x="15860" y="10400"/>
                  </a:cubicBezTo>
                  <a:cubicBezTo>
                    <a:pt x="16120" y="6240"/>
                    <a:pt x="14040" y="5200"/>
                    <a:pt x="10660" y="5200"/>
                  </a:cubicBezTo>
                  <a:close/>
                </a:path>
              </a:pathLst>
            </a:custGeom>
            <a:solidFill>
              <a:srgbClr val="00005A"/>
            </a:solidFill>
            <a:ln w="2597" cap="flat">
              <a:noFill/>
              <a:prstDash val="solid"/>
              <a:miter/>
            </a:ln>
          </p:spPr>
          <p:txBody>
            <a:bodyPr rtlCol="0" anchor="ctr"/>
            <a:lstStyle/>
            <a:p>
              <a:endParaRPr lang="en-GB"/>
            </a:p>
          </p:txBody>
        </p:sp>
        <p:sp>
          <p:nvSpPr>
            <p:cNvPr id="749" name="Freeform: Shape 748">
              <a:extLst>
                <a:ext uri="{FF2B5EF4-FFF2-40B4-BE49-F238E27FC236}">
                  <a16:creationId xmlns:a16="http://schemas.microsoft.com/office/drawing/2014/main" id="{603B4706-926B-CAD0-7C3E-4A063BE915F8}"/>
                </a:ext>
              </a:extLst>
            </p:cNvPr>
            <p:cNvSpPr/>
            <p:nvPr/>
          </p:nvSpPr>
          <p:spPr>
            <a:xfrm>
              <a:off x="3886708" y="3077616"/>
              <a:ext cx="20279" cy="20279"/>
            </a:xfrm>
            <a:custGeom>
              <a:avLst/>
              <a:gdLst>
                <a:gd name="connsiteX0" fmla="*/ 10660 w 20279"/>
                <a:gd name="connsiteY0" fmla="*/ 20280 h 20279"/>
                <a:gd name="connsiteX1" fmla="*/ 0 w 20279"/>
                <a:gd name="connsiteY1" fmla="*/ 10660 h 20279"/>
                <a:gd name="connsiteX2" fmla="*/ 10660 w 20279"/>
                <a:gd name="connsiteY2" fmla="*/ 0 h 20279"/>
                <a:gd name="connsiteX3" fmla="*/ 20280 w 20279"/>
                <a:gd name="connsiteY3" fmla="*/ 10660 h 20279"/>
                <a:gd name="connsiteX4" fmla="*/ 10660 w 20279"/>
                <a:gd name="connsiteY4" fmla="*/ 20280 h 20279"/>
                <a:gd name="connsiteX5" fmla="*/ 10660 w 20279"/>
                <a:gd name="connsiteY5" fmla="*/ 4420 h 20279"/>
                <a:gd name="connsiteX6" fmla="*/ 4420 w 20279"/>
                <a:gd name="connsiteY6" fmla="*/ 10660 h 20279"/>
                <a:gd name="connsiteX7" fmla="*/ 10660 w 20279"/>
                <a:gd name="connsiteY7" fmla="*/ 15860 h 20279"/>
                <a:gd name="connsiteX8" fmla="*/ 15860 w 20279"/>
                <a:gd name="connsiteY8" fmla="*/ 10660 h 20279"/>
                <a:gd name="connsiteX9" fmla="*/ 10660 w 20279"/>
                <a:gd name="connsiteY9" fmla="*/ 442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10660" y="20280"/>
                  </a:moveTo>
                  <a:cubicBezTo>
                    <a:pt x="5460" y="20280"/>
                    <a:pt x="0" y="16120"/>
                    <a:pt x="0" y="10660"/>
                  </a:cubicBezTo>
                  <a:cubicBezTo>
                    <a:pt x="0" y="5460"/>
                    <a:pt x="4160" y="0"/>
                    <a:pt x="10660" y="0"/>
                  </a:cubicBezTo>
                  <a:cubicBezTo>
                    <a:pt x="15860" y="0"/>
                    <a:pt x="20280" y="4160"/>
                    <a:pt x="20280" y="10660"/>
                  </a:cubicBezTo>
                  <a:cubicBezTo>
                    <a:pt x="20280" y="16120"/>
                    <a:pt x="16120" y="20280"/>
                    <a:pt x="10660" y="20280"/>
                  </a:cubicBezTo>
                  <a:close/>
                  <a:moveTo>
                    <a:pt x="10660" y="4420"/>
                  </a:moveTo>
                  <a:cubicBezTo>
                    <a:pt x="7540" y="4420"/>
                    <a:pt x="4420" y="6500"/>
                    <a:pt x="4420" y="10660"/>
                  </a:cubicBezTo>
                  <a:cubicBezTo>
                    <a:pt x="4420" y="14820"/>
                    <a:pt x="6500" y="15860"/>
                    <a:pt x="10660" y="15860"/>
                  </a:cubicBezTo>
                  <a:cubicBezTo>
                    <a:pt x="14820" y="15860"/>
                    <a:pt x="15860" y="13780"/>
                    <a:pt x="15860" y="10660"/>
                  </a:cubicBezTo>
                  <a:cubicBezTo>
                    <a:pt x="15860" y="7540"/>
                    <a:pt x="14040" y="4420"/>
                    <a:pt x="10660" y="4420"/>
                  </a:cubicBezTo>
                  <a:close/>
                </a:path>
              </a:pathLst>
            </a:custGeom>
            <a:solidFill>
              <a:srgbClr val="00005A"/>
            </a:solidFill>
            <a:ln w="2597" cap="flat">
              <a:noFill/>
              <a:prstDash val="solid"/>
              <a:miter/>
            </a:ln>
          </p:spPr>
          <p:txBody>
            <a:bodyPr rtlCol="0" anchor="ctr"/>
            <a:lstStyle/>
            <a:p>
              <a:endParaRPr lang="en-GB"/>
            </a:p>
          </p:txBody>
        </p:sp>
        <p:sp>
          <p:nvSpPr>
            <p:cNvPr id="750" name="Freeform: Shape 749">
              <a:extLst>
                <a:ext uri="{FF2B5EF4-FFF2-40B4-BE49-F238E27FC236}">
                  <a16:creationId xmlns:a16="http://schemas.microsoft.com/office/drawing/2014/main" id="{6EF8A352-77B4-59E1-1B42-4DE5B43B5EC8}"/>
                </a:ext>
              </a:extLst>
            </p:cNvPr>
            <p:cNvSpPr/>
            <p:nvPr/>
          </p:nvSpPr>
          <p:spPr>
            <a:xfrm>
              <a:off x="3690410" y="2890679"/>
              <a:ext cx="20279" cy="20279"/>
            </a:xfrm>
            <a:custGeom>
              <a:avLst/>
              <a:gdLst>
                <a:gd name="connsiteX0" fmla="*/ 10660 w 20279"/>
                <a:gd name="connsiteY0" fmla="*/ 20280 h 20279"/>
                <a:gd name="connsiteX1" fmla="*/ 0 w 20279"/>
                <a:gd name="connsiteY1" fmla="*/ 9620 h 20279"/>
                <a:gd name="connsiteX2" fmla="*/ 10660 w 20279"/>
                <a:gd name="connsiteY2" fmla="*/ 0 h 20279"/>
                <a:gd name="connsiteX3" fmla="*/ 20280 w 20279"/>
                <a:gd name="connsiteY3" fmla="*/ 9620 h 20279"/>
                <a:gd name="connsiteX4" fmla="*/ 10660 w 20279"/>
                <a:gd name="connsiteY4" fmla="*/ 20280 h 20279"/>
                <a:gd name="connsiteX5" fmla="*/ 10660 w 20279"/>
                <a:gd name="connsiteY5" fmla="*/ 4420 h 20279"/>
                <a:gd name="connsiteX6" fmla="*/ 4420 w 20279"/>
                <a:gd name="connsiteY6" fmla="*/ 9620 h 20279"/>
                <a:gd name="connsiteX7" fmla="*/ 10660 w 20279"/>
                <a:gd name="connsiteY7" fmla="*/ 15860 h 20279"/>
                <a:gd name="connsiteX8" fmla="*/ 15860 w 20279"/>
                <a:gd name="connsiteY8" fmla="*/ 9620 h 20279"/>
                <a:gd name="connsiteX9" fmla="*/ 10660 w 20279"/>
                <a:gd name="connsiteY9" fmla="*/ 442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10660" y="20280"/>
                  </a:moveTo>
                  <a:cubicBezTo>
                    <a:pt x="5460" y="20280"/>
                    <a:pt x="0" y="16120"/>
                    <a:pt x="0" y="9620"/>
                  </a:cubicBezTo>
                  <a:cubicBezTo>
                    <a:pt x="0" y="4420"/>
                    <a:pt x="4160" y="0"/>
                    <a:pt x="10660" y="0"/>
                  </a:cubicBezTo>
                  <a:cubicBezTo>
                    <a:pt x="15860" y="0"/>
                    <a:pt x="20280" y="4160"/>
                    <a:pt x="20280" y="9620"/>
                  </a:cubicBezTo>
                  <a:cubicBezTo>
                    <a:pt x="20280" y="15080"/>
                    <a:pt x="16120" y="20280"/>
                    <a:pt x="10660" y="20280"/>
                  </a:cubicBezTo>
                  <a:close/>
                  <a:moveTo>
                    <a:pt x="10660" y="4420"/>
                  </a:moveTo>
                  <a:cubicBezTo>
                    <a:pt x="7540" y="4420"/>
                    <a:pt x="4420" y="6500"/>
                    <a:pt x="4420" y="9620"/>
                  </a:cubicBezTo>
                  <a:cubicBezTo>
                    <a:pt x="4420" y="12740"/>
                    <a:pt x="6500" y="15860"/>
                    <a:pt x="10660" y="15860"/>
                  </a:cubicBezTo>
                  <a:cubicBezTo>
                    <a:pt x="14820" y="15860"/>
                    <a:pt x="15860" y="13780"/>
                    <a:pt x="15860" y="9620"/>
                  </a:cubicBezTo>
                  <a:cubicBezTo>
                    <a:pt x="15860" y="5460"/>
                    <a:pt x="14040" y="4420"/>
                    <a:pt x="10660" y="4420"/>
                  </a:cubicBezTo>
                  <a:close/>
                </a:path>
              </a:pathLst>
            </a:custGeom>
            <a:solidFill>
              <a:srgbClr val="00005A"/>
            </a:solidFill>
            <a:ln w="2597" cap="flat">
              <a:noFill/>
              <a:prstDash val="solid"/>
              <a:miter/>
            </a:ln>
          </p:spPr>
          <p:txBody>
            <a:bodyPr rtlCol="0" anchor="ctr"/>
            <a:lstStyle/>
            <a:p>
              <a:endParaRPr lang="en-GB"/>
            </a:p>
          </p:txBody>
        </p:sp>
        <p:sp>
          <p:nvSpPr>
            <p:cNvPr id="751" name="Freeform: Shape 750">
              <a:extLst>
                <a:ext uri="{FF2B5EF4-FFF2-40B4-BE49-F238E27FC236}">
                  <a16:creationId xmlns:a16="http://schemas.microsoft.com/office/drawing/2014/main" id="{E71E02E7-3B10-CFE7-2135-3AA4D26C473F}"/>
                </a:ext>
              </a:extLst>
            </p:cNvPr>
            <p:cNvSpPr/>
            <p:nvPr/>
          </p:nvSpPr>
          <p:spPr>
            <a:xfrm>
              <a:off x="3690410" y="3066956"/>
              <a:ext cx="20279" cy="20279"/>
            </a:xfrm>
            <a:custGeom>
              <a:avLst/>
              <a:gdLst>
                <a:gd name="connsiteX0" fmla="*/ 10660 w 20279"/>
                <a:gd name="connsiteY0" fmla="*/ 20280 h 20279"/>
                <a:gd name="connsiteX1" fmla="*/ 0 w 20279"/>
                <a:gd name="connsiteY1" fmla="*/ 10660 h 20279"/>
                <a:gd name="connsiteX2" fmla="*/ 10660 w 20279"/>
                <a:gd name="connsiteY2" fmla="*/ 0 h 20279"/>
                <a:gd name="connsiteX3" fmla="*/ 20280 w 20279"/>
                <a:gd name="connsiteY3" fmla="*/ 10660 h 20279"/>
                <a:gd name="connsiteX4" fmla="*/ 10660 w 20279"/>
                <a:gd name="connsiteY4" fmla="*/ 20280 h 20279"/>
                <a:gd name="connsiteX5" fmla="*/ 10660 w 20279"/>
                <a:gd name="connsiteY5" fmla="*/ 4420 h 20279"/>
                <a:gd name="connsiteX6" fmla="*/ 4420 w 20279"/>
                <a:gd name="connsiteY6" fmla="*/ 10660 h 20279"/>
                <a:gd name="connsiteX7" fmla="*/ 10660 w 20279"/>
                <a:gd name="connsiteY7" fmla="*/ 15860 h 20279"/>
                <a:gd name="connsiteX8" fmla="*/ 15860 w 20279"/>
                <a:gd name="connsiteY8" fmla="*/ 10660 h 20279"/>
                <a:gd name="connsiteX9" fmla="*/ 10660 w 20279"/>
                <a:gd name="connsiteY9" fmla="*/ 442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10660" y="20280"/>
                  </a:moveTo>
                  <a:cubicBezTo>
                    <a:pt x="5460" y="20280"/>
                    <a:pt x="0" y="16120"/>
                    <a:pt x="0" y="10660"/>
                  </a:cubicBezTo>
                  <a:cubicBezTo>
                    <a:pt x="0" y="5460"/>
                    <a:pt x="4160" y="0"/>
                    <a:pt x="10660" y="0"/>
                  </a:cubicBezTo>
                  <a:cubicBezTo>
                    <a:pt x="15860" y="0"/>
                    <a:pt x="20280" y="4160"/>
                    <a:pt x="20280" y="10660"/>
                  </a:cubicBezTo>
                  <a:cubicBezTo>
                    <a:pt x="20280" y="16120"/>
                    <a:pt x="16120" y="20280"/>
                    <a:pt x="10660" y="20280"/>
                  </a:cubicBezTo>
                  <a:close/>
                  <a:moveTo>
                    <a:pt x="10660" y="4420"/>
                  </a:moveTo>
                  <a:cubicBezTo>
                    <a:pt x="7540" y="4420"/>
                    <a:pt x="4420" y="6500"/>
                    <a:pt x="4420" y="10660"/>
                  </a:cubicBezTo>
                  <a:cubicBezTo>
                    <a:pt x="4420" y="14820"/>
                    <a:pt x="6500" y="15860"/>
                    <a:pt x="10660" y="15860"/>
                  </a:cubicBezTo>
                  <a:cubicBezTo>
                    <a:pt x="14820" y="15860"/>
                    <a:pt x="15860" y="13780"/>
                    <a:pt x="15860" y="10660"/>
                  </a:cubicBezTo>
                  <a:cubicBezTo>
                    <a:pt x="15860" y="7540"/>
                    <a:pt x="14040" y="4420"/>
                    <a:pt x="10660" y="4420"/>
                  </a:cubicBezTo>
                  <a:close/>
                </a:path>
              </a:pathLst>
            </a:custGeom>
            <a:solidFill>
              <a:srgbClr val="00005A"/>
            </a:solidFill>
            <a:ln w="2597" cap="flat">
              <a:noFill/>
              <a:prstDash val="solid"/>
              <a:miter/>
            </a:ln>
          </p:spPr>
          <p:txBody>
            <a:bodyPr rtlCol="0" anchor="ctr"/>
            <a:lstStyle/>
            <a:p>
              <a:endParaRPr lang="en-GB"/>
            </a:p>
          </p:txBody>
        </p:sp>
        <p:sp>
          <p:nvSpPr>
            <p:cNvPr id="752" name="Freeform: Shape 751">
              <a:extLst>
                <a:ext uri="{FF2B5EF4-FFF2-40B4-BE49-F238E27FC236}">
                  <a16:creationId xmlns:a16="http://schemas.microsoft.com/office/drawing/2014/main" id="{8E57AE1A-BB9E-E68D-137C-8E6FFA47A391}"/>
                </a:ext>
              </a:extLst>
            </p:cNvPr>
            <p:cNvSpPr/>
            <p:nvPr/>
          </p:nvSpPr>
          <p:spPr>
            <a:xfrm>
              <a:off x="3958988" y="2683981"/>
              <a:ext cx="21319" cy="20279"/>
            </a:xfrm>
            <a:custGeom>
              <a:avLst/>
              <a:gdLst>
                <a:gd name="connsiteX0" fmla="*/ 10660 w 21319"/>
                <a:gd name="connsiteY0" fmla="*/ 20280 h 20279"/>
                <a:gd name="connsiteX1" fmla="*/ 0 w 21319"/>
                <a:gd name="connsiteY1" fmla="*/ 9620 h 20279"/>
                <a:gd name="connsiteX2" fmla="*/ 10660 w 21319"/>
                <a:gd name="connsiteY2" fmla="*/ 0 h 20279"/>
                <a:gd name="connsiteX3" fmla="*/ 21320 w 21319"/>
                <a:gd name="connsiteY3" fmla="*/ 9620 h 20279"/>
                <a:gd name="connsiteX4" fmla="*/ 10660 w 21319"/>
                <a:gd name="connsiteY4" fmla="*/ 20280 h 20279"/>
                <a:gd name="connsiteX5" fmla="*/ 10660 w 21319"/>
                <a:gd name="connsiteY5" fmla="*/ 4160 h 20279"/>
                <a:gd name="connsiteX6" fmla="*/ 5460 w 21319"/>
                <a:gd name="connsiteY6" fmla="*/ 9360 h 20279"/>
                <a:gd name="connsiteX7" fmla="*/ 10660 w 21319"/>
                <a:gd name="connsiteY7" fmla="*/ 15600 h 20279"/>
                <a:gd name="connsiteX8" fmla="*/ 15860 w 21319"/>
                <a:gd name="connsiteY8" fmla="*/ 9360 h 20279"/>
                <a:gd name="connsiteX9" fmla="*/ 10660 w 21319"/>
                <a:gd name="connsiteY9" fmla="*/ 416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19" h="20279">
                  <a:moveTo>
                    <a:pt x="10660" y="20280"/>
                  </a:moveTo>
                  <a:cubicBezTo>
                    <a:pt x="5460" y="20280"/>
                    <a:pt x="0" y="16120"/>
                    <a:pt x="0" y="9620"/>
                  </a:cubicBezTo>
                  <a:cubicBezTo>
                    <a:pt x="0" y="4420"/>
                    <a:pt x="4160" y="0"/>
                    <a:pt x="10660" y="0"/>
                  </a:cubicBezTo>
                  <a:cubicBezTo>
                    <a:pt x="17160" y="0"/>
                    <a:pt x="21320" y="4160"/>
                    <a:pt x="21320" y="9620"/>
                  </a:cubicBezTo>
                  <a:cubicBezTo>
                    <a:pt x="21320" y="15080"/>
                    <a:pt x="15860" y="20280"/>
                    <a:pt x="10660" y="20280"/>
                  </a:cubicBezTo>
                  <a:close/>
                  <a:moveTo>
                    <a:pt x="10660" y="4160"/>
                  </a:moveTo>
                  <a:cubicBezTo>
                    <a:pt x="7540" y="4160"/>
                    <a:pt x="5460" y="6240"/>
                    <a:pt x="5460" y="9360"/>
                  </a:cubicBezTo>
                  <a:cubicBezTo>
                    <a:pt x="5460" y="12480"/>
                    <a:pt x="7540" y="15600"/>
                    <a:pt x="10660" y="15600"/>
                  </a:cubicBezTo>
                  <a:cubicBezTo>
                    <a:pt x="13780" y="15600"/>
                    <a:pt x="15860" y="13520"/>
                    <a:pt x="15860" y="9360"/>
                  </a:cubicBezTo>
                  <a:cubicBezTo>
                    <a:pt x="15860" y="5200"/>
                    <a:pt x="13780" y="4160"/>
                    <a:pt x="10660" y="4160"/>
                  </a:cubicBezTo>
                  <a:close/>
                </a:path>
              </a:pathLst>
            </a:custGeom>
            <a:solidFill>
              <a:srgbClr val="00005A"/>
            </a:solidFill>
            <a:ln w="2597" cap="flat">
              <a:noFill/>
              <a:prstDash val="solid"/>
              <a:miter/>
            </a:ln>
          </p:spPr>
          <p:txBody>
            <a:bodyPr rtlCol="0" anchor="ctr"/>
            <a:lstStyle/>
            <a:p>
              <a:endParaRPr lang="en-GB"/>
            </a:p>
          </p:txBody>
        </p:sp>
        <p:grpSp>
          <p:nvGrpSpPr>
            <p:cNvPr id="753" name="Graphic 6">
              <a:extLst>
                <a:ext uri="{FF2B5EF4-FFF2-40B4-BE49-F238E27FC236}">
                  <a16:creationId xmlns:a16="http://schemas.microsoft.com/office/drawing/2014/main" id="{142241A9-27BE-D61E-9975-92C5924CE073}"/>
                </a:ext>
              </a:extLst>
            </p:cNvPr>
            <p:cNvGrpSpPr/>
            <p:nvPr/>
          </p:nvGrpSpPr>
          <p:grpSpPr>
            <a:xfrm>
              <a:off x="4126686" y="2611702"/>
              <a:ext cx="288076" cy="93598"/>
              <a:chOff x="4126686" y="2611702"/>
              <a:chExt cx="288076" cy="93598"/>
            </a:xfrm>
            <a:solidFill>
              <a:srgbClr val="00005A"/>
            </a:solidFill>
          </p:grpSpPr>
          <p:grpSp>
            <p:nvGrpSpPr>
              <p:cNvPr id="764" name="Graphic 6">
                <a:extLst>
                  <a:ext uri="{FF2B5EF4-FFF2-40B4-BE49-F238E27FC236}">
                    <a16:creationId xmlns:a16="http://schemas.microsoft.com/office/drawing/2014/main" id="{A02C9864-B649-72A0-F6DF-1A57FE132EAD}"/>
                  </a:ext>
                </a:extLst>
              </p:cNvPr>
              <p:cNvGrpSpPr/>
              <p:nvPr/>
            </p:nvGrpSpPr>
            <p:grpSpPr>
              <a:xfrm>
                <a:off x="4126686" y="2611702"/>
                <a:ext cx="278196" cy="59539"/>
                <a:chOff x="4126686" y="2611702"/>
                <a:chExt cx="278196" cy="59539"/>
              </a:xfrm>
              <a:solidFill>
                <a:srgbClr val="00005A"/>
              </a:solidFill>
            </p:grpSpPr>
            <p:sp>
              <p:nvSpPr>
                <p:cNvPr id="766" name="Freeform: Shape 765">
                  <a:extLst>
                    <a:ext uri="{FF2B5EF4-FFF2-40B4-BE49-F238E27FC236}">
                      <a16:creationId xmlns:a16="http://schemas.microsoft.com/office/drawing/2014/main" id="{CFD01A8C-4F9C-06AD-4C8C-4572CDC27844}"/>
                    </a:ext>
                  </a:extLst>
                </p:cNvPr>
                <p:cNvSpPr/>
                <p:nvPr/>
              </p:nvSpPr>
              <p:spPr>
                <a:xfrm>
                  <a:off x="4126686" y="2612742"/>
                  <a:ext cx="153918" cy="58499"/>
                </a:xfrm>
                <a:custGeom>
                  <a:avLst/>
                  <a:gdLst>
                    <a:gd name="connsiteX0" fmla="*/ 114659 w 153918"/>
                    <a:gd name="connsiteY0" fmla="*/ 58499 h 58499"/>
                    <a:gd name="connsiteX1" fmla="*/ 76439 w 153918"/>
                    <a:gd name="connsiteY1" fmla="*/ 33020 h 58499"/>
                    <a:gd name="connsiteX2" fmla="*/ 51999 w 153918"/>
                    <a:gd name="connsiteY2" fmla="*/ 16120 h 58499"/>
                    <a:gd name="connsiteX3" fmla="*/ 27560 w 153918"/>
                    <a:gd name="connsiteY3" fmla="*/ 33020 h 58499"/>
                    <a:gd name="connsiteX4" fmla="*/ 14820 w 153918"/>
                    <a:gd name="connsiteY4" fmla="*/ 54339 h 58499"/>
                    <a:gd name="connsiteX5" fmla="*/ 4160 w 153918"/>
                    <a:gd name="connsiteY5" fmla="*/ 57459 h 58499"/>
                    <a:gd name="connsiteX6" fmla="*/ 1040 w 153918"/>
                    <a:gd name="connsiteY6" fmla="*/ 46799 h 58499"/>
                    <a:gd name="connsiteX7" fmla="*/ 13780 w 153918"/>
                    <a:gd name="connsiteY7" fmla="*/ 25480 h 58499"/>
                    <a:gd name="connsiteX8" fmla="*/ 51999 w 153918"/>
                    <a:gd name="connsiteY8" fmla="*/ 0 h 58499"/>
                    <a:gd name="connsiteX9" fmla="*/ 90219 w 153918"/>
                    <a:gd name="connsiteY9" fmla="*/ 25480 h 58499"/>
                    <a:gd name="connsiteX10" fmla="*/ 114659 w 153918"/>
                    <a:gd name="connsiteY10" fmla="*/ 42379 h 58499"/>
                    <a:gd name="connsiteX11" fmla="*/ 139098 w 153918"/>
                    <a:gd name="connsiteY11" fmla="*/ 25480 h 58499"/>
                    <a:gd name="connsiteX12" fmla="*/ 149758 w 153918"/>
                    <a:gd name="connsiteY12" fmla="*/ 22360 h 58499"/>
                    <a:gd name="connsiteX13" fmla="*/ 152878 w 153918"/>
                    <a:gd name="connsiteY13" fmla="*/ 33020 h 58499"/>
                    <a:gd name="connsiteX14" fmla="*/ 114659 w 153918"/>
                    <a:gd name="connsiteY14" fmla="*/ 58499 h 58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918" h="58499">
                      <a:moveTo>
                        <a:pt x="114659" y="58499"/>
                      </a:moveTo>
                      <a:cubicBezTo>
                        <a:pt x="99839" y="58499"/>
                        <a:pt x="85019" y="48879"/>
                        <a:pt x="76439" y="33020"/>
                      </a:cubicBezTo>
                      <a:cubicBezTo>
                        <a:pt x="70199" y="22360"/>
                        <a:pt x="61619" y="16120"/>
                        <a:pt x="51999" y="16120"/>
                      </a:cubicBezTo>
                      <a:cubicBezTo>
                        <a:pt x="42380" y="16120"/>
                        <a:pt x="34060" y="22360"/>
                        <a:pt x="27560" y="33020"/>
                      </a:cubicBezTo>
                      <a:lnTo>
                        <a:pt x="14820" y="54339"/>
                      </a:lnTo>
                      <a:cubicBezTo>
                        <a:pt x="12740" y="58499"/>
                        <a:pt x="7280" y="59539"/>
                        <a:pt x="4160" y="57459"/>
                      </a:cubicBezTo>
                      <a:cubicBezTo>
                        <a:pt x="0" y="55379"/>
                        <a:pt x="-1040" y="49919"/>
                        <a:pt x="1040" y="46799"/>
                      </a:cubicBezTo>
                      <a:lnTo>
                        <a:pt x="13780" y="25480"/>
                      </a:lnTo>
                      <a:cubicBezTo>
                        <a:pt x="22360" y="9620"/>
                        <a:pt x="37180" y="0"/>
                        <a:pt x="51999" y="0"/>
                      </a:cubicBezTo>
                      <a:cubicBezTo>
                        <a:pt x="66819" y="0"/>
                        <a:pt x="81639" y="9620"/>
                        <a:pt x="90219" y="25480"/>
                      </a:cubicBezTo>
                      <a:cubicBezTo>
                        <a:pt x="96459" y="36140"/>
                        <a:pt x="105039" y="42379"/>
                        <a:pt x="114659" y="42379"/>
                      </a:cubicBezTo>
                      <a:cubicBezTo>
                        <a:pt x="124279" y="42379"/>
                        <a:pt x="132598" y="36140"/>
                        <a:pt x="139098" y="25480"/>
                      </a:cubicBezTo>
                      <a:cubicBezTo>
                        <a:pt x="141179" y="21320"/>
                        <a:pt x="146638" y="20280"/>
                        <a:pt x="149758" y="22360"/>
                      </a:cubicBezTo>
                      <a:cubicBezTo>
                        <a:pt x="153918" y="24440"/>
                        <a:pt x="154958" y="29900"/>
                        <a:pt x="152878" y="33020"/>
                      </a:cubicBezTo>
                      <a:cubicBezTo>
                        <a:pt x="143258" y="48879"/>
                        <a:pt x="129479" y="58499"/>
                        <a:pt x="114659" y="58499"/>
                      </a:cubicBezTo>
                      <a:close/>
                    </a:path>
                  </a:pathLst>
                </a:custGeom>
                <a:solidFill>
                  <a:srgbClr val="00005A"/>
                </a:solidFill>
                <a:ln w="2597" cap="flat">
                  <a:noFill/>
                  <a:prstDash val="solid"/>
                  <a:miter/>
                </a:ln>
              </p:spPr>
              <p:txBody>
                <a:bodyPr rtlCol="0" anchor="ctr"/>
                <a:lstStyle/>
                <a:p>
                  <a:endParaRPr lang="en-GB"/>
                </a:p>
              </p:txBody>
            </p:sp>
            <p:sp>
              <p:nvSpPr>
                <p:cNvPr id="767" name="Freeform: Shape 766">
                  <a:extLst>
                    <a:ext uri="{FF2B5EF4-FFF2-40B4-BE49-F238E27FC236}">
                      <a16:creationId xmlns:a16="http://schemas.microsoft.com/office/drawing/2014/main" id="{1C81802B-D5A1-388A-044E-20B499DA810B}"/>
                    </a:ext>
                  </a:extLst>
                </p:cNvPr>
                <p:cNvSpPr/>
                <p:nvPr/>
              </p:nvSpPr>
              <p:spPr>
                <a:xfrm>
                  <a:off x="4263704" y="2611702"/>
                  <a:ext cx="141178" cy="58499"/>
                </a:xfrm>
                <a:custGeom>
                  <a:avLst/>
                  <a:gdLst>
                    <a:gd name="connsiteX0" fmla="*/ 133638 w 141178"/>
                    <a:gd name="connsiteY0" fmla="*/ 58499 h 58499"/>
                    <a:gd name="connsiteX1" fmla="*/ 101919 w 141178"/>
                    <a:gd name="connsiteY1" fmla="*/ 58499 h 58499"/>
                    <a:gd name="connsiteX2" fmla="*/ 63699 w 141178"/>
                    <a:gd name="connsiteY2" fmla="*/ 33020 h 58499"/>
                    <a:gd name="connsiteX3" fmla="*/ 39260 w 141178"/>
                    <a:gd name="connsiteY3" fmla="*/ 16120 h 58499"/>
                    <a:gd name="connsiteX4" fmla="*/ 14820 w 141178"/>
                    <a:gd name="connsiteY4" fmla="*/ 33020 h 58499"/>
                    <a:gd name="connsiteX5" fmla="*/ 4160 w 141178"/>
                    <a:gd name="connsiteY5" fmla="*/ 36140 h 58499"/>
                    <a:gd name="connsiteX6" fmla="*/ 1040 w 141178"/>
                    <a:gd name="connsiteY6" fmla="*/ 25480 h 58499"/>
                    <a:gd name="connsiteX7" fmla="*/ 39260 w 141178"/>
                    <a:gd name="connsiteY7" fmla="*/ 0 h 58499"/>
                    <a:gd name="connsiteX8" fmla="*/ 77479 w 141178"/>
                    <a:gd name="connsiteY8" fmla="*/ 25480 h 58499"/>
                    <a:gd name="connsiteX9" fmla="*/ 100879 w 141178"/>
                    <a:gd name="connsiteY9" fmla="*/ 42380 h 58499"/>
                    <a:gd name="connsiteX10" fmla="*/ 132598 w 141178"/>
                    <a:gd name="connsiteY10" fmla="*/ 42380 h 58499"/>
                    <a:gd name="connsiteX11" fmla="*/ 141178 w 141178"/>
                    <a:gd name="connsiteY11" fmla="*/ 50960 h 58499"/>
                    <a:gd name="connsiteX12" fmla="*/ 133638 w 141178"/>
                    <a:gd name="connsiteY12" fmla="*/ 58499 h 58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178" h="58499">
                      <a:moveTo>
                        <a:pt x="133638" y="58499"/>
                      </a:moveTo>
                      <a:lnTo>
                        <a:pt x="101919" y="58499"/>
                      </a:lnTo>
                      <a:cubicBezTo>
                        <a:pt x="87099" y="58499"/>
                        <a:pt x="72279" y="48880"/>
                        <a:pt x="63699" y="33020"/>
                      </a:cubicBezTo>
                      <a:cubicBezTo>
                        <a:pt x="57459" y="22360"/>
                        <a:pt x="48879" y="16120"/>
                        <a:pt x="39260" y="16120"/>
                      </a:cubicBezTo>
                      <a:cubicBezTo>
                        <a:pt x="29640" y="16120"/>
                        <a:pt x="21320" y="22360"/>
                        <a:pt x="14820" y="33020"/>
                      </a:cubicBezTo>
                      <a:cubicBezTo>
                        <a:pt x="12740" y="37180"/>
                        <a:pt x="7280" y="38220"/>
                        <a:pt x="4160" y="36140"/>
                      </a:cubicBezTo>
                      <a:cubicBezTo>
                        <a:pt x="0" y="34060"/>
                        <a:pt x="-1040" y="28600"/>
                        <a:pt x="1040" y="25480"/>
                      </a:cubicBezTo>
                      <a:cubicBezTo>
                        <a:pt x="10660" y="9620"/>
                        <a:pt x="24440" y="0"/>
                        <a:pt x="39260" y="0"/>
                      </a:cubicBezTo>
                      <a:cubicBezTo>
                        <a:pt x="54079" y="0"/>
                        <a:pt x="68899" y="9620"/>
                        <a:pt x="77479" y="25480"/>
                      </a:cubicBezTo>
                      <a:cubicBezTo>
                        <a:pt x="82679" y="36140"/>
                        <a:pt x="92299" y="42380"/>
                        <a:pt x="100879" y="42380"/>
                      </a:cubicBezTo>
                      <a:lnTo>
                        <a:pt x="132598" y="42380"/>
                      </a:lnTo>
                      <a:cubicBezTo>
                        <a:pt x="136759" y="42380"/>
                        <a:pt x="141178" y="45499"/>
                        <a:pt x="141178" y="50960"/>
                      </a:cubicBezTo>
                      <a:cubicBezTo>
                        <a:pt x="141178" y="56419"/>
                        <a:pt x="137798" y="58499"/>
                        <a:pt x="133638" y="58499"/>
                      </a:cubicBezTo>
                      <a:close/>
                    </a:path>
                  </a:pathLst>
                </a:custGeom>
                <a:solidFill>
                  <a:srgbClr val="00005A"/>
                </a:solidFill>
                <a:ln w="2597" cap="flat">
                  <a:noFill/>
                  <a:prstDash val="solid"/>
                  <a:miter/>
                </a:ln>
              </p:spPr>
              <p:txBody>
                <a:bodyPr rtlCol="0" anchor="ctr"/>
                <a:lstStyle/>
                <a:p>
                  <a:endParaRPr lang="en-GB"/>
                </a:p>
              </p:txBody>
            </p:sp>
          </p:grpSp>
          <p:sp>
            <p:nvSpPr>
              <p:cNvPr id="765" name="Freeform: Shape 764">
                <a:extLst>
                  <a:ext uri="{FF2B5EF4-FFF2-40B4-BE49-F238E27FC236}">
                    <a16:creationId xmlns:a16="http://schemas.microsoft.com/office/drawing/2014/main" id="{310D08BF-930D-8986-48C8-F631C0B6014C}"/>
                  </a:ext>
                </a:extLst>
              </p:cNvPr>
              <p:cNvSpPr/>
              <p:nvPr/>
            </p:nvSpPr>
            <p:spPr>
              <a:xfrm>
                <a:off x="4364323" y="2619242"/>
                <a:ext cx="50439" cy="86058"/>
              </a:xfrm>
              <a:custGeom>
                <a:avLst/>
                <a:gdLst>
                  <a:gd name="connsiteX0" fmla="*/ 8580 w 50439"/>
                  <a:gd name="connsiteY0" fmla="*/ 86059 h 86058"/>
                  <a:gd name="connsiteX1" fmla="*/ 3380 w 50439"/>
                  <a:gd name="connsiteY1" fmla="*/ 83979 h 86058"/>
                  <a:gd name="connsiteX2" fmla="*/ 3380 w 50439"/>
                  <a:gd name="connsiteY2" fmla="*/ 72279 h 86058"/>
                  <a:gd name="connsiteX3" fmla="*/ 30940 w 50439"/>
                  <a:gd name="connsiteY3" fmla="*/ 43679 h 86058"/>
                  <a:gd name="connsiteX4" fmla="*/ 2340 w 50439"/>
                  <a:gd name="connsiteY4" fmla="*/ 14040 h 86058"/>
                  <a:gd name="connsiteX5" fmla="*/ 2340 w 50439"/>
                  <a:gd name="connsiteY5" fmla="*/ 2340 h 86058"/>
                  <a:gd name="connsiteX6" fmla="*/ 14040 w 50439"/>
                  <a:gd name="connsiteY6" fmla="*/ 2340 h 86058"/>
                  <a:gd name="connsiteX7" fmla="*/ 48100 w 50439"/>
                  <a:gd name="connsiteY7" fmla="*/ 37440 h 86058"/>
                  <a:gd name="connsiteX8" fmla="*/ 48100 w 50439"/>
                  <a:gd name="connsiteY8" fmla="*/ 48099 h 86058"/>
                  <a:gd name="connsiteX9" fmla="*/ 15080 w 50439"/>
                  <a:gd name="connsiteY9" fmla="*/ 82159 h 86058"/>
                  <a:gd name="connsiteX10" fmla="*/ 8580 w 50439"/>
                  <a:gd name="connsiteY10" fmla="*/ 86059 h 86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39" h="86058">
                    <a:moveTo>
                      <a:pt x="8580" y="86059"/>
                    </a:moveTo>
                    <a:cubicBezTo>
                      <a:pt x="6500" y="86059"/>
                      <a:pt x="4420" y="85019"/>
                      <a:pt x="3380" y="83979"/>
                    </a:cubicBezTo>
                    <a:cubicBezTo>
                      <a:pt x="260" y="80859"/>
                      <a:pt x="260" y="75399"/>
                      <a:pt x="3380" y="72279"/>
                    </a:cubicBezTo>
                    <a:lnTo>
                      <a:pt x="30940" y="43679"/>
                    </a:lnTo>
                    <a:lnTo>
                      <a:pt x="2340" y="14040"/>
                    </a:lnTo>
                    <a:cubicBezTo>
                      <a:pt x="-780" y="10920"/>
                      <a:pt x="-780" y="5460"/>
                      <a:pt x="2340" y="2340"/>
                    </a:cubicBezTo>
                    <a:cubicBezTo>
                      <a:pt x="5460" y="-780"/>
                      <a:pt x="10920" y="-780"/>
                      <a:pt x="14040" y="2340"/>
                    </a:cubicBezTo>
                    <a:lnTo>
                      <a:pt x="48100" y="37440"/>
                    </a:lnTo>
                    <a:cubicBezTo>
                      <a:pt x="51219" y="40559"/>
                      <a:pt x="51219" y="46019"/>
                      <a:pt x="48100" y="48099"/>
                    </a:cubicBezTo>
                    <a:lnTo>
                      <a:pt x="15080" y="82159"/>
                    </a:lnTo>
                    <a:cubicBezTo>
                      <a:pt x="12740" y="85019"/>
                      <a:pt x="10660" y="86059"/>
                      <a:pt x="8580" y="86059"/>
                    </a:cubicBezTo>
                    <a:close/>
                  </a:path>
                </a:pathLst>
              </a:custGeom>
              <a:solidFill>
                <a:srgbClr val="00005A"/>
              </a:solidFill>
              <a:ln w="2597" cap="flat">
                <a:noFill/>
                <a:prstDash val="solid"/>
                <a:miter/>
              </a:ln>
            </p:spPr>
            <p:txBody>
              <a:bodyPr rtlCol="0" anchor="ctr"/>
              <a:lstStyle/>
              <a:p>
                <a:endParaRPr lang="en-GB"/>
              </a:p>
            </p:txBody>
          </p:sp>
        </p:grpSp>
        <p:grpSp>
          <p:nvGrpSpPr>
            <p:cNvPr id="754" name="Graphic 6">
              <a:extLst>
                <a:ext uri="{FF2B5EF4-FFF2-40B4-BE49-F238E27FC236}">
                  <a16:creationId xmlns:a16="http://schemas.microsoft.com/office/drawing/2014/main" id="{2DDC8F06-B38D-8BBC-5734-6DE99E643AAC}"/>
                </a:ext>
              </a:extLst>
            </p:cNvPr>
            <p:cNvGrpSpPr/>
            <p:nvPr/>
          </p:nvGrpSpPr>
          <p:grpSpPr>
            <a:xfrm>
              <a:off x="4127726" y="2851419"/>
              <a:ext cx="288076" cy="91518"/>
              <a:chOff x="4127726" y="2851419"/>
              <a:chExt cx="288076" cy="91518"/>
            </a:xfrm>
            <a:solidFill>
              <a:srgbClr val="00005A"/>
            </a:solidFill>
          </p:grpSpPr>
          <p:grpSp>
            <p:nvGrpSpPr>
              <p:cNvPr id="760" name="Graphic 6">
                <a:extLst>
                  <a:ext uri="{FF2B5EF4-FFF2-40B4-BE49-F238E27FC236}">
                    <a16:creationId xmlns:a16="http://schemas.microsoft.com/office/drawing/2014/main" id="{05532F70-E472-6CF2-3A5A-BA6BDBB3A887}"/>
                  </a:ext>
                </a:extLst>
              </p:cNvPr>
              <p:cNvGrpSpPr/>
              <p:nvPr/>
            </p:nvGrpSpPr>
            <p:grpSpPr>
              <a:xfrm>
                <a:off x="4127726" y="2851419"/>
                <a:ext cx="278196" cy="58499"/>
                <a:chOff x="4127726" y="2851419"/>
                <a:chExt cx="278196" cy="58499"/>
              </a:xfrm>
              <a:solidFill>
                <a:srgbClr val="00005A"/>
              </a:solidFill>
            </p:grpSpPr>
            <p:sp>
              <p:nvSpPr>
                <p:cNvPr id="762" name="Freeform: Shape 761">
                  <a:extLst>
                    <a:ext uri="{FF2B5EF4-FFF2-40B4-BE49-F238E27FC236}">
                      <a16:creationId xmlns:a16="http://schemas.microsoft.com/office/drawing/2014/main" id="{95C86360-D305-CBF8-6E81-5445DA4D3188}"/>
                    </a:ext>
                  </a:extLst>
                </p:cNvPr>
                <p:cNvSpPr/>
                <p:nvPr/>
              </p:nvSpPr>
              <p:spPr>
                <a:xfrm>
                  <a:off x="4127726" y="2851419"/>
                  <a:ext cx="153918" cy="58499"/>
                </a:xfrm>
                <a:custGeom>
                  <a:avLst/>
                  <a:gdLst>
                    <a:gd name="connsiteX0" fmla="*/ 114659 w 153918"/>
                    <a:gd name="connsiteY0" fmla="*/ 58499 h 58499"/>
                    <a:gd name="connsiteX1" fmla="*/ 76439 w 153918"/>
                    <a:gd name="connsiteY1" fmla="*/ 33020 h 58499"/>
                    <a:gd name="connsiteX2" fmla="*/ 51999 w 153918"/>
                    <a:gd name="connsiteY2" fmla="*/ 16120 h 58499"/>
                    <a:gd name="connsiteX3" fmla="*/ 27560 w 153918"/>
                    <a:gd name="connsiteY3" fmla="*/ 33020 h 58499"/>
                    <a:gd name="connsiteX4" fmla="*/ 14820 w 153918"/>
                    <a:gd name="connsiteY4" fmla="*/ 54339 h 58499"/>
                    <a:gd name="connsiteX5" fmla="*/ 4160 w 153918"/>
                    <a:gd name="connsiteY5" fmla="*/ 57459 h 58499"/>
                    <a:gd name="connsiteX6" fmla="*/ 1040 w 153918"/>
                    <a:gd name="connsiteY6" fmla="*/ 46799 h 58499"/>
                    <a:gd name="connsiteX7" fmla="*/ 13780 w 153918"/>
                    <a:gd name="connsiteY7" fmla="*/ 25480 h 58499"/>
                    <a:gd name="connsiteX8" fmla="*/ 51999 w 153918"/>
                    <a:gd name="connsiteY8" fmla="*/ 0 h 58499"/>
                    <a:gd name="connsiteX9" fmla="*/ 90219 w 153918"/>
                    <a:gd name="connsiteY9" fmla="*/ 25480 h 58499"/>
                    <a:gd name="connsiteX10" fmla="*/ 114659 w 153918"/>
                    <a:gd name="connsiteY10" fmla="*/ 42379 h 58499"/>
                    <a:gd name="connsiteX11" fmla="*/ 139098 w 153918"/>
                    <a:gd name="connsiteY11" fmla="*/ 25480 h 58499"/>
                    <a:gd name="connsiteX12" fmla="*/ 149758 w 153918"/>
                    <a:gd name="connsiteY12" fmla="*/ 22360 h 58499"/>
                    <a:gd name="connsiteX13" fmla="*/ 152878 w 153918"/>
                    <a:gd name="connsiteY13" fmla="*/ 33020 h 58499"/>
                    <a:gd name="connsiteX14" fmla="*/ 114659 w 153918"/>
                    <a:gd name="connsiteY14" fmla="*/ 58499 h 58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918" h="58499">
                      <a:moveTo>
                        <a:pt x="114659" y="58499"/>
                      </a:moveTo>
                      <a:cubicBezTo>
                        <a:pt x="99839" y="58499"/>
                        <a:pt x="85019" y="48879"/>
                        <a:pt x="76439" y="33020"/>
                      </a:cubicBezTo>
                      <a:cubicBezTo>
                        <a:pt x="70199" y="22360"/>
                        <a:pt x="61619" y="16120"/>
                        <a:pt x="51999" y="16120"/>
                      </a:cubicBezTo>
                      <a:cubicBezTo>
                        <a:pt x="42379" y="16120"/>
                        <a:pt x="34060" y="22360"/>
                        <a:pt x="27560" y="33020"/>
                      </a:cubicBezTo>
                      <a:lnTo>
                        <a:pt x="14820" y="54339"/>
                      </a:lnTo>
                      <a:cubicBezTo>
                        <a:pt x="12740" y="58499"/>
                        <a:pt x="7280" y="59539"/>
                        <a:pt x="4160" y="57459"/>
                      </a:cubicBezTo>
                      <a:cubicBezTo>
                        <a:pt x="0" y="55379"/>
                        <a:pt x="-1040" y="49919"/>
                        <a:pt x="1040" y="46799"/>
                      </a:cubicBezTo>
                      <a:lnTo>
                        <a:pt x="13780" y="25480"/>
                      </a:lnTo>
                      <a:cubicBezTo>
                        <a:pt x="22360" y="9620"/>
                        <a:pt x="37179" y="0"/>
                        <a:pt x="51999" y="0"/>
                      </a:cubicBezTo>
                      <a:cubicBezTo>
                        <a:pt x="66819" y="0"/>
                        <a:pt x="81639" y="9620"/>
                        <a:pt x="90219" y="25480"/>
                      </a:cubicBezTo>
                      <a:cubicBezTo>
                        <a:pt x="96459" y="36140"/>
                        <a:pt x="105039" y="42379"/>
                        <a:pt x="114659" y="42379"/>
                      </a:cubicBezTo>
                      <a:cubicBezTo>
                        <a:pt x="124278" y="42379"/>
                        <a:pt x="132598" y="36140"/>
                        <a:pt x="139098" y="25480"/>
                      </a:cubicBezTo>
                      <a:cubicBezTo>
                        <a:pt x="141178" y="21320"/>
                        <a:pt x="146638" y="20280"/>
                        <a:pt x="149758" y="22360"/>
                      </a:cubicBezTo>
                      <a:cubicBezTo>
                        <a:pt x="153918" y="24440"/>
                        <a:pt x="154958" y="29900"/>
                        <a:pt x="152878" y="33020"/>
                      </a:cubicBezTo>
                      <a:cubicBezTo>
                        <a:pt x="143258" y="49140"/>
                        <a:pt x="129478" y="58499"/>
                        <a:pt x="114659" y="58499"/>
                      </a:cubicBezTo>
                      <a:close/>
                    </a:path>
                  </a:pathLst>
                </a:custGeom>
                <a:solidFill>
                  <a:srgbClr val="00005A"/>
                </a:solidFill>
                <a:ln w="2597" cap="flat">
                  <a:noFill/>
                  <a:prstDash val="solid"/>
                  <a:miter/>
                </a:ln>
              </p:spPr>
              <p:txBody>
                <a:bodyPr rtlCol="0" anchor="ctr"/>
                <a:lstStyle/>
                <a:p>
                  <a:endParaRPr lang="en-GB"/>
                </a:p>
              </p:txBody>
            </p:sp>
            <p:sp>
              <p:nvSpPr>
                <p:cNvPr id="763" name="Freeform: Shape 762">
                  <a:extLst>
                    <a:ext uri="{FF2B5EF4-FFF2-40B4-BE49-F238E27FC236}">
                      <a16:creationId xmlns:a16="http://schemas.microsoft.com/office/drawing/2014/main" id="{C7AE33F9-4EAA-45FD-5CE6-4826D02A7DF8}"/>
                    </a:ext>
                  </a:extLst>
                </p:cNvPr>
                <p:cNvSpPr/>
                <p:nvPr/>
              </p:nvSpPr>
              <p:spPr>
                <a:xfrm>
                  <a:off x="4264744" y="2851419"/>
                  <a:ext cx="141178" cy="58499"/>
                </a:xfrm>
                <a:custGeom>
                  <a:avLst/>
                  <a:gdLst>
                    <a:gd name="connsiteX0" fmla="*/ 133639 w 141178"/>
                    <a:gd name="connsiteY0" fmla="*/ 58499 h 58499"/>
                    <a:gd name="connsiteX1" fmla="*/ 101919 w 141178"/>
                    <a:gd name="connsiteY1" fmla="*/ 58499 h 58499"/>
                    <a:gd name="connsiteX2" fmla="*/ 63699 w 141178"/>
                    <a:gd name="connsiteY2" fmla="*/ 33020 h 58499"/>
                    <a:gd name="connsiteX3" fmla="*/ 39259 w 141178"/>
                    <a:gd name="connsiteY3" fmla="*/ 16120 h 58499"/>
                    <a:gd name="connsiteX4" fmla="*/ 14820 w 141178"/>
                    <a:gd name="connsiteY4" fmla="*/ 33020 h 58499"/>
                    <a:gd name="connsiteX5" fmla="*/ 4160 w 141178"/>
                    <a:gd name="connsiteY5" fmla="*/ 36140 h 58499"/>
                    <a:gd name="connsiteX6" fmla="*/ 1040 w 141178"/>
                    <a:gd name="connsiteY6" fmla="*/ 25480 h 58499"/>
                    <a:gd name="connsiteX7" fmla="*/ 39259 w 141178"/>
                    <a:gd name="connsiteY7" fmla="*/ 0 h 58499"/>
                    <a:gd name="connsiteX8" fmla="*/ 77479 w 141178"/>
                    <a:gd name="connsiteY8" fmla="*/ 25480 h 58499"/>
                    <a:gd name="connsiteX9" fmla="*/ 100879 w 141178"/>
                    <a:gd name="connsiteY9" fmla="*/ 42379 h 58499"/>
                    <a:gd name="connsiteX10" fmla="*/ 132598 w 141178"/>
                    <a:gd name="connsiteY10" fmla="*/ 42379 h 58499"/>
                    <a:gd name="connsiteX11" fmla="*/ 141179 w 141178"/>
                    <a:gd name="connsiteY11" fmla="*/ 50960 h 58499"/>
                    <a:gd name="connsiteX12" fmla="*/ 133639 w 141178"/>
                    <a:gd name="connsiteY12" fmla="*/ 58499 h 58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178" h="58499">
                      <a:moveTo>
                        <a:pt x="133639" y="58499"/>
                      </a:moveTo>
                      <a:lnTo>
                        <a:pt x="101919" y="58499"/>
                      </a:lnTo>
                      <a:cubicBezTo>
                        <a:pt x="87099" y="58499"/>
                        <a:pt x="72279" y="48879"/>
                        <a:pt x="63699" y="33020"/>
                      </a:cubicBezTo>
                      <a:cubicBezTo>
                        <a:pt x="57459" y="22360"/>
                        <a:pt x="48880" y="16120"/>
                        <a:pt x="39259" y="16120"/>
                      </a:cubicBezTo>
                      <a:cubicBezTo>
                        <a:pt x="29640" y="16120"/>
                        <a:pt x="21320" y="22360"/>
                        <a:pt x="14820" y="33020"/>
                      </a:cubicBezTo>
                      <a:cubicBezTo>
                        <a:pt x="12740" y="37180"/>
                        <a:pt x="7280" y="38220"/>
                        <a:pt x="4160" y="36140"/>
                      </a:cubicBezTo>
                      <a:cubicBezTo>
                        <a:pt x="0" y="34060"/>
                        <a:pt x="-1040" y="28600"/>
                        <a:pt x="1040" y="25480"/>
                      </a:cubicBezTo>
                      <a:cubicBezTo>
                        <a:pt x="10660" y="9620"/>
                        <a:pt x="24440" y="0"/>
                        <a:pt x="39259" y="0"/>
                      </a:cubicBezTo>
                      <a:cubicBezTo>
                        <a:pt x="54080" y="0"/>
                        <a:pt x="68899" y="9620"/>
                        <a:pt x="77479" y="25480"/>
                      </a:cubicBezTo>
                      <a:cubicBezTo>
                        <a:pt x="82679" y="36140"/>
                        <a:pt x="92299" y="42379"/>
                        <a:pt x="100879" y="42379"/>
                      </a:cubicBezTo>
                      <a:lnTo>
                        <a:pt x="132598" y="42379"/>
                      </a:lnTo>
                      <a:cubicBezTo>
                        <a:pt x="136758" y="42379"/>
                        <a:pt x="141179" y="45499"/>
                        <a:pt x="141179" y="50960"/>
                      </a:cubicBezTo>
                      <a:cubicBezTo>
                        <a:pt x="141179" y="56419"/>
                        <a:pt x="137798" y="58499"/>
                        <a:pt x="133639" y="58499"/>
                      </a:cubicBezTo>
                      <a:close/>
                    </a:path>
                  </a:pathLst>
                </a:custGeom>
                <a:solidFill>
                  <a:srgbClr val="00005A"/>
                </a:solidFill>
                <a:ln w="2597" cap="flat">
                  <a:noFill/>
                  <a:prstDash val="solid"/>
                  <a:miter/>
                </a:ln>
              </p:spPr>
              <p:txBody>
                <a:bodyPr rtlCol="0" anchor="ctr"/>
                <a:lstStyle/>
                <a:p>
                  <a:endParaRPr lang="en-GB"/>
                </a:p>
              </p:txBody>
            </p:sp>
          </p:grpSp>
          <p:sp>
            <p:nvSpPr>
              <p:cNvPr id="761" name="Freeform: Shape 760">
                <a:extLst>
                  <a:ext uri="{FF2B5EF4-FFF2-40B4-BE49-F238E27FC236}">
                    <a16:creationId xmlns:a16="http://schemas.microsoft.com/office/drawing/2014/main" id="{5D48B716-5DA7-94F6-D6E0-D7457FEA4D03}"/>
                  </a:ext>
                </a:extLst>
              </p:cNvPr>
              <p:cNvSpPr/>
              <p:nvPr/>
            </p:nvSpPr>
            <p:spPr>
              <a:xfrm>
                <a:off x="4365363" y="2857919"/>
                <a:ext cx="50439" cy="85019"/>
              </a:xfrm>
              <a:custGeom>
                <a:avLst/>
                <a:gdLst>
                  <a:gd name="connsiteX0" fmla="*/ 8580 w 50439"/>
                  <a:gd name="connsiteY0" fmla="*/ 85019 h 85019"/>
                  <a:gd name="connsiteX1" fmla="*/ 3380 w 50439"/>
                  <a:gd name="connsiteY1" fmla="*/ 82939 h 85019"/>
                  <a:gd name="connsiteX2" fmla="*/ 3380 w 50439"/>
                  <a:gd name="connsiteY2" fmla="*/ 71239 h 85019"/>
                  <a:gd name="connsiteX3" fmla="*/ 30940 w 50439"/>
                  <a:gd name="connsiteY3" fmla="*/ 42640 h 85019"/>
                  <a:gd name="connsiteX4" fmla="*/ 2340 w 50439"/>
                  <a:gd name="connsiteY4" fmla="*/ 14040 h 85019"/>
                  <a:gd name="connsiteX5" fmla="*/ 2340 w 50439"/>
                  <a:gd name="connsiteY5" fmla="*/ 2340 h 85019"/>
                  <a:gd name="connsiteX6" fmla="*/ 14040 w 50439"/>
                  <a:gd name="connsiteY6" fmla="*/ 2340 h 85019"/>
                  <a:gd name="connsiteX7" fmla="*/ 48100 w 50439"/>
                  <a:gd name="connsiteY7" fmla="*/ 36400 h 85019"/>
                  <a:gd name="connsiteX8" fmla="*/ 48100 w 50439"/>
                  <a:gd name="connsiteY8" fmla="*/ 48099 h 85019"/>
                  <a:gd name="connsiteX9" fmla="*/ 15080 w 50439"/>
                  <a:gd name="connsiteY9" fmla="*/ 82159 h 85019"/>
                  <a:gd name="connsiteX10" fmla="*/ 8580 w 50439"/>
                  <a:gd name="connsiteY10" fmla="*/ 85019 h 85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39" h="85019">
                    <a:moveTo>
                      <a:pt x="8580" y="85019"/>
                    </a:moveTo>
                    <a:cubicBezTo>
                      <a:pt x="6500" y="85019"/>
                      <a:pt x="4420" y="83979"/>
                      <a:pt x="3380" y="82939"/>
                    </a:cubicBezTo>
                    <a:cubicBezTo>
                      <a:pt x="260" y="79819"/>
                      <a:pt x="260" y="74359"/>
                      <a:pt x="3380" y="71239"/>
                    </a:cubicBezTo>
                    <a:lnTo>
                      <a:pt x="30940" y="42640"/>
                    </a:lnTo>
                    <a:lnTo>
                      <a:pt x="2340" y="14040"/>
                    </a:lnTo>
                    <a:cubicBezTo>
                      <a:pt x="-780" y="10920"/>
                      <a:pt x="-780" y="5460"/>
                      <a:pt x="2340" y="2340"/>
                    </a:cubicBezTo>
                    <a:cubicBezTo>
                      <a:pt x="5460" y="-780"/>
                      <a:pt x="10920" y="-780"/>
                      <a:pt x="14040" y="2340"/>
                    </a:cubicBezTo>
                    <a:lnTo>
                      <a:pt x="48100" y="36400"/>
                    </a:lnTo>
                    <a:cubicBezTo>
                      <a:pt x="51219" y="39520"/>
                      <a:pt x="51219" y="44979"/>
                      <a:pt x="48100" y="48099"/>
                    </a:cubicBezTo>
                    <a:lnTo>
                      <a:pt x="15080" y="82159"/>
                    </a:lnTo>
                    <a:cubicBezTo>
                      <a:pt x="13000" y="83979"/>
                      <a:pt x="10660" y="85019"/>
                      <a:pt x="8580" y="85019"/>
                    </a:cubicBezTo>
                    <a:close/>
                  </a:path>
                </a:pathLst>
              </a:custGeom>
              <a:solidFill>
                <a:srgbClr val="00005A"/>
              </a:solidFill>
              <a:ln w="2597" cap="flat">
                <a:noFill/>
                <a:prstDash val="solid"/>
                <a:miter/>
              </a:ln>
            </p:spPr>
            <p:txBody>
              <a:bodyPr rtlCol="0" anchor="ctr"/>
              <a:lstStyle/>
              <a:p>
                <a:endParaRPr lang="en-GB"/>
              </a:p>
            </p:txBody>
          </p:sp>
        </p:grpSp>
        <p:grpSp>
          <p:nvGrpSpPr>
            <p:cNvPr id="755" name="Graphic 6">
              <a:extLst>
                <a:ext uri="{FF2B5EF4-FFF2-40B4-BE49-F238E27FC236}">
                  <a16:creationId xmlns:a16="http://schemas.microsoft.com/office/drawing/2014/main" id="{FD9D8064-0B52-89C1-BEE2-BE63E9E378B6}"/>
                </a:ext>
              </a:extLst>
            </p:cNvPr>
            <p:cNvGrpSpPr/>
            <p:nvPr/>
          </p:nvGrpSpPr>
          <p:grpSpPr>
            <a:xfrm>
              <a:off x="4127726" y="3056297"/>
              <a:ext cx="288076" cy="93598"/>
              <a:chOff x="4127726" y="3056297"/>
              <a:chExt cx="288076" cy="93598"/>
            </a:xfrm>
            <a:solidFill>
              <a:srgbClr val="00005A"/>
            </a:solidFill>
          </p:grpSpPr>
          <p:grpSp>
            <p:nvGrpSpPr>
              <p:cNvPr id="756" name="Graphic 6">
                <a:extLst>
                  <a:ext uri="{FF2B5EF4-FFF2-40B4-BE49-F238E27FC236}">
                    <a16:creationId xmlns:a16="http://schemas.microsoft.com/office/drawing/2014/main" id="{A0B0E94A-68C7-D589-4CA0-77102FF5CED3}"/>
                  </a:ext>
                </a:extLst>
              </p:cNvPr>
              <p:cNvGrpSpPr/>
              <p:nvPr/>
            </p:nvGrpSpPr>
            <p:grpSpPr>
              <a:xfrm>
                <a:off x="4127726" y="3056297"/>
                <a:ext cx="278196" cy="59539"/>
                <a:chOff x="4127726" y="3056297"/>
                <a:chExt cx="278196" cy="59539"/>
              </a:xfrm>
              <a:solidFill>
                <a:srgbClr val="00005A"/>
              </a:solidFill>
            </p:grpSpPr>
            <p:sp>
              <p:nvSpPr>
                <p:cNvPr id="758" name="Freeform: Shape 757">
                  <a:extLst>
                    <a:ext uri="{FF2B5EF4-FFF2-40B4-BE49-F238E27FC236}">
                      <a16:creationId xmlns:a16="http://schemas.microsoft.com/office/drawing/2014/main" id="{772AFE6E-5743-17DD-B867-F2082AFFE009}"/>
                    </a:ext>
                  </a:extLst>
                </p:cNvPr>
                <p:cNvSpPr/>
                <p:nvPr/>
              </p:nvSpPr>
              <p:spPr>
                <a:xfrm>
                  <a:off x="4127726" y="3057337"/>
                  <a:ext cx="153918" cy="58499"/>
                </a:xfrm>
                <a:custGeom>
                  <a:avLst/>
                  <a:gdLst>
                    <a:gd name="connsiteX0" fmla="*/ 114659 w 153918"/>
                    <a:gd name="connsiteY0" fmla="*/ 58499 h 58499"/>
                    <a:gd name="connsiteX1" fmla="*/ 76439 w 153918"/>
                    <a:gd name="connsiteY1" fmla="*/ 33020 h 58499"/>
                    <a:gd name="connsiteX2" fmla="*/ 51999 w 153918"/>
                    <a:gd name="connsiteY2" fmla="*/ 16120 h 58499"/>
                    <a:gd name="connsiteX3" fmla="*/ 27560 w 153918"/>
                    <a:gd name="connsiteY3" fmla="*/ 33020 h 58499"/>
                    <a:gd name="connsiteX4" fmla="*/ 14820 w 153918"/>
                    <a:gd name="connsiteY4" fmla="*/ 54339 h 58499"/>
                    <a:gd name="connsiteX5" fmla="*/ 4160 w 153918"/>
                    <a:gd name="connsiteY5" fmla="*/ 57459 h 58499"/>
                    <a:gd name="connsiteX6" fmla="*/ 1040 w 153918"/>
                    <a:gd name="connsiteY6" fmla="*/ 46799 h 58499"/>
                    <a:gd name="connsiteX7" fmla="*/ 13780 w 153918"/>
                    <a:gd name="connsiteY7" fmla="*/ 25480 h 58499"/>
                    <a:gd name="connsiteX8" fmla="*/ 51999 w 153918"/>
                    <a:gd name="connsiteY8" fmla="*/ 0 h 58499"/>
                    <a:gd name="connsiteX9" fmla="*/ 90219 w 153918"/>
                    <a:gd name="connsiteY9" fmla="*/ 25480 h 58499"/>
                    <a:gd name="connsiteX10" fmla="*/ 114659 w 153918"/>
                    <a:gd name="connsiteY10" fmla="*/ 42379 h 58499"/>
                    <a:gd name="connsiteX11" fmla="*/ 139098 w 153918"/>
                    <a:gd name="connsiteY11" fmla="*/ 25480 h 58499"/>
                    <a:gd name="connsiteX12" fmla="*/ 149758 w 153918"/>
                    <a:gd name="connsiteY12" fmla="*/ 22360 h 58499"/>
                    <a:gd name="connsiteX13" fmla="*/ 152878 w 153918"/>
                    <a:gd name="connsiteY13" fmla="*/ 33020 h 58499"/>
                    <a:gd name="connsiteX14" fmla="*/ 114659 w 153918"/>
                    <a:gd name="connsiteY14" fmla="*/ 58499 h 58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918" h="58499">
                      <a:moveTo>
                        <a:pt x="114659" y="58499"/>
                      </a:moveTo>
                      <a:cubicBezTo>
                        <a:pt x="99839" y="58499"/>
                        <a:pt x="85019" y="48879"/>
                        <a:pt x="76439" y="33020"/>
                      </a:cubicBezTo>
                      <a:cubicBezTo>
                        <a:pt x="70199" y="22360"/>
                        <a:pt x="61619" y="16120"/>
                        <a:pt x="51999" y="16120"/>
                      </a:cubicBezTo>
                      <a:cubicBezTo>
                        <a:pt x="42379" y="16120"/>
                        <a:pt x="34060" y="22360"/>
                        <a:pt x="27560" y="33020"/>
                      </a:cubicBezTo>
                      <a:lnTo>
                        <a:pt x="14820" y="54339"/>
                      </a:lnTo>
                      <a:cubicBezTo>
                        <a:pt x="12740" y="58499"/>
                        <a:pt x="7280" y="59539"/>
                        <a:pt x="4160" y="57459"/>
                      </a:cubicBezTo>
                      <a:cubicBezTo>
                        <a:pt x="0" y="55379"/>
                        <a:pt x="-1040" y="49919"/>
                        <a:pt x="1040" y="46799"/>
                      </a:cubicBezTo>
                      <a:lnTo>
                        <a:pt x="13780" y="25480"/>
                      </a:lnTo>
                      <a:cubicBezTo>
                        <a:pt x="22360" y="9620"/>
                        <a:pt x="37179" y="0"/>
                        <a:pt x="51999" y="0"/>
                      </a:cubicBezTo>
                      <a:cubicBezTo>
                        <a:pt x="66819" y="0"/>
                        <a:pt x="81639" y="9620"/>
                        <a:pt x="90219" y="25480"/>
                      </a:cubicBezTo>
                      <a:cubicBezTo>
                        <a:pt x="96459" y="36140"/>
                        <a:pt x="105039" y="42379"/>
                        <a:pt x="114659" y="42379"/>
                      </a:cubicBezTo>
                      <a:cubicBezTo>
                        <a:pt x="124278" y="42379"/>
                        <a:pt x="132598" y="36140"/>
                        <a:pt x="139098" y="25480"/>
                      </a:cubicBezTo>
                      <a:cubicBezTo>
                        <a:pt x="141178" y="21320"/>
                        <a:pt x="146638" y="20280"/>
                        <a:pt x="149758" y="22360"/>
                      </a:cubicBezTo>
                      <a:cubicBezTo>
                        <a:pt x="153918" y="24440"/>
                        <a:pt x="154958" y="29900"/>
                        <a:pt x="152878" y="33020"/>
                      </a:cubicBezTo>
                      <a:cubicBezTo>
                        <a:pt x="143258" y="49140"/>
                        <a:pt x="129478" y="58499"/>
                        <a:pt x="114659" y="58499"/>
                      </a:cubicBezTo>
                      <a:close/>
                    </a:path>
                  </a:pathLst>
                </a:custGeom>
                <a:solidFill>
                  <a:srgbClr val="00005A"/>
                </a:solidFill>
                <a:ln w="2597" cap="flat">
                  <a:noFill/>
                  <a:prstDash val="solid"/>
                  <a:miter/>
                </a:ln>
              </p:spPr>
              <p:txBody>
                <a:bodyPr rtlCol="0" anchor="ctr"/>
                <a:lstStyle/>
                <a:p>
                  <a:endParaRPr lang="en-GB"/>
                </a:p>
              </p:txBody>
            </p:sp>
            <p:sp>
              <p:nvSpPr>
                <p:cNvPr id="759" name="Freeform: Shape 758">
                  <a:extLst>
                    <a:ext uri="{FF2B5EF4-FFF2-40B4-BE49-F238E27FC236}">
                      <a16:creationId xmlns:a16="http://schemas.microsoft.com/office/drawing/2014/main" id="{5BFBAA6F-E406-97A0-99C4-CEB0C3B8489D}"/>
                    </a:ext>
                  </a:extLst>
                </p:cNvPr>
                <p:cNvSpPr/>
                <p:nvPr/>
              </p:nvSpPr>
              <p:spPr>
                <a:xfrm>
                  <a:off x="4264744" y="3056297"/>
                  <a:ext cx="141178" cy="58499"/>
                </a:xfrm>
                <a:custGeom>
                  <a:avLst/>
                  <a:gdLst>
                    <a:gd name="connsiteX0" fmla="*/ 133639 w 141178"/>
                    <a:gd name="connsiteY0" fmla="*/ 58499 h 58499"/>
                    <a:gd name="connsiteX1" fmla="*/ 101919 w 141178"/>
                    <a:gd name="connsiteY1" fmla="*/ 58499 h 58499"/>
                    <a:gd name="connsiteX2" fmla="*/ 63699 w 141178"/>
                    <a:gd name="connsiteY2" fmla="*/ 33020 h 58499"/>
                    <a:gd name="connsiteX3" fmla="*/ 39259 w 141178"/>
                    <a:gd name="connsiteY3" fmla="*/ 16120 h 58499"/>
                    <a:gd name="connsiteX4" fmla="*/ 14820 w 141178"/>
                    <a:gd name="connsiteY4" fmla="*/ 33020 h 58499"/>
                    <a:gd name="connsiteX5" fmla="*/ 4160 w 141178"/>
                    <a:gd name="connsiteY5" fmla="*/ 36140 h 58499"/>
                    <a:gd name="connsiteX6" fmla="*/ 1040 w 141178"/>
                    <a:gd name="connsiteY6" fmla="*/ 25480 h 58499"/>
                    <a:gd name="connsiteX7" fmla="*/ 39259 w 141178"/>
                    <a:gd name="connsiteY7" fmla="*/ 0 h 58499"/>
                    <a:gd name="connsiteX8" fmla="*/ 77479 w 141178"/>
                    <a:gd name="connsiteY8" fmla="*/ 25480 h 58499"/>
                    <a:gd name="connsiteX9" fmla="*/ 100879 w 141178"/>
                    <a:gd name="connsiteY9" fmla="*/ 42380 h 58499"/>
                    <a:gd name="connsiteX10" fmla="*/ 132598 w 141178"/>
                    <a:gd name="connsiteY10" fmla="*/ 42380 h 58499"/>
                    <a:gd name="connsiteX11" fmla="*/ 141179 w 141178"/>
                    <a:gd name="connsiteY11" fmla="*/ 50960 h 58499"/>
                    <a:gd name="connsiteX12" fmla="*/ 133639 w 141178"/>
                    <a:gd name="connsiteY12" fmla="*/ 58499 h 58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178" h="58499">
                      <a:moveTo>
                        <a:pt x="133639" y="58499"/>
                      </a:moveTo>
                      <a:lnTo>
                        <a:pt x="101919" y="58499"/>
                      </a:lnTo>
                      <a:cubicBezTo>
                        <a:pt x="87099" y="58499"/>
                        <a:pt x="72279" y="48880"/>
                        <a:pt x="63699" y="33020"/>
                      </a:cubicBezTo>
                      <a:cubicBezTo>
                        <a:pt x="57459" y="22360"/>
                        <a:pt x="48880" y="16120"/>
                        <a:pt x="39259" y="16120"/>
                      </a:cubicBezTo>
                      <a:cubicBezTo>
                        <a:pt x="29640" y="16120"/>
                        <a:pt x="21320" y="22360"/>
                        <a:pt x="14820" y="33020"/>
                      </a:cubicBezTo>
                      <a:cubicBezTo>
                        <a:pt x="12740" y="37180"/>
                        <a:pt x="7280" y="38220"/>
                        <a:pt x="4160" y="36140"/>
                      </a:cubicBezTo>
                      <a:cubicBezTo>
                        <a:pt x="0" y="34060"/>
                        <a:pt x="-1040" y="28600"/>
                        <a:pt x="1040" y="25480"/>
                      </a:cubicBezTo>
                      <a:cubicBezTo>
                        <a:pt x="10660" y="9620"/>
                        <a:pt x="24440" y="0"/>
                        <a:pt x="39259" y="0"/>
                      </a:cubicBezTo>
                      <a:cubicBezTo>
                        <a:pt x="54080" y="0"/>
                        <a:pt x="68899" y="9620"/>
                        <a:pt x="77479" y="25480"/>
                      </a:cubicBezTo>
                      <a:cubicBezTo>
                        <a:pt x="82679" y="36140"/>
                        <a:pt x="92299" y="42380"/>
                        <a:pt x="100879" y="42380"/>
                      </a:cubicBezTo>
                      <a:lnTo>
                        <a:pt x="132598" y="42380"/>
                      </a:lnTo>
                      <a:cubicBezTo>
                        <a:pt x="136758" y="42380"/>
                        <a:pt x="141179" y="45499"/>
                        <a:pt x="141179" y="50960"/>
                      </a:cubicBezTo>
                      <a:cubicBezTo>
                        <a:pt x="141179" y="56419"/>
                        <a:pt x="137798" y="58499"/>
                        <a:pt x="133639" y="58499"/>
                      </a:cubicBezTo>
                      <a:close/>
                    </a:path>
                  </a:pathLst>
                </a:custGeom>
                <a:solidFill>
                  <a:srgbClr val="00005A"/>
                </a:solidFill>
                <a:ln w="2597" cap="flat">
                  <a:noFill/>
                  <a:prstDash val="solid"/>
                  <a:miter/>
                </a:ln>
              </p:spPr>
              <p:txBody>
                <a:bodyPr rtlCol="0" anchor="ctr"/>
                <a:lstStyle/>
                <a:p>
                  <a:endParaRPr lang="en-GB"/>
                </a:p>
              </p:txBody>
            </p:sp>
          </p:grpSp>
          <p:sp>
            <p:nvSpPr>
              <p:cNvPr id="757" name="Freeform: Shape 756">
                <a:extLst>
                  <a:ext uri="{FF2B5EF4-FFF2-40B4-BE49-F238E27FC236}">
                    <a16:creationId xmlns:a16="http://schemas.microsoft.com/office/drawing/2014/main" id="{8DB9FA1D-FFAC-30A5-4539-110199FF8D3D}"/>
                  </a:ext>
                </a:extLst>
              </p:cNvPr>
              <p:cNvSpPr/>
              <p:nvPr/>
            </p:nvSpPr>
            <p:spPr>
              <a:xfrm>
                <a:off x="4365363" y="3064876"/>
                <a:ext cx="50439" cy="85019"/>
              </a:xfrm>
              <a:custGeom>
                <a:avLst/>
                <a:gdLst>
                  <a:gd name="connsiteX0" fmla="*/ 8580 w 50439"/>
                  <a:gd name="connsiteY0" fmla="*/ 85019 h 85019"/>
                  <a:gd name="connsiteX1" fmla="*/ 3380 w 50439"/>
                  <a:gd name="connsiteY1" fmla="*/ 82939 h 85019"/>
                  <a:gd name="connsiteX2" fmla="*/ 3380 w 50439"/>
                  <a:gd name="connsiteY2" fmla="*/ 71239 h 85019"/>
                  <a:gd name="connsiteX3" fmla="*/ 30940 w 50439"/>
                  <a:gd name="connsiteY3" fmla="*/ 43680 h 85019"/>
                  <a:gd name="connsiteX4" fmla="*/ 2340 w 50439"/>
                  <a:gd name="connsiteY4" fmla="*/ 14040 h 85019"/>
                  <a:gd name="connsiteX5" fmla="*/ 2340 w 50439"/>
                  <a:gd name="connsiteY5" fmla="*/ 2340 h 85019"/>
                  <a:gd name="connsiteX6" fmla="*/ 14040 w 50439"/>
                  <a:gd name="connsiteY6" fmla="*/ 2340 h 85019"/>
                  <a:gd name="connsiteX7" fmla="*/ 48100 w 50439"/>
                  <a:gd name="connsiteY7" fmla="*/ 37440 h 85019"/>
                  <a:gd name="connsiteX8" fmla="*/ 48100 w 50439"/>
                  <a:gd name="connsiteY8" fmla="*/ 49139 h 85019"/>
                  <a:gd name="connsiteX9" fmla="*/ 15080 w 50439"/>
                  <a:gd name="connsiteY9" fmla="*/ 82159 h 85019"/>
                  <a:gd name="connsiteX10" fmla="*/ 8580 w 50439"/>
                  <a:gd name="connsiteY10" fmla="*/ 85019 h 85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39" h="85019">
                    <a:moveTo>
                      <a:pt x="8580" y="85019"/>
                    </a:moveTo>
                    <a:cubicBezTo>
                      <a:pt x="6500" y="85019"/>
                      <a:pt x="4420" y="83979"/>
                      <a:pt x="3380" y="82939"/>
                    </a:cubicBezTo>
                    <a:cubicBezTo>
                      <a:pt x="260" y="79819"/>
                      <a:pt x="260" y="74359"/>
                      <a:pt x="3380" y="71239"/>
                    </a:cubicBezTo>
                    <a:lnTo>
                      <a:pt x="30940" y="43680"/>
                    </a:lnTo>
                    <a:lnTo>
                      <a:pt x="2340" y="14040"/>
                    </a:lnTo>
                    <a:cubicBezTo>
                      <a:pt x="-780" y="10920"/>
                      <a:pt x="-780" y="5460"/>
                      <a:pt x="2340" y="2340"/>
                    </a:cubicBezTo>
                    <a:cubicBezTo>
                      <a:pt x="5460" y="-780"/>
                      <a:pt x="10920" y="-780"/>
                      <a:pt x="14040" y="2340"/>
                    </a:cubicBezTo>
                    <a:lnTo>
                      <a:pt x="48100" y="37440"/>
                    </a:lnTo>
                    <a:cubicBezTo>
                      <a:pt x="51219" y="40560"/>
                      <a:pt x="51219" y="46019"/>
                      <a:pt x="48100" y="49139"/>
                    </a:cubicBezTo>
                    <a:lnTo>
                      <a:pt x="15080" y="82159"/>
                    </a:lnTo>
                    <a:cubicBezTo>
                      <a:pt x="13000" y="83979"/>
                      <a:pt x="10660" y="85019"/>
                      <a:pt x="8580" y="85019"/>
                    </a:cubicBezTo>
                    <a:close/>
                  </a:path>
                </a:pathLst>
              </a:custGeom>
              <a:solidFill>
                <a:srgbClr val="00005A"/>
              </a:solidFill>
              <a:ln w="2597" cap="flat">
                <a:noFill/>
                <a:prstDash val="solid"/>
                <a:miter/>
              </a:ln>
            </p:spPr>
            <p:txBody>
              <a:bodyPr rtlCol="0" anchor="ctr"/>
              <a:lstStyle/>
              <a:p>
                <a:endParaRPr lang="en-GB"/>
              </a:p>
            </p:txBody>
          </p:sp>
        </p:grpSp>
      </p:grpSp>
      <p:grpSp>
        <p:nvGrpSpPr>
          <p:cNvPr id="524" name="Graphic 6">
            <a:extLst>
              <a:ext uri="{FF2B5EF4-FFF2-40B4-BE49-F238E27FC236}">
                <a16:creationId xmlns:a16="http://schemas.microsoft.com/office/drawing/2014/main" id="{3331DE68-8F59-CBD3-1B1D-37575DF8E5A4}"/>
              </a:ext>
            </a:extLst>
          </p:cNvPr>
          <p:cNvGrpSpPr/>
          <p:nvPr/>
        </p:nvGrpSpPr>
        <p:grpSpPr>
          <a:xfrm>
            <a:off x="7379773" y="3898902"/>
            <a:ext cx="466424" cy="405429"/>
            <a:chOff x="5998664" y="2477803"/>
            <a:chExt cx="935469" cy="813137"/>
          </a:xfrm>
        </p:grpSpPr>
        <p:grpSp>
          <p:nvGrpSpPr>
            <p:cNvPr id="678" name="Graphic 6">
              <a:extLst>
                <a:ext uri="{FF2B5EF4-FFF2-40B4-BE49-F238E27FC236}">
                  <a16:creationId xmlns:a16="http://schemas.microsoft.com/office/drawing/2014/main" id="{6DF06041-9EF3-C13B-8845-FEDFFE095EB8}"/>
                </a:ext>
              </a:extLst>
            </p:cNvPr>
            <p:cNvGrpSpPr/>
            <p:nvPr/>
          </p:nvGrpSpPr>
          <p:grpSpPr>
            <a:xfrm>
              <a:off x="6496818" y="2509003"/>
              <a:ext cx="183297" cy="563413"/>
              <a:chOff x="6496818" y="2509003"/>
              <a:chExt cx="183297" cy="563413"/>
            </a:xfrm>
            <a:solidFill>
              <a:srgbClr val="0069FF"/>
            </a:solidFill>
          </p:grpSpPr>
          <p:sp>
            <p:nvSpPr>
              <p:cNvPr id="729" name="Freeform: Shape 728">
                <a:extLst>
                  <a:ext uri="{FF2B5EF4-FFF2-40B4-BE49-F238E27FC236}">
                    <a16:creationId xmlns:a16="http://schemas.microsoft.com/office/drawing/2014/main" id="{5204501E-BFAE-127D-3DFE-6DBE92B1F258}"/>
                  </a:ext>
                </a:extLst>
              </p:cNvPr>
              <p:cNvSpPr/>
              <p:nvPr/>
            </p:nvSpPr>
            <p:spPr>
              <a:xfrm>
                <a:off x="6502018" y="2514203"/>
                <a:ext cx="172898" cy="553013"/>
              </a:xfrm>
              <a:custGeom>
                <a:avLst/>
                <a:gdLst>
                  <a:gd name="connsiteX0" fmla="*/ 172898 w 172898"/>
                  <a:gd name="connsiteY0" fmla="*/ 553014 h 553013"/>
                  <a:gd name="connsiteX1" fmla="*/ 0 w 172898"/>
                  <a:gd name="connsiteY1" fmla="*/ 515834 h 553013"/>
                  <a:gd name="connsiteX2" fmla="*/ 0 w 172898"/>
                  <a:gd name="connsiteY2" fmla="*/ 85799 h 553013"/>
                  <a:gd name="connsiteX3" fmla="*/ 0 w 172898"/>
                  <a:gd name="connsiteY3" fmla="*/ 36140 h 553013"/>
                  <a:gd name="connsiteX4" fmla="*/ 172898 w 172898"/>
                  <a:gd name="connsiteY4" fmla="*/ 0 h 553013"/>
                  <a:gd name="connsiteX5" fmla="*/ 172898 w 172898"/>
                  <a:gd name="connsiteY5" fmla="*/ 44460 h 553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898" h="553013">
                    <a:moveTo>
                      <a:pt x="172898" y="553014"/>
                    </a:moveTo>
                    <a:lnTo>
                      <a:pt x="0" y="515834"/>
                    </a:lnTo>
                    <a:lnTo>
                      <a:pt x="0" y="85799"/>
                    </a:lnTo>
                    <a:lnTo>
                      <a:pt x="0" y="36140"/>
                    </a:lnTo>
                    <a:lnTo>
                      <a:pt x="172898" y="0"/>
                    </a:lnTo>
                    <a:lnTo>
                      <a:pt x="172898" y="44460"/>
                    </a:lnTo>
                    <a:close/>
                  </a:path>
                </a:pathLst>
              </a:custGeom>
              <a:solidFill>
                <a:srgbClr val="0069FF"/>
              </a:solidFill>
              <a:ln w="2597" cap="flat">
                <a:noFill/>
                <a:prstDash val="solid"/>
                <a:miter/>
              </a:ln>
            </p:spPr>
            <p:txBody>
              <a:bodyPr rtlCol="0" anchor="ctr"/>
              <a:lstStyle/>
              <a:p>
                <a:endParaRPr lang="en-GB"/>
              </a:p>
            </p:txBody>
          </p:sp>
          <p:sp>
            <p:nvSpPr>
              <p:cNvPr id="730" name="Freeform: Shape 729">
                <a:extLst>
                  <a:ext uri="{FF2B5EF4-FFF2-40B4-BE49-F238E27FC236}">
                    <a16:creationId xmlns:a16="http://schemas.microsoft.com/office/drawing/2014/main" id="{10D9A54A-D46B-53EF-2A16-9A4FCFD51C9C}"/>
                  </a:ext>
                </a:extLst>
              </p:cNvPr>
              <p:cNvSpPr/>
              <p:nvPr/>
            </p:nvSpPr>
            <p:spPr>
              <a:xfrm>
                <a:off x="6496818" y="2509003"/>
                <a:ext cx="183297" cy="563413"/>
              </a:xfrm>
              <a:custGeom>
                <a:avLst/>
                <a:gdLst>
                  <a:gd name="connsiteX0" fmla="*/ 178098 w 183297"/>
                  <a:gd name="connsiteY0" fmla="*/ 563414 h 563413"/>
                  <a:gd name="connsiteX1" fmla="*/ 177058 w 183297"/>
                  <a:gd name="connsiteY1" fmla="*/ 563414 h 563413"/>
                  <a:gd name="connsiteX2" fmla="*/ 4160 w 183297"/>
                  <a:gd name="connsiteY2" fmla="*/ 526234 h 563413"/>
                  <a:gd name="connsiteX3" fmla="*/ 0 w 183297"/>
                  <a:gd name="connsiteY3" fmla="*/ 521034 h 563413"/>
                  <a:gd name="connsiteX4" fmla="*/ 0 w 183297"/>
                  <a:gd name="connsiteY4" fmla="*/ 41340 h 563413"/>
                  <a:gd name="connsiteX5" fmla="*/ 4160 w 183297"/>
                  <a:gd name="connsiteY5" fmla="*/ 36140 h 563413"/>
                  <a:gd name="connsiteX6" fmla="*/ 177058 w 183297"/>
                  <a:gd name="connsiteY6" fmla="*/ 0 h 563413"/>
                  <a:gd name="connsiteX7" fmla="*/ 181218 w 183297"/>
                  <a:gd name="connsiteY7" fmla="*/ 1040 h 563413"/>
                  <a:gd name="connsiteX8" fmla="*/ 183298 w 183297"/>
                  <a:gd name="connsiteY8" fmla="*/ 5200 h 563413"/>
                  <a:gd name="connsiteX9" fmla="*/ 183298 w 183297"/>
                  <a:gd name="connsiteY9" fmla="*/ 558214 h 563413"/>
                  <a:gd name="connsiteX10" fmla="*/ 181218 w 183297"/>
                  <a:gd name="connsiteY10" fmla="*/ 562374 h 563413"/>
                  <a:gd name="connsiteX11" fmla="*/ 178098 w 183297"/>
                  <a:gd name="connsiteY11" fmla="*/ 563414 h 563413"/>
                  <a:gd name="connsiteX12" fmla="*/ 10400 w 183297"/>
                  <a:gd name="connsiteY12" fmla="*/ 516614 h 563413"/>
                  <a:gd name="connsiteX13" fmla="*/ 172898 w 183297"/>
                  <a:gd name="connsiteY13" fmla="*/ 551714 h 563413"/>
                  <a:gd name="connsiteX14" fmla="*/ 172898 w 183297"/>
                  <a:gd name="connsiteY14" fmla="*/ 11440 h 563413"/>
                  <a:gd name="connsiteX15" fmla="*/ 10400 w 183297"/>
                  <a:gd name="connsiteY15" fmla="*/ 45499 h 563413"/>
                  <a:gd name="connsiteX16" fmla="*/ 10400 w 183297"/>
                  <a:gd name="connsiteY16" fmla="*/ 516614 h 563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3297" h="563413">
                    <a:moveTo>
                      <a:pt x="178098" y="563414"/>
                    </a:moveTo>
                    <a:lnTo>
                      <a:pt x="177058" y="563414"/>
                    </a:lnTo>
                    <a:lnTo>
                      <a:pt x="4160" y="526234"/>
                    </a:lnTo>
                    <a:cubicBezTo>
                      <a:pt x="2079" y="526234"/>
                      <a:pt x="0" y="523114"/>
                      <a:pt x="0" y="521034"/>
                    </a:cubicBezTo>
                    <a:lnTo>
                      <a:pt x="0" y="41340"/>
                    </a:lnTo>
                    <a:cubicBezTo>
                      <a:pt x="0" y="39260"/>
                      <a:pt x="2079" y="37180"/>
                      <a:pt x="4160" y="36140"/>
                    </a:cubicBezTo>
                    <a:lnTo>
                      <a:pt x="177058" y="0"/>
                    </a:lnTo>
                    <a:cubicBezTo>
                      <a:pt x="178098" y="0"/>
                      <a:pt x="180177" y="0"/>
                      <a:pt x="181218" y="1040"/>
                    </a:cubicBezTo>
                    <a:cubicBezTo>
                      <a:pt x="182258" y="2080"/>
                      <a:pt x="183298" y="3120"/>
                      <a:pt x="183298" y="5200"/>
                    </a:cubicBezTo>
                    <a:lnTo>
                      <a:pt x="183298" y="558214"/>
                    </a:lnTo>
                    <a:cubicBezTo>
                      <a:pt x="183298" y="560294"/>
                      <a:pt x="182258" y="561334"/>
                      <a:pt x="181218" y="562374"/>
                    </a:cubicBezTo>
                    <a:cubicBezTo>
                      <a:pt x="180177" y="563414"/>
                      <a:pt x="179138" y="563414"/>
                      <a:pt x="178098" y="563414"/>
                    </a:cubicBezTo>
                    <a:close/>
                    <a:moveTo>
                      <a:pt x="10400" y="516614"/>
                    </a:moveTo>
                    <a:lnTo>
                      <a:pt x="172898" y="551714"/>
                    </a:lnTo>
                    <a:lnTo>
                      <a:pt x="172898" y="11440"/>
                    </a:lnTo>
                    <a:lnTo>
                      <a:pt x="10400" y="45499"/>
                    </a:lnTo>
                    <a:lnTo>
                      <a:pt x="10400" y="516614"/>
                    </a:lnTo>
                    <a:close/>
                  </a:path>
                </a:pathLst>
              </a:custGeom>
              <a:solidFill>
                <a:srgbClr val="0069FF"/>
              </a:solidFill>
              <a:ln w="2597" cap="flat">
                <a:noFill/>
                <a:prstDash val="solid"/>
                <a:miter/>
              </a:ln>
            </p:spPr>
            <p:txBody>
              <a:bodyPr rtlCol="0" anchor="ctr"/>
              <a:lstStyle/>
              <a:p>
                <a:endParaRPr lang="en-GB"/>
              </a:p>
            </p:txBody>
          </p:sp>
        </p:grpSp>
        <p:sp>
          <p:nvSpPr>
            <p:cNvPr id="679" name="Freeform: Shape 678">
              <a:extLst>
                <a:ext uri="{FF2B5EF4-FFF2-40B4-BE49-F238E27FC236}">
                  <a16:creationId xmlns:a16="http://schemas.microsoft.com/office/drawing/2014/main" id="{18290B06-EF5B-A2A4-D784-2BEEAF3AA8FE}"/>
                </a:ext>
              </a:extLst>
            </p:cNvPr>
            <p:cNvSpPr/>
            <p:nvPr/>
          </p:nvSpPr>
          <p:spPr>
            <a:xfrm>
              <a:off x="6466139" y="2477803"/>
              <a:ext cx="189537" cy="567053"/>
            </a:xfrm>
            <a:custGeom>
              <a:avLst/>
              <a:gdLst>
                <a:gd name="connsiteX0" fmla="*/ 181218 w 189537"/>
                <a:gd name="connsiteY0" fmla="*/ 567054 h 567053"/>
                <a:gd name="connsiteX1" fmla="*/ 180178 w 189537"/>
                <a:gd name="connsiteY1" fmla="*/ 567054 h 567053"/>
                <a:gd name="connsiteX2" fmla="*/ 6240 w 189537"/>
                <a:gd name="connsiteY2" fmla="*/ 531954 h 567053"/>
                <a:gd name="connsiteX3" fmla="*/ 0 w 189537"/>
                <a:gd name="connsiteY3" fmla="*/ 524414 h 567053"/>
                <a:gd name="connsiteX4" fmla="*/ 0 w 189537"/>
                <a:gd name="connsiteY4" fmla="*/ 42640 h 567053"/>
                <a:gd name="connsiteX5" fmla="*/ 6240 w 189537"/>
                <a:gd name="connsiteY5" fmla="*/ 35100 h 567053"/>
                <a:gd name="connsiteX6" fmla="*/ 180178 w 189537"/>
                <a:gd name="connsiteY6" fmla="*/ 0 h 567053"/>
                <a:gd name="connsiteX7" fmla="*/ 186418 w 189537"/>
                <a:gd name="connsiteY7" fmla="*/ 2080 h 567053"/>
                <a:gd name="connsiteX8" fmla="*/ 189538 w 189537"/>
                <a:gd name="connsiteY8" fmla="*/ 8320 h 567053"/>
                <a:gd name="connsiteX9" fmla="*/ 189538 w 189537"/>
                <a:gd name="connsiteY9" fmla="*/ 560294 h 567053"/>
                <a:gd name="connsiteX10" fmla="*/ 186418 w 189537"/>
                <a:gd name="connsiteY10" fmla="*/ 566534 h 567053"/>
                <a:gd name="connsiteX11" fmla="*/ 181218 w 189537"/>
                <a:gd name="connsiteY11" fmla="*/ 567054 h 567053"/>
                <a:gd name="connsiteX12" fmla="*/ 15600 w 189537"/>
                <a:gd name="connsiteY12" fmla="*/ 518174 h 567053"/>
                <a:gd name="connsiteX13" fmla="*/ 173678 w 189537"/>
                <a:gd name="connsiteY13" fmla="*/ 549894 h 567053"/>
                <a:gd name="connsiteX14" fmla="*/ 173678 w 189537"/>
                <a:gd name="connsiteY14" fmla="*/ 17160 h 567053"/>
                <a:gd name="connsiteX15" fmla="*/ 15600 w 189537"/>
                <a:gd name="connsiteY15" fmla="*/ 48880 h 567053"/>
                <a:gd name="connsiteX16" fmla="*/ 15600 w 189537"/>
                <a:gd name="connsiteY16" fmla="*/ 518174 h 56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9537" h="567053">
                  <a:moveTo>
                    <a:pt x="181218" y="567054"/>
                  </a:moveTo>
                  <a:lnTo>
                    <a:pt x="180178" y="567054"/>
                  </a:lnTo>
                  <a:lnTo>
                    <a:pt x="6240" y="531954"/>
                  </a:lnTo>
                  <a:cubicBezTo>
                    <a:pt x="2080" y="530914"/>
                    <a:pt x="0" y="527794"/>
                    <a:pt x="0" y="524414"/>
                  </a:cubicBezTo>
                  <a:lnTo>
                    <a:pt x="0" y="42640"/>
                  </a:lnTo>
                  <a:cubicBezTo>
                    <a:pt x="0" y="38480"/>
                    <a:pt x="3120" y="35100"/>
                    <a:pt x="6240" y="35100"/>
                  </a:cubicBezTo>
                  <a:lnTo>
                    <a:pt x="180178" y="0"/>
                  </a:lnTo>
                  <a:cubicBezTo>
                    <a:pt x="182258" y="0"/>
                    <a:pt x="184338" y="0"/>
                    <a:pt x="186418" y="2080"/>
                  </a:cubicBezTo>
                  <a:cubicBezTo>
                    <a:pt x="188498" y="3120"/>
                    <a:pt x="189538" y="6240"/>
                    <a:pt x="189538" y="8320"/>
                  </a:cubicBezTo>
                  <a:lnTo>
                    <a:pt x="189538" y="560294"/>
                  </a:lnTo>
                  <a:cubicBezTo>
                    <a:pt x="189538" y="562374"/>
                    <a:pt x="188498" y="564454"/>
                    <a:pt x="186418" y="566534"/>
                  </a:cubicBezTo>
                  <a:cubicBezTo>
                    <a:pt x="184338" y="567054"/>
                    <a:pt x="183298" y="567054"/>
                    <a:pt x="181218" y="567054"/>
                  </a:cubicBezTo>
                  <a:close/>
                  <a:moveTo>
                    <a:pt x="15600" y="518174"/>
                  </a:moveTo>
                  <a:lnTo>
                    <a:pt x="173678" y="549894"/>
                  </a:lnTo>
                  <a:lnTo>
                    <a:pt x="173678" y="17160"/>
                  </a:lnTo>
                  <a:lnTo>
                    <a:pt x="15600" y="48880"/>
                  </a:lnTo>
                  <a:lnTo>
                    <a:pt x="15600" y="518174"/>
                  </a:lnTo>
                  <a:close/>
                </a:path>
              </a:pathLst>
            </a:custGeom>
            <a:solidFill>
              <a:srgbClr val="00005A"/>
            </a:solidFill>
            <a:ln w="2597" cap="flat">
              <a:noFill/>
              <a:prstDash val="solid"/>
              <a:miter/>
            </a:ln>
          </p:spPr>
          <p:txBody>
            <a:bodyPr rtlCol="0" anchor="ctr"/>
            <a:lstStyle/>
            <a:p>
              <a:endParaRPr lang="en-GB"/>
            </a:p>
          </p:txBody>
        </p:sp>
        <p:sp>
          <p:nvSpPr>
            <p:cNvPr id="680" name="Freeform: Shape 679">
              <a:extLst>
                <a:ext uri="{FF2B5EF4-FFF2-40B4-BE49-F238E27FC236}">
                  <a16:creationId xmlns:a16="http://schemas.microsoft.com/office/drawing/2014/main" id="{3D6DE76A-22A9-FCD3-7D05-58183ED2513B}"/>
                </a:ext>
              </a:extLst>
            </p:cNvPr>
            <p:cNvSpPr/>
            <p:nvPr/>
          </p:nvSpPr>
          <p:spPr>
            <a:xfrm>
              <a:off x="6472957" y="2512961"/>
              <a:ext cx="182920" cy="46740"/>
            </a:xfrm>
            <a:custGeom>
              <a:avLst/>
              <a:gdLst>
                <a:gd name="connsiteX0" fmla="*/ 7741 w 182920"/>
                <a:gd name="connsiteY0" fmla="*/ 46741 h 46740"/>
                <a:gd name="connsiteX1" fmla="*/ 201 w 182920"/>
                <a:gd name="connsiteY1" fmla="*/ 40501 h 46740"/>
                <a:gd name="connsiteX2" fmla="*/ 6441 w 182920"/>
                <a:gd name="connsiteY2" fmla="*/ 30881 h 46740"/>
                <a:gd name="connsiteX3" fmla="*/ 173099 w 182920"/>
                <a:gd name="connsiteY3" fmla="*/ 202 h 46740"/>
                <a:gd name="connsiteX4" fmla="*/ 182719 w 182920"/>
                <a:gd name="connsiteY4" fmla="*/ 6441 h 46740"/>
                <a:gd name="connsiteX5" fmla="*/ 176480 w 182920"/>
                <a:gd name="connsiteY5" fmla="*/ 16061 h 46740"/>
                <a:gd name="connsiteX6" fmla="*/ 9821 w 182920"/>
                <a:gd name="connsiteY6" fmla="*/ 46741 h 46740"/>
                <a:gd name="connsiteX7" fmla="*/ 7741 w 182920"/>
                <a:gd name="connsiteY7" fmla="*/ 46741 h 4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920" h="46740">
                  <a:moveTo>
                    <a:pt x="7741" y="46741"/>
                  </a:moveTo>
                  <a:cubicBezTo>
                    <a:pt x="3582" y="46741"/>
                    <a:pt x="201" y="43621"/>
                    <a:pt x="201" y="40501"/>
                  </a:cubicBezTo>
                  <a:cubicBezTo>
                    <a:pt x="-838" y="36341"/>
                    <a:pt x="2282" y="31921"/>
                    <a:pt x="6441" y="30881"/>
                  </a:cubicBezTo>
                  <a:lnTo>
                    <a:pt x="173099" y="202"/>
                  </a:lnTo>
                  <a:cubicBezTo>
                    <a:pt x="177260" y="-838"/>
                    <a:pt x="181680" y="2282"/>
                    <a:pt x="182719" y="6441"/>
                  </a:cubicBezTo>
                  <a:cubicBezTo>
                    <a:pt x="183760" y="10601"/>
                    <a:pt x="180639" y="15021"/>
                    <a:pt x="176480" y="16061"/>
                  </a:cubicBezTo>
                  <a:lnTo>
                    <a:pt x="9821" y="46741"/>
                  </a:lnTo>
                  <a:cubicBezTo>
                    <a:pt x="8782" y="45701"/>
                    <a:pt x="7741" y="46741"/>
                    <a:pt x="7741" y="46741"/>
                  </a:cubicBezTo>
                  <a:close/>
                </a:path>
              </a:pathLst>
            </a:custGeom>
            <a:solidFill>
              <a:srgbClr val="00005A"/>
            </a:solidFill>
            <a:ln w="2597" cap="flat">
              <a:noFill/>
              <a:prstDash val="solid"/>
              <a:miter/>
            </a:ln>
          </p:spPr>
          <p:txBody>
            <a:bodyPr rtlCol="0" anchor="ctr"/>
            <a:lstStyle/>
            <a:p>
              <a:endParaRPr lang="en-GB"/>
            </a:p>
          </p:txBody>
        </p:sp>
        <p:sp>
          <p:nvSpPr>
            <p:cNvPr id="681" name="Freeform: Shape 680">
              <a:extLst>
                <a:ext uri="{FF2B5EF4-FFF2-40B4-BE49-F238E27FC236}">
                  <a16:creationId xmlns:a16="http://schemas.microsoft.com/office/drawing/2014/main" id="{4A2294AA-11C2-BC8B-3639-7F2A79F56864}"/>
                </a:ext>
              </a:extLst>
            </p:cNvPr>
            <p:cNvSpPr/>
            <p:nvPr/>
          </p:nvSpPr>
          <p:spPr>
            <a:xfrm>
              <a:off x="6465420" y="2663441"/>
              <a:ext cx="190455" cy="37439"/>
            </a:xfrm>
            <a:custGeom>
              <a:avLst/>
              <a:gdLst>
                <a:gd name="connsiteX0" fmla="*/ 7739 w 190455"/>
                <a:gd name="connsiteY0" fmla="*/ 37440 h 37439"/>
                <a:gd name="connsiteX1" fmla="*/ 199 w 190455"/>
                <a:gd name="connsiteY1" fmla="*/ 29900 h 37439"/>
                <a:gd name="connsiteX2" fmla="*/ 7739 w 190455"/>
                <a:gd name="connsiteY2" fmla="*/ 21320 h 37439"/>
                <a:gd name="connsiteX3" fmla="*/ 181676 w 190455"/>
                <a:gd name="connsiteY3" fmla="*/ 0 h 37439"/>
                <a:gd name="connsiteX4" fmla="*/ 190256 w 190455"/>
                <a:gd name="connsiteY4" fmla="*/ 7540 h 37439"/>
                <a:gd name="connsiteX5" fmla="*/ 182717 w 190455"/>
                <a:gd name="connsiteY5" fmla="*/ 16120 h 37439"/>
                <a:gd name="connsiteX6" fmla="*/ 7739 w 190455"/>
                <a:gd name="connsiteY6" fmla="*/ 37440 h 37439"/>
                <a:gd name="connsiteX7" fmla="*/ 7739 w 190455"/>
                <a:gd name="connsiteY7" fmla="*/ 37440 h 3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455" h="37439">
                  <a:moveTo>
                    <a:pt x="7739" y="37440"/>
                  </a:moveTo>
                  <a:cubicBezTo>
                    <a:pt x="3578" y="37440"/>
                    <a:pt x="199" y="34320"/>
                    <a:pt x="199" y="29900"/>
                  </a:cubicBezTo>
                  <a:cubicBezTo>
                    <a:pt x="-842" y="25740"/>
                    <a:pt x="2278" y="21320"/>
                    <a:pt x="7739" y="21320"/>
                  </a:cubicBezTo>
                  <a:lnTo>
                    <a:pt x="181676" y="0"/>
                  </a:lnTo>
                  <a:cubicBezTo>
                    <a:pt x="185836" y="0"/>
                    <a:pt x="190256" y="2080"/>
                    <a:pt x="190256" y="7540"/>
                  </a:cubicBezTo>
                  <a:cubicBezTo>
                    <a:pt x="191297" y="11700"/>
                    <a:pt x="188176" y="16120"/>
                    <a:pt x="182717" y="16120"/>
                  </a:cubicBezTo>
                  <a:lnTo>
                    <a:pt x="7739" y="37440"/>
                  </a:lnTo>
                  <a:cubicBezTo>
                    <a:pt x="9038" y="37440"/>
                    <a:pt x="7739" y="37440"/>
                    <a:pt x="7739" y="37440"/>
                  </a:cubicBezTo>
                  <a:close/>
                </a:path>
              </a:pathLst>
            </a:custGeom>
            <a:solidFill>
              <a:srgbClr val="00005A"/>
            </a:solidFill>
            <a:ln w="2597" cap="flat">
              <a:noFill/>
              <a:prstDash val="solid"/>
              <a:miter/>
            </a:ln>
          </p:spPr>
          <p:txBody>
            <a:bodyPr rtlCol="0" anchor="ctr"/>
            <a:lstStyle/>
            <a:p>
              <a:endParaRPr lang="en-GB"/>
            </a:p>
          </p:txBody>
        </p:sp>
        <p:sp>
          <p:nvSpPr>
            <p:cNvPr id="682" name="Freeform: Shape 681">
              <a:extLst>
                <a:ext uri="{FF2B5EF4-FFF2-40B4-BE49-F238E27FC236}">
                  <a16:creationId xmlns:a16="http://schemas.microsoft.com/office/drawing/2014/main" id="{7A50F565-2BA1-3A53-12B0-2699B9C1FDF6}"/>
                </a:ext>
              </a:extLst>
            </p:cNvPr>
            <p:cNvSpPr/>
            <p:nvPr/>
          </p:nvSpPr>
          <p:spPr>
            <a:xfrm>
              <a:off x="6465856" y="2851381"/>
              <a:ext cx="189322" cy="39557"/>
            </a:xfrm>
            <a:custGeom>
              <a:avLst/>
              <a:gdLst>
                <a:gd name="connsiteX0" fmla="*/ 181500 w 189322"/>
                <a:gd name="connsiteY0" fmla="*/ 39557 h 39557"/>
                <a:gd name="connsiteX1" fmla="*/ 180460 w 189322"/>
                <a:gd name="connsiteY1" fmla="*/ 39557 h 39557"/>
                <a:gd name="connsiteX2" fmla="*/ 6522 w 189322"/>
                <a:gd name="connsiteY2" fmla="*/ 15117 h 39557"/>
                <a:gd name="connsiteX3" fmla="*/ 282 w 189322"/>
                <a:gd name="connsiteY3" fmla="*/ 6537 h 39557"/>
                <a:gd name="connsiteX4" fmla="*/ 8862 w 189322"/>
                <a:gd name="connsiteY4" fmla="*/ 298 h 39557"/>
                <a:gd name="connsiteX5" fmla="*/ 182800 w 189322"/>
                <a:gd name="connsiteY5" fmla="*/ 24737 h 39557"/>
                <a:gd name="connsiteX6" fmla="*/ 189040 w 189322"/>
                <a:gd name="connsiteY6" fmla="*/ 33317 h 39557"/>
                <a:gd name="connsiteX7" fmla="*/ 181500 w 189322"/>
                <a:gd name="connsiteY7" fmla="*/ 39557 h 3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9322" h="39557">
                  <a:moveTo>
                    <a:pt x="181500" y="39557"/>
                  </a:moveTo>
                  <a:lnTo>
                    <a:pt x="180460" y="39557"/>
                  </a:lnTo>
                  <a:lnTo>
                    <a:pt x="6522" y="15117"/>
                  </a:lnTo>
                  <a:cubicBezTo>
                    <a:pt x="2362" y="14077"/>
                    <a:pt x="-1018" y="10957"/>
                    <a:pt x="282" y="6537"/>
                  </a:cubicBezTo>
                  <a:cubicBezTo>
                    <a:pt x="1582" y="2117"/>
                    <a:pt x="4442" y="-1002"/>
                    <a:pt x="8862" y="298"/>
                  </a:cubicBezTo>
                  <a:lnTo>
                    <a:pt x="182800" y="24737"/>
                  </a:lnTo>
                  <a:cubicBezTo>
                    <a:pt x="186960" y="25777"/>
                    <a:pt x="190340" y="28897"/>
                    <a:pt x="189040" y="33317"/>
                  </a:cubicBezTo>
                  <a:cubicBezTo>
                    <a:pt x="188780" y="37477"/>
                    <a:pt x="185660" y="39557"/>
                    <a:pt x="181500" y="39557"/>
                  </a:cubicBezTo>
                  <a:close/>
                </a:path>
              </a:pathLst>
            </a:custGeom>
            <a:solidFill>
              <a:srgbClr val="00005A"/>
            </a:solidFill>
            <a:ln w="2597" cap="flat">
              <a:noFill/>
              <a:prstDash val="solid"/>
              <a:miter/>
            </a:ln>
          </p:spPr>
          <p:txBody>
            <a:bodyPr rtlCol="0" anchor="ctr"/>
            <a:lstStyle/>
            <a:p>
              <a:endParaRPr lang="en-GB"/>
            </a:p>
          </p:txBody>
        </p:sp>
        <p:sp>
          <p:nvSpPr>
            <p:cNvPr id="683" name="Freeform: Shape 682">
              <a:extLst>
                <a:ext uri="{FF2B5EF4-FFF2-40B4-BE49-F238E27FC236}">
                  <a16:creationId xmlns:a16="http://schemas.microsoft.com/office/drawing/2014/main" id="{4E23C6AE-CE29-4540-2C41-A1DD194454AB}"/>
                </a:ext>
              </a:extLst>
            </p:cNvPr>
            <p:cNvSpPr/>
            <p:nvPr/>
          </p:nvSpPr>
          <p:spPr>
            <a:xfrm>
              <a:off x="6525158" y="2542802"/>
              <a:ext cx="17160" cy="477614"/>
            </a:xfrm>
            <a:custGeom>
              <a:avLst/>
              <a:gdLst>
                <a:gd name="connsiteX0" fmla="*/ 8580 w 17160"/>
                <a:gd name="connsiteY0" fmla="*/ 477615 h 477614"/>
                <a:gd name="connsiteX1" fmla="*/ 0 w 17160"/>
                <a:gd name="connsiteY1" fmla="*/ 469035 h 477614"/>
                <a:gd name="connsiteX2" fmla="*/ 0 w 17160"/>
                <a:gd name="connsiteY2" fmla="*/ 8580 h 477614"/>
                <a:gd name="connsiteX3" fmla="*/ 8580 w 17160"/>
                <a:gd name="connsiteY3" fmla="*/ 0 h 477614"/>
                <a:gd name="connsiteX4" fmla="*/ 17160 w 17160"/>
                <a:gd name="connsiteY4" fmla="*/ 8580 h 477614"/>
                <a:gd name="connsiteX5" fmla="*/ 17160 w 17160"/>
                <a:gd name="connsiteY5" fmla="*/ 470335 h 477614"/>
                <a:gd name="connsiteX6" fmla="*/ 8580 w 17160"/>
                <a:gd name="connsiteY6" fmla="*/ 477615 h 477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60" h="477614">
                  <a:moveTo>
                    <a:pt x="8580" y="477615"/>
                  </a:moveTo>
                  <a:cubicBezTo>
                    <a:pt x="4420" y="477615"/>
                    <a:pt x="0" y="474495"/>
                    <a:pt x="0" y="469035"/>
                  </a:cubicBezTo>
                  <a:lnTo>
                    <a:pt x="0" y="8580"/>
                  </a:lnTo>
                  <a:cubicBezTo>
                    <a:pt x="0" y="4420"/>
                    <a:pt x="3120" y="0"/>
                    <a:pt x="8580" y="0"/>
                  </a:cubicBezTo>
                  <a:cubicBezTo>
                    <a:pt x="13780" y="0"/>
                    <a:pt x="17160" y="3120"/>
                    <a:pt x="17160" y="8580"/>
                  </a:cubicBezTo>
                  <a:lnTo>
                    <a:pt x="17160" y="470335"/>
                  </a:lnTo>
                  <a:cubicBezTo>
                    <a:pt x="16120" y="474495"/>
                    <a:pt x="12740" y="477615"/>
                    <a:pt x="8580" y="477615"/>
                  </a:cubicBezTo>
                  <a:close/>
                </a:path>
              </a:pathLst>
            </a:custGeom>
            <a:solidFill>
              <a:srgbClr val="00005A"/>
            </a:solidFill>
            <a:ln w="2597" cap="flat">
              <a:noFill/>
              <a:prstDash val="solid"/>
              <a:miter/>
            </a:ln>
          </p:spPr>
          <p:txBody>
            <a:bodyPr rtlCol="0" anchor="ctr"/>
            <a:lstStyle/>
            <a:p>
              <a:endParaRPr lang="en-GB"/>
            </a:p>
          </p:txBody>
        </p:sp>
        <p:sp>
          <p:nvSpPr>
            <p:cNvPr id="684" name="Freeform: Shape 683">
              <a:extLst>
                <a:ext uri="{FF2B5EF4-FFF2-40B4-BE49-F238E27FC236}">
                  <a16:creationId xmlns:a16="http://schemas.microsoft.com/office/drawing/2014/main" id="{C8FE7CDA-1459-F41C-08B4-BFC8D532A53E}"/>
                </a:ext>
              </a:extLst>
            </p:cNvPr>
            <p:cNvSpPr/>
            <p:nvPr/>
          </p:nvSpPr>
          <p:spPr>
            <a:xfrm>
              <a:off x="6581317" y="2527983"/>
              <a:ext cx="17159" cy="506214"/>
            </a:xfrm>
            <a:custGeom>
              <a:avLst/>
              <a:gdLst>
                <a:gd name="connsiteX0" fmla="*/ 8579 w 17159"/>
                <a:gd name="connsiteY0" fmla="*/ 506214 h 506214"/>
                <a:gd name="connsiteX1" fmla="*/ 0 w 17159"/>
                <a:gd name="connsiteY1" fmla="*/ 497634 h 506214"/>
                <a:gd name="connsiteX2" fmla="*/ 0 w 17159"/>
                <a:gd name="connsiteY2" fmla="*/ 8580 h 506214"/>
                <a:gd name="connsiteX3" fmla="*/ 8579 w 17159"/>
                <a:gd name="connsiteY3" fmla="*/ 0 h 506214"/>
                <a:gd name="connsiteX4" fmla="*/ 17159 w 17159"/>
                <a:gd name="connsiteY4" fmla="*/ 8580 h 506214"/>
                <a:gd name="connsiteX5" fmla="*/ 17159 w 17159"/>
                <a:gd name="connsiteY5" fmla="*/ 497894 h 506214"/>
                <a:gd name="connsiteX6" fmla="*/ 8579 w 17159"/>
                <a:gd name="connsiteY6" fmla="*/ 506214 h 50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59" h="506214">
                  <a:moveTo>
                    <a:pt x="8579" y="506214"/>
                  </a:moveTo>
                  <a:cubicBezTo>
                    <a:pt x="4420" y="506214"/>
                    <a:pt x="0" y="503094"/>
                    <a:pt x="0" y="497634"/>
                  </a:cubicBezTo>
                  <a:lnTo>
                    <a:pt x="0" y="8580"/>
                  </a:lnTo>
                  <a:cubicBezTo>
                    <a:pt x="0" y="4420"/>
                    <a:pt x="3120" y="0"/>
                    <a:pt x="8579" y="0"/>
                  </a:cubicBezTo>
                  <a:cubicBezTo>
                    <a:pt x="14040" y="0"/>
                    <a:pt x="17159" y="3120"/>
                    <a:pt x="17159" y="8580"/>
                  </a:cubicBezTo>
                  <a:lnTo>
                    <a:pt x="17159" y="497894"/>
                  </a:lnTo>
                  <a:cubicBezTo>
                    <a:pt x="17159" y="502054"/>
                    <a:pt x="13000" y="506214"/>
                    <a:pt x="8579" y="506214"/>
                  </a:cubicBezTo>
                  <a:close/>
                </a:path>
              </a:pathLst>
            </a:custGeom>
            <a:solidFill>
              <a:srgbClr val="00005A"/>
            </a:solidFill>
            <a:ln w="2597" cap="flat">
              <a:noFill/>
              <a:prstDash val="solid"/>
              <a:miter/>
            </a:ln>
          </p:spPr>
          <p:txBody>
            <a:bodyPr rtlCol="0" anchor="ctr"/>
            <a:lstStyle/>
            <a:p>
              <a:endParaRPr lang="en-GB"/>
            </a:p>
          </p:txBody>
        </p:sp>
        <p:sp>
          <p:nvSpPr>
            <p:cNvPr id="685" name="Freeform: Shape 684">
              <a:extLst>
                <a:ext uri="{FF2B5EF4-FFF2-40B4-BE49-F238E27FC236}">
                  <a16:creationId xmlns:a16="http://schemas.microsoft.com/office/drawing/2014/main" id="{9D2E77FA-31D8-BC5B-1F23-C0F8655CC9A1}"/>
                </a:ext>
              </a:extLst>
            </p:cNvPr>
            <p:cNvSpPr/>
            <p:nvPr/>
          </p:nvSpPr>
          <p:spPr>
            <a:xfrm>
              <a:off x="6315080" y="2635101"/>
              <a:ext cx="21319" cy="20279"/>
            </a:xfrm>
            <a:custGeom>
              <a:avLst/>
              <a:gdLst>
                <a:gd name="connsiteX0" fmla="*/ 10660 w 21319"/>
                <a:gd name="connsiteY0" fmla="*/ 20280 h 20279"/>
                <a:gd name="connsiteX1" fmla="*/ 0 w 21319"/>
                <a:gd name="connsiteY1" fmla="*/ 9620 h 20279"/>
                <a:gd name="connsiteX2" fmla="*/ 10660 w 21319"/>
                <a:gd name="connsiteY2" fmla="*/ 0 h 20279"/>
                <a:gd name="connsiteX3" fmla="*/ 21320 w 21319"/>
                <a:gd name="connsiteY3" fmla="*/ 9620 h 20279"/>
                <a:gd name="connsiteX4" fmla="*/ 10660 w 21319"/>
                <a:gd name="connsiteY4" fmla="*/ 20280 h 20279"/>
                <a:gd name="connsiteX5" fmla="*/ 10660 w 21319"/>
                <a:gd name="connsiteY5" fmla="*/ 3120 h 20279"/>
                <a:gd name="connsiteX6" fmla="*/ 5460 w 21319"/>
                <a:gd name="connsiteY6" fmla="*/ 8320 h 20279"/>
                <a:gd name="connsiteX7" fmla="*/ 10660 w 21319"/>
                <a:gd name="connsiteY7" fmla="*/ 14560 h 20279"/>
                <a:gd name="connsiteX8" fmla="*/ 15860 w 21319"/>
                <a:gd name="connsiteY8" fmla="*/ 8320 h 20279"/>
                <a:gd name="connsiteX9" fmla="*/ 10660 w 21319"/>
                <a:gd name="connsiteY9" fmla="*/ 312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19" h="20279">
                  <a:moveTo>
                    <a:pt x="10660" y="20280"/>
                  </a:moveTo>
                  <a:cubicBezTo>
                    <a:pt x="5460" y="20280"/>
                    <a:pt x="0" y="16120"/>
                    <a:pt x="0" y="9620"/>
                  </a:cubicBezTo>
                  <a:cubicBezTo>
                    <a:pt x="0" y="4420"/>
                    <a:pt x="4160" y="0"/>
                    <a:pt x="10660" y="0"/>
                  </a:cubicBezTo>
                  <a:cubicBezTo>
                    <a:pt x="17160" y="0"/>
                    <a:pt x="21320" y="4160"/>
                    <a:pt x="21320" y="9620"/>
                  </a:cubicBezTo>
                  <a:cubicBezTo>
                    <a:pt x="21320" y="14820"/>
                    <a:pt x="15860" y="20280"/>
                    <a:pt x="10660" y="20280"/>
                  </a:cubicBezTo>
                  <a:close/>
                  <a:moveTo>
                    <a:pt x="10660" y="3120"/>
                  </a:moveTo>
                  <a:cubicBezTo>
                    <a:pt x="7540" y="3120"/>
                    <a:pt x="5460" y="5200"/>
                    <a:pt x="5460" y="8320"/>
                  </a:cubicBezTo>
                  <a:cubicBezTo>
                    <a:pt x="5460" y="11440"/>
                    <a:pt x="7540" y="14560"/>
                    <a:pt x="10660" y="14560"/>
                  </a:cubicBezTo>
                  <a:cubicBezTo>
                    <a:pt x="13780" y="14560"/>
                    <a:pt x="15860" y="12480"/>
                    <a:pt x="15860" y="8320"/>
                  </a:cubicBezTo>
                  <a:cubicBezTo>
                    <a:pt x="15860" y="4420"/>
                    <a:pt x="13780" y="3120"/>
                    <a:pt x="10660" y="3120"/>
                  </a:cubicBezTo>
                  <a:close/>
                </a:path>
              </a:pathLst>
            </a:custGeom>
            <a:solidFill>
              <a:srgbClr val="00005A"/>
            </a:solidFill>
            <a:ln w="2597" cap="flat">
              <a:noFill/>
              <a:prstDash val="solid"/>
              <a:miter/>
            </a:ln>
          </p:spPr>
          <p:txBody>
            <a:bodyPr rtlCol="0" anchor="ctr"/>
            <a:lstStyle/>
            <a:p>
              <a:endParaRPr lang="en-GB"/>
            </a:p>
          </p:txBody>
        </p:sp>
        <p:sp>
          <p:nvSpPr>
            <p:cNvPr id="686" name="Freeform: Shape 685">
              <a:extLst>
                <a:ext uri="{FF2B5EF4-FFF2-40B4-BE49-F238E27FC236}">
                  <a16:creationId xmlns:a16="http://schemas.microsoft.com/office/drawing/2014/main" id="{B7D8B02A-7664-08AE-E36C-7492886D19B5}"/>
                </a:ext>
              </a:extLst>
            </p:cNvPr>
            <p:cNvSpPr/>
            <p:nvPr/>
          </p:nvSpPr>
          <p:spPr>
            <a:xfrm>
              <a:off x="6437019" y="2624442"/>
              <a:ext cx="21319" cy="20279"/>
            </a:xfrm>
            <a:custGeom>
              <a:avLst/>
              <a:gdLst>
                <a:gd name="connsiteX0" fmla="*/ 10659 w 21319"/>
                <a:gd name="connsiteY0" fmla="*/ 20280 h 20279"/>
                <a:gd name="connsiteX1" fmla="*/ 0 w 21319"/>
                <a:gd name="connsiteY1" fmla="*/ 9620 h 20279"/>
                <a:gd name="connsiteX2" fmla="*/ 10659 w 21319"/>
                <a:gd name="connsiteY2" fmla="*/ 0 h 20279"/>
                <a:gd name="connsiteX3" fmla="*/ 21320 w 21319"/>
                <a:gd name="connsiteY3" fmla="*/ 9620 h 20279"/>
                <a:gd name="connsiteX4" fmla="*/ 10659 w 21319"/>
                <a:gd name="connsiteY4" fmla="*/ 20280 h 20279"/>
                <a:gd name="connsiteX5" fmla="*/ 10659 w 21319"/>
                <a:gd name="connsiteY5" fmla="*/ 3380 h 20279"/>
                <a:gd name="connsiteX6" fmla="*/ 5460 w 21319"/>
                <a:gd name="connsiteY6" fmla="*/ 8580 h 20279"/>
                <a:gd name="connsiteX7" fmla="*/ 10659 w 21319"/>
                <a:gd name="connsiteY7" fmla="*/ 14820 h 20279"/>
                <a:gd name="connsiteX8" fmla="*/ 15859 w 21319"/>
                <a:gd name="connsiteY8" fmla="*/ 8580 h 20279"/>
                <a:gd name="connsiteX9" fmla="*/ 10659 w 21319"/>
                <a:gd name="connsiteY9" fmla="*/ 338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19" h="20279">
                  <a:moveTo>
                    <a:pt x="10659" y="20280"/>
                  </a:moveTo>
                  <a:cubicBezTo>
                    <a:pt x="5460" y="20280"/>
                    <a:pt x="0" y="16120"/>
                    <a:pt x="0" y="9620"/>
                  </a:cubicBezTo>
                  <a:cubicBezTo>
                    <a:pt x="0" y="4420"/>
                    <a:pt x="4160" y="0"/>
                    <a:pt x="10659" y="0"/>
                  </a:cubicBezTo>
                  <a:cubicBezTo>
                    <a:pt x="17159" y="0"/>
                    <a:pt x="21320" y="4160"/>
                    <a:pt x="21320" y="9620"/>
                  </a:cubicBezTo>
                  <a:cubicBezTo>
                    <a:pt x="21320" y="15080"/>
                    <a:pt x="16120" y="20280"/>
                    <a:pt x="10659" y="20280"/>
                  </a:cubicBezTo>
                  <a:close/>
                  <a:moveTo>
                    <a:pt x="10659" y="3380"/>
                  </a:moveTo>
                  <a:cubicBezTo>
                    <a:pt x="7540" y="3380"/>
                    <a:pt x="5460" y="5460"/>
                    <a:pt x="5460" y="8580"/>
                  </a:cubicBezTo>
                  <a:cubicBezTo>
                    <a:pt x="5460" y="11700"/>
                    <a:pt x="7540" y="14820"/>
                    <a:pt x="10659" y="14820"/>
                  </a:cubicBezTo>
                  <a:cubicBezTo>
                    <a:pt x="13779" y="14820"/>
                    <a:pt x="15859" y="12740"/>
                    <a:pt x="15859" y="8580"/>
                  </a:cubicBezTo>
                  <a:cubicBezTo>
                    <a:pt x="15859" y="4420"/>
                    <a:pt x="14040" y="3380"/>
                    <a:pt x="10659" y="3380"/>
                  </a:cubicBezTo>
                  <a:close/>
                </a:path>
              </a:pathLst>
            </a:custGeom>
            <a:solidFill>
              <a:srgbClr val="00005A"/>
            </a:solidFill>
            <a:ln w="2597" cap="flat">
              <a:noFill/>
              <a:prstDash val="solid"/>
              <a:miter/>
            </a:ln>
          </p:spPr>
          <p:txBody>
            <a:bodyPr rtlCol="0" anchor="ctr"/>
            <a:lstStyle/>
            <a:p>
              <a:endParaRPr lang="en-GB"/>
            </a:p>
          </p:txBody>
        </p:sp>
        <p:sp>
          <p:nvSpPr>
            <p:cNvPr id="687" name="Freeform: Shape 686">
              <a:extLst>
                <a:ext uri="{FF2B5EF4-FFF2-40B4-BE49-F238E27FC236}">
                  <a16:creationId xmlns:a16="http://schemas.microsoft.com/office/drawing/2014/main" id="{B3445ADC-B15C-8B89-6DFB-604E0B2ECDAC}"/>
                </a:ext>
              </a:extLst>
            </p:cNvPr>
            <p:cNvSpPr/>
            <p:nvPr/>
          </p:nvSpPr>
          <p:spPr>
            <a:xfrm>
              <a:off x="6486938" y="2654081"/>
              <a:ext cx="20279" cy="20279"/>
            </a:xfrm>
            <a:custGeom>
              <a:avLst/>
              <a:gdLst>
                <a:gd name="connsiteX0" fmla="*/ 9620 w 20279"/>
                <a:gd name="connsiteY0" fmla="*/ 20280 h 20279"/>
                <a:gd name="connsiteX1" fmla="*/ 0 w 20279"/>
                <a:gd name="connsiteY1" fmla="*/ 10660 h 20279"/>
                <a:gd name="connsiteX2" fmla="*/ 9620 w 20279"/>
                <a:gd name="connsiteY2" fmla="*/ 0 h 20279"/>
                <a:gd name="connsiteX3" fmla="*/ 20280 w 20279"/>
                <a:gd name="connsiteY3" fmla="*/ 10660 h 20279"/>
                <a:gd name="connsiteX4" fmla="*/ 9620 w 20279"/>
                <a:gd name="connsiteY4" fmla="*/ 20280 h 20279"/>
                <a:gd name="connsiteX5" fmla="*/ 9620 w 20279"/>
                <a:gd name="connsiteY5" fmla="*/ 4420 h 20279"/>
                <a:gd name="connsiteX6" fmla="*/ 4420 w 20279"/>
                <a:gd name="connsiteY6" fmla="*/ 10660 h 20279"/>
                <a:gd name="connsiteX7" fmla="*/ 9620 w 20279"/>
                <a:gd name="connsiteY7" fmla="*/ 15860 h 20279"/>
                <a:gd name="connsiteX8" fmla="*/ 15859 w 20279"/>
                <a:gd name="connsiteY8" fmla="*/ 10660 h 20279"/>
                <a:gd name="connsiteX9" fmla="*/ 9620 w 20279"/>
                <a:gd name="connsiteY9" fmla="*/ 442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9620" y="20280"/>
                  </a:moveTo>
                  <a:cubicBezTo>
                    <a:pt x="4420" y="20280"/>
                    <a:pt x="0" y="16120"/>
                    <a:pt x="0" y="10660"/>
                  </a:cubicBezTo>
                  <a:cubicBezTo>
                    <a:pt x="0" y="5200"/>
                    <a:pt x="4160" y="0"/>
                    <a:pt x="9620" y="0"/>
                  </a:cubicBezTo>
                  <a:cubicBezTo>
                    <a:pt x="15080" y="0"/>
                    <a:pt x="20280" y="4160"/>
                    <a:pt x="20280" y="10660"/>
                  </a:cubicBezTo>
                  <a:cubicBezTo>
                    <a:pt x="19240" y="16120"/>
                    <a:pt x="15080" y="20280"/>
                    <a:pt x="9620" y="20280"/>
                  </a:cubicBezTo>
                  <a:close/>
                  <a:moveTo>
                    <a:pt x="9620" y="4420"/>
                  </a:moveTo>
                  <a:cubicBezTo>
                    <a:pt x="6500" y="4420"/>
                    <a:pt x="4420" y="6500"/>
                    <a:pt x="4420" y="10660"/>
                  </a:cubicBezTo>
                  <a:cubicBezTo>
                    <a:pt x="4420" y="14820"/>
                    <a:pt x="6500" y="15860"/>
                    <a:pt x="9620" y="15860"/>
                  </a:cubicBezTo>
                  <a:cubicBezTo>
                    <a:pt x="12740" y="15860"/>
                    <a:pt x="15859" y="13780"/>
                    <a:pt x="15859" y="10660"/>
                  </a:cubicBezTo>
                  <a:cubicBezTo>
                    <a:pt x="15859" y="7540"/>
                    <a:pt x="12740" y="4420"/>
                    <a:pt x="9620" y="4420"/>
                  </a:cubicBezTo>
                  <a:close/>
                </a:path>
              </a:pathLst>
            </a:custGeom>
            <a:solidFill>
              <a:srgbClr val="00005A"/>
            </a:solidFill>
            <a:ln w="2597" cap="flat">
              <a:noFill/>
              <a:prstDash val="solid"/>
              <a:miter/>
            </a:ln>
          </p:spPr>
          <p:txBody>
            <a:bodyPr rtlCol="0" anchor="ctr"/>
            <a:lstStyle/>
            <a:p>
              <a:endParaRPr lang="en-GB"/>
            </a:p>
          </p:txBody>
        </p:sp>
        <p:sp>
          <p:nvSpPr>
            <p:cNvPr id="688" name="Freeform: Shape 687">
              <a:extLst>
                <a:ext uri="{FF2B5EF4-FFF2-40B4-BE49-F238E27FC236}">
                  <a16:creationId xmlns:a16="http://schemas.microsoft.com/office/drawing/2014/main" id="{7263EAFD-A0B1-A20D-FDAE-C656D4040DDD}"/>
                </a:ext>
              </a:extLst>
            </p:cNvPr>
            <p:cNvSpPr/>
            <p:nvPr/>
          </p:nvSpPr>
          <p:spPr>
            <a:xfrm>
              <a:off x="6380860" y="2680601"/>
              <a:ext cx="20279" cy="20279"/>
            </a:xfrm>
            <a:custGeom>
              <a:avLst/>
              <a:gdLst>
                <a:gd name="connsiteX0" fmla="*/ 9620 w 20279"/>
                <a:gd name="connsiteY0" fmla="*/ 20280 h 20279"/>
                <a:gd name="connsiteX1" fmla="*/ 0 w 20279"/>
                <a:gd name="connsiteY1" fmla="*/ 10660 h 20279"/>
                <a:gd name="connsiteX2" fmla="*/ 9620 w 20279"/>
                <a:gd name="connsiteY2" fmla="*/ 0 h 20279"/>
                <a:gd name="connsiteX3" fmla="*/ 20280 w 20279"/>
                <a:gd name="connsiteY3" fmla="*/ 10660 h 20279"/>
                <a:gd name="connsiteX4" fmla="*/ 9620 w 20279"/>
                <a:gd name="connsiteY4" fmla="*/ 20280 h 20279"/>
                <a:gd name="connsiteX5" fmla="*/ 9620 w 20279"/>
                <a:gd name="connsiteY5" fmla="*/ 4420 h 20279"/>
                <a:gd name="connsiteX6" fmla="*/ 4420 w 20279"/>
                <a:gd name="connsiteY6" fmla="*/ 10660 h 20279"/>
                <a:gd name="connsiteX7" fmla="*/ 9620 w 20279"/>
                <a:gd name="connsiteY7" fmla="*/ 15860 h 20279"/>
                <a:gd name="connsiteX8" fmla="*/ 15860 w 20279"/>
                <a:gd name="connsiteY8" fmla="*/ 10660 h 20279"/>
                <a:gd name="connsiteX9" fmla="*/ 9620 w 20279"/>
                <a:gd name="connsiteY9" fmla="*/ 442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9620" y="20280"/>
                  </a:moveTo>
                  <a:cubicBezTo>
                    <a:pt x="4420" y="20280"/>
                    <a:pt x="0" y="16120"/>
                    <a:pt x="0" y="10660"/>
                  </a:cubicBezTo>
                  <a:cubicBezTo>
                    <a:pt x="0" y="5460"/>
                    <a:pt x="4160" y="0"/>
                    <a:pt x="9620" y="0"/>
                  </a:cubicBezTo>
                  <a:cubicBezTo>
                    <a:pt x="15080" y="0"/>
                    <a:pt x="20280" y="4160"/>
                    <a:pt x="20280" y="10660"/>
                  </a:cubicBezTo>
                  <a:cubicBezTo>
                    <a:pt x="19240" y="16120"/>
                    <a:pt x="14820" y="20280"/>
                    <a:pt x="9620" y="20280"/>
                  </a:cubicBezTo>
                  <a:close/>
                  <a:moveTo>
                    <a:pt x="9620" y="4420"/>
                  </a:moveTo>
                  <a:cubicBezTo>
                    <a:pt x="6500" y="4420"/>
                    <a:pt x="4420" y="6500"/>
                    <a:pt x="4420" y="10660"/>
                  </a:cubicBezTo>
                  <a:cubicBezTo>
                    <a:pt x="4420" y="14820"/>
                    <a:pt x="6500" y="15860"/>
                    <a:pt x="9620" y="15860"/>
                  </a:cubicBezTo>
                  <a:cubicBezTo>
                    <a:pt x="12740" y="15860"/>
                    <a:pt x="15860" y="13780"/>
                    <a:pt x="15860" y="10660"/>
                  </a:cubicBezTo>
                  <a:cubicBezTo>
                    <a:pt x="15860" y="7540"/>
                    <a:pt x="12740" y="4420"/>
                    <a:pt x="9620" y="4420"/>
                  </a:cubicBezTo>
                  <a:close/>
                </a:path>
              </a:pathLst>
            </a:custGeom>
            <a:solidFill>
              <a:srgbClr val="00005A"/>
            </a:solidFill>
            <a:ln w="2597" cap="flat">
              <a:noFill/>
              <a:prstDash val="solid"/>
              <a:miter/>
            </a:ln>
          </p:spPr>
          <p:txBody>
            <a:bodyPr rtlCol="0" anchor="ctr"/>
            <a:lstStyle/>
            <a:p>
              <a:endParaRPr lang="en-GB"/>
            </a:p>
          </p:txBody>
        </p:sp>
        <p:sp>
          <p:nvSpPr>
            <p:cNvPr id="689" name="Freeform: Shape 688">
              <a:extLst>
                <a:ext uri="{FF2B5EF4-FFF2-40B4-BE49-F238E27FC236}">
                  <a16:creationId xmlns:a16="http://schemas.microsoft.com/office/drawing/2014/main" id="{855D8A11-ABDC-99D2-462D-C020F8A81DE5}"/>
                </a:ext>
              </a:extLst>
            </p:cNvPr>
            <p:cNvSpPr/>
            <p:nvPr/>
          </p:nvSpPr>
          <p:spPr>
            <a:xfrm>
              <a:off x="6550638" y="2762500"/>
              <a:ext cx="20279" cy="20279"/>
            </a:xfrm>
            <a:custGeom>
              <a:avLst/>
              <a:gdLst>
                <a:gd name="connsiteX0" fmla="*/ 9620 w 20279"/>
                <a:gd name="connsiteY0" fmla="*/ 20280 h 20279"/>
                <a:gd name="connsiteX1" fmla="*/ 0 w 20279"/>
                <a:gd name="connsiteY1" fmla="*/ 9620 h 20279"/>
                <a:gd name="connsiteX2" fmla="*/ 9620 w 20279"/>
                <a:gd name="connsiteY2" fmla="*/ 0 h 20279"/>
                <a:gd name="connsiteX3" fmla="*/ 20280 w 20279"/>
                <a:gd name="connsiteY3" fmla="*/ 9620 h 20279"/>
                <a:gd name="connsiteX4" fmla="*/ 9620 w 20279"/>
                <a:gd name="connsiteY4" fmla="*/ 20280 h 20279"/>
                <a:gd name="connsiteX5" fmla="*/ 9620 w 20279"/>
                <a:gd name="connsiteY5" fmla="*/ 3120 h 20279"/>
                <a:gd name="connsiteX6" fmla="*/ 4420 w 20279"/>
                <a:gd name="connsiteY6" fmla="*/ 8320 h 20279"/>
                <a:gd name="connsiteX7" fmla="*/ 9620 w 20279"/>
                <a:gd name="connsiteY7" fmla="*/ 14560 h 20279"/>
                <a:gd name="connsiteX8" fmla="*/ 15859 w 20279"/>
                <a:gd name="connsiteY8" fmla="*/ 8320 h 20279"/>
                <a:gd name="connsiteX9" fmla="*/ 9620 w 20279"/>
                <a:gd name="connsiteY9" fmla="*/ 312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9620" y="20280"/>
                  </a:moveTo>
                  <a:cubicBezTo>
                    <a:pt x="4420" y="20280"/>
                    <a:pt x="0" y="16120"/>
                    <a:pt x="0" y="9620"/>
                  </a:cubicBezTo>
                  <a:cubicBezTo>
                    <a:pt x="0" y="4420"/>
                    <a:pt x="4160" y="0"/>
                    <a:pt x="9620" y="0"/>
                  </a:cubicBezTo>
                  <a:cubicBezTo>
                    <a:pt x="15080" y="0"/>
                    <a:pt x="20280" y="4160"/>
                    <a:pt x="20280" y="9620"/>
                  </a:cubicBezTo>
                  <a:cubicBezTo>
                    <a:pt x="19240" y="14820"/>
                    <a:pt x="15080" y="20280"/>
                    <a:pt x="9620" y="20280"/>
                  </a:cubicBezTo>
                  <a:close/>
                  <a:moveTo>
                    <a:pt x="9620" y="3120"/>
                  </a:moveTo>
                  <a:cubicBezTo>
                    <a:pt x="6500" y="3120"/>
                    <a:pt x="4420" y="5200"/>
                    <a:pt x="4420" y="8320"/>
                  </a:cubicBezTo>
                  <a:cubicBezTo>
                    <a:pt x="4420" y="11440"/>
                    <a:pt x="6500" y="14560"/>
                    <a:pt x="9620" y="14560"/>
                  </a:cubicBezTo>
                  <a:cubicBezTo>
                    <a:pt x="12740" y="14560"/>
                    <a:pt x="15859" y="12480"/>
                    <a:pt x="15859" y="8320"/>
                  </a:cubicBezTo>
                  <a:cubicBezTo>
                    <a:pt x="16120" y="4160"/>
                    <a:pt x="12740" y="3120"/>
                    <a:pt x="9620" y="3120"/>
                  </a:cubicBezTo>
                  <a:close/>
                </a:path>
              </a:pathLst>
            </a:custGeom>
            <a:solidFill>
              <a:srgbClr val="00005A"/>
            </a:solidFill>
            <a:ln w="2597" cap="flat">
              <a:noFill/>
              <a:prstDash val="solid"/>
              <a:miter/>
            </a:ln>
          </p:spPr>
          <p:txBody>
            <a:bodyPr rtlCol="0" anchor="ctr"/>
            <a:lstStyle/>
            <a:p>
              <a:endParaRPr lang="en-GB"/>
            </a:p>
          </p:txBody>
        </p:sp>
        <p:sp>
          <p:nvSpPr>
            <p:cNvPr id="690" name="Freeform: Shape 689">
              <a:extLst>
                <a:ext uri="{FF2B5EF4-FFF2-40B4-BE49-F238E27FC236}">
                  <a16:creationId xmlns:a16="http://schemas.microsoft.com/office/drawing/2014/main" id="{F4D89E98-7455-C67D-F491-DEE561D6D588}"/>
                </a:ext>
              </a:extLst>
            </p:cNvPr>
            <p:cNvSpPr/>
            <p:nvPr/>
          </p:nvSpPr>
          <p:spPr>
            <a:xfrm>
              <a:off x="6377740" y="2821779"/>
              <a:ext cx="20279" cy="20279"/>
            </a:xfrm>
            <a:custGeom>
              <a:avLst/>
              <a:gdLst>
                <a:gd name="connsiteX0" fmla="*/ 10659 w 20279"/>
                <a:gd name="connsiteY0" fmla="*/ 20280 h 20279"/>
                <a:gd name="connsiteX1" fmla="*/ 0 w 20279"/>
                <a:gd name="connsiteY1" fmla="*/ 9620 h 20279"/>
                <a:gd name="connsiteX2" fmla="*/ 10659 w 20279"/>
                <a:gd name="connsiteY2" fmla="*/ 0 h 20279"/>
                <a:gd name="connsiteX3" fmla="*/ 20280 w 20279"/>
                <a:gd name="connsiteY3" fmla="*/ 9620 h 20279"/>
                <a:gd name="connsiteX4" fmla="*/ 10659 w 20279"/>
                <a:gd name="connsiteY4" fmla="*/ 20280 h 20279"/>
                <a:gd name="connsiteX5" fmla="*/ 10659 w 20279"/>
                <a:gd name="connsiteY5" fmla="*/ 4420 h 20279"/>
                <a:gd name="connsiteX6" fmla="*/ 4420 w 20279"/>
                <a:gd name="connsiteY6" fmla="*/ 9620 h 20279"/>
                <a:gd name="connsiteX7" fmla="*/ 10659 w 20279"/>
                <a:gd name="connsiteY7" fmla="*/ 15860 h 20279"/>
                <a:gd name="connsiteX8" fmla="*/ 15859 w 20279"/>
                <a:gd name="connsiteY8" fmla="*/ 9620 h 20279"/>
                <a:gd name="connsiteX9" fmla="*/ 10659 w 20279"/>
                <a:gd name="connsiteY9" fmla="*/ 442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10659" y="20280"/>
                  </a:moveTo>
                  <a:cubicBezTo>
                    <a:pt x="5460" y="20280"/>
                    <a:pt x="0" y="16120"/>
                    <a:pt x="0" y="9620"/>
                  </a:cubicBezTo>
                  <a:cubicBezTo>
                    <a:pt x="0" y="4420"/>
                    <a:pt x="4160" y="0"/>
                    <a:pt x="10659" y="0"/>
                  </a:cubicBezTo>
                  <a:cubicBezTo>
                    <a:pt x="15859" y="0"/>
                    <a:pt x="20280" y="4160"/>
                    <a:pt x="20280" y="9620"/>
                  </a:cubicBezTo>
                  <a:cubicBezTo>
                    <a:pt x="20280" y="15080"/>
                    <a:pt x="15859" y="20280"/>
                    <a:pt x="10659" y="20280"/>
                  </a:cubicBezTo>
                  <a:close/>
                  <a:moveTo>
                    <a:pt x="10659" y="4420"/>
                  </a:moveTo>
                  <a:cubicBezTo>
                    <a:pt x="7540" y="4420"/>
                    <a:pt x="4420" y="6500"/>
                    <a:pt x="4420" y="9620"/>
                  </a:cubicBezTo>
                  <a:cubicBezTo>
                    <a:pt x="4420" y="12740"/>
                    <a:pt x="6500" y="15860"/>
                    <a:pt x="10659" y="15860"/>
                  </a:cubicBezTo>
                  <a:cubicBezTo>
                    <a:pt x="13780" y="15860"/>
                    <a:pt x="15859" y="13780"/>
                    <a:pt x="15859" y="9620"/>
                  </a:cubicBezTo>
                  <a:cubicBezTo>
                    <a:pt x="15859" y="5460"/>
                    <a:pt x="13780" y="4420"/>
                    <a:pt x="10659" y="4420"/>
                  </a:cubicBezTo>
                  <a:close/>
                </a:path>
              </a:pathLst>
            </a:custGeom>
            <a:solidFill>
              <a:srgbClr val="00005A"/>
            </a:solidFill>
            <a:ln w="2597" cap="flat">
              <a:noFill/>
              <a:prstDash val="solid"/>
              <a:miter/>
            </a:ln>
          </p:spPr>
          <p:txBody>
            <a:bodyPr rtlCol="0" anchor="ctr"/>
            <a:lstStyle/>
            <a:p>
              <a:endParaRPr lang="en-GB"/>
            </a:p>
          </p:txBody>
        </p:sp>
        <p:sp>
          <p:nvSpPr>
            <p:cNvPr id="691" name="Freeform: Shape 690">
              <a:extLst>
                <a:ext uri="{FF2B5EF4-FFF2-40B4-BE49-F238E27FC236}">
                  <a16:creationId xmlns:a16="http://schemas.microsoft.com/office/drawing/2014/main" id="{1D29FECE-716A-6BB6-87AC-66880087A7D7}"/>
                </a:ext>
              </a:extLst>
            </p:cNvPr>
            <p:cNvSpPr/>
            <p:nvPr/>
          </p:nvSpPr>
          <p:spPr>
            <a:xfrm>
              <a:off x="6377740" y="2965038"/>
              <a:ext cx="20279" cy="21319"/>
            </a:xfrm>
            <a:custGeom>
              <a:avLst/>
              <a:gdLst>
                <a:gd name="connsiteX0" fmla="*/ 10659 w 20279"/>
                <a:gd name="connsiteY0" fmla="*/ 21320 h 21319"/>
                <a:gd name="connsiteX1" fmla="*/ 0 w 20279"/>
                <a:gd name="connsiteY1" fmla="*/ 10660 h 21319"/>
                <a:gd name="connsiteX2" fmla="*/ 10659 w 20279"/>
                <a:gd name="connsiteY2" fmla="*/ 0 h 21319"/>
                <a:gd name="connsiteX3" fmla="*/ 20280 w 20279"/>
                <a:gd name="connsiteY3" fmla="*/ 10660 h 21319"/>
                <a:gd name="connsiteX4" fmla="*/ 10659 w 20279"/>
                <a:gd name="connsiteY4" fmla="*/ 21320 h 21319"/>
                <a:gd name="connsiteX5" fmla="*/ 10659 w 20279"/>
                <a:gd name="connsiteY5" fmla="*/ 5460 h 21319"/>
                <a:gd name="connsiteX6" fmla="*/ 4420 w 20279"/>
                <a:gd name="connsiteY6" fmla="*/ 10660 h 21319"/>
                <a:gd name="connsiteX7" fmla="*/ 10659 w 20279"/>
                <a:gd name="connsiteY7" fmla="*/ 15860 h 21319"/>
                <a:gd name="connsiteX8" fmla="*/ 15859 w 20279"/>
                <a:gd name="connsiteY8" fmla="*/ 10660 h 21319"/>
                <a:gd name="connsiteX9" fmla="*/ 10659 w 20279"/>
                <a:gd name="connsiteY9" fmla="*/ 5460 h 2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1319">
                  <a:moveTo>
                    <a:pt x="10659" y="21320"/>
                  </a:moveTo>
                  <a:cubicBezTo>
                    <a:pt x="5460" y="21320"/>
                    <a:pt x="0" y="17160"/>
                    <a:pt x="0" y="10660"/>
                  </a:cubicBezTo>
                  <a:cubicBezTo>
                    <a:pt x="0" y="4160"/>
                    <a:pt x="4160" y="0"/>
                    <a:pt x="10659" y="0"/>
                  </a:cubicBezTo>
                  <a:cubicBezTo>
                    <a:pt x="15859" y="0"/>
                    <a:pt x="20280" y="4160"/>
                    <a:pt x="20280" y="10660"/>
                  </a:cubicBezTo>
                  <a:cubicBezTo>
                    <a:pt x="20280" y="17160"/>
                    <a:pt x="15859" y="21320"/>
                    <a:pt x="10659" y="21320"/>
                  </a:cubicBezTo>
                  <a:close/>
                  <a:moveTo>
                    <a:pt x="10659" y="5460"/>
                  </a:moveTo>
                  <a:cubicBezTo>
                    <a:pt x="7540" y="5460"/>
                    <a:pt x="4420" y="7540"/>
                    <a:pt x="4420" y="10660"/>
                  </a:cubicBezTo>
                  <a:cubicBezTo>
                    <a:pt x="4420" y="13780"/>
                    <a:pt x="6500" y="15860"/>
                    <a:pt x="10659" y="15860"/>
                  </a:cubicBezTo>
                  <a:cubicBezTo>
                    <a:pt x="13780" y="15860"/>
                    <a:pt x="15859" y="13780"/>
                    <a:pt x="15859" y="10660"/>
                  </a:cubicBezTo>
                  <a:cubicBezTo>
                    <a:pt x="15859" y="7540"/>
                    <a:pt x="13780" y="5460"/>
                    <a:pt x="10659" y="5460"/>
                  </a:cubicBezTo>
                  <a:close/>
                </a:path>
              </a:pathLst>
            </a:custGeom>
            <a:solidFill>
              <a:srgbClr val="00005A"/>
            </a:solidFill>
            <a:ln w="2597" cap="flat">
              <a:noFill/>
              <a:prstDash val="solid"/>
              <a:miter/>
            </a:ln>
          </p:spPr>
          <p:txBody>
            <a:bodyPr rtlCol="0" anchor="ctr"/>
            <a:lstStyle/>
            <a:p>
              <a:endParaRPr lang="en-GB"/>
            </a:p>
          </p:txBody>
        </p:sp>
        <p:sp>
          <p:nvSpPr>
            <p:cNvPr id="692" name="Freeform: Shape 691">
              <a:extLst>
                <a:ext uri="{FF2B5EF4-FFF2-40B4-BE49-F238E27FC236}">
                  <a16:creationId xmlns:a16="http://schemas.microsoft.com/office/drawing/2014/main" id="{0408094C-89FA-750E-3A8A-64E2300F584B}"/>
                </a:ext>
              </a:extLst>
            </p:cNvPr>
            <p:cNvSpPr/>
            <p:nvPr/>
          </p:nvSpPr>
          <p:spPr>
            <a:xfrm>
              <a:off x="6437019" y="2768740"/>
              <a:ext cx="21319" cy="21319"/>
            </a:xfrm>
            <a:custGeom>
              <a:avLst/>
              <a:gdLst>
                <a:gd name="connsiteX0" fmla="*/ 10659 w 21319"/>
                <a:gd name="connsiteY0" fmla="*/ 21320 h 21319"/>
                <a:gd name="connsiteX1" fmla="*/ 0 w 21319"/>
                <a:gd name="connsiteY1" fmla="*/ 10660 h 21319"/>
                <a:gd name="connsiteX2" fmla="*/ 10659 w 21319"/>
                <a:gd name="connsiteY2" fmla="*/ 0 h 21319"/>
                <a:gd name="connsiteX3" fmla="*/ 21320 w 21319"/>
                <a:gd name="connsiteY3" fmla="*/ 10660 h 21319"/>
                <a:gd name="connsiteX4" fmla="*/ 10659 w 21319"/>
                <a:gd name="connsiteY4" fmla="*/ 21320 h 21319"/>
                <a:gd name="connsiteX5" fmla="*/ 10659 w 21319"/>
                <a:gd name="connsiteY5" fmla="*/ 5460 h 21319"/>
                <a:gd name="connsiteX6" fmla="*/ 5460 w 21319"/>
                <a:gd name="connsiteY6" fmla="*/ 10660 h 21319"/>
                <a:gd name="connsiteX7" fmla="*/ 10659 w 21319"/>
                <a:gd name="connsiteY7" fmla="*/ 15860 h 21319"/>
                <a:gd name="connsiteX8" fmla="*/ 15859 w 21319"/>
                <a:gd name="connsiteY8" fmla="*/ 10660 h 21319"/>
                <a:gd name="connsiteX9" fmla="*/ 10659 w 21319"/>
                <a:gd name="connsiteY9" fmla="*/ 5460 h 2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19" h="21319">
                  <a:moveTo>
                    <a:pt x="10659" y="21320"/>
                  </a:moveTo>
                  <a:cubicBezTo>
                    <a:pt x="5460" y="21320"/>
                    <a:pt x="0" y="17160"/>
                    <a:pt x="0" y="10660"/>
                  </a:cubicBezTo>
                  <a:cubicBezTo>
                    <a:pt x="0" y="4160"/>
                    <a:pt x="4160" y="0"/>
                    <a:pt x="10659" y="0"/>
                  </a:cubicBezTo>
                  <a:cubicBezTo>
                    <a:pt x="17159" y="0"/>
                    <a:pt x="21320" y="4160"/>
                    <a:pt x="21320" y="10660"/>
                  </a:cubicBezTo>
                  <a:cubicBezTo>
                    <a:pt x="21320" y="17160"/>
                    <a:pt x="16120" y="21320"/>
                    <a:pt x="10659" y="21320"/>
                  </a:cubicBezTo>
                  <a:close/>
                  <a:moveTo>
                    <a:pt x="10659" y="5460"/>
                  </a:moveTo>
                  <a:cubicBezTo>
                    <a:pt x="7540" y="5460"/>
                    <a:pt x="5460" y="7540"/>
                    <a:pt x="5460" y="10660"/>
                  </a:cubicBezTo>
                  <a:cubicBezTo>
                    <a:pt x="5460" y="13780"/>
                    <a:pt x="7540" y="15860"/>
                    <a:pt x="10659" y="15860"/>
                  </a:cubicBezTo>
                  <a:cubicBezTo>
                    <a:pt x="13779" y="15860"/>
                    <a:pt x="15859" y="13780"/>
                    <a:pt x="15859" y="10660"/>
                  </a:cubicBezTo>
                  <a:cubicBezTo>
                    <a:pt x="15859" y="7540"/>
                    <a:pt x="14040" y="5460"/>
                    <a:pt x="10659" y="5460"/>
                  </a:cubicBezTo>
                  <a:close/>
                </a:path>
              </a:pathLst>
            </a:custGeom>
            <a:solidFill>
              <a:srgbClr val="00005A"/>
            </a:solidFill>
            <a:ln w="2597" cap="flat">
              <a:noFill/>
              <a:prstDash val="solid"/>
              <a:miter/>
            </a:ln>
          </p:spPr>
          <p:txBody>
            <a:bodyPr rtlCol="0" anchor="ctr"/>
            <a:lstStyle/>
            <a:p>
              <a:endParaRPr lang="en-GB"/>
            </a:p>
          </p:txBody>
        </p:sp>
        <p:sp>
          <p:nvSpPr>
            <p:cNvPr id="693" name="Freeform: Shape 692">
              <a:extLst>
                <a:ext uri="{FF2B5EF4-FFF2-40B4-BE49-F238E27FC236}">
                  <a16:creationId xmlns:a16="http://schemas.microsoft.com/office/drawing/2014/main" id="{F39D4A5F-95F9-D025-1F01-563225828D7C}"/>
                </a:ext>
              </a:extLst>
            </p:cNvPr>
            <p:cNvSpPr/>
            <p:nvPr/>
          </p:nvSpPr>
          <p:spPr>
            <a:xfrm>
              <a:off x="6437019" y="2911998"/>
              <a:ext cx="21319" cy="21319"/>
            </a:xfrm>
            <a:custGeom>
              <a:avLst/>
              <a:gdLst>
                <a:gd name="connsiteX0" fmla="*/ 10659 w 21319"/>
                <a:gd name="connsiteY0" fmla="*/ 21320 h 21319"/>
                <a:gd name="connsiteX1" fmla="*/ 0 w 21319"/>
                <a:gd name="connsiteY1" fmla="*/ 10660 h 21319"/>
                <a:gd name="connsiteX2" fmla="*/ 10659 w 21319"/>
                <a:gd name="connsiteY2" fmla="*/ 0 h 21319"/>
                <a:gd name="connsiteX3" fmla="*/ 21320 w 21319"/>
                <a:gd name="connsiteY3" fmla="*/ 10660 h 21319"/>
                <a:gd name="connsiteX4" fmla="*/ 10659 w 21319"/>
                <a:gd name="connsiteY4" fmla="*/ 21320 h 21319"/>
                <a:gd name="connsiteX5" fmla="*/ 10659 w 21319"/>
                <a:gd name="connsiteY5" fmla="*/ 5460 h 21319"/>
                <a:gd name="connsiteX6" fmla="*/ 5460 w 21319"/>
                <a:gd name="connsiteY6" fmla="*/ 10660 h 21319"/>
                <a:gd name="connsiteX7" fmla="*/ 10659 w 21319"/>
                <a:gd name="connsiteY7" fmla="*/ 15860 h 21319"/>
                <a:gd name="connsiteX8" fmla="*/ 15859 w 21319"/>
                <a:gd name="connsiteY8" fmla="*/ 10660 h 21319"/>
                <a:gd name="connsiteX9" fmla="*/ 10659 w 21319"/>
                <a:gd name="connsiteY9" fmla="*/ 5460 h 2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19" h="21319">
                  <a:moveTo>
                    <a:pt x="10659" y="21320"/>
                  </a:moveTo>
                  <a:cubicBezTo>
                    <a:pt x="5460" y="21320"/>
                    <a:pt x="0" y="17160"/>
                    <a:pt x="0" y="10660"/>
                  </a:cubicBezTo>
                  <a:cubicBezTo>
                    <a:pt x="0" y="4160"/>
                    <a:pt x="4160" y="0"/>
                    <a:pt x="10659" y="0"/>
                  </a:cubicBezTo>
                  <a:cubicBezTo>
                    <a:pt x="17159" y="0"/>
                    <a:pt x="21320" y="4160"/>
                    <a:pt x="21320" y="10660"/>
                  </a:cubicBezTo>
                  <a:cubicBezTo>
                    <a:pt x="21320" y="17160"/>
                    <a:pt x="16120" y="21320"/>
                    <a:pt x="10659" y="21320"/>
                  </a:cubicBezTo>
                  <a:close/>
                  <a:moveTo>
                    <a:pt x="10659" y="5460"/>
                  </a:moveTo>
                  <a:cubicBezTo>
                    <a:pt x="7540" y="5460"/>
                    <a:pt x="5460" y="7540"/>
                    <a:pt x="5460" y="10660"/>
                  </a:cubicBezTo>
                  <a:cubicBezTo>
                    <a:pt x="5460" y="13780"/>
                    <a:pt x="7540" y="15860"/>
                    <a:pt x="10659" y="15860"/>
                  </a:cubicBezTo>
                  <a:cubicBezTo>
                    <a:pt x="13779" y="15860"/>
                    <a:pt x="15859" y="13780"/>
                    <a:pt x="15859" y="10660"/>
                  </a:cubicBezTo>
                  <a:cubicBezTo>
                    <a:pt x="15859" y="7540"/>
                    <a:pt x="14040" y="5460"/>
                    <a:pt x="10659" y="5460"/>
                  </a:cubicBezTo>
                  <a:close/>
                </a:path>
              </a:pathLst>
            </a:custGeom>
            <a:solidFill>
              <a:srgbClr val="00005A"/>
            </a:solidFill>
            <a:ln w="2597" cap="flat">
              <a:noFill/>
              <a:prstDash val="solid"/>
              <a:miter/>
            </a:ln>
          </p:spPr>
          <p:txBody>
            <a:bodyPr rtlCol="0" anchor="ctr"/>
            <a:lstStyle/>
            <a:p>
              <a:endParaRPr lang="en-GB"/>
            </a:p>
          </p:txBody>
        </p:sp>
        <p:sp>
          <p:nvSpPr>
            <p:cNvPr id="694" name="Freeform: Shape 693">
              <a:extLst>
                <a:ext uri="{FF2B5EF4-FFF2-40B4-BE49-F238E27FC236}">
                  <a16:creationId xmlns:a16="http://schemas.microsoft.com/office/drawing/2014/main" id="{31E258D1-A0F4-8A47-387E-1BECA72EA4C3}"/>
                </a:ext>
              </a:extLst>
            </p:cNvPr>
            <p:cNvSpPr/>
            <p:nvPr/>
          </p:nvSpPr>
          <p:spPr>
            <a:xfrm>
              <a:off x="6547518" y="2906798"/>
              <a:ext cx="20279" cy="21319"/>
            </a:xfrm>
            <a:custGeom>
              <a:avLst/>
              <a:gdLst>
                <a:gd name="connsiteX0" fmla="*/ 10659 w 20279"/>
                <a:gd name="connsiteY0" fmla="*/ 21320 h 21319"/>
                <a:gd name="connsiteX1" fmla="*/ 0 w 20279"/>
                <a:gd name="connsiteY1" fmla="*/ 10660 h 21319"/>
                <a:gd name="connsiteX2" fmla="*/ 10659 w 20279"/>
                <a:gd name="connsiteY2" fmla="*/ 0 h 21319"/>
                <a:gd name="connsiteX3" fmla="*/ 20279 w 20279"/>
                <a:gd name="connsiteY3" fmla="*/ 10660 h 21319"/>
                <a:gd name="connsiteX4" fmla="*/ 10659 w 20279"/>
                <a:gd name="connsiteY4" fmla="*/ 21320 h 21319"/>
                <a:gd name="connsiteX5" fmla="*/ 10659 w 20279"/>
                <a:gd name="connsiteY5" fmla="*/ 5460 h 21319"/>
                <a:gd name="connsiteX6" fmla="*/ 4420 w 20279"/>
                <a:gd name="connsiteY6" fmla="*/ 10660 h 21319"/>
                <a:gd name="connsiteX7" fmla="*/ 10659 w 20279"/>
                <a:gd name="connsiteY7" fmla="*/ 15860 h 21319"/>
                <a:gd name="connsiteX8" fmla="*/ 15859 w 20279"/>
                <a:gd name="connsiteY8" fmla="*/ 10660 h 21319"/>
                <a:gd name="connsiteX9" fmla="*/ 10659 w 20279"/>
                <a:gd name="connsiteY9" fmla="*/ 5460 h 2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1319">
                  <a:moveTo>
                    <a:pt x="10659" y="21320"/>
                  </a:moveTo>
                  <a:cubicBezTo>
                    <a:pt x="5460" y="21320"/>
                    <a:pt x="0" y="17160"/>
                    <a:pt x="0" y="10660"/>
                  </a:cubicBezTo>
                  <a:cubicBezTo>
                    <a:pt x="0" y="4160"/>
                    <a:pt x="4160" y="0"/>
                    <a:pt x="10659" y="0"/>
                  </a:cubicBezTo>
                  <a:cubicBezTo>
                    <a:pt x="15859" y="0"/>
                    <a:pt x="20279" y="4160"/>
                    <a:pt x="20279" y="10660"/>
                  </a:cubicBezTo>
                  <a:cubicBezTo>
                    <a:pt x="20279" y="17160"/>
                    <a:pt x="15859" y="21320"/>
                    <a:pt x="10659" y="21320"/>
                  </a:cubicBezTo>
                  <a:close/>
                  <a:moveTo>
                    <a:pt x="10659" y="5460"/>
                  </a:moveTo>
                  <a:cubicBezTo>
                    <a:pt x="7540" y="5460"/>
                    <a:pt x="4420" y="7540"/>
                    <a:pt x="4420" y="10660"/>
                  </a:cubicBezTo>
                  <a:cubicBezTo>
                    <a:pt x="4420" y="13780"/>
                    <a:pt x="6500" y="15860"/>
                    <a:pt x="10659" y="15860"/>
                  </a:cubicBezTo>
                  <a:cubicBezTo>
                    <a:pt x="13779" y="15860"/>
                    <a:pt x="15859" y="13780"/>
                    <a:pt x="15859" y="10660"/>
                  </a:cubicBezTo>
                  <a:cubicBezTo>
                    <a:pt x="15859" y="7540"/>
                    <a:pt x="13779" y="5460"/>
                    <a:pt x="10659" y="5460"/>
                  </a:cubicBezTo>
                  <a:close/>
                </a:path>
              </a:pathLst>
            </a:custGeom>
            <a:solidFill>
              <a:srgbClr val="00005A"/>
            </a:solidFill>
            <a:ln w="2597" cap="flat">
              <a:noFill/>
              <a:prstDash val="solid"/>
              <a:miter/>
            </a:ln>
          </p:spPr>
          <p:txBody>
            <a:bodyPr rtlCol="0" anchor="ctr"/>
            <a:lstStyle/>
            <a:p>
              <a:endParaRPr lang="en-GB"/>
            </a:p>
          </p:txBody>
        </p:sp>
        <p:sp>
          <p:nvSpPr>
            <p:cNvPr id="695" name="Freeform: Shape 694">
              <a:extLst>
                <a:ext uri="{FF2B5EF4-FFF2-40B4-BE49-F238E27FC236}">
                  <a16:creationId xmlns:a16="http://schemas.microsoft.com/office/drawing/2014/main" id="{59C2B46C-B580-7E22-C120-3B634D473DB2}"/>
                </a:ext>
              </a:extLst>
            </p:cNvPr>
            <p:cNvSpPr/>
            <p:nvPr/>
          </p:nvSpPr>
          <p:spPr>
            <a:xfrm>
              <a:off x="6489019" y="2800719"/>
              <a:ext cx="20279" cy="20279"/>
            </a:xfrm>
            <a:custGeom>
              <a:avLst/>
              <a:gdLst>
                <a:gd name="connsiteX0" fmla="*/ 10659 w 20279"/>
                <a:gd name="connsiteY0" fmla="*/ 20280 h 20279"/>
                <a:gd name="connsiteX1" fmla="*/ 0 w 20279"/>
                <a:gd name="connsiteY1" fmla="*/ 9620 h 20279"/>
                <a:gd name="connsiteX2" fmla="*/ 10659 w 20279"/>
                <a:gd name="connsiteY2" fmla="*/ 0 h 20279"/>
                <a:gd name="connsiteX3" fmla="*/ 20279 w 20279"/>
                <a:gd name="connsiteY3" fmla="*/ 9620 h 20279"/>
                <a:gd name="connsiteX4" fmla="*/ 10659 w 20279"/>
                <a:gd name="connsiteY4" fmla="*/ 20280 h 20279"/>
                <a:gd name="connsiteX5" fmla="*/ 10659 w 20279"/>
                <a:gd name="connsiteY5" fmla="*/ 4160 h 20279"/>
                <a:gd name="connsiteX6" fmla="*/ 4420 w 20279"/>
                <a:gd name="connsiteY6" fmla="*/ 9360 h 20279"/>
                <a:gd name="connsiteX7" fmla="*/ 10659 w 20279"/>
                <a:gd name="connsiteY7" fmla="*/ 15600 h 20279"/>
                <a:gd name="connsiteX8" fmla="*/ 15859 w 20279"/>
                <a:gd name="connsiteY8" fmla="*/ 9360 h 20279"/>
                <a:gd name="connsiteX9" fmla="*/ 10659 w 20279"/>
                <a:gd name="connsiteY9" fmla="*/ 416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10659" y="20280"/>
                  </a:moveTo>
                  <a:cubicBezTo>
                    <a:pt x="5460" y="20280"/>
                    <a:pt x="0" y="16120"/>
                    <a:pt x="0" y="9620"/>
                  </a:cubicBezTo>
                  <a:cubicBezTo>
                    <a:pt x="0" y="4420"/>
                    <a:pt x="4160" y="0"/>
                    <a:pt x="10659" y="0"/>
                  </a:cubicBezTo>
                  <a:cubicBezTo>
                    <a:pt x="15859" y="0"/>
                    <a:pt x="20279" y="4160"/>
                    <a:pt x="20279" y="9620"/>
                  </a:cubicBezTo>
                  <a:cubicBezTo>
                    <a:pt x="20279" y="14820"/>
                    <a:pt x="16120" y="20280"/>
                    <a:pt x="10659" y="20280"/>
                  </a:cubicBezTo>
                  <a:close/>
                  <a:moveTo>
                    <a:pt x="10659" y="4160"/>
                  </a:moveTo>
                  <a:cubicBezTo>
                    <a:pt x="7540" y="4160"/>
                    <a:pt x="4420" y="6240"/>
                    <a:pt x="4420" y="9360"/>
                  </a:cubicBezTo>
                  <a:cubicBezTo>
                    <a:pt x="4420" y="12480"/>
                    <a:pt x="6500" y="15600"/>
                    <a:pt x="10659" y="15600"/>
                  </a:cubicBezTo>
                  <a:cubicBezTo>
                    <a:pt x="13779" y="15600"/>
                    <a:pt x="15859" y="13520"/>
                    <a:pt x="15859" y="9360"/>
                  </a:cubicBezTo>
                  <a:cubicBezTo>
                    <a:pt x="16120" y="5200"/>
                    <a:pt x="14040" y="4160"/>
                    <a:pt x="10659" y="4160"/>
                  </a:cubicBezTo>
                  <a:close/>
                </a:path>
              </a:pathLst>
            </a:custGeom>
            <a:solidFill>
              <a:srgbClr val="00005A"/>
            </a:solidFill>
            <a:ln w="2597" cap="flat">
              <a:noFill/>
              <a:prstDash val="solid"/>
              <a:miter/>
            </a:ln>
          </p:spPr>
          <p:txBody>
            <a:bodyPr rtlCol="0" anchor="ctr"/>
            <a:lstStyle/>
            <a:p>
              <a:endParaRPr lang="en-GB"/>
            </a:p>
          </p:txBody>
        </p:sp>
        <p:sp>
          <p:nvSpPr>
            <p:cNvPr id="696" name="Freeform: Shape 695">
              <a:extLst>
                <a:ext uri="{FF2B5EF4-FFF2-40B4-BE49-F238E27FC236}">
                  <a16:creationId xmlns:a16="http://schemas.microsoft.com/office/drawing/2014/main" id="{2949E1BA-5BA4-74CD-BA72-224E6B027AEA}"/>
                </a:ext>
              </a:extLst>
            </p:cNvPr>
            <p:cNvSpPr/>
            <p:nvPr/>
          </p:nvSpPr>
          <p:spPr>
            <a:xfrm>
              <a:off x="6489019" y="2945018"/>
              <a:ext cx="20279" cy="20279"/>
            </a:xfrm>
            <a:custGeom>
              <a:avLst/>
              <a:gdLst>
                <a:gd name="connsiteX0" fmla="*/ 10659 w 20279"/>
                <a:gd name="connsiteY0" fmla="*/ 20280 h 20279"/>
                <a:gd name="connsiteX1" fmla="*/ 0 w 20279"/>
                <a:gd name="connsiteY1" fmla="*/ 10660 h 20279"/>
                <a:gd name="connsiteX2" fmla="*/ 10659 w 20279"/>
                <a:gd name="connsiteY2" fmla="*/ 0 h 20279"/>
                <a:gd name="connsiteX3" fmla="*/ 20279 w 20279"/>
                <a:gd name="connsiteY3" fmla="*/ 10660 h 20279"/>
                <a:gd name="connsiteX4" fmla="*/ 10659 w 20279"/>
                <a:gd name="connsiteY4" fmla="*/ 20280 h 20279"/>
                <a:gd name="connsiteX5" fmla="*/ 10659 w 20279"/>
                <a:gd name="connsiteY5" fmla="*/ 4160 h 20279"/>
                <a:gd name="connsiteX6" fmla="*/ 4420 w 20279"/>
                <a:gd name="connsiteY6" fmla="*/ 10400 h 20279"/>
                <a:gd name="connsiteX7" fmla="*/ 10659 w 20279"/>
                <a:gd name="connsiteY7" fmla="*/ 15600 h 20279"/>
                <a:gd name="connsiteX8" fmla="*/ 15859 w 20279"/>
                <a:gd name="connsiteY8" fmla="*/ 10400 h 20279"/>
                <a:gd name="connsiteX9" fmla="*/ 10659 w 20279"/>
                <a:gd name="connsiteY9" fmla="*/ 416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10659" y="20280"/>
                  </a:moveTo>
                  <a:cubicBezTo>
                    <a:pt x="5460" y="20280"/>
                    <a:pt x="0" y="16120"/>
                    <a:pt x="0" y="10660"/>
                  </a:cubicBezTo>
                  <a:cubicBezTo>
                    <a:pt x="0" y="5460"/>
                    <a:pt x="4160" y="0"/>
                    <a:pt x="10659" y="0"/>
                  </a:cubicBezTo>
                  <a:cubicBezTo>
                    <a:pt x="15859" y="0"/>
                    <a:pt x="20279" y="4160"/>
                    <a:pt x="20279" y="10660"/>
                  </a:cubicBezTo>
                  <a:cubicBezTo>
                    <a:pt x="20279" y="15860"/>
                    <a:pt x="16120" y="20280"/>
                    <a:pt x="10659" y="20280"/>
                  </a:cubicBezTo>
                  <a:close/>
                  <a:moveTo>
                    <a:pt x="10659" y="4160"/>
                  </a:moveTo>
                  <a:cubicBezTo>
                    <a:pt x="7540" y="4160"/>
                    <a:pt x="4420" y="6240"/>
                    <a:pt x="4420" y="10400"/>
                  </a:cubicBezTo>
                  <a:cubicBezTo>
                    <a:pt x="4420" y="14560"/>
                    <a:pt x="6500" y="15600"/>
                    <a:pt x="10659" y="15600"/>
                  </a:cubicBezTo>
                  <a:cubicBezTo>
                    <a:pt x="13779" y="15600"/>
                    <a:pt x="15859" y="13520"/>
                    <a:pt x="15859" y="10400"/>
                  </a:cubicBezTo>
                  <a:cubicBezTo>
                    <a:pt x="15859" y="7280"/>
                    <a:pt x="14040" y="4160"/>
                    <a:pt x="10659" y="4160"/>
                  </a:cubicBezTo>
                  <a:close/>
                </a:path>
              </a:pathLst>
            </a:custGeom>
            <a:solidFill>
              <a:srgbClr val="00005A"/>
            </a:solidFill>
            <a:ln w="2597" cap="flat">
              <a:noFill/>
              <a:prstDash val="solid"/>
              <a:miter/>
            </a:ln>
          </p:spPr>
          <p:txBody>
            <a:bodyPr rtlCol="0" anchor="ctr"/>
            <a:lstStyle/>
            <a:p>
              <a:endParaRPr lang="en-GB"/>
            </a:p>
          </p:txBody>
        </p:sp>
        <p:sp>
          <p:nvSpPr>
            <p:cNvPr id="697" name="Freeform: Shape 696">
              <a:extLst>
                <a:ext uri="{FF2B5EF4-FFF2-40B4-BE49-F238E27FC236}">
                  <a16:creationId xmlns:a16="http://schemas.microsoft.com/office/drawing/2014/main" id="{A263F950-07C9-2AB9-902D-E1E881E1D637}"/>
                </a:ext>
              </a:extLst>
            </p:cNvPr>
            <p:cNvSpPr/>
            <p:nvPr/>
          </p:nvSpPr>
          <p:spPr>
            <a:xfrm>
              <a:off x="6322620" y="2787980"/>
              <a:ext cx="21319" cy="20279"/>
            </a:xfrm>
            <a:custGeom>
              <a:avLst/>
              <a:gdLst>
                <a:gd name="connsiteX0" fmla="*/ 10659 w 21319"/>
                <a:gd name="connsiteY0" fmla="*/ 20280 h 20279"/>
                <a:gd name="connsiteX1" fmla="*/ 0 w 21319"/>
                <a:gd name="connsiteY1" fmla="*/ 9620 h 20279"/>
                <a:gd name="connsiteX2" fmla="*/ 10659 w 21319"/>
                <a:gd name="connsiteY2" fmla="*/ 0 h 20279"/>
                <a:gd name="connsiteX3" fmla="*/ 21320 w 21319"/>
                <a:gd name="connsiteY3" fmla="*/ 9620 h 20279"/>
                <a:gd name="connsiteX4" fmla="*/ 10659 w 21319"/>
                <a:gd name="connsiteY4" fmla="*/ 20280 h 20279"/>
                <a:gd name="connsiteX5" fmla="*/ 10659 w 21319"/>
                <a:gd name="connsiteY5" fmla="*/ 5200 h 20279"/>
                <a:gd name="connsiteX6" fmla="*/ 5460 w 21319"/>
                <a:gd name="connsiteY6" fmla="*/ 10400 h 20279"/>
                <a:gd name="connsiteX7" fmla="*/ 10659 w 21319"/>
                <a:gd name="connsiteY7" fmla="*/ 16640 h 20279"/>
                <a:gd name="connsiteX8" fmla="*/ 15859 w 21319"/>
                <a:gd name="connsiteY8" fmla="*/ 10400 h 20279"/>
                <a:gd name="connsiteX9" fmla="*/ 10659 w 21319"/>
                <a:gd name="connsiteY9" fmla="*/ 520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19" h="20279">
                  <a:moveTo>
                    <a:pt x="10659" y="20280"/>
                  </a:moveTo>
                  <a:cubicBezTo>
                    <a:pt x="5460" y="20280"/>
                    <a:pt x="0" y="16120"/>
                    <a:pt x="0" y="9620"/>
                  </a:cubicBezTo>
                  <a:cubicBezTo>
                    <a:pt x="0" y="4420"/>
                    <a:pt x="4160" y="0"/>
                    <a:pt x="10659" y="0"/>
                  </a:cubicBezTo>
                  <a:cubicBezTo>
                    <a:pt x="17159" y="0"/>
                    <a:pt x="21320" y="4160"/>
                    <a:pt x="21320" y="9620"/>
                  </a:cubicBezTo>
                  <a:cubicBezTo>
                    <a:pt x="21059" y="15860"/>
                    <a:pt x="15859" y="20280"/>
                    <a:pt x="10659" y="20280"/>
                  </a:cubicBezTo>
                  <a:close/>
                  <a:moveTo>
                    <a:pt x="10659" y="5200"/>
                  </a:moveTo>
                  <a:cubicBezTo>
                    <a:pt x="7540" y="5200"/>
                    <a:pt x="5460" y="7280"/>
                    <a:pt x="5460" y="10400"/>
                  </a:cubicBezTo>
                  <a:cubicBezTo>
                    <a:pt x="5460" y="13520"/>
                    <a:pt x="7540" y="16640"/>
                    <a:pt x="10659" y="16640"/>
                  </a:cubicBezTo>
                  <a:cubicBezTo>
                    <a:pt x="13779" y="16640"/>
                    <a:pt x="15859" y="14560"/>
                    <a:pt x="15859" y="10400"/>
                  </a:cubicBezTo>
                  <a:cubicBezTo>
                    <a:pt x="15859" y="6240"/>
                    <a:pt x="13779" y="5200"/>
                    <a:pt x="10659" y="5200"/>
                  </a:cubicBezTo>
                  <a:close/>
                </a:path>
              </a:pathLst>
            </a:custGeom>
            <a:solidFill>
              <a:srgbClr val="00005A"/>
            </a:solidFill>
            <a:ln w="2597" cap="flat">
              <a:noFill/>
              <a:prstDash val="solid"/>
              <a:miter/>
            </a:ln>
          </p:spPr>
          <p:txBody>
            <a:bodyPr rtlCol="0" anchor="ctr"/>
            <a:lstStyle/>
            <a:p>
              <a:endParaRPr lang="en-GB"/>
            </a:p>
          </p:txBody>
        </p:sp>
        <p:sp>
          <p:nvSpPr>
            <p:cNvPr id="698" name="Freeform: Shape 697">
              <a:extLst>
                <a:ext uri="{FF2B5EF4-FFF2-40B4-BE49-F238E27FC236}">
                  <a16:creationId xmlns:a16="http://schemas.microsoft.com/office/drawing/2014/main" id="{DEFBF164-2CE3-5D42-594B-83A6F0070D9A}"/>
                </a:ext>
              </a:extLst>
            </p:cNvPr>
            <p:cNvSpPr/>
            <p:nvPr/>
          </p:nvSpPr>
          <p:spPr>
            <a:xfrm>
              <a:off x="6322620" y="2936438"/>
              <a:ext cx="21319" cy="20279"/>
            </a:xfrm>
            <a:custGeom>
              <a:avLst/>
              <a:gdLst>
                <a:gd name="connsiteX0" fmla="*/ 10659 w 21319"/>
                <a:gd name="connsiteY0" fmla="*/ 20280 h 20279"/>
                <a:gd name="connsiteX1" fmla="*/ 0 w 21319"/>
                <a:gd name="connsiteY1" fmla="*/ 9620 h 20279"/>
                <a:gd name="connsiteX2" fmla="*/ 10659 w 21319"/>
                <a:gd name="connsiteY2" fmla="*/ 0 h 20279"/>
                <a:gd name="connsiteX3" fmla="*/ 21320 w 21319"/>
                <a:gd name="connsiteY3" fmla="*/ 9620 h 20279"/>
                <a:gd name="connsiteX4" fmla="*/ 10659 w 21319"/>
                <a:gd name="connsiteY4" fmla="*/ 20280 h 20279"/>
                <a:gd name="connsiteX5" fmla="*/ 10659 w 21319"/>
                <a:gd name="connsiteY5" fmla="*/ 5460 h 20279"/>
                <a:gd name="connsiteX6" fmla="*/ 5460 w 21319"/>
                <a:gd name="connsiteY6" fmla="*/ 10660 h 20279"/>
                <a:gd name="connsiteX7" fmla="*/ 10659 w 21319"/>
                <a:gd name="connsiteY7" fmla="*/ 16900 h 20279"/>
                <a:gd name="connsiteX8" fmla="*/ 15859 w 21319"/>
                <a:gd name="connsiteY8" fmla="*/ 10660 h 20279"/>
                <a:gd name="connsiteX9" fmla="*/ 10659 w 21319"/>
                <a:gd name="connsiteY9" fmla="*/ 546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19" h="20279">
                  <a:moveTo>
                    <a:pt x="10659" y="20280"/>
                  </a:moveTo>
                  <a:cubicBezTo>
                    <a:pt x="5460" y="20280"/>
                    <a:pt x="0" y="16120"/>
                    <a:pt x="0" y="9620"/>
                  </a:cubicBezTo>
                  <a:cubicBezTo>
                    <a:pt x="0" y="4420"/>
                    <a:pt x="4160" y="0"/>
                    <a:pt x="10659" y="0"/>
                  </a:cubicBezTo>
                  <a:cubicBezTo>
                    <a:pt x="17159" y="0"/>
                    <a:pt x="21320" y="4160"/>
                    <a:pt x="21320" y="9620"/>
                  </a:cubicBezTo>
                  <a:cubicBezTo>
                    <a:pt x="21059" y="16120"/>
                    <a:pt x="15859" y="20280"/>
                    <a:pt x="10659" y="20280"/>
                  </a:cubicBezTo>
                  <a:close/>
                  <a:moveTo>
                    <a:pt x="10659" y="5460"/>
                  </a:moveTo>
                  <a:cubicBezTo>
                    <a:pt x="7540" y="5460"/>
                    <a:pt x="5460" y="7540"/>
                    <a:pt x="5460" y="10660"/>
                  </a:cubicBezTo>
                  <a:cubicBezTo>
                    <a:pt x="5460" y="13780"/>
                    <a:pt x="7540" y="16900"/>
                    <a:pt x="10659" y="16900"/>
                  </a:cubicBezTo>
                  <a:cubicBezTo>
                    <a:pt x="13779" y="16900"/>
                    <a:pt x="15859" y="14820"/>
                    <a:pt x="15859" y="10660"/>
                  </a:cubicBezTo>
                  <a:cubicBezTo>
                    <a:pt x="15859" y="6500"/>
                    <a:pt x="13779" y="5460"/>
                    <a:pt x="10659" y="5460"/>
                  </a:cubicBezTo>
                  <a:close/>
                </a:path>
              </a:pathLst>
            </a:custGeom>
            <a:solidFill>
              <a:srgbClr val="00005A"/>
            </a:solidFill>
            <a:ln w="2597" cap="flat">
              <a:noFill/>
              <a:prstDash val="solid"/>
              <a:miter/>
            </a:ln>
          </p:spPr>
          <p:txBody>
            <a:bodyPr rtlCol="0" anchor="ctr"/>
            <a:lstStyle/>
            <a:p>
              <a:endParaRPr lang="en-GB"/>
            </a:p>
          </p:txBody>
        </p:sp>
        <p:sp>
          <p:nvSpPr>
            <p:cNvPr id="699" name="Freeform: Shape 698">
              <a:extLst>
                <a:ext uri="{FF2B5EF4-FFF2-40B4-BE49-F238E27FC236}">
                  <a16:creationId xmlns:a16="http://schemas.microsoft.com/office/drawing/2014/main" id="{BF78D855-4151-3310-E9A6-8B922F3473B7}"/>
                </a:ext>
              </a:extLst>
            </p:cNvPr>
            <p:cNvSpPr/>
            <p:nvPr/>
          </p:nvSpPr>
          <p:spPr>
            <a:xfrm>
              <a:off x="6547518" y="2613782"/>
              <a:ext cx="20279" cy="20279"/>
            </a:xfrm>
            <a:custGeom>
              <a:avLst/>
              <a:gdLst>
                <a:gd name="connsiteX0" fmla="*/ 10659 w 20279"/>
                <a:gd name="connsiteY0" fmla="*/ 20280 h 20279"/>
                <a:gd name="connsiteX1" fmla="*/ 0 w 20279"/>
                <a:gd name="connsiteY1" fmla="*/ 9620 h 20279"/>
                <a:gd name="connsiteX2" fmla="*/ 10659 w 20279"/>
                <a:gd name="connsiteY2" fmla="*/ 0 h 20279"/>
                <a:gd name="connsiteX3" fmla="*/ 20279 w 20279"/>
                <a:gd name="connsiteY3" fmla="*/ 9620 h 20279"/>
                <a:gd name="connsiteX4" fmla="*/ 10659 w 20279"/>
                <a:gd name="connsiteY4" fmla="*/ 20280 h 20279"/>
                <a:gd name="connsiteX5" fmla="*/ 10659 w 20279"/>
                <a:gd name="connsiteY5" fmla="*/ 3380 h 20279"/>
                <a:gd name="connsiteX6" fmla="*/ 4420 w 20279"/>
                <a:gd name="connsiteY6" fmla="*/ 8580 h 20279"/>
                <a:gd name="connsiteX7" fmla="*/ 10659 w 20279"/>
                <a:gd name="connsiteY7" fmla="*/ 14820 h 20279"/>
                <a:gd name="connsiteX8" fmla="*/ 15859 w 20279"/>
                <a:gd name="connsiteY8" fmla="*/ 8580 h 20279"/>
                <a:gd name="connsiteX9" fmla="*/ 10659 w 20279"/>
                <a:gd name="connsiteY9" fmla="*/ 3380 h 2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9" h="20279">
                  <a:moveTo>
                    <a:pt x="10659" y="20280"/>
                  </a:moveTo>
                  <a:cubicBezTo>
                    <a:pt x="5460" y="20280"/>
                    <a:pt x="0" y="16120"/>
                    <a:pt x="0" y="9620"/>
                  </a:cubicBezTo>
                  <a:cubicBezTo>
                    <a:pt x="0" y="4420"/>
                    <a:pt x="4160" y="0"/>
                    <a:pt x="10659" y="0"/>
                  </a:cubicBezTo>
                  <a:cubicBezTo>
                    <a:pt x="15859" y="0"/>
                    <a:pt x="20279" y="4160"/>
                    <a:pt x="20279" y="9620"/>
                  </a:cubicBezTo>
                  <a:cubicBezTo>
                    <a:pt x="20279" y="15080"/>
                    <a:pt x="15859" y="20280"/>
                    <a:pt x="10659" y="20280"/>
                  </a:cubicBezTo>
                  <a:close/>
                  <a:moveTo>
                    <a:pt x="10659" y="3380"/>
                  </a:moveTo>
                  <a:cubicBezTo>
                    <a:pt x="7540" y="3380"/>
                    <a:pt x="4420" y="5460"/>
                    <a:pt x="4420" y="8580"/>
                  </a:cubicBezTo>
                  <a:cubicBezTo>
                    <a:pt x="4420" y="11700"/>
                    <a:pt x="6500" y="14820"/>
                    <a:pt x="10659" y="14820"/>
                  </a:cubicBezTo>
                  <a:cubicBezTo>
                    <a:pt x="13779" y="14820"/>
                    <a:pt x="15859" y="12740"/>
                    <a:pt x="15859" y="8580"/>
                  </a:cubicBezTo>
                  <a:cubicBezTo>
                    <a:pt x="15859" y="4420"/>
                    <a:pt x="13779" y="3380"/>
                    <a:pt x="10659" y="3380"/>
                  </a:cubicBezTo>
                  <a:close/>
                </a:path>
              </a:pathLst>
            </a:custGeom>
            <a:solidFill>
              <a:srgbClr val="00005A"/>
            </a:solidFill>
            <a:ln w="2597" cap="flat">
              <a:noFill/>
              <a:prstDash val="solid"/>
              <a:miter/>
            </a:ln>
          </p:spPr>
          <p:txBody>
            <a:bodyPr rtlCol="0" anchor="ctr"/>
            <a:lstStyle/>
            <a:p>
              <a:endParaRPr lang="en-GB"/>
            </a:p>
          </p:txBody>
        </p:sp>
        <p:grpSp>
          <p:nvGrpSpPr>
            <p:cNvPr id="700" name="Graphic 6">
              <a:extLst>
                <a:ext uri="{FF2B5EF4-FFF2-40B4-BE49-F238E27FC236}">
                  <a16:creationId xmlns:a16="http://schemas.microsoft.com/office/drawing/2014/main" id="{74139632-17D7-8FB1-EAB8-A9EAC30662A7}"/>
                </a:ext>
              </a:extLst>
            </p:cNvPr>
            <p:cNvGrpSpPr/>
            <p:nvPr/>
          </p:nvGrpSpPr>
          <p:grpSpPr>
            <a:xfrm>
              <a:off x="6692342" y="2554242"/>
              <a:ext cx="240491" cy="80859"/>
              <a:chOff x="6692342" y="2554242"/>
              <a:chExt cx="240491" cy="80859"/>
            </a:xfrm>
            <a:solidFill>
              <a:srgbClr val="00005A"/>
            </a:solidFill>
          </p:grpSpPr>
          <p:grpSp>
            <p:nvGrpSpPr>
              <p:cNvPr id="725" name="Graphic 6">
                <a:extLst>
                  <a:ext uri="{FF2B5EF4-FFF2-40B4-BE49-F238E27FC236}">
                    <a16:creationId xmlns:a16="http://schemas.microsoft.com/office/drawing/2014/main" id="{BC04A104-E679-D482-C07A-59BA1F429705}"/>
                  </a:ext>
                </a:extLst>
              </p:cNvPr>
              <p:cNvGrpSpPr/>
              <p:nvPr/>
            </p:nvGrpSpPr>
            <p:grpSpPr>
              <a:xfrm>
                <a:off x="6692342" y="2554242"/>
                <a:ext cx="230871" cy="51219"/>
                <a:chOff x="6692342" y="2554242"/>
                <a:chExt cx="230871" cy="51219"/>
              </a:xfrm>
              <a:solidFill>
                <a:srgbClr val="00005A"/>
              </a:solidFill>
            </p:grpSpPr>
            <p:sp>
              <p:nvSpPr>
                <p:cNvPr id="727" name="Freeform: Shape 726">
                  <a:extLst>
                    <a:ext uri="{FF2B5EF4-FFF2-40B4-BE49-F238E27FC236}">
                      <a16:creationId xmlns:a16="http://schemas.microsoft.com/office/drawing/2014/main" id="{6F287D86-379C-00FD-52BE-49A9CCD7CADD}"/>
                    </a:ext>
                  </a:extLst>
                </p:cNvPr>
                <p:cNvSpPr/>
                <p:nvPr/>
              </p:nvSpPr>
              <p:spPr>
                <a:xfrm>
                  <a:off x="6692342" y="2554242"/>
                  <a:ext cx="129212" cy="51219"/>
                </a:xfrm>
                <a:custGeom>
                  <a:avLst/>
                  <a:gdLst>
                    <a:gd name="connsiteX0" fmla="*/ 94113 w 129212"/>
                    <a:gd name="connsiteY0" fmla="*/ 51219 h 51219"/>
                    <a:gd name="connsiteX1" fmla="*/ 93073 w 129212"/>
                    <a:gd name="connsiteY1" fmla="*/ 51219 h 51219"/>
                    <a:gd name="connsiteX2" fmla="*/ 62393 w 129212"/>
                    <a:gd name="connsiteY2" fmla="*/ 28860 h 51219"/>
                    <a:gd name="connsiteX3" fmla="*/ 42114 w 129212"/>
                    <a:gd name="connsiteY3" fmla="*/ 16120 h 51219"/>
                    <a:gd name="connsiteX4" fmla="*/ 25214 w 129212"/>
                    <a:gd name="connsiteY4" fmla="*/ 28860 h 51219"/>
                    <a:gd name="connsiteX5" fmla="*/ 14554 w 129212"/>
                    <a:gd name="connsiteY5" fmla="*/ 46799 h 51219"/>
                    <a:gd name="connsiteX6" fmla="*/ 3894 w 129212"/>
                    <a:gd name="connsiteY6" fmla="*/ 48879 h 51219"/>
                    <a:gd name="connsiteX7" fmla="*/ 1814 w 129212"/>
                    <a:gd name="connsiteY7" fmla="*/ 38220 h 51219"/>
                    <a:gd name="connsiteX8" fmla="*/ 12474 w 129212"/>
                    <a:gd name="connsiteY8" fmla="*/ 21320 h 51219"/>
                    <a:gd name="connsiteX9" fmla="*/ 43153 w 129212"/>
                    <a:gd name="connsiteY9" fmla="*/ 0 h 51219"/>
                    <a:gd name="connsiteX10" fmla="*/ 77213 w 129212"/>
                    <a:gd name="connsiteY10" fmla="*/ 21320 h 51219"/>
                    <a:gd name="connsiteX11" fmla="*/ 94113 w 129212"/>
                    <a:gd name="connsiteY11" fmla="*/ 35100 h 51219"/>
                    <a:gd name="connsiteX12" fmla="*/ 114393 w 129212"/>
                    <a:gd name="connsiteY12" fmla="*/ 21320 h 51219"/>
                    <a:gd name="connsiteX13" fmla="*/ 125052 w 129212"/>
                    <a:gd name="connsiteY13" fmla="*/ 18200 h 51219"/>
                    <a:gd name="connsiteX14" fmla="*/ 128173 w 129212"/>
                    <a:gd name="connsiteY14" fmla="*/ 28860 h 51219"/>
                    <a:gd name="connsiteX15" fmla="*/ 94113 w 129212"/>
                    <a:gd name="connsiteY15" fmla="*/ 51219 h 5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9212" h="51219">
                      <a:moveTo>
                        <a:pt x="94113" y="51219"/>
                      </a:moveTo>
                      <a:lnTo>
                        <a:pt x="93073" y="51219"/>
                      </a:lnTo>
                      <a:cubicBezTo>
                        <a:pt x="80333" y="51219"/>
                        <a:pt x="68633" y="42640"/>
                        <a:pt x="62393" y="28860"/>
                      </a:cubicBezTo>
                      <a:cubicBezTo>
                        <a:pt x="57194" y="20280"/>
                        <a:pt x="49653" y="15080"/>
                        <a:pt x="42114" y="16120"/>
                      </a:cubicBezTo>
                      <a:cubicBezTo>
                        <a:pt x="35874" y="16120"/>
                        <a:pt x="29374" y="21320"/>
                        <a:pt x="25214" y="28860"/>
                      </a:cubicBezTo>
                      <a:lnTo>
                        <a:pt x="14554" y="46799"/>
                      </a:lnTo>
                      <a:cubicBezTo>
                        <a:pt x="12474" y="50959"/>
                        <a:pt x="7014" y="51999"/>
                        <a:pt x="3894" y="48879"/>
                      </a:cubicBezTo>
                      <a:cubicBezTo>
                        <a:pt x="-266" y="46799"/>
                        <a:pt x="-1306" y="41340"/>
                        <a:pt x="1814" y="38220"/>
                      </a:cubicBezTo>
                      <a:lnTo>
                        <a:pt x="12474" y="21320"/>
                      </a:lnTo>
                      <a:cubicBezTo>
                        <a:pt x="18714" y="8580"/>
                        <a:pt x="30414" y="0"/>
                        <a:pt x="43153" y="0"/>
                      </a:cubicBezTo>
                      <a:cubicBezTo>
                        <a:pt x="56933" y="0"/>
                        <a:pt x="69674" y="7540"/>
                        <a:pt x="77213" y="21320"/>
                      </a:cubicBezTo>
                      <a:cubicBezTo>
                        <a:pt x="81373" y="29900"/>
                        <a:pt x="87873" y="35100"/>
                        <a:pt x="94113" y="35100"/>
                      </a:cubicBezTo>
                      <a:cubicBezTo>
                        <a:pt x="101653" y="35100"/>
                        <a:pt x="108933" y="30940"/>
                        <a:pt x="114393" y="21320"/>
                      </a:cubicBezTo>
                      <a:cubicBezTo>
                        <a:pt x="116473" y="17160"/>
                        <a:pt x="121933" y="16120"/>
                        <a:pt x="125052" y="18200"/>
                      </a:cubicBezTo>
                      <a:cubicBezTo>
                        <a:pt x="129213" y="20280"/>
                        <a:pt x="130252" y="25740"/>
                        <a:pt x="128173" y="28860"/>
                      </a:cubicBezTo>
                      <a:cubicBezTo>
                        <a:pt x="119593" y="43679"/>
                        <a:pt x="106853" y="51219"/>
                        <a:pt x="94113" y="51219"/>
                      </a:cubicBezTo>
                      <a:close/>
                    </a:path>
                  </a:pathLst>
                </a:custGeom>
                <a:solidFill>
                  <a:srgbClr val="00005A"/>
                </a:solidFill>
                <a:ln w="2597" cap="flat">
                  <a:noFill/>
                  <a:prstDash val="solid"/>
                  <a:miter/>
                </a:ln>
              </p:spPr>
              <p:txBody>
                <a:bodyPr rtlCol="0" anchor="ctr"/>
                <a:lstStyle/>
                <a:p>
                  <a:endParaRPr lang="en-GB"/>
                </a:p>
              </p:txBody>
            </p:sp>
            <p:sp>
              <p:nvSpPr>
                <p:cNvPr id="728" name="Freeform: Shape 727">
                  <a:extLst>
                    <a:ext uri="{FF2B5EF4-FFF2-40B4-BE49-F238E27FC236}">
                      <a16:creationId xmlns:a16="http://schemas.microsoft.com/office/drawing/2014/main" id="{FF09E7B2-ECA9-A0C9-F017-CCE4AA025DA8}"/>
                    </a:ext>
                  </a:extLst>
                </p:cNvPr>
                <p:cNvSpPr/>
                <p:nvPr/>
              </p:nvSpPr>
              <p:spPr>
                <a:xfrm>
                  <a:off x="6804395" y="2555282"/>
                  <a:ext cx="118818" cy="49139"/>
                </a:xfrm>
                <a:custGeom>
                  <a:avLst/>
                  <a:gdLst>
                    <a:gd name="connsiteX0" fmla="*/ 111539 w 118818"/>
                    <a:gd name="connsiteY0" fmla="*/ 49139 h 49139"/>
                    <a:gd name="connsiteX1" fmla="*/ 85019 w 118818"/>
                    <a:gd name="connsiteY1" fmla="*/ 49139 h 49139"/>
                    <a:gd name="connsiteX2" fmla="*/ 51999 w 118818"/>
                    <a:gd name="connsiteY2" fmla="*/ 27820 h 49139"/>
                    <a:gd name="connsiteX3" fmla="*/ 35099 w 118818"/>
                    <a:gd name="connsiteY3" fmla="*/ 15080 h 49139"/>
                    <a:gd name="connsiteX4" fmla="*/ 14820 w 118818"/>
                    <a:gd name="connsiteY4" fmla="*/ 28860 h 49139"/>
                    <a:gd name="connsiteX5" fmla="*/ 4160 w 118818"/>
                    <a:gd name="connsiteY5" fmla="*/ 31980 h 49139"/>
                    <a:gd name="connsiteX6" fmla="*/ 1040 w 118818"/>
                    <a:gd name="connsiteY6" fmla="*/ 21320 h 49139"/>
                    <a:gd name="connsiteX7" fmla="*/ 35099 w 118818"/>
                    <a:gd name="connsiteY7" fmla="*/ 0 h 49139"/>
                    <a:gd name="connsiteX8" fmla="*/ 65779 w 118818"/>
                    <a:gd name="connsiteY8" fmla="*/ 22360 h 49139"/>
                    <a:gd name="connsiteX9" fmla="*/ 83719 w 118818"/>
                    <a:gd name="connsiteY9" fmla="*/ 35100 h 49139"/>
                    <a:gd name="connsiteX10" fmla="*/ 110239 w 118818"/>
                    <a:gd name="connsiteY10" fmla="*/ 35100 h 49139"/>
                    <a:gd name="connsiteX11" fmla="*/ 118819 w 118818"/>
                    <a:gd name="connsiteY11" fmla="*/ 43679 h 49139"/>
                    <a:gd name="connsiteX12" fmla="*/ 111539 w 118818"/>
                    <a:gd name="connsiteY12" fmla="*/ 49139 h 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818" h="49139">
                      <a:moveTo>
                        <a:pt x="111539" y="49139"/>
                      </a:moveTo>
                      <a:lnTo>
                        <a:pt x="85019" y="49139"/>
                      </a:lnTo>
                      <a:cubicBezTo>
                        <a:pt x="75399" y="49139"/>
                        <a:pt x="61620" y="46019"/>
                        <a:pt x="51999" y="27820"/>
                      </a:cubicBezTo>
                      <a:cubicBezTo>
                        <a:pt x="47840" y="19240"/>
                        <a:pt x="41340" y="15080"/>
                        <a:pt x="35099" y="15080"/>
                      </a:cubicBezTo>
                      <a:cubicBezTo>
                        <a:pt x="27560" y="15080"/>
                        <a:pt x="20280" y="19240"/>
                        <a:pt x="14820" y="28860"/>
                      </a:cubicBezTo>
                      <a:cubicBezTo>
                        <a:pt x="12740" y="33019"/>
                        <a:pt x="7280" y="34060"/>
                        <a:pt x="4160" y="31980"/>
                      </a:cubicBezTo>
                      <a:cubicBezTo>
                        <a:pt x="0" y="29900"/>
                        <a:pt x="-1040" y="24440"/>
                        <a:pt x="1040" y="21320"/>
                      </a:cubicBezTo>
                      <a:cubicBezTo>
                        <a:pt x="9620" y="7540"/>
                        <a:pt x="22360" y="0"/>
                        <a:pt x="35099" y="0"/>
                      </a:cubicBezTo>
                      <a:cubicBezTo>
                        <a:pt x="47840" y="0"/>
                        <a:pt x="59539" y="8580"/>
                        <a:pt x="65779" y="22360"/>
                      </a:cubicBezTo>
                      <a:cubicBezTo>
                        <a:pt x="69939" y="30940"/>
                        <a:pt x="76439" y="35100"/>
                        <a:pt x="83719" y="35100"/>
                      </a:cubicBezTo>
                      <a:lnTo>
                        <a:pt x="110239" y="35100"/>
                      </a:lnTo>
                      <a:cubicBezTo>
                        <a:pt x="114398" y="35100"/>
                        <a:pt x="118819" y="38219"/>
                        <a:pt x="118819" y="43679"/>
                      </a:cubicBezTo>
                      <a:cubicBezTo>
                        <a:pt x="118819" y="49139"/>
                        <a:pt x="115698" y="49139"/>
                        <a:pt x="111539" y="49139"/>
                      </a:cubicBezTo>
                      <a:close/>
                    </a:path>
                  </a:pathLst>
                </a:custGeom>
                <a:solidFill>
                  <a:srgbClr val="00005A"/>
                </a:solidFill>
                <a:ln w="2597" cap="flat">
                  <a:noFill/>
                  <a:prstDash val="solid"/>
                  <a:miter/>
                </a:ln>
              </p:spPr>
              <p:txBody>
                <a:bodyPr rtlCol="0" anchor="ctr"/>
                <a:lstStyle/>
                <a:p>
                  <a:endParaRPr lang="en-GB"/>
                </a:p>
              </p:txBody>
            </p:sp>
          </p:grpSp>
          <p:sp>
            <p:nvSpPr>
              <p:cNvPr id="726" name="Freeform: Shape 725">
                <a:extLst>
                  <a:ext uri="{FF2B5EF4-FFF2-40B4-BE49-F238E27FC236}">
                    <a16:creationId xmlns:a16="http://schemas.microsoft.com/office/drawing/2014/main" id="{99FB1E98-2515-9537-D69A-FB1EAF450161}"/>
                  </a:ext>
                </a:extLst>
              </p:cNvPr>
              <p:cNvSpPr/>
              <p:nvPr/>
            </p:nvSpPr>
            <p:spPr>
              <a:xfrm>
                <a:off x="6888114" y="2561522"/>
                <a:ext cx="44719" cy="73579"/>
              </a:xfrm>
              <a:custGeom>
                <a:avLst/>
                <a:gdLst>
                  <a:gd name="connsiteX0" fmla="*/ 7540 w 44719"/>
                  <a:gd name="connsiteY0" fmla="*/ 73579 h 73579"/>
                  <a:gd name="connsiteX1" fmla="*/ 2340 w 44719"/>
                  <a:gd name="connsiteY1" fmla="*/ 71499 h 73579"/>
                  <a:gd name="connsiteX2" fmla="*/ 2340 w 44719"/>
                  <a:gd name="connsiteY2" fmla="*/ 59799 h 73579"/>
                  <a:gd name="connsiteX3" fmla="*/ 25740 w 44719"/>
                  <a:gd name="connsiteY3" fmla="*/ 36400 h 73579"/>
                  <a:gd name="connsiteX4" fmla="*/ 2340 w 44719"/>
                  <a:gd name="connsiteY4" fmla="*/ 14040 h 73579"/>
                  <a:gd name="connsiteX5" fmla="*/ 2340 w 44719"/>
                  <a:gd name="connsiteY5" fmla="*/ 2340 h 73579"/>
                  <a:gd name="connsiteX6" fmla="*/ 14040 w 44719"/>
                  <a:gd name="connsiteY6" fmla="*/ 2340 h 73579"/>
                  <a:gd name="connsiteX7" fmla="*/ 42639 w 44719"/>
                  <a:gd name="connsiteY7" fmla="*/ 29900 h 73579"/>
                  <a:gd name="connsiteX8" fmla="*/ 44720 w 44719"/>
                  <a:gd name="connsiteY8" fmla="*/ 35100 h 73579"/>
                  <a:gd name="connsiteX9" fmla="*/ 42639 w 44719"/>
                  <a:gd name="connsiteY9" fmla="*/ 40299 h 73579"/>
                  <a:gd name="connsiteX10" fmla="*/ 14040 w 44719"/>
                  <a:gd name="connsiteY10" fmla="*/ 68899 h 73579"/>
                  <a:gd name="connsiteX11" fmla="*/ 7540 w 44719"/>
                  <a:gd name="connsiteY11" fmla="*/ 73579 h 73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719" h="73579">
                    <a:moveTo>
                      <a:pt x="7540" y="73579"/>
                    </a:moveTo>
                    <a:cubicBezTo>
                      <a:pt x="5460" y="73579"/>
                      <a:pt x="3380" y="72539"/>
                      <a:pt x="2340" y="71499"/>
                    </a:cubicBezTo>
                    <a:cubicBezTo>
                      <a:pt x="-780" y="68379"/>
                      <a:pt x="-780" y="62919"/>
                      <a:pt x="2340" y="59799"/>
                    </a:cubicBezTo>
                    <a:lnTo>
                      <a:pt x="25740" y="36400"/>
                    </a:lnTo>
                    <a:lnTo>
                      <a:pt x="2340" y="14040"/>
                    </a:lnTo>
                    <a:cubicBezTo>
                      <a:pt x="-780" y="10920"/>
                      <a:pt x="-780" y="5460"/>
                      <a:pt x="2340" y="2340"/>
                    </a:cubicBezTo>
                    <a:cubicBezTo>
                      <a:pt x="5460" y="-780"/>
                      <a:pt x="10920" y="-780"/>
                      <a:pt x="14040" y="2340"/>
                    </a:cubicBezTo>
                    <a:lnTo>
                      <a:pt x="42639" y="29900"/>
                    </a:lnTo>
                    <a:cubicBezTo>
                      <a:pt x="43679" y="30940"/>
                      <a:pt x="44720" y="33020"/>
                      <a:pt x="44720" y="35100"/>
                    </a:cubicBezTo>
                    <a:cubicBezTo>
                      <a:pt x="44720" y="37180"/>
                      <a:pt x="43679" y="39260"/>
                      <a:pt x="42639" y="40299"/>
                    </a:cubicBezTo>
                    <a:lnTo>
                      <a:pt x="14040" y="68899"/>
                    </a:lnTo>
                    <a:cubicBezTo>
                      <a:pt x="11700" y="72539"/>
                      <a:pt x="9620" y="73579"/>
                      <a:pt x="7540" y="73579"/>
                    </a:cubicBezTo>
                    <a:close/>
                  </a:path>
                </a:pathLst>
              </a:custGeom>
              <a:solidFill>
                <a:srgbClr val="00005A"/>
              </a:solidFill>
              <a:ln w="2597" cap="flat">
                <a:noFill/>
                <a:prstDash val="solid"/>
                <a:miter/>
              </a:ln>
            </p:spPr>
            <p:txBody>
              <a:bodyPr rtlCol="0" anchor="ctr"/>
              <a:lstStyle/>
              <a:p>
                <a:endParaRPr lang="en-GB"/>
              </a:p>
            </p:txBody>
          </p:sp>
        </p:grpSp>
        <p:grpSp>
          <p:nvGrpSpPr>
            <p:cNvPr id="701" name="Graphic 6">
              <a:extLst>
                <a:ext uri="{FF2B5EF4-FFF2-40B4-BE49-F238E27FC236}">
                  <a16:creationId xmlns:a16="http://schemas.microsoft.com/office/drawing/2014/main" id="{1414A2C6-FD9F-3F02-24FD-2FDF49BEB0F5}"/>
                </a:ext>
              </a:extLst>
            </p:cNvPr>
            <p:cNvGrpSpPr/>
            <p:nvPr/>
          </p:nvGrpSpPr>
          <p:grpSpPr>
            <a:xfrm>
              <a:off x="6693642" y="2754700"/>
              <a:ext cx="240491" cy="79039"/>
              <a:chOff x="6693642" y="2754700"/>
              <a:chExt cx="240491" cy="79039"/>
            </a:xfrm>
            <a:solidFill>
              <a:srgbClr val="00005A"/>
            </a:solidFill>
          </p:grpSpPr>
          <p:grpSp>
            <p:nvGrpSpPr>
              <p:cNvPr id="721" name="Graphic 6">
                <a:extLst>
                  <a:ext uri="{FF2B5EF4-FFF2-40B4-BE49-F238E27FC236}">
                    <a16:creationId xmlns:a16="http://schemas.microsoft.com/office/drawing/2014/main" id="{FC430166-23E6-0DCD-0173-CB56D10AF608}"/>
                  </a:ext>
                </a:extLst>
              </p:cNvPr>
              <p:cNvGrpSpPr/>
              <p:nvPr/>
            </p:nvGrpSpPr>
            <p:grpSpPr>
              <a:xfrm>
                <a:off x="6693642" y="2754700"/>
                <a:ext cx="230611" cy="51219"/>
                <a:chOff x="6693642" y="2754700"/>
                <a:chExt cx="230611" cy="51219"/>
              </a:xfrm>
              <a:solidFill>
                <a:srgbClr val="00005A"/>
              </a:solidFill>
            </p:grpSpPr>
            <p:sp>
              <p:nvSpPr>
                <p:cNvPr id="723" name="Freeform: Shape 722">
                  <a:extLst>
                    <a:ext uri="{FF2B5EF4-FFF2-40B4-BE49-F238E27FC236}">
                      <a16:creationId xmlns:a16="http://schemas.microsoft.com/office/drawing/2014/main" id="{FC59DDD8-FBA0-B90D-A4DF-0D52674F1877}"/>
                    </a:ext>
                  </a:extLst>
                </p:cNvPr>
                <p:cNvSpPr/>
                <p:nvPr/>
              </p:nvSpPr>
              <p:spPr>
                <a:xfrm>
                  <a:off x="6693642" y="2754700"/>
                  <a:ext cx="129212" cy="51219"/>
                </a:xfrm>
                <a:custGeom>
                  <a:avLst/>
                  <a:gdLst>
                    <a:gd name="connsiteX0" fmla="*/ 93853 w 129212"/>
                    <a:gd name="connsiteY0" fmla="*/ 51219 h 51219"/>
                    <a:gd name="connsiteX1" fmla="*/ 92813 w 129212"/>
                    <a:gd name="connsiteY1" fmla="*/ 51219 h 51219"/>
                    <a:gd name="connsiteX2" fmla="*/ 62133 w 129212"/>
                    <a:gd name="connsiteY2" fmla="*/ 28860 h 51219"/>
                    <a:gd name="connsiteX3" fmla="*/ 43153 w 129212"/>
                    <a:gd name="connsiteY3" fmla="*/ 16120 h 51219"/>
                    <a:gd name="connsiteX4" fmla="*/ 25214 w 129212"/>
                    <a:gd name="connsiteY4" fmla="*/ 28860 h 51219"/>
                    <a:gd name="connsiteX5" fmla="*/ 14554 w 129212"/>
                    <a:gd name="connsiteY5" fmla="*/ 46799 h 51219"/>
                    <a:gd name="connsiteX6" fmla="*/ 3894 w 129212"/>
                    <a:gd name="connsiteY6" fmla="*/ 48880 h 51219"/>
                    <a:gd name="connsiteX7" fmla="*/ 1814 w 129212"/>
                    <a:gd name="connsiteY7" fmla="*/ 38220 h 51219"/>
                    <a:gd name="connsiteX8" fmla="*/ 12474 w 129212"/>
                    <a:gd name="connsiteY8" fmla="*/ 21320 h 51219"/>
                    <a:gd name="connsiteX9" fmla="*/ 43153 w 129212"/>
                    <a:gd name="connsiteY9" fmla="*/ 0 h 51219"/>
                    <a:gd name="connsiteX10" fmla="*/ 77213 w 129212"/>
                    <a:gd name="connsiteY10" fmla="*/ 21320 h 51219"/>
                    <a:gd name="connsiteX11" fmla="*/ 94113 w 129212"/>
                    <a:gd name="connsiteY11" fmla="*/ 35100 h 51219"/>
                    <a:gd name="connsiteX12" fmla="*/ 114393 w 129212"/>
                    <a:gd name="connsiteY12" fmla="*/ 21320 h 51219"/>
                    <a:gd name="connsiteX13" fmla="*/ 125052 w 129212"/>
                    <a:gd name="connsiteY13" fmla="*/ 18200 h 51219"/>
                    <a:gd name="connsiteX14" fmla="*/ 128173 w 129212"/>
                    <a:gd name="connsiteY14" fmla="*/ 28860 h 51219"/>
                    <a:gd name="connsiteX15" fmla="*/ 93853 w 129212"/>
                    <a:gd name="connsiteY15" fmla="*/ 51219 h 5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9212" h="51219">
                      <a:moveTo>
                        <a:pt x="93853" y="51219"/>
                      </a:moveTo>
                      <a:lnTo>
                        <a:pt x="92813" y="51219"/>
                      </a:lnTo>
                      <a:cubicBezTo>
                        <a:pt x="80073" y="51219"/>
                        <a:pt x="68374" y="42640"/>
                        <a:pt x="62133" y="28860"/>
                      </a:cubicBezTo>
                      <a:cubicBezTo>
                        <a:pt x="57974" y="20280"/>
                        <a:pt x="50433" y="16120"/>
                        <a:pt x="43153" y="16120"/>
                      </a:cubicBezTo>
                      <a:cubicBezTo>
                        <a:pt x="35874" y="16120"/>
                        <a:pt x="29374" y="21320"/>
                        <a:pt x="25214" y="28860"/>
                      </a:cubicBezTo>
                      <a:lnTo>
                        <a:pt x="14554" y="46799"/>
                      </a:lnTo>
                      <a:cubicBezTo>
                        <a:pt x="12474" y="50960"/>
                        <a:pt x="7014" y="51999"/>
                        <a:pt x="3894" y="48880"/>
                      </a:cubicBezTo>
                      <a:cubicBezTo>
                        <a:pt x="-266" y="46799"/>
                        <a:pt x="-1306" y="41340"/>
                        <a:pt x="1814" y="38220"/>
                      </a:cubicBezTo>
                      <a:lnTo>
                        <a:pt x="12474" y="21320"/>
                      </a:lnTo>
                      <a:cubicBezTo>
                        <a:pt x="18714" y="8580"/>
                        <a:pt x="30414" y="0"/>
                        <a:pt x="43153" y="0"/>
                      </a:cubicBezTo>
                      <a:cubicBezTo>
                        <a:pt x="56933" y="0"/>
                        <a:pt x="68633" y="7540"/>
                        <a:pt x="77213" y="21320"/>
                      </a:cubicBezTo>
                      <a:cubicBezTo>
                        <a:pt x="81373" y="29900"/>
                        <a:pt x="87873" y="34060"/>
                        <a:pt x="94113" y="35100"/>
                      </a:cubicBezTo>
                      <a:cubicBezTo>
                        <a:pt x="101653" y="35100"/>
                        <a:pt x="108933" y="30940"/>
                        <a:pt x="114393" y="21320"/>
                      </a:cubicBezTo>
                      <a:cubicBezTo>
                        <a:pt x="116473" y="17160"/>
                        <a:pt x="121933" y="16120"/>
                        <a:pt x="125052" y="18200"/>
                      </a:cubicBezTo>
                      <a:cubicBezTo>
                        <a:pt x="129213" y="20280"/>
                        <a:pt x="130252" y="25740"/>
                        <a:pt x="128173" y="28860"/>
                      </a:cubicBezTo>
                      <a:cubicBezTo>
                        <a:pt x="119333" y="43940"/>
                        <a:pt x="106593" y="51219"/>
                        <a:pt x="93853" y="51219"/>
                      </a:cubicBezTo>
                      <a:close/>
                    </a:path>
                  </a:pathLst>
                </a:custGeom>
                <a:solidFill>
                  <a:srgbClr val="00005A"/>
                </a:solidFill>
                <a:ln w="2597" cap="flat">
                  <a:noFill/>
                  <a:prstDash val="solid"/>
                  <a:miter/>
                </a:ln>
              </p:spPr>
              <p:txBody>
                <a:bodyPr rtlCol="0" anchor="ctr"/>
                <a:lstStyle/>
                <a:p>
                  <a:endParaRPr lang="en-GB"/>
                </a:p>
              </p:txBody>
            </p:sp>
            <p:sp>
              <p:nvSpPr>
                <p:cNvPr id="724" name="Freeform: Shape 723">
                  <a:extLst>
                    <a:ext uri="{FF2B5EF4-FFF2-40B4-BE49-F238E27FC236}">
                      <a16:creationId xmlns:a16="http://schemas.microsoft.com/office/drawing/2014/main" id="{C0A88478-51D3-F09A-AC3D-54F8246654C6}"/>
                    </a:ext>
                  </a:extLst>
                </p:cNvPr>
                <p:cNvSpPr/>
                <p:nvPr/>
              </p:nvSpPr>
              <p:spPr>
                <a:xfrm>
                  <a:off x="6805434" y="2756695"/>
                  <a:ext cx="118818" cy="49224"/>
                </a:xfrm>
                <a:custGeom>
                  <a:avLst/>
                  <a:gdLst>
                    <a:gd name="connsiteX0" fmla="*/ 111539 w 118818"/>
                    <a:gd name="connsiteY0" fmla="*/ 49224 h 49224"/>
                    <a:gd name="connsiteX1" fmla="*/ 85019 w 118818"/>
                    <a:gd name="connsiteY1" fmla="*/ 49224 h 49224"/>
                    <a:gd name="connsiteX2" fmla="*/ 52000 w 118818"/>
                    <a:gd name="connsiteY2" fmla="*/ 27905 h 49224"/>
                    <a:gd name="connsiteX3" fmla="*/ 35100 w 118818"/>
                    <a:gd name="connsiteY3" fmla="*/ 15165 h 49224"/>
                    <a:gd name="connsiteX4" fmla="*/ 14820 w 118818"/>
                    <a:gd name="connsiteY4" fmla="*/ 28945 h 49224"/>
                    <a:gd name="connsiteX5" fmla="*/ 4160 w 118818"/>
                    <a:gd name="connsiteY5" fmla="*/ 32065 h 49224"/>
                    <a:gd name="connsiteX6" fmla="*/ 1040 w 118818"/>
                    <a:gd name="connsiteY6" fmla="*/ 21405 h 49224"/>
                    <a:gd name="connsiteX7" fmla="*/ 35100 w 118818"/>
                    <a:gd name="connsiteY7" fmla="*/ 85 h 49224"/>
                    <a:gd name="connsiteX8" fmla="*/ 65780 w 118818"/>
                    <a:gd name="connsiteY8" fmla="*/ 22445 h 49224"/>
                    <a:gd name="connsiteX9" fmla="*/ 83719 w 118818"/>
                    <a:gd name="connsiteY9" fmla="*/ 35185 h 49224"/>
                    <a:gd name="connsiteX10" fmla="*/ 110239 w 118818"/>
                    <a:gd name="connsiteY10" fmla="*/ 35185 h 49224"/>
                    <a:gd name="connsiteX11" fmla="*/ 118819 w 118818"/>
                    <a:gd name="connsiteY11" fmla="*/ 43765 h 49224"/>
                    <a:gd name="connsiteX12" fmla="*/ 111539 w 118818"/>
                    <a:gd name="connsiteY12" fmla="*/ 49224 h 4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818" h="49224">
                      <a:moveTo>
                        <a:pt x="111539" y="49224"/>
                      </a:moveTo>
                      <a:lnTo>
                        <a:pt x="85019" y="49224"/>
                      </a:lnTo>
                      <a:cubicBezTo>
                        <a:pt x="75399" y="49224"/>
                        <a:pt x="61619" y="46104"/>
                        <a:pt x="52000" y="27905"/>
                      </a:cubicBezTo>
                      <a:cubicBezTo>
                        <a:pt x="47839" y="19325"/>
                        <a:pt x="41340" y="15165"/>
                        <a:pt x="35100" y="15165"/>
                      </a:cubicBezTo>
                      <a:cubicBezTo>
                        <a:pt x="27560" y="15165"/>
                        <a:pt x="20280" y="19325"/>
                        <a:pt x="14820" y="28945"/>
                      </a:cubicBezTo>
                      <a:cubicBezTo>
                        <a:pt x="12740" y="33105"/>
                        <a:pt x="7280" y="34145"/>
                        <a:pt x="4160" y="32065"/>
                      </a:cubicBezTo>
                      <a:cubicBezTo>
                        <a:pt x="0" y="29985"/>
                        <a:pt x="-1040" y="24525"/>
                        <a:pt x="1040" y="21405"/>
                      </a:cubicBezTo>
                      <a:cubicBezTo>
                        <a:pt x="9620" y="7625"/>
                        <a:pt x="22360" y="-955"/>
                        <a:pt x="35100" y="85"/>
                      </a:cubicBezTo>
                      <a:cubicBezTo>
                        <a:pt x="47839" y="85"/>
                        <a:pt x="59539" y="8665"/>
                        <a:pt x="65780" y="22445"/>
                      </a:cubicBezTo>
                      <a:cubicBezTo>
                        <a:pt x="69939" y="31025"/>
                        <a:pt x="76439" y="35185"/>
                        <a:pt x="83719" y="35185"/>
                      </a:cubicBezTo>
                      <a:lnTo>
                        <a:pt x="110239" y="35185"/>
                      </a:lnTo>
                      <a:cubicBezTo>
                        <a:pt x="114399" y="35185"/>
                        <a:pt x="118819" y="38304"/>
                        <a:pt x="118819" y="43765"/>
                      </a:cubicBezTo>
                      <a:cubicBezTo>
                        <a:pt x="118819" y="49224"/>
                        <a:pt x="115699" y="49224"/>
                        <a:pt x="111539" y="49224"/>
                      </a:cubicBezTo>
                      <a:close/>
                    </a:path>
                  </a:pathLst>
                </a:custGeom>
                <a:solidFill>
                  <a:srgbClr val="00005A"/>
                </a:solidFill>
                <a:ln w="2597" cap="flat">
                  <a:noFill/>
                  <a:prstDash val="solid"/>
                  <a:miter/>
                </a:ln>
              </p:spPr>
              <p:txBody>
                <a:bodyPr rtlCol="0" anchor="ctr"/>
                <a:lstStyle/>
                <a:p>
                  <a:endParaRPr lang="en-GB"/>
                </a:p>
              </p:txBody>
            </p:sp>
          </p:grpSp>
          <p:sp>
            <p:nvSpPr>
              <p:cNvPr id="722" name="Freeform: Shape 721">
                <a:extLst>
                  <a:ext uri="{FF2B5EF4-FFF2-40B4-BE49-F238E27FC236}">
                    <a16:creationId xmlns:a16="http://schemas.microsoft.com/office/drawing/2014/main" id="{052FD014-EA4C-53B3-4ED0-E10223CEE6B3}"/>
                  </a:ext>
                </a:extLst>
              </p:cNvPr>
              <p:cNvSpPr/>
              <p:nvPr/>
            </p:nvSpPr>
            <p:spPr>
              <a:xfrm>
                <a:off x="6890194" y="2759120"/>
                <a:ext cx="43939" cy="74619"/>
              </a:xfrm>
              <a:custGeom>
                <a:avLst/>
                <a:gdLst>
                  <a:gd name="connsiteX0" fmla="*/ 7540 w 43939"/>
                  <a:gd name="connsiteY0" fmla="*/ 74619 h 74619"/>
                  <a:gd name="connsiteX1" fmla="*/ 2340 w 43939"/>
                  <a:gd name="connsiteY1" fmla="*/ 72539 h 74619"/>
                  <a:gd name="connsiteX2" fmla="*/ 2340 w 43939"/>
                  <a:gd name="connsiteY2" fmla="*/ 60839 h 74619"/>
                  <a:gd name="connsiteX3" fmla="*/ 24699 w 43939"/>
                  <a:gd name="connsiteY3" fmla="*/ 38479 h 74619"/>
                  <a:gd name="connsiteX4" fmla="*/ 2340 w 43939"/>
                  <a:gd name="connsiteY4" fmla="*/ 14040 h 74619"/>
                  <a:gd name="connsiteX5" fmla="*/ 2340 w 43939"/>
                  <a:gd name="connsiteY5" fmla="*/ 2340 h 74619"/>
                  <a:gd name="connsiteX6" fmla="*/ 14040 w 43939"/>
                  <a:gd name="connsiteY6" fmla="*/ 2340 h 74619"/>
                  <a:gd name="connsiteX7" fmla="*/ 41599 w 43939"/>
                  <a:gd name="connsiteY7" fmla="*/ 31980 h 74619"/>
                  <a:gd name="connsiteX8" fmla="*/ 41599 w 43939"/>
                  <a:gd name="connsiteY8" fmla="*/ 42640 h 74619"/>
                  <a:gd name="connsiteX9" fmla="*/ 14040 w 43939"/>
                  <a:gd name="connsiteY9" fmla="*/ 70199 h 74619"/>
                  <a:gd name="connsiteX10" fmla="*/ 7540 w 43939"/>
                  <a:gd name="connsiteY10" fmla="*/ 74619 h 74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939" h="74619">
                    <a:moveTo>
                      <a:pt x="7540" y="74619"/>
                    </a:moveTo>
                    <a:cubicBezTo>
                      <a:pt x="5460" y="74619"/>
                      <a:pt x="3380" y="73579"/>
                      <a:pt x="2340" y="72539"/>
                    </a:cubicBezTo>
                    <a:cubicBezTo>
                      <a:pt x="-780" y="69419"/>
                      <a:pt x="-780" y="63959"/>
                      <a:pt x="2340" y="60839"/>
                    </a:cubicBezTo>
                    <a:lnTo>
                      <a:pt x="24699" y="38479"/>
                    </a:lnTo>
                    <a:lnTo>
                      <a:pt x="2340" y="14040"/>
                    </a:lnTo>
                    <a:cubicBezTo>
                      <a:pt x="-780" y="10920"/>
                      <a:pt x="-780" y="5460"/>
                      <a:pt x="2340" y="2340"/>
                    </a:cubicBezTo>
                    <a:cubicBezTo>
                      <a:pt x="5460" y="-780"/>
                      <a:pt x="10920" y="-780"/>
                      <a:pt x="14040" y="2340"/>
                    </a:cubicBezTo>
                    <a:lnTo>
                      <a:pt x="41599" y="31980"/>
                    </a:lnTo>
                    <a:cubicBezTo>
                      <a:pt x="44720" y="35100"/>
                      <a:pt x="44720" y="40560"/>
                      <a:pt x="41599" y="42640"/>
                    </a:cubicBezTo>
                    <a:lnTo>
                      <a:pt x="14040" y="70199"/>
                    </a:lnTo>
                    <a:cubicBezTo>
                      <a:pt x="11960" y="74619"/>
                      <a:pt x="9620" y="74619"/>
                      <a:pt x="7540" y="74619"/>
                    </a:cubicBezTo>
                    <a:close/>
                  </a:path>
                </a:pathLst>
              </a:custGeom>
              <a:solidFill>
                <a:srgbClr val="00005A"/>
              </a:solidFill>
              <a:ln w="2597" cap="flat">
                <a:noFill/>
                <a:prstDash val="solid"/>
                <a:miter/>
              </a:ln>
            </p:spPr>
            <p:txBody>
              <a:bodyPr rtlCol="0" anchor="ctr"/>
              <a:lstStyle/>
              <a:p>
                <a:endParaRPr lang="en-GB"/>
              </a:p>
            </p:txBody>
          </p:sp>
        </p:grpSp>
        <p:grpSp>
          <p:nvGrpSpPr>
            <p:cNvPr id="702" name="Graphic 6">
              <a:extLst>
                <a:ext uri="{FF2B5EF4-FFF2-40B4-BE49-F238E27FC236}">
                  <a16:creationId xmlns:a16="http://schemas.microsoft.com/office/drawing/2014/main" id="{FB48986F-3BEF-7111-D184-02BABBAF38B9}"/>
                </a:ext>
              </a:extLst>
            </p:cNvPr>
            <p:cNvGrpSpPr/>
            <p:nvPr/>
          </p:nvGrpSpPr>
          <p:grpSpPr>
            <a:xfrm>
              <a:off x="6693642" y="2928898"/>
              <a:ext cx="240491" cy="78779"/>
              <a:chOff x="6693642" y="2928898"/>
              <a:chExt cx="240491" cy="78779"/>
            </a:xfrm>
            <a:solidFill>
              <a:srgbClr val="00005A"/>
            </a:solidFill>
          </p:grpSpPr>
          <p:grpSp>
            <p:nvGrpSpPr>
              <p:cNvPr id="717" name="Graphic 6">
                <a:extLst>
                  <a:ext uri="{FF2B5EF4-FFF2-40B4-BE49-F238E27FC236}">
                    <a16:creationId xmlns:a16="http://schemas.microsoft.com/office/drawing/2014/main" id="{55498803-1EAB-29E7-9A86-6952BFE57450}"/>
                  </a:ext>
                </a:extLst>
              </p:cNvPr>
              <p:cNvGrpSpPr/>
              <p:nvPr/>
            </p:nvGrpSpPr>
            <p:grpSpPr>
              <a:xfrm>
                <a:off x="6693642" y="2928898"/>
                <a:ext cx="230611" cy="51219"/>
                <a:chOff x="6693642" y="2928898"/>
                <a:chExt cx="230611" cy="51219"/>
              </a:xfrm>
              <a:solidFill>
                <a:srgbClr val="00005A"/>
              </a:solidFill>
            </p:grpSpPr>
            <p:sp>
              <p:nvSpPr>
                <p:cNvPr id="719" name="Freeform: Shape 718">
                  <a:extLst>
                    <a:ext uri="{FF2B5EF4-FFF2-40B4-BE49-F238E27FC236}">
                      <a16:creationId xmlns:a16="http://schemas.microsoft.com/office/drawing/2014/main" id="{C1F2C382-8E7F-260B-4B9B-4C1D9C8AEA5B}"/>
                    </a:ext>
                  </a:extLst>
                </p:cNvPr>
                <p:cNvSpPr/>
                <p:nvPr/>
              </p:nvSpPr>
              <p:spPr>
                <a:xfrm>
                  <a:off x="6693642" y="2928898"/>
                  <a:ext cx="129212" cy="51219"/>
                </a:xfrm>
                <a:custGeom>
                  <a:avLst/>
                  <a:gdLst>
                    <a:gd name="connsiteX0" fmla="*/ 93853 w 129212"/>
                    <a:gd name="connsiteY0" fmla="*/ 51219 h 51219"/>
                    <a:gd name="connsiteX1" fmla="*/ 92813 w 129212"/>
                    <a:gd name="connsiteY1" fmla="*/ 51219 h 51219"/>
                    <a:gd name="connsiteX2" fmla="*/ 62133 w 129212"/>
                    <a:gd name="connsiteY2" fmla="*/ 28860 h 51219"/>
                    <a:gd name="connsiteX3" fmla="*/ 43153 w 129212"/>
                    <a:gd name="connsiteY3" fmla="*/ 16120 h 51219"/>
                    <a:gd name="connsiteX4" fmla="*/ 25214 w 129212"/>
                    <a:gd name="connsiteY4" fmla="*/ 28860 h 51219"/>
                    <a:gd name="connsiteX5" fmla="*/ 14554 w 129212"/>
                    <a:gd name="connsiteY5" fmla="*/ 46799 h 51219"/>
                    <a:gd name="connsiteX6" fmla="*/ 3894 w 129212"/>
                    <a:gd name="connsiteY6" fmla="*/ 48880 h 51219"/>
                    <a:gd name="connsiteX7" fmla="*/ 1814 w 129212"/>
                    <a:gd name="connsiteY7" fmla="*/ 38220 h 51219"/>
                    <a:gd name="connsiteX8" fmla="*/ 12474 w 129212"/>
                    <a:gd name="connsiteY8" fmla="*/ 21320 h 51219"/>
                    <a:gd name="connsiteX9" fmla="*/ 43153 w 129212"/>
                    <a:gd name="connsiteY9" fmla="*/ 0 h 51219"/>
                    <a:gd name="connsiteX10" fmla="*/ 77213 w 129212"/>
                    <a:gd name="connsiteY10" fmla="*/ 21320 h 51219"/>
                    <a:gd name="connsiteX11" fmla="*/ 94113 w 129212"/>
                    <a:gd name="connsiteY11" fmla="*/ 35100 h 51219"/>
                    <a:gd name="connsiteX12" fmla="*/ 114393 w 129212"/>
                    <a:gd name="connsiteY12" fmla="*/ 21320 h 51219"/>
                    <a:gd name="connsiteX13" fmla="*/ 125052 w 129212"/>
                    <a:gd name="connsiteY13" fmla="*/ 18200 h 51219"/>
                    <a:gd name="connsiteX14" fmla="*/ 128173 w 129212"/>
                    <a:gd name="connsiteY14" fmla="*/ 28860 h 51219"/>
                    <a:gd name="connsiteX15" fmla="*/ 93853 w 129212"/>
                    <a:gd name="connsiteY15" fmla="*/ 51219 h 5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9212" h="51219">
                      <a:moveTo>
                        <a:pt x="93853" y="51219"/>
                      </a:moveTo>
                      <a:lnTo>
                        <a:pt x="92813" y="51219"/>
                      </a:lnTo>
                      <a:cubicBezTo>
                        <a:pt x="80073" y="51219"/>
                        <a:pt x="68374" y="42640"/>
                        <a:pt x="62133" y="28860"/>
                      </a:cubicBezTo>
                      <a:cubicBezTo>
                        <a:pt x="57974" y="20280"/>
                        <a:pt x="50433" y="16120"/>
                        <a:pt x="43153" y="16120"/>
                      </a:cubicBezTo>
                      <a:cubicBezTo>
                        <a:pt x="35874" y="16120"/>
                        <a:pt x="29374" y="21320"/>
                        <a:pt x="25214" y="28860"/>
                      </a:cubicBezTo>
                      <a:lnTo>
                        <a:pt x="14554" y="46799"/>
                      </a:lnTo>
                      <a:cubicBezTo>
                        <a:pt x="12474" y="50960"/>
                        <a:pt x="7014" y="51999"/>
                        <a:pt x="3894" y="48880"/>
                      </a:cubicBezTo>
                      <a:cubicBezTo>
                        <a:pt x="-266" y="46799"/>
                        <a:pt x="-1306" y="41340"/>
                        <a:pt x="1814" y="38220"/>
                      </a:cubicBezTo>
                      <a:lnTo>
                        <a:pt x="12474" y="21320"/>
                      </a:lnTo>
                      <a:cubicBezTo>
                        <a:pt x="18714" y="8580"/>
                        <a:pt x="30414" y="0"/>
                        <a:pt x="43153" y="0"/>
                      </a:cubicBezTo>
                      <a:cubicBezTo>
                        <a:pt x="56933" y="0"/>
                        <a:pt x="68633" y="7540"/>
                        <a:pt x="77213" y="21320"/>
                      </a:cubicBezTo>
                      <a:cubicBezTo>
                        <a:pt x="81373" y="29900"/>
                        <a:pt x="87873" y="34060"/>
                        <a:pt x="94113" y="35100"/>
                      </a:cubicBezTo>
                      <a:cubicBezTo>
                        <a:pt x="101653" y="35100"/>
                        <a:pt x="108933" y="30940"/>
                        <a:pt x="114393" y="21320"/>
                      </a:cubicBezTo>
                      <a:cubicBezTo>
                        <a:pt x="116473" y="17160"/>
                        <a:pt x="121933" y="16120"/>
                        <a:pt x="125052" y="18200"/>
                      </a:cubicBezTo>
                      <a:cubicBezTo>
                        <a:pt x="129213" y="20280"/>
                        <a:pt x="130252" y="25740"/>
                        <a:pt x="128173" y="28860"/>
                      </a:cubicBezTo>
                      <a:cubicBezTo>
                        <a:pt x="119333" y="43680"/>
                        <a:pt x="106593" y="51219"/>
                        <a:pt x="93853" y="51219"/>
                      </a:cubicBezTo>
                      <a:close/>
                    </a:path>
                  </a:pathLst>
                </a:custGeom>
                <a:solidFill>
                  <a:srgbClr val="00005A"/>
                </a:solidFill>
                <a:ln w="2597" cap="flat">
                  <a:noFill/>
                  <a:prstDash val="solid"/>
                  <a:miter/>
                </a:ln>
              </p:spPr>
              <p:txBody>
                <a:bodyPr rtlCol="0" anchor="ctr"/>
                <a:lstStyle/>
                <a:p>
                  <a:endParaRPr lang="en-GB"/>
                </a:p>
              </p:txBody>
            </p:sp>
            <p:sp>
              <p:nvSpPr>
                <p:cNvPr id="720" name="Freeform: Shape 719">
                  <a:extLst>
                    <a:ext uri="{FF2B5EF4-FFF2-40B4-BE49-F238E27FC236}">
                      <a16:creationId xmlns:a16="http://schemas.microsoft.com/office/drawing/2014/main" id="{E2F5D88B-B034-D7AE-3F01-75B0DF04E66D}"/>
                    </a:ext>
                  </a:extLst>
                </p:cNvPr>
                <p:cNvSpPr/>
                <p:nvPr/>
              </p:nvSpPr>
              <p:spPr>
                <a:xfrm>
                  <a:off x="6805434" y="2930978"/>
                  <a:ext cx="118818" cy="49139"/>
                </a:xfrm>
                <a:custGeom>
                  <a:avLst/>
                  <a:gdLst>
                    <a:gd name="connsiteX0" fmla="*/ 111539 w 118818"/>
                    <a:gd name="connsiteY0" fmla="*/ 49139 h 49139"/>
                    <a:gd name="connsiteX1" fmla="*/ 85019 w 118818"/>
                    <a:gd name="connsiteY1" fmla="*/ 49139 h 49139"/>
                    <a:gd name="connsiteX2" fmla="*/ 52000 w 118818"/>
                    <a:gd name="connsiteY2" fmla="*/ 27820 h 49139"/>
                    <a:gd name="connsiteX3" fmla="*/ 35100 w 118818"/>
                    <a:gd name="connsiteY3" fmla="*/ 15080 h 49139"/>
                    <a:gd name="connsiteX4" fmla="*/ 14820 w 118818"/>
                    <a:gd name="connsiteY4" fmla="*/ 28860 h 49139"/>
                    <a:gd name="connsiteX5" fmla="*/ 4160 w 118818"/>
                    <a:gd name="connsiteY5" fmla="*/ 31980 h 49139"/>
                    <a:gd name="connsiteX6" fmla="*/ 1040 w 118818"/>
                    <a:gd name="connsiteY6" fmla="*/ 21320 h 49139"/>
                    <a:gd name="connsiteX7" fmla="*/ 35100 w 118818"/>
                    <a:gd name="connsiteY7" fmla="*/ 0 h 49139"/>
                    <a:gd name="connsiteX8" fmla="*/ 65780 w 118818"/>
                    <a:gd name="connsiteY8" fmla="*/ 22360 h 49139"/>
                    <a:gd name="connsiteX9" fmla="*/ 83719 w 118818"/>
                    <a:gd name="connsiteY9" fmla="*/ 35100 h 49139"/>
                    <a:gd name="connsiteX10" fmla="*/ 110239 w 118818"/>
                    <a:gd name="connsiteY10" fmla="*/ 35100 h 49139"/>
                    <a:gd name="connsiteX11" fmla="*/ 118819 w 118818"/>
                    <a:gd name="connsiteY11" fmla="*/ 43679 h 49139"/>
                    <a:gd name="connsiteX12" fmla="*/ 111539 w 118818"/>
                    <a:gd name="connsiteY12" fmla="*/ 49139 h 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818" h="49139">
                      <a:moveTo>
                        <a:pt x="111539" y="49139"/>
                      </a:moveTo>
                      <a:lnTo>
                        <a:pt x="85019" y="49139"/>
                      </a:lnTo>
                      <a:cubicBezTo>
                        <a:pt x="75399" y="49139"/>
                        <a:pt x="61619" y="46019"/>
                        <a:pt x="52000" y="27820"/>
                      </a:cubicBezTo>
                      <a:cubicBezTo>
                        <a:pt x="47839" y="19240"/>
                        <a:pt x="41340" y="15080"/>
                        <a:pt x="35100" y="15080"/>
                      </a:cubicBezTo>
                      <a:cubicBezTo>
                        <a:pt x="27560" y="15080"/>
                        <a:pt x="20280" y="19240"/>
                        <a:pt x="14820" y="28860"/>
                      </a:cubicBezTo>
                      <a:cubicBezTo>
                        <a:pt x="12740" y="33019"/>
                        <a:pt x="7280" y="34060"/>
                        <a:pt x="4160" y="31980"/>
                      </a:cubicBezTo>
                      <a:cubicBezTo>
                        <a:pt x="0" y="29900"/>
                        <a:pt x="-1040" y="24440"/>
                        <a:pt x="1040" y="21320"/>
                      </a:cubicBezTo>
                      <a:cubicBezTo>
                        <a:pt x="9620" y="7540"/>
                        <a:pt x="22360" y="0"/>
                        <a:pt x="35100" y="0"/>
                      </a:cubicBezTo>
                      <a:cubicBezTo>
                        <a:pt x="47839" y="0"/>
                        <a:pt x="59539" y="8580"/>
                        <a:pt x="65780" y="22360"/>
                      </a:cubicBezTo>
                      <a:cubicBezTo>
                        <a:pt x="69939" y="30940"/>
                        <a:pt x="76439" y="35100"/>
                        <a:pt x="83719" y="35100"/>
                      </a:cubicBezTo>
                      <a:lnTo>
                        <a:pt x="110239" y="35100"/>
                      </a:lnTo>
                      <a:cubicBezTo>
                        <a:pt x="114399" y="35100"/>
                        <a:pt x="118819" y="38219"/>
                        <a:pt x="118819" y="43679"/>
                      </a:cubicBezTo>
                      <a:cubicBezTo>
                        <a:pt x="118819" y="49139"/>
                        <a:pt x="115699" y="49139"/>
                        <a:pt x="111539" y="49139"/>
                      </a:cubicBezTo>
                      <a:close/>
                    </a:path>
                  </a:pathLst>
                </a:custGeom>
                <a:solidFill>
                  <a:srgbClr val="00005A"/>
                </a:solidFill>
                <a:ln w="2597" cap="flat">
                  <a:noFill/>
                  <a:prstDash val="solid"/>
                  <a:miter/>
                </a:ln>
              </p:spPr>
              <p:txBody>
                <a:bodyPr rtlCol="0" anchor="ctr"/>
                <a:lstStyle/>
                <a:p>
                  <a:endParaRPr lang="en-GB"/>
                </a:p>
              </p:txBody>
            </p:sp>
          </p:grpSp>
          <p:sp>
            <p:nvSpPr>
              <p:cNvPr id="718" name="Freeform: Shape 717">
                <a:extLst>
                  <a:ext uri="{FF2B5EF4-FFF2-40B4-BE49-F238E27FC236}">
                    <a16:creationId xmlns:a16="http://schemas.microsoft.com/office/drawing/2014/main" id="{70EC1691-245F-5D06-9121-95FB3467A176}"/>
                  </a:ext>
                </a:extLst>
              </p:cNvPr>
              <p:cNvSpPr/>
              <p:nvPr/>
            </p:nvSpPr>
            <p:spPr>
              <a:xfrm>
                <a:off x="6890194" y="2934098"/>
                <a:ext cx="43939" cy="73579"/>
              </a:xfrm>
              <a:custGeom>
                <a:avLst/>
                <a:gdLst>
                  <a:gd name="connsiteX0" fmla="*/ 7540 w 43939"/>
                  <a:gd name="connsiteY0" fmla="*/ 73579 h 73579"/>
                  <a:gd name="connsiteX1" fmla="*/ 2340 w 43939"/>
                  <a:gd name="connsiteY1" fmla="*/ 71499 h 73579"/>
                  <a:gd name="connsiteX2" fmla="*/ 2340 w 43939"/>
                  <a:gd name="connsiteY2" fmla="*/ 59799 h 73579"/>
                  <a:gd name="connsiteX3" fmla="*/ 24699 w 43939"/>
                  <a:gd name="connsiteY3" fmla="*/ 37440 h 73579"/>
                  <a:gd name="connsiteX4" fmla="*/ 2340 w 43939"/>
                  <a:gd name="connsiteY4" fmla="*/ 14040 h 73579"/>
                  <a:gd name="connsiteX5" fmla="*/ 2340 w 43939"/>
                  <a:gd name="connsiteY5" fmla="*/ 2340 h 73579"/>
                  <a:gd name="connsiteX6" fmla="*/ 14040 w 43939"/>
                  <a:gd name="connsiteY6" fmla="*/ 2340 h 73579"/>
                  <a:gd name="connsiteX7" fmla="*/ 41599 w 43939"/>
                  <a:gd name="connsiteY7" fmla="*/ 30940 h 73579"/>
                  <a:gd name="connsiteX8" fmla="*/ 41599 w 43939"/>
                  <a:gd name="connsiteY8" fmla="*/ 42640 h 73579"/>
                  <a:gd name="connsiteX9" fmla="*/ 14040 w 43939"/>
                  <a:gd name="connsiteY9" fmla="*/ 70199 h 73579"/>
                  <a:gd name="connsiteX10" fmla="*/ 7540 w 43939"/>
                  <a:gd name="connsiteY10" fmla="*/ 73579 h 73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939" h="73579">
                    <a:moveTo>
                      <a:pt x="7540" y="73579"/>
                    </a:moveTo>
                    <a:cubicBezTo>
                      <a:pt x="5460" y="73579"/>
                      <a:pt x="3380" y="72539"/>
                      <a:pt x="2340" y="71499"/>
                    </a:cubicBezTo>
                    <a:cubicBezTo>
                      <a:pt x="-780" y="68379"/>
                      <a:pt x="-780" y="62919"/>
                      <a:pt x="2340" y="59799"/>
                    </a:cubicBezTo>
                    <a:lnTo>
                      <a:pt x="24699" y="37440"/>
                    </a:lnTo>
                    <a:lnTo>
                      <a:pt x="2340" y="14040"/>
                    </a:lnTo>
                    <a:cubicBezTo>
                      <a:pt x="-780" y="10920"/>
                      <a:pt x="-780" y="5460"/>
                      <a:pt x="2340" y="2340"/>
                    </a:cubicBezTo>
                    <a:cubicBezTo>
                      <a:pt x="5460" y="-780"/>
                      <a:pt x="10920" y="-780"/>
                      <a:pt x="14040" y="2340"/>
                    </a:cubicBezTo>
                    <a:lnTo>
                      <a:pt x="41599" y="30940"/>
                    </a:lnTo>
                    <a:cubicBezTo>
                      <a:pt x="44720" y="34060"/>
                      <a:pt x="44720" y="39520"/>
                      <a:pt x="41599" y="42640"/>
                    </a:cubicBezTo>
                    <a:lnTo>
                      <a:pt x="14040" y="70199"/>
                    </a:lnTo>
                    <a:cubicBezTo>
                      <a:pt x="11960" y="72539"/>
                      <a:pt x="9620" y="73579"/>
                      <a:pt x="7540" y="73579"/>
                    </a:cubicBezTo>
                    <a:close/>
                  </a:path>
                </a:pathLst>
              </a:custGeom>
              <a:solidFill>
                <a:srgbClr val="00005A"/>
              </a:solidFill>
              <a:ln w="2597" cap="flat">
                <a:noFill/>
                <a:prstDash val="solid"/>
                <a:miter/>
              </a:ln>
            </p:spPr>
            <p:txBody>
              <a:bodyPr rtlCol="0" anchor="ctr"/>
              <a:lstStyle/>
              <a:p>
                <a:endParaRPr lang="en-GB"/>
              </a:p>
            </p:txBody>
          </p:sp>
        </p:grpSp>
        <p:grpSp>
          <p:nvGrpSpPr>
            <p:cNvPr id="703" name="Graphic 6">
              <a:extLst>
                <a:ext uri="{FF2B5EF4-FFF2-40B4-BE49-F238E27FC236}">
                  <a16:creationId xmlns:a16="http://schemas.microsoft.com/office/drawing/2014/main" id="{AA331C70-D976-8942-1C5B-986D3419D11B}"/>
                </a:ext>
              </a:extLst>
            </p:cNvPr>
            <p:cNvGrpSpPr/>
            <p:nvPr/>
          </p:nvGrpSpPr>
          <p:grpSpPr>
            <a:xfrm>
              <a:off x="6028564" y="2702181"/>
              <a:ext cx="345817" cy="518694"/>
              <a:chOff x="6028564" y="2702181"/>
              <a:chExt cx="345817" cy="518694"/>
            </a:xfrm>
            <a:solidFill>
              <a:srgbClr val="0069FF"/>
            </a:solidFill>
          </p:grpSpPr>
          <p:sp>
            <p:nvSpPr>
              <p:cNvPr id="715" name="Freeform: Shape 714">
                <a:extLst>
                  <a:ext uri="{FF2B5EF4-FFF2-40B4-BE49-F238E27FC236}">
                    <a16:creationId xmlns:a16="http://schemas.microsoft.com/office/drawing/2014/main" id="{81FB4048-B8F4-2C3F-6082-9AD313E26DB0}"/>
                  </a:ext>
                </a:extLst>
              </p:cNvPr>
              <p:cNvSpPr/>
              <p:nvPr/>
            </p:nvSpPr>
            <p:spPr>
              <a:xfrm>
                <a:off x="6033764" y="2707381"/>
                <a:ext cx="335396" cy="508294"/>
              </a:xfrm>
              <a:custGeom>
                <a:avLst/>
                <a:gdLst>
                  <a:gd name="connsiteX0" fmla="*/ 0 w 335396"/>
                  <a:gd name="connsiteY0" fmla="*/ 0 h 508294"/>
                  <a:gd name="connsiteX1" fmla="*/ 335396 w 335396"/>
                  <a:gd name="connsiteY1" fmla="*/ 0 h 508294"/>
                  <a:gd name="connsiteX2" fmla="*/ 335396 w 335396"/>
                  <a:gd name="connsiteY2" fmla="*/ 508294 h 508294"/>
                  <a:gd name="connsiteX3" fmla="*/ 0 w 335396"/>
                  <a:gd name="connsiteY3" fmla="*/ 508294 h 508294"/>
                </a:gdLst>
                <a:ahLst/>
                <a:cxnLst>
                  <a:cxn ang="0">
                    <a:pos x="connsiteX0" y="connsiteY0"/>
                  </a:cxn>
                  <a:cxn ang="0">
                    <a:pos x="connsiteX1" y="connsiteY1"/>
                  </a:cxn>
                  <a:cxn ang="0">
                    <a:pos x="connsiteX2" y="connsiteY2"/>
                  </a:cxn>
                  <a:cxn ang="0">
                    <a:pos x="connsiteX3" y="connsiteY3"/>
                  </a:cxn>
                </a:cxnLst>
                <a:rect l="l" t="t" r="r" b="b"/>
                <a:pathLst>
                  <a:path w="335396" h="508294">
                    <a:moveTo>
                      <a:pt x="0" y="0"/>
                    </a:moveTo>
                    <a:lnTo>
                      <a:pt x="335396" y="0"/>
                    </a:lnTo>
                    <a:lnTo>
                      <a:pt x="335396" y="508294"/>
                    </a:lnTo>
                    <a:lnTo>
                      <a:pt x="0" y="508294"/>
                    </a:lnTo>
                    <a:close/>
                  </a:path>
                </a:pathLst>
              </a:custGeom>
              <a:solidFill>
                <a:srgbClr val="0069FF"/>
              </a:solidFill>
              <a:ln w="2597" cap="flat">
                <a:noFill/>
                <a:prstDash val="solid"/>
                <a:miter/>
              </a:ln>
            </p:spPr>
            <p:txBody>
              <a:bodyPr rtlCol="0" anchor="ctr"/>
              <a:lstStyle/>
              <a:p>
                <a:endParaRPr lang="en-GB"/>
              </a:p>
            </p:txBody>
          </p:sp>
          <p:sp>
            <p:nvSpPr>
              <p:cNvPr id="716" name="Freeform: Shape 715">
                <a:extLst>
                  <a:ext uri="{FF2B5EF4-FFF2-40B4-BE49-F238E27FC236}">
                    <a16:creationId xmlns:a16="http://schemas.microsoft.com/office/drawing/2014/main" id="{A88A6084-9BD5-37A0-87A6-1008094BD395}"/>
                  </a:ext>
                </a:extLst>
              </p:cNvPr>
              <p:cNvSpPr/>
              <p:nvPr/>
            </p:nvSpPr>
            <p:spPr>
              <a:xfrm>
                <a:off x="6028564" y="2702181"/>
                <a:ext cx="345817" cy="518694"/>
              </a:xfrm>
              <a:custGeom>
                <a:avLst/>
                <a:gdLst>
                  <a:gd name="connsiteX0" fmla="*/ 340596 w 345817"/>
                  <a:gd name="connsiteY0" fmla="*/ 518694 h 518694"/>
                  <a:gd name="connsiteX1" fmla="*/ 5200 w 345817"/>
                  <a:gd name="connsiteY1" fmla="*/ 518694 h 518694"/>
                  <a:gd name="connsiteX2" fmla="*/ 0 w 345817"/>
                  <a:gd name="connsiteY2" fmla="*/ 513494 h 518694"/>
                  <a:gd name="connsiteX3" fmla="*/ 0 w 345817"/>
                  <a:gd name="connsiteY3" fmla="*/ 5200 h 518694"/>
                  <a:gd name="connsiteX4" fmla="*/ 5200 w 345817"/>
                  <a:gd name="connsiteY4" fmla="*/ 0 h 518694"/>
                  <a:gd name="connsiteX5" fmla="*/ 340596 w 345817"/>
                  <a:gd name="connsiteY5" fmla="*/ 0 h 518694"/>
                  <a:gd name="connsiteX6" fmla="*/ 345796 w 345817"/>
                  <a:gd name="connsiteY6" fmla="*/ 5200 h 518694"/>
                  <a:gd name="connsiteX7" fmla="*/ 345796 w 345817"/>
                  <a:gd name="connsiteY7" fmla="*/ 513494 h 518694"/>
                  <a:gd name="connsiteX8" fmla="*/ 340596 w 345817"/>
                  <a:gd name="connsiteY8" fmla="*/ 518694 h 518694"/>
                  <a:gd name="connsiteX9" fmla="*/ 10660 w 345817"/>
                  <a:gd name="connsiteY9" fmla="*/ 508294 h 518694"/>
                  <a:gd name="connsiteX10" fmla="*/ 335396 w 345817"/>
                  <a:gd name="connsiteY10" fmla="*/ 508294 h 518694"/>
                  <a:gd name="connsiteX11" fmla="*/ 335396 w 345817"/>
                  <a:gd name="connsiteY11" fmla="*/ 10400 h 518694"/>
                  <a:gd name="connsiteX12" fmla="*/ 10660 w 345817"/>
                  <a:gd name="connsiteY12" fmla="*/ 10400 h 518694"/>
                  <a:gd name="connsiteX13" fmla="*/ 10660 w 345817"/>
                  <a:gd name="connsiteY13" fmla="*/ 508294 h 518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5817" h="518694">
                    <a:moveTo>
                      <a:pt x="340596" y="518694"/>
                    </a:moveTo>
                    <a:lnTo>
                      <a:pt x="5200" y="518694"/>
                    </a:lnTo>
                    <a:cubicBezTo>
                      <a:pt x="2080" y="518694"/>
                      <a:pt x="0" y="516614"/>
                      <a:pt x="0" y="513494"/>
                    </a:cubicBezTo>
                    <a:lnTo>
                      <a:pt x="0" y="5200"/>
                    </a:lnTo>
                    <a:cubicBezTo>
                      <a:pt x="0" y="2080"/>
                      <a:pt x="2080" y="0"/>
                      <a:pt x="5200" y="0"/>
                    </a:cubicBezTo>
                    <a:lnTo>
                      <a:pt x="340596" y="0"/>
                    </a:lnTo>
                    <a:cubicBezTo>
                      <a:pt x="343716" y="0"/>
                      <a:pt x="345796" y="2080"/>
                      <a:pt x="345796" y="5200"/>
                    </a:cubicBezTo>
                    <a:lnTo>
                      <a:pt x="345796" y="513494"/>
                    </a:lnTo>
                    <a:cubicBezTo>
                      <a:pt x="346056" y="516614"/>
                      <a:pt x="343976" y="518694"/>
                      <a:pt x="340596" y="518694"/>
                    </a:cubicBezTo>
                    <a:close/>
                    <a:moveTo>
                      <a:pt x="10660" y="508294"/>
                    </a:moveTo>
                    <a:lnTo>
                      <a:pt x="335396" y="508294"/>
                    </a:lnTo>
                    <a:lnTo>
                      <a:pt x="335396" y="10400"/>
                    </a:lnTo>
                    <a:lnTo>
                      <a:pt x="10660" y="10400"/>
                    </a:lnTo>
                    <a:lnTo>
                      <a:pt x="10660" y="508294"/>
                    </a:lnTo>
                    <a:close/>
                  </a:path>
                </a:pathLst>
              </a:custGeom>
              <a:solidFill>
                <a:srgbClr val="0069FF"/>
              </a:solidFill>
              <a:ln w="2597" cap="flat">
                <a:noFill/>
                <a:prstDash val="solid"/>
                <a:miter/>
              </a:ln>
            </p:spPr>
            <p:txBody>
              <a:bodyPr rtlCol="0" anchor="ctr"/>
              <a:lstStyle/>
              <a:p>
                <a:endParaRPr lang="en-GB"/>
              </a:p>
            </p:txBody>
          </p:sp>
        </p:grpSp>
        <p:sp>
          <p:nvSpPr>
            <p:cNvPr id="704" name="Freeform: Shape 703">
              <a:extLst>
                <a:ext uri="{FF2B5EF4-FFF2-40B4-BE49-F238E27FC236}">
                  <a16:creationId xmlns:a16="http://schemas.microsoft.com/office/drawing/2014/main" id="{F39BE81D-E65F-7E47-C15F-427CD5A222E8}"/>
                </a:ext>
              </a:extLst>
            </p:cNvPr>
            <p:cNvSpPr/>
            <p:nvPr/>
          </p:nvSpPr>
          <p:spPr>
            <a:xfrm>
              <a:off x="5998664" y="2671241"/>
              <a:ext cx="352556" cy="525453"/>
            </a:xfrm>
            <a:custGeom>
              <a:avLst/>
              <a:gdLst>
                <a:gd name="connsiteX0" fmla="*/ 343976 w 352556"/>
                <a:gd name="connsiteY0" fmla="*/ 525454 h 525453"/>
                <a:gd name="connsiteX1" fmla="*/ 8580 w 352556"/>
                <a:gd name="connsiteY1" fmla="*/ 525454 h 525453"/>
                <a:gd name="connsiteX2" fmla="*/ 0 w 352556"/>
                <a:gd name="connsiteY2" fmla="*/ 516874 h 525453"/>
                <a:gd name="connsiteX3" fmla="*/ 0 w 352556"/>
                <a:gd name="connsiteY3" fmla="*/ 8580 h 525453"/>
                <a:gd name="connsiteX4" fmla="*/ 8580 w 352556"/>
                <a:gd name="connsiteY4" fmla="*/ 0 h 525453"/>
                <a:gd name="connsiteX5" fmla="*/ 343976 w 352556"/>
                <a:gd name="connsiteY5" fmla="*/ 0 h 525453"/>
                <a:gd name="connsiteX6" fmla="*/ 352556 w 352556"/>
                <a:gd name="connsiteY6" fmla="*/ 8580 h 525453"/>
                <a:gd name="connsiteX7" fmla="*/ 352556 w 352556"/>
                <a:gd name="connsiteY7" fmla="*/ 516874 h 525453"/>
                <a:gd name="connsiteX8" fmla="*/ 343976 w 352556"/>
                <a:gd name="connsiteY8" fmla="*/ 525454 h 525453"/>
                <a:gd name="connsiteX9" fmla="*/ 16120 w 352556"/>
                <a:gd name="connsiteY9" fmla="*/ 508294 h 525453"/>
                <a:gd name="connsiteX10" fmla="*/ 335656 w 352556"/>
                <a:gd name="connsiteY10" fmla="*/ 508294 h 525453"/>
                <a:gd name="connsiteX11" fmla="*/ 335656 w 352556"/>
                <a:gd name="connsiteY11" fmla="*/ 15860 h 525453"/>
                <a:gd name="connsiteX12" fmla="*/ 16120 w 352556"/>
                <a:gd name="connsiteY12" fmla="*/ 15860 h 525453"/>
                <a:gd name="connsiteX13" fmla="*/ 16120 w 352556"/>
                <a:gd name="connsiteY13" fmla="*/ 508294 h 525453"/>
                <a:gd name="connsiteX14" fmla="*/ 16120 w 352556"/>
                <a:gd name="connsiteY14" fmla="*/ 508294 h 525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2556" h="525453">
                  <a:moveTo>
                    <a:pt x="343976" y="525454"/>
                  </a:moveTo>
                  <a:lnTo>
                    <a:pt x="8580" y="525454"/>
                  </a:lnTo>
                  <a:cubicBezTo>
                    <a:pt x="4420" y="525454"/>
                    <a:pt x="0" y="522334"/>
                    <a:pt x="0" y="516874"/>
                  </a:cubicBezTo>
                  <a:lnTo>
                    <a:pt x="0" y="8580"/>
                  </a:lnTo>
                  <a:cubicBezTo>
                    <a:pt x="0" y="4420"/>
                    <a:pt x="3120" y="0"/>
                    <a:pt x="8580" y="0"/>
                  </a:cubicBezTo>
                  <a:lnTo>
                    <a:pt x="343976" y="0"/>
                  </a:lnTo>
                  <a:cubicBezTo>
                    <a:pt x="348136" y="0"/>
                    <a:pt x="352556" y="3120"/>
                    <a:pt x="352556" y="8580"/>
                  </a:cubicBezTo>
                  <a:lnTo>
                    <a:pt x="352556" y="516874"/>
                  </a:lnTo>
                  <a:cubicBezTo>
                    <a:pt x="351516" y="521034"/>
                    <a:pt x="348396" y="525454"/>
                    <a:pt x="343976" y="525454"/>
                  </a:cubicBezTo>
                  <a:close/>
                  <a:moveTo>
                    <a:pt x="16120" y="508294"/>
                  </a:moveTo>
                  <a:lnTo>
                    <a:pt x="335656" y="508294"/>
                  </a:lnTo>
                  <a:lnTo>
                    <a:pt x="335656" y="15860"/>
                  </a:lnTo>
                  <a:lnTo>
                    <a:pt x="16120" y="15860"/>
                  </a:lnTo>
                  <a:lnTo>
                    <a:pt x="16120" y="508294"/>
                  </a:lnTo>
                  <a:lnTo>
                    <a:pt x="16120" y="508294"/>
                  </a:lnTo>
                  <a:close/>
                </a:path>
              </a:pathLst>
            </a:custGeom>
            <a:solidFill>
              <a:srgbClr val="00005A"/>
            </a:solidFill>
            <a:ln w="2597" cap="flat">
              <a:noFill/>
              <a:prstDash val="solid"/>
              <a:miter/>
            </a:ln>
          </p:spPr>
          <p:txBody>
            <a:bodyPr rtlCol="0" anchor="ctr"/>
            <a:lstStyle/>
            <a:p>
              <a:endParaRPr lang="en-GB"/>
            </a:p>
          </p:txBody>
        </p:sp>
        <p:sp>
          <p:nvSpPr>
            <p:cNvPr id="705" name="Freeform: Shape 704">
              <a:extLst>
                <a:ext uri="{FF2B5EF4-FFF2-40B4-BE49-F238E27FC236}">
                  <a16:creationId xmlns:a16="http://schemas.microsoft.com/office/drawing/2014/main" id="{3EA99A47-7923-CAC6-E95C-EB994C6A7DEE}"/>
                </a:ext>
              </a:extLst>
            </p:cNvPr>
            <p:cNvSpPr/>
            <p:nvPr/>
          </p:nvSpPr>
          <p:spPr>
            <a:xfrm>
              <a:off x="6119822" y="2557362"/>
              <a:ext cx="160158" cy="131818"/>
            </a:xfrm>
            <a:custGeom>
              <a:avLst/>
              <a:gdLst>
                <a:gd name="connsiteX0" fmla="*/ 78519 w 160158"/>
                <a:gd name="connsiteY0" fmla="*/ 131819 h 131818"/>
                <a:gd name="connsiteX1" fmla="*/ 8580 w 160158"/>
                <a:gd name="connsiteY1" fmla="*/ 131819 h 131818"/>
                <a:gd name="connsiteX2" fmla="*/ 0 w 160158"/>
                <a:gd name="connsiteY2" fmla="*/ 123238 h 131818"/>
                <a:gd name="connsiteX3" fmla="*/ 0 w 160158"/>
                <a:gd name="connsiteY3" fmla="*/ 77479 h 131818"/>
                <a:gd name="connsiteX4" fmla="*/ 70979 w 160158"/>
                <a:gd name="connsiteY4" fmla="*/ 0 h 131818"/>
                <a:gd name="connsiteX5" fmla="*/ 151578 w 160158"/>
                <a:gd name="connsiteY5" fmla="*/ 0 h 131818"/>
                <a:gd name="connsiteX6" fmla="*/ 160158 w 160158"/>
                <a:gd name="connsiteY6" fmla="*/ 8580 h 131818"/>
                <a:gd name="connsiteX7" fmla="*/ 160158 w 160158"/>
                <a:gd name="connsiteY7" fmla="*/ 67079 h 131818"/>
                <a:gd name="connsiteX8" fmla="*/ 151578 w 160158"/>
                <a:gd name="connsiteY8" fmla="*/ 75659 h 131818"/>
                <a:gd name="connsiteX9" fmla="*/ 85799 w 160158"/>
                <a:gd name="connsiteY9" fmla="*/ 75659 h 131818"/>
                <a:gd name="connsiteX10" fmla="*/ 85799 w 160158"/>
                <a:gd name="connsiteY10" fmla="*/ 125579 h 131818"/>
                <a:gd name="connsiteX11" fmla="*/ 78519 w 160158"/>
                <a:gd name="connsiteY11" fmla="*/ 131819 h 131818"/>
                <a:gd name="connsiteX12" fmla="*/ 16900 w 160158"/>
                <a:gd name="connsiteY12" fmla="*/ 115959 h 131818"/>
                <a:gd name="connsiteX13" fmla="*/ 70979 w 160158"/>
                <a:gd name="connsiteY13" fmla="*/ 115959 h 131818"/>
                <a:gd name="connsiteX14" fmla="*/ 70979 w 160158"/>
                <a:gd name="connsiteY14" fmla="*/ 66039 h 131818"/>
                <a:gd name="connsiteX15" fmla="*/ 79559 w 160158"/>
                <a:gd name="connsiteY15" fmla="*/ 57459 h 131818"/>
                <a:gd name="connsiteX16" fmla="*/ 145338 w 160158"/>
                <a:gd name="connsiteY16" fmla="*/ 57459 h 131818"/>
                <a:gd name="connsiteX17" fmla="*/ 145338 w 160158"/>
                <a:gd name="connsiteY17" fmla="*/ 15080 h 131818"/>
                <a:gd name="connsiteX18" fmla="*/ 73059 w 160158"/>
                <a:gd name="connsiteY18" fmla="*/ 15080 h 131818"/>
                <a:gd name="connsiteX19" fmla="*/ 17940 w 160158"/>
                <a:gd name="connsiteY19" fmla="*/ 77739 h 131818"/>
                <a:gd name="connsiteX20" fmla="*/ 17940 w 160158"/>
                <a:gd name="connsiteY20" fmla="*/ 115959 h 131818"/>
                <a:gd name="connsiteX21" fmla="*/ 16900 w 160158"/>
                <a:gd name="connsiteY21" fmla="*/ 115959 h 13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0158" h="131818">
                  <a:moveTo>
                    <a:pt x="78519" y="131819"/>
                  </a:moveTo>
                  <a:lnTo>
                    <a:pt x="8580" y="131819"/>
                  </a:lnTo>
                  <a:cubicBezTo>
                    <a:pt x="4420" y="131819"/>
                    <a:pt x="0" y="128699"/>
                    <a:pt x="0" y="123238"/>
                  </a:cubicBezTo>
                  <a:lnTo>
                    <a:pt x="0" y="77479"/>
                  </a:lnTo>
                  <a:cubicBezTo>
                    <a:pt x="0" y="37180"/>
                    <a:pt x="30680" y="3120"/>
                    <a:pt x="70979" y="0"/>
                  </a:cubicBezTo>
                  <a:lnTo>
                    <a:pt x="151578" y="0"/>
                  </a:lnTo>
                  <a:cubicBezTo>
                    <a:pt x="155738" y="0"/>
                    <a:pt x="160158" y="3120"/>
                    <a:pt x="160158" y="8580"/>
                  </a:cubicBezTo>
                  <a:lnTo>
                    <a:pt x="160158" y="67079"/>
                  </a:lnTo>
                  <a:cubicBezTo>
                    <a:pt x="160158" y="71239"/>
                    <a:pt x="157038" y="75659"/>
                    <a:pt x="151578" y="75659"/>
                  </a:cubicBezTo>
                  <a:lnTo>
                    <a:pt x="85799" y="75659"/>
                  </a:lnTo>
                  <a:lnTo>
                    <a:pt x="85799" y="125579"/>
                  </a:lnTo>
                  <a:cubicBezTo>
                    <a:pt x="86059" y="127658"/>
                    <a:pt x="82939" y="131819"/>
                    <a:pt x="78519" y="131819"/>
                  </a:cubicBezTo>
                  <a:close/>
                  <a:moveTo>
                    <a:pt x="16900" y="115959"/>
                  </a:moveTo>
                  <a:lnTo>
                    <a:pt x="70979" y="115959"/>
                  </a:lnTo>
                  <a:lnTo>
                    <a:pt x="70979" y="66039"/>
                  </a:lnTo>
                  <a:cubicBezTo>
                    <a:pt x="70979" y="61879"/>
                    <a:pt x="74099" y="57459"/>
                    <a:pt x="79559" y="57459"/>
                  </a:cubicBezTo>
                  <a:lnTo>
                    <a:pt x="145338" y="57459"/>
                  </a:lnTo>
                  <a:lnTo>
                    <a:pt x="145338" y="15080"/>
                  </a:lnTo>
                  <a:lnTo>
                    <a:pt x="73059" y="15080"/>
                  </a:lnTo>
                  <a:cubicBezTo>
                    <a:pt x="42380" y="18200"/>
                    <a:pt x="17940" y="44720"/>
                    <a:pt x="17940" y="77739"/>
                  </a:cubicBezTo>
                  <a:lnTo>
                    <a:pt x="17940" y="115959"/>
                  </a:lnTo>
                  <a:lnTo>
                    <a:pt x="16900" y="115959"/>
                  </a:lnTo>
                  <a:close/>
                </a:path>
              </a:pathLst>
            </a:custGeom>
            <a:solidFill>
              <a:srgbClr val="00005A"/>
            </a:solidFill>
            <a:ln w="2597" cap="flat">
              <a:noFill/>
              <a:prstDash val="solid"/>
              <a:miter/>
            </a:ln>
          </p:spPr>
          <p:txBody>
            <a:bodyPr rtlCol="0" anchor="ctr"/>
            <a:lstStyle/>
            <a:p>
              <a:endParaRPr lang="en-GB"/>
            </a:p>
          </p:txBody>
        </p:sp>
        <p:grpSp>
          <p:nvGrpSpPr>
            <p:cNvPr id="706" name="Graphic 6">
              <a:extLst>
                <a:ext uri="{FF2B5EF4-FFF2-40B4-BE49-F238E27FC236}">
                  <a16:creationId xmlns:a16="http://schemas.microsoft.com/office/drawing/2014/main" id="{BA9EA8A7-27C6-7B6B-BF1F-774434FFA632}"/>
                </a:ext>
              </a:extLst>
            </p:cNvPr>
            <p:cNvGrpSpPr/>
            <p:nvPr/>
          </p:nvGrpSpPr>
          <p:grpSpPr>
            <a:xfrm>
              <a:off x="6204526" y="2995615"/>
              <a:ext cx="295325" cy="295325"/>
              <a:chOff x="6204526" y="2995615"/>
              <a:chExt cx="295325" cy="295325"/>
            </a:xfrm>
          </p:grpSpPr>
          <p:sp>
            <p:nvSpPr>
              <p:cNvPr id="713" name="Freeform: Shape 712">
                <a:extLst>
                  <a:ext uri="{FF2B5EF4-FFF2-40B4-BE49-F238E27FC236}">
                    <a16:creationId xmlns:a16="http://schemas.microsoft.com/office/drawing/2014/main" id="{4E96A396-B6FD-AFD6-6E03-50D441C46265}"/>
                  </a:ext>
                </a:extLst>
              </p:cNvPr>
              <p:cNvSpPr/>
              <p:nvPr/>
            </p:nvSpPr>
            <p:spPr>
              <a:xfrm rot="-4294012">
                <a:off x="6235449" y="3026538"/>
                <a:ext cx="233478" cy="233478"/>
              </a:xfrm>
              <a:custGeom>
                <a:avLst/>
                <a:gdLst>
                  <a:gd name="connsiteX0" fmla="*/ 233479 w 233478"/>
                  <a:gd name="connsiteY0" fmla="*/ 116739 h 233478"/>
                  <a:gd name="connsiteX1" fmla="*/ 116739 w 233478"/>
                  <a:gd name="connsiteY1" fmla="*/ 233479 h 233478"/>
                  <a:gd name="connsiteX2" fmla="*/ 0 w 233478"/>
                  <a:gd name="connsiteY2" fmla="*/ 116739 h 233478"/>
                  <a:gd name="connsiteX3" fmla="*/ 116739 w 233478"/>
                  <a:gd name="connsiteY3" fmla="*/ 0 h 233478"/>
                  <a:gd name="connsiteX4" fmla="*/ 233479 w 233478"/>
                  <a:gd name="connsiteY4" fmla="*/ 116739 h 233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478" h="233478">
                    <a:moveTo>
                      <a:pt x="233479" y="116739"/>
                    </a:moveTo>
                    <a:cubicBezTo>
                      <a:pt x="233479" y="181213"/>
                      <a:pt x="181213" y="233479"/>
                      <a:pt x="116739" y="233479"/>
                    </a:cubicBezTo>
                    <a:cubicBezTo>
                      <a:pt x="52266" y="233479"/>
                      <a:pt x="0" y="181213"/>
                      <a:pt x="0" y="116739"/>
                    </a:cubicBezTo>
                    <a:cubicBezTo>
                      <a:pt x="0" y="52266"/>
                      <a:pt x="52266" y="0"/>
                      <a:pt x="116739" y="0"/>
                    </a:cubicBezTo>
                    <a:cubicBezTo>
                      <a:pt x="181213" y="0"/>
                      <a:pt x="233479" y="52266"/>
                      <a:pt x="233479" y="116739"/>
                    </a:cubicBezTo>
                    <a:close/>
                  </a:path>
                </a:pathLst>
              </a:custGeom>
              <a:solidFill>
                <a:srgbClr val="0069FF"/>
              </a:solidFill>
              <a:ln w="2597" cap="flat">
                <a:noFill/>
                <a:prstDash val="solid"/>
                <a:miter/>
              </a:ln>
            </p:spPr>
            <p:txBody>
              <a:bodyPr rtlCol="0" anchor="ctr"/>
              <a:lstStyle/>
              <a:p>
                <a:endParaRPr lang="en-GB"/>
              </a:p>
            </p:txBody>
          </p:sp>
          <p:sp>
            <p:nvSpPr>
              <p:cNvPr id="714" name="Freeform: Shape 713">
                <a:extLst>
                  <a:ext uri="{FF2B5EF4-FFF2-40B4-BE49-F238E27FC236}">
                    <a16:creationId xmlns:a16="http://schemas.microsoft.com/office/drawing/2014/main" id="{FA458C89-D9DC-305D-9F8F-C936216F4E8F}"/>
                  </a:ext>
                </a:extLst>
              </p:cNvPr>
              <p:cNvSpPr/>
              <p:nvPr/>
            </p:nvSpPr>
            <p:spPr>
              <a:xfrm>
                <a:off x="6226941" y="3018077"/>
                <a:ext cx="250636" cy="249597"/>
              </a:xfrm>
              <a:custGeom>
                <a:avLst/>
                <a:gdLst>
                  <a:gd name="connsiteX0" fmla="*/ 125318 w 250636"/>
                  <a:gd name="connsiteY0" fmla="*/ 249597 h 249597"/>
                  <a:gd name="connsiteX1" fmla="*/ 0 w 250636"/>
                  <a:gd name="connsiteY1" fmla="*/ 124279 h 249597"/>
                  <a:gd name="connsiteX2" fmla="*/ 125318 w 250636"/>
                  <a:gd name="connsiteY2" fmla="*/ 0 h 249597"/>
                  <a:gd name="connsiteX3" fmla="*/ 250637 w 250636"/>
                  <a:gd name="connsiteY3" fmla="*/ 125318 h 249597"/>
                  <a:gd name="connsiteX4" fmla="*/ 125318 w 250636"/>
                  <a:gd name="connsiteY4" fmla="*/ 249597 h 249597"/>
                  <a:gd name="connsiteX5" fmla="*/ 125318 w 250636"/>
                  <a:gd name="connsiteY5" fmla="*/ 16120 h 249597"/>
                  <a:gd name="connsiteX6" fmla="*/ 17160 w 250636"/>
                  <a:gd name="connsiteY6" fmla="*/ 124279 h 249597"/>
                  <a:gd name="connsiteX7" fmla="*/ 125318 w 250636"/>
                  <a:gd name="connsiteY7" fmla="*/ 233477 h 249597"/>
                  <a:gd name="connsiteX8" fmla="*/ 233477 w 250636"/>
                  <a:gd name="connsiteY8" fmla="*/ 125318 h 249597"/>
                  <a:gd name="connsiteX9" fmla="*/ 125318 w 250636"/>
                  <a:gd name="connsiteY9" fmla="*/ 16120 h 249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0636" h="249597">
                    <a:moveTo>
                      <a:pt x="125318" y="249597"/>
                    </a:moveTo>
                    <a:cubicBezTo>
                      <a:pt x="56419" y="249597"/>
                      <a:pt x="0" y="193438"/>
                      <a:pt x="0" y="124279"/>
                    </a:cubicBezTo>
                    <a:cubicBezTo>
                      <a:pt x="0" y="55379"/>
                      <a:pt x="56159" y="0"/>
                      <a:pt x="125318" y="0"/>
                    </a:cubicBezTo>
                    <a:cubicBezTo>
                      <a:pt x="194478" y="0"/>
                      <a:pt x="250637" y="56159"/>
                      <a:pt x="250637" y="125318"/>
                    </a:cubicBezTo>
                    <a:cubicBezTo>
                      <a:pt x="250637" y="194478"/>
                      <a:pt x="194218" y="249597"/>
                      <a:pt x="125318" y="249597"/>
                    </a:cubicBezTo>
                    <a:close/>
                    <a:moveTo>
                      <a:pt x="125318" y="16120"/>
                    </a:moveTo>
                    <a:cubicBezTo>
                      <a:pt x="64739" y="16120"/>
                      <a:pt x="17160" y="64999"/>
                      <a:pt x="17160" y="124279"/>
                    </a:cubicBezTo>
                    <a:cubicBezTo>
                      <a:pt x="17160" y="183818"/>
                      <a:pt x="64999" y="233477"/>
                      <a:pt x="125318" y="233477"/>
                    </a:cubicBezTo>
                    <a:cubicBezTo>
                      <a:pt x="185638" y="233477"/>
                      <a:pt x="233477" y="184598"/>
                      <a:pt x="233477" y="125318"/>
                    </a:cubicBezTo>
                    <a:cubicBezTo>
                      <a:pt x="233477" y="66039"/>
                      <a:pt x="185898" y="16120"/>
                      <a:pt x="125318" y="16120"/>
                    </a:cubicBezTo>
                    <a:close/>
                  </a:path>
                </a:pathLst>
              </a:custGeom>
              <a:solidFill>
                <a:srgbClr val="FFFFFF"/>
              </a:solidFill>
              <a:ln w="2597" cap="flat">
                <a:noFill/>
                <a:prstDash val="solid"/>
                <a:miter/>
              </a:ln>
            </p:spPr>
            <p:txBody>
              <a:bodyPr rtlCol="0" anchor="ctr"/>
              <a:lstStyle/>
              <a:p>
                <a:endParaRPr lang="en-GB"/>
              </a:p>
            </p:txBody>
          </p:sp>
        </p:grpSp>
        <p:grpSp>
          <p:nvGrpSpPr>
            <p:cNvPr id="707" name="Graphic 6">
              <a:extLst>
                <a:ext uri="{FF2B5EF4-FFF2-40B4-BE49-F238E27FC236}">
                  <a16:creationId xmlns:a16="http://schemas.microsoft.com/office/drawing/2014/main" id="{2A4B209C-8E0F-FB7F-636B-2B52C0C0EB66}"/>
                </a:ext>
              </a:extLst>
            </p:cNvPr>
            <p:cNvGrpSpPr/>
            <p:nvPr/>
          </p:nvGrpSpPr>
          <p:grpSpPr>
            <a:xfrm>
              <a:off x="6122943" y="2752880"/>
              <a:ext cx="101918" cy="217617"/>
              <a:chOff x="6122943" y="2752880"/>
              <a:chExt cx="101918" cy="217617"/>
            </a:xfrm>
            <a:solidFill>
              <a:srgbClr val="FFFFFF"/>
            </a:solidFill>
          </p:grpSpPr>
          <p:sp>
            <p:nvSpPr>
              <p:cNvPr id="709" name="Freeform: Shape 708">
                <a:extLst>
                  <a:ext uri="{FF2B5EF4-FFF2-40B4-BE49-F238E27FC236}">
                    <a16:creationId xmlns:a16="http://schemas.microsoft.com/office/drawing/2014/main" id="{97D3F72A-AA4E-A138-7AC9-9351616647BC}"/>
                  </a:ext>
                </a:extLst>
              </p:cNvPr>
              <p:cNvSpPr/>
              <p:nvPr/>
            </p:nvSpPr>
            <p:spPr>
              <a:xfrm>
                <a:off x="6122943" y="2752880"/>
                <a:ext cx="101918" cy="101918"/>
              </a:xfrm>
              <a:custGeom>
                <a:avLst/>
                <a:gdLst>
                  <a:gd name="connsiteX0" fmla="*/ 50959 w 101918"/>
                  <a:gd name="connsiteY0" fmla="*/ 101919 h 101918"/>
                  <a:gd name="connsiteX1" fmla="*/ 0 w 101918"/>
                  <a:gd name="connsiteY1" fmla="*/ 50959 h 101918"/>
                  <a:gd name="connsiteX2" fmla="*/ 50959 w 101918"/>
                  <a:gd name="connsiteY2" fmla="*/ 0 h 101918"/>
                  <a:gd name="connsiteX3" fmla="*/ 101919 w 101918"/>
                  <a:gd name="connsiteY3" fmla="*/ 50959 h 101918"/>
                  <a:gd name="connsiteX4" fmla="*/ 50959 w 101918"/>
                  <a:gd name="connsiteY4" fmla="*/ 101919 h 101918"/>
                  <a:gd name="connsiteX5" fmla="*/ 50959 w 101918"/>
                  <a:gd name="connsiteY5" fmla="*/ 17160 h 101918"/>
                  <a:gd name="connsiteX6" fmla="*/ 16900 w 101918"/>
                  <a:gd name="connsiteY6" fmla="*/ 51219 h 101918"/>
                  <a:gd name="connsiteX7" fmla="*/ 50959 w 101918"/>
                  <a:gd name="connsiteY7" fmla="*/ 85279 h 101918"/>
                  <a:gd name="connsiteX8" fmla="*/ 85019 w 101918"/>
                  <a:gd name="connsiteY8" fmla="*/ 51219 h 101918"/>
                  <a:gd name="connsiteX9" fmla="*/ 50959 w 101918"/>
                  <a:gd name="connsiteY9" fmla="*/ 17160 h 10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918" h="101918">
                    <a:moveTo>
                      <a:pt x="50959" y="101919"/>
                    </a:moveTo>
                    <a:cubicBezTo>
                      <a:pt x="23400" y="101919"/>
                      <a:pt x="0" y="79559"/>
                      <a:pt x="0" y="50959"/>
                    </a:cubicBezTo>
                    <a:cubicBezTo>
                      <a:pt x="0" y="22360"/>
                      <a:pt x="22360" y="0"/>
                      <a:pt x="50959" y="0"/>
                    </a:cubicBezTo>
                    <a:cubicBezTo>
                      <a:pt x="79559" y="0"/>
                      <a:pt x="101919" y="22360"/>
                      <a:pt x="101919" y="50959"/>
                    </a:cubicBezTo>
                    <a:cubicBezTo>
                      <a:pt x="101919" y="79559"/>
                      <a:pt x="78519" y="101919"/>
                      <a:pt x="50959" y="101919"/>
                    </a:cubicBezTo>
                    <a:close/>
                    <a:moveTo>
                      <a:pt x="50959" y="17160"/>
                    </a:moveTo>
                    <a:cubicBezTo>
                      <a:pt x="31979" y="17160"/>
                      <a:pt x="16900" y="33019"/>
                      <a:pt x="16900" y="51219"/>
                    </a:cubicBezTo>
                    <a:cubicBezTo>
                      <a:pt x="16900" y="69159"/>
                      <a:pt x="32760" y="85279"/>
                      <a:pt x="50959" y="85279"/>
                    </a:cubicBezTo>
                    <a:cubicBezTo>
                      <a:pt x="68899" y="85279"/>
                      <a:pt x="85019" y="69419"/>
                      <a:pt x="85019" y="51219"/>
                    </a:cubicBezTo>
                    <a:cubicBezTo>
                      <a:pt x="85019" y="33019"/>
                      <a:pt x="70199" y="17160"/>
                      <a:pt x="50959" y="17160"/>
                    </a:cubicBezTo>
                    <a:close/>
                  </a:path>
                </a:pathLst>
              </a:custGeom>
              <a:solidFill>
                <a:srgbClr val="FFFFFF"/>
              </a:solidFill>
              <a:ln w="2597" cap="flat">
                <a:noFill/>
                <a:prstDash val="solid"/>
                <a:miter/>
              </a:ln>
            </p:spPr>
            <p:txBody>
              <a:bodyPr rtlCol="0" anchor="ctr"/>
              <a:lstStyle/>
              <a:p>
                <a:endParaRPr lang="en-GB"/>
              </a:p>
            </p:txBody>
          </p:sp>
          <p:sp>
            <p:nvSpPr>
              <p:cNvPr id="710" name="Freeform: Shape 709">
                <a:extLst>
                  <a:ext uri="{FF2B5EF4-FFF2-40B4-BE49-F238E27FC236}">
                    <a16:creationId xmlns:a16="http://schemas.microsoft.com/office/drawing/2014/main" id="{4300ED74-2E2A-FFC1-A346-0721FEB07C87}"/>
                  </a:ext>
                </a:extLst>
              </p:cNvPr>
              <p:cNvSpPr/>
              <p:nvPr/>
            </p:nvSpPr>
            <p:spPr>
              <a:xfrm>
                <a:off x="6145562" y="2908098"/>
                <a:ext cx="63439" cy="62399"/>
              </a:xfrm>
              <a:custGeom>
                <a:avLst/>
                <a:gdLst>
                  <a:gd name="connsiteX0" fmla="*/ 31720 w 63439"/>
                  <a:gd name="connsiteY0" fmla="*/ 62399 h 62399"/>
                  <a:gd name="connsiteX1" fmla="*/ 0 w 63439"/>
                  <a:gd name="connsiteY1" fmla="*/ 31720 h 62399"/>
                  <a:gd name="connsiteX2" fmla="*/ 31720 w 63439"/>
                  <a:gd name="connsiteY2" fmla="*/ 0 h 62399"/>
                  <a:gd name="connsiteX3" fmla="*/ 63439 w 63439"/>
                  <a:gd name="connsiteY3" fmla="*/ 31720 h 62399"/>
                  <a:gd name="connsiteX4" fmla="*/ 31720 w 63439"/>
                  <a:gd name="connsiteY4" fmla="*/ 62399 h 62399"/>
                  <a:gd name="connsiteX5" fmla="*/ 31720 w 63439"/>
                  <a:gd name="connsiteY5" fmla="*/ 15600 h 62399"/>
                  <a:gd name="connsiteX6" fmla="*/ 15860 w 63439"/>
                  <a:gd name="connsiteY6" fmla="*/ 31460 h 62399"/>
                  <a:gd name="connsiteX7" fmla="*/ 31720 w 63439"/>
                  <a:gd name="connsiteY7" fmla="*/ 46280 h 62399"/>
                  <a:gd name="connsiteX8" fmla="*/ 47580 w 63439"/>
                  <a:gd name="connsiteY8" fmla="*/ 31460 h 62399"/>
                  <a:gd name="connsiteX9" fmla="*/ 31720 w 63439"/>
                  <a:gd name="connsiteY9" fmla="*/ 15600 h 62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439" h="62399">
                    <a:moveTo>
                      <a:pt x="31720" y="62399"/>
                    </a:moveTo>
                    <a:cubicBezTo>
                      <a:pt x="14820" y="62399"/>
                      <a:pt x="0" y="48619"/>
                      <a:pt x="0" y="31720"/>
                    </a:cubicBezTo>
                    <a:cubicBezTo>
                      <a:pt x="0" y="14820"/>
                      <a:pt x="13780" y="0"/>
                      <a:pt x="31720" y="0"/>
                    </a:cubicBezTo>
                    <a:cubicBezTo>
                      <a:pt x="49659" y="0"/>
                      <a:pt x="63439" y="13780"/>
                      <a:pt x="63439" y="31720"/>
                    </a:cubicBezTo>
                    <a:cubicBezTo>
                      <a:pt x="63439" y="48619"/>
                      <a:pt x="48619" y="62399"/>
                      <a:pt x="31720" y="62399"/>
                    </a:cubicBezTo>
                    <a:close/>
                    <a:moveTo>
                      <a:pt x="31720" y="15600"/>
                    </a:moveTo>
                    <a:cubicBezTo>
                      <a:pt x="23140" y="15600"/>
                      <a:pt x="15860" y="23140"/>
                      <a:pt x="15860" y="31460"/>
                    </a:cubicBezTo>
                    <a:cubicBezTo>
                      <a:pt x="15860" y="40040"/>
                      <a:pt x="23400" y="46280"/>
                      <a:pt x="31720" y="46280"/>
                    </a:cubicBezTo>
                    <a:cubicBezTo>
                      <a:pt x="40040" y="46280"/>
                      <a:pt x="47580" y="38740"/>
                      <a:pt x="47580" y="31460"/>
                    </a:cubicBezTo>
                    <a:cubicBezTo>
                      <a:pt x="47580" y="23140"/>
                      <a:pt x="40040" y="15600"/>
                      <a:pt x="31720" y="15600"/>
                    </a:cubicBezTo>
                    <a:close/>
                  </a:path>
                </a:pathLst>
              </a:custGeom>
              <a:solidFill>
                <a:srgbClr val="FFFFFF"/>
              </a:solidFill>
              <a:ln w="2597" cap="flat">
                <a:noFill/>
                <a:prstDash val="solid"/>
                <a:miter/>
              </a:ln>
            </p:spPr>
            <p:txBody>
              <a:bodyPr rtlCol="0" anchor="ctr"/>
              <a:lstStyle/>
              <a:p>
                <a:endParaRPr lang="en-GB"/>
              </a:p>
            </p:txBody>
          </p:sp>
          <p:sp>
            <p:nvSpPr>
              <p:cNvPr id="711" name="Freeform: Shape 710">
                <a:extLst>
                  <a:ext uri="{FF2B5EF4-FFF2-40B4-BE49-F238E27FC236}">
                    <a16:creationId xmlns:a16="http://schemas.microsoft.com/office/drawing/2014/main" id="{7AF33F40-5B53-D8E0-5ABD-B2B2713FF55E}"/>
                  </a:ext>
                </a:extLst>
              </p:cNvPr>
              <p:cNvSpPr/>
              <p:nvPr/>
            </p:nvSpPr>
            <p:spPr>
              <a:xfrm>
                <a:off x="6168702" y="2781740"/>
                <a:ext cx="23399" cy="30679"/>
              </a:xfrm>
              <a:custGeom>
                <a:avLst/>
                <a:gdLst>
                  <a:gd name="connsiteX0" fmla="*/ 7280 w 23399"/>
                  <a:gd name="connsiteY0" fmla="*/ 30680 h 30679"/>
                  <a:gd name="connsiteX1" fmla="*/ 4160 w 23399"/>
                  <a:gd name="connsiteY1" fmla="*/ 29640 h 30679"/>
                  <a:gd name="connsiteX2" fmla="*/ 1040 w 23399"/>
                  <a:gd name="connsiteY2" fmla="*/ 18980 h 30679"/>
                  <a:gd name="connsiteX3" fmla="*/ 8580 w 23399"/>
                  <a:gd name="connsiteY3" fmla="*/ 4160 h 30679"/>
                  <a:gd name="connsiteX4" fmla="*/ 19240 w 23399"/>
                  <a:gd name="connsiteY4" fmla="*/ 1040 h 30679"/>
                  <a:gd name="connsiteX5" fmla="*/ 22360 w 23399"/>
                  <a:gd name="connsiteY5" fmla="*/ 11700 h 30679"/>
                  <a:gd name="connsiteX6" fmla="*/ 14820 w 23399"/>
                  <a:gd name="connsiteY6" fmla="*/ 26520 h 30679"/>
                  <a:gd name="connsiteX7" fmla="*/ 7280 w 23399"/>
                  <a:gd name="connsiteY7" fmla="*/ 30680 h 3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99" h="30679">
                    <a:moveTo>
                      <a:pt x="7280" y="30680"/>
                    </a:moveTo>
                    <a:cubicBezTo>
                      <a:pt x="6240" y="30680"/>
                      <a:pt x="5200" y="30680"/>
                      <a:pt x="4160" y="29640"/>
                    </a:cubicBezTo>
                    <a:cubicBezTo>
                      <a:pt x="0" y="27560"/>
                      <a:pt x="-1040" y="23400"/>
                      <a:pt x="1040" y="18980"/>
                    </a:cubicBezTo>
                    <a:lnTo>
                      <a:pt x="8580" y="4160"/>
                    </a:lnTo>
                    <a:cubicBezTo>
                      <a:pt x="10660" y="0"/>
                      <a:pt x="14820" y="-1040"/>
                      <a:pt x="19240" y="1040"/>
                    </a:cubicBezTo>
                    <a:cubicBezTo>
                      <a:pt x="23400" y="3120"/>
                      <a:pt x="24440" y="7280"/>
                      <a:pt x="22360" y="11700"/>
                    </a:cubicBezTo>
                    <a:lnTo>
                      <a:pt x="14820" y="26520"/>
                    </a:lnTo>
                    <a:cubicBezTo>
                      <a:pt x="12740" y="29640"/>
                      <a:pt x="10660" y="30680"/>
                      <a:pt x="7280" y="30680"/>
                    </a:cubicBezTo>
                    <a:close/>
                  </a:path>
                </a:pathLst>
              </a:custGeom>
              <a:solidFill>
                <a:srgbClr val="FFFFFF"/>
              </a:solidFill>
              <a:ln w="2597" cap="flat">
                <a:noFill/>
                <a:prstDash val="solid"/>
                <a:miter/>
              </a:ln>
            </p:spPr>
            <p:txBody>
              <a:bodyPr rtlCol="0" anchor="ctr"/>
              <a:lstStyle/>
              <a:p>
                <a:endParaRPr lang="en-GB"/>
              </a:p>
            </p:txBody>
          </p:sp>
          <p:sp>
            <p:nvSpPr>
              <p:cNvPr id="712" name="Freeform: Shape 711">
                <a:extLst>
                  <a:ext uri="{FF2B5EF4-FFF2-40B4-BE49-F238E27FC236}">
                    <a16:creationId xmlns:a16="http://schemas.microsoft.com/office/drawing/2014/main" id="{9CCD0E1A-6227-AB36-DD3E-CE969966207B}"/>
                  </a:ext>
                </a:extLst>
              </p:cNvPr>
              <p:cNvSpPr/>
              <p:nvPr/>
            </p:nvSpPr>
            <p:spPr>
              <a:xfrm>
                <a:off x="6129443" y="2873779"/>
                <a:ext cx="94638" cy="17159"/>
              </a:xfrm>
              <a:custGeom>
                <a:avLst/>
                <a:gdLst>
                  <a:gd name="connsiteX0" fmla="*/ 86059 w 94638"/>
                  <a:gd name="connsiteY0" fmla="*/ 17160 h 17159"/>
                  <a:gd name="connsiteX1" fmla="*/ 8580 w 94638"/>
                  <a:gd name="connsiteY1" fmla="*/ 17160 h 17159"/>
                  <a:gd name="connsiteX2" fmla="*/ 0 w 94638"/>
                  <a:gd name="connsiteY2" fmla="*/ 8580 h 17159"/>
                  <a:gd name="connsiteX3" fmla="*/ 8580 w 94638"/>
                  <a:gd name="connsiteY3" fmla="*/ 0 h 17159"/>
                  <a:gd name="connsiteX4" fmla="*/ 86059 w 94638"/>
                  <a:gd name="connsiteY4" fmla="*/ 0 h 17159"/>
                  <a:gd name="connsiteX5" fmla="*/ 94639 w 94638"/>
                  <a:gd name="connsiteY5" fmla="*/ 8580 h 17159"/>
                  <a:gd name="connsiteX6" fmla="*/ 86059 w 9463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638" h="17159">
                    <a:moveTo>
                      <a:pt x="86059" y="17160"/>
                    </a:moveTo>
                    <a:lnTo>
                      <a:pt x="8580" y="17160"/>
                    </a:lnTo>
                    <a:cubicBezTo>
                      <a:pt x="4420" y="17160"/>
                      <a:pt x="0" y="14040"/>
                      <a:pt x="0" y="8580"/>
                    </a:cubicBezTo>
                    <a:cubicBezTo>
                      <a:pt x="0" y="3380"/>
                      <a:pt x="3120" y="0"/>
                      <a:pt x="8580" y="0"/>
                    </a:cubicBezTo>
                    <a:lnTo>
                      <a:pt x="86059" y="0"/>
                    </a:lnTo>
                    <a:cubicBezTo>
                      <a:pt x="90219" y="0"/>
                      <a:pt x="94639" y="3120"/>
                      <a:pt x="94639" y="8580"/>
                    </a:cubicBezTo>
                    <a:cubicBezTo>
                      <a:pt x="94379" y="14040"/>
                      <a:pt x="90219" y="17160"/>
                      <a:pt x="86059" y="17160"/>
                    </a:cubicBezTo>
                    <a:close/>
                  </a:path>
                </a:pathLst>
              </a:custGeom>
              <a:solidFill>
                <a:srgbClr val="FFFFFF"/>
              </a:solidFill>
              <a:ln w="2597" cap="flat">
                <a:noFill/>
                <a:prstDash val="solid"/>
                <a:miter/>
              </a:ln>
            </p:spPr>
            <p:txBody>
              <a:bodyPr rtlCol="0" anchor="ctr"/>
              <a:lstStyle/>
              <a:p>
                <a:endParaRPr lang="en-GB"/>
              </a:p>
            </p:txBody>
          </p:sp>
        </p:grpSp>
        <p:sp>
          <p:nvSpPr>
            <p:cNvPr id="708" name="Freeform: Shape 707">
              <a:extLst>
                <a:ext uri="{FF2B5EF4-FFF2-40B4-BE49-F238E27FC236}">
                  <a16:creationId xmlns:a16="http://schemas.microsoft.com/office/drawing/2014/main" id="{065657AA-0A77-141D-EA6D-C49DE3407634}"/>
                </a:ext>
              </a:extLst>
            </p:cNvPr>
            <p:cNvSpPr/>
            <p:nvPr/>
          </p:nvSpPr>
          <p:spPr>
            <a:xfrm>
              <a:off x="6313000" y="3082296"/>
              <a:ext cx="77286" cy="116478"/>
            </a:xfrm>
            <a:custGeom>
              <a:avLst/>
              <a:gdLst>
                <a:gd name="connsiteX0" fmla="*/ 39260 w 77286"/>
                <a:gd name="connsiteY0" fmla="*/ 116479 h 116478"/>
                <a:gd name="connsiteX1" fmla="*/ 0 w 77286"/>
                <a:gd name="connsiteY1" fmla="*/ 77219 h 116478"/>
                <a:gd name="connsiteX2" fmla="*/ 31720 w 77286"/>
                <a:gd name="connsiteY2" fmla="*/ 3900 h 116478"/>
                <a:gd name="connsiteX3" fmla="*/ 45499 w 77286"/>
                <a:gd name="connsiteY3" fmla="*/ 3900 h 116478"/>
                <a:gd name="connsiteX4" fmla="*/ 77220 w 77286"/>
                <a:gd name="connsiteY4" fmla="*/ 77219 h 116478"/>
                <a:gd name="connsiteX5" fmla="*/ 39260 w 77286"/>
                <a:gd name="connsiteY5" fmla="*/ 116479 h 116478"/>
                <a:gd name="connsiteX6" fmla="*/ 39260 w 77286"/>
                <a:gd name="connsiteY6" fmla="*/ 24180 h 116478"/>
                <a:gd name="connsiteX7" fmla="*/ 15860 w 77286"/>
                <a:gd name="connsiteY7" fmla="*/ 77219 h 116478"/>
                <a:gd name="connsiteX8" fmla="*/ 39260 w 77286"/>
                <a:gd name="connsiteY8" fmla="*/ 100619 h 116478"/>
                <a:gd name="connsiteX9" fmla="*/ 62660 w 77286"/>
                <a:gd name="connsiteY9" fmla="*/ 77219 h 116478"/>
                <a:gd name="connsiteX10" fmla="*/ 39260 w 77286"/>
                <a:gd name="connsiteY10" fmla="*/ 24180 h 116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286" h="116478">
                  <a:moveTo>
                    <a:pt x="39260" y="116479"/>
                  </a:moveTo>
                  <a:cubicBezTo>
                    <a:pt x="17940" y="116479"/>
                    <a:pt x="0" y="99579"/>
                    <a:pt x="0" y="77219"/>
                  </a:cubicBezTo>
                  <a:cubicBezTo>
                    <a:pt x="0" y="59279"/>
                    <a:pt x="26520" y="13520"/>
                    <a:pt x="31720" y="3900"/>
                  </a:cubicBezTo>
                  <a:cubicBezTo>
                    <a:pt x="34840" y="-1300"/>
                    <a:pt x="42380" y="-1300"/>
                    <a:pt x="45499" y="3900"/>
                  </a:cubicBezTo>
                  <a:cubicBezTo>
                    <a:pt x="50699" y="12480"/>
                    <a:pt x="77220" y="59019"/>
                    <a:pt x="77220" y="77219"/>
                  </a:cubicBezTo>
                  <a:cubicBezTo>
                    <a:pt x="78520" y="98279"/>
                    <a:pt x="60579" y="116479"/>
                    <a:pt x="39260" y="116479"/>
                  </a:cubicBezTo>
                  <a:close/>
                  <a:moveTo>
                    <a:pt x="39260" y="24180"/>
                  </a:moveTo>
                  <a:cubicBezTo>
                    <a:pt x="28600" y="44460"/>
                    <a:pt x="15860" y="68639"/>
                    <a:pt x="15860" y="77219"/>
                  </a:cubicBezTo>
                  <a:cubicBezTo>
                    <a:pt x="15860" y="89959"/>
                    <a:pt x="26520" y="100619"/>
                    <a:pt x="39260" y="100619"/>
                  </a:cubicBezTo>
                  <a:cubicBezTo>
                    <a:pt x="51999" y="100619"/>
                    <a:pt x="62660" y="89959"/>
                    <a:pt x="62660" y="77219"/>
                  </a:cubicBezTo>
                  <a:cubicBezTo>
                    <a:pt x="62660" y="68639"/>
                    <a:pt x="49920" y="44199"/>
                    <a:pt x="39260" y="24180"/>
                  </a:cubicBezTo>
                  <a:close/>
                </a:path>
              </a:pathLst>
            </a:custGeom>
            <a:solidFill>
              <a:srgbClr val="FFFFFF"/>
            </a:solidFill>
            <a:ln w="2597" cap="flat">
              <a:noFill/>
              <a:prstDash val="solid"/>
              <a:miter/>
            </a:ln>
          </p:spPr>
          <p:txBody>
            <a:bodyPr rtlCol="0" anchor="ctr"/>
            <a:lstStyle/>
            <a:p>
              <a:endParaRPr lang="en-GB"/>
            </a:p>
          </p:txBody>
        </p:sp>
      </p:grpSp>
      <p:grpSp>
        <p:nvGrpSpPr>
          <p:cNvPr id="525" name="Graphic 6">
            <a:extLst>
              <a:ext uri="{FF2B5EF4-FFF2-40B4-BE49-F238E27FC236}">
                <a16:creationId xmlns:a16="http://schemas.microsoft.com/office/drawing/2014/main" id="{2BDCB4FF-E637-7149-3F67-3F98B81FDE77}"/>
              </a:ext>
            </a:extLst>
          </p:cNvPr>
          <p:cNvGrpSpPr/>
          <p:nvPr/>
        </p:nvGrpSpPr>
        <p:grpSpPr>
          <a:xfrm>
            <a:off x="5698356" y="3835872"/>
            <a:ext cx="493905" cy="382031"/>
            <a:chOff x="4786818" y="3583051"/>
            <a:chExt cx="990588" cy="766211"/>
          </a:xfrm>
        </p:grpSpPr>
        <p:grpSp>
          <p:nvGrpSpPr>
            <p:cNvPr id="639" name="Graphic 6">
              <a:extLst>
                <a:ext uri="{FF2B5EF4-FFF2-40B4-BE49-F238E27FC236}">
                  <a16:creationId xmlns:a16="http://schemas.microsoft.com/office/drawing/2014/main" id="{87707825-BF7D-6DCF-871F-2CA538126894}"/>
                </a:ext>
              </a:extLst>
            </p:cNvPr>
            <p:cNvGrpSpPr/>
            <p:nvPr/>
          </p:nvGrpSpPr>
          <p:grpSpPr>
            <a:xfrm>
              <a:off x="4818797" y="3755169"/>
              <a:ext cx="395715" cy="594093"/>
              <a:chOff x="4818797" y="3755169"/>
              <a:chExt cx="395715" cy="594093"/>
            </a:xfrm>
            <a:solidFill>
              <a:srgbClr val="0069FF"/>
            </a:solidFill>
          </p:grpSpPr>
          <p:sp>
            <p:nvSpPr>
              <p:cNvPr id="676" name="Freeform: Shape 675">
                <a:extLst>
                  <a:ext uri="{FF2B5EF4-FFF2-40B4-BE49-F238E27FC236}">
                    <a16:creationId xmlns:a16="http://schemas.microsoft.com/office/drawing/2014/main" id="{FA03F727-B6DD-EB93-E06D-93FC64FAEDD9}"/>
                  </a:ext>
                </a:extLst>
              </p:cNvPr>
              <p:cNvSpPr/>
              <p:nvPr/>
            </p:nvSpPr>
            <p:spPr>
              <a:xfrm>
                <a:off x="4823998" y="3760108"/>
                <a:ext cx="385315" cy="583693"/>
              </a:xfrm>
              <a:custGeom>
                <a:avLst/>
                <a:gdLst>
                  <a:gd name="connsiteX0" fmla="*/ 0 w 385315"/>
                  <a:gd name="connsiteY0" fmla="*/ 0 h 583693"/>
                  <a:gd name="connsiteX1" fmla="*/ 385315 w 385315"/>
                  <a:gd name="connsiteY1" fmla="*/ 0 h 583693"/>
                  <a:gd name="connsiteX2" fmla="*/ 385315 w 385315"/>
                  <a:gd name="connsiteY2" fmla="*/ 583693 h 583693"/>
                  <a:gd name="connsiteX3" fmla="*/ 0 w 385315"/>
                  <a:gd name="connsiteY3" fmla="*/ 583693 h 583693"/>
                </a:gdLst>
                <a:ahLst/>
                <a:cxnLst>
                  <a:cxn ang="0">
                    <a:pos x="connsiteX0" y="connsiteY0"/>
                  </a:cxn>
                  <a:cxn ang="0">
                    <a:pos x="connsiteX1" y="connsiteY1"/>
                  </a:cxn>
                  <a:cxn ang="0">
                    <a:pos x="connsiteX2" y="connsiteY2"/>
                  </a:cxn>
                  <a:cxn ang="0">
                    <a:pos x="connsiteX3" y="connsiteY3"/>
                  </a:cxn>
                </a:cxnLst>
                <a:rect l="l" t="t" r="r" b="b"/>
                <a:pathLst>
                  <a:path w="385315" h="583693">
                    <a:moveTo>
                      <a:pt x="0" y="0"/>
                    </a:moveTo>
                    <a:lnTo>
                      <a:pt x="385315" y="0"/>
                    </a:lnTo>
                    <a:lnTo>
                      <a:pt x="385315" y="583693"/>
                    </a:lnTo>
                    <a:lnTo>
                      <a:pt x="0" y="583693"/>
                    </a:lnTo>
                    <a:close/>
                  </a:path>
                </a:pathLst>
              </a:custGeom>
              <a:solidFill>
                <a:srgbClr val="0069FF"/>
              </a:solidFill>
              <a:ln w="2597" cap="flat">
                <a:noFill/>
                <a:prstDash val="solid"/>
                <a:miter/>
              </a:ln>
            </p:spPr>
            <p:txBody>
              <a:bodyPr rtlCol="0" anchor="ctr"/>
              <a:lstStyle/>
              <a:p>
                <a:endParaRPr lang="en-GB"/>
              </a:p>
            </p:txBody>
          </p:sp>
          <p:sp>
            <p:nvSpPr>
              <p:cNvPr id="677" name="Freeform: Shape 676">
                <a:extLst>
                  <a:ext uri="{FF2B5EF4-FFF2-40B4-BE49-F238E27FC236}">
                    <a16:creationId xmlns:a16="http://schemas.microsoft.com/office/drawing/2014/main" id="{FEEFFC36-ACAB-7DC5-AE11-27269589A583}"/>
                  </a:ext>
                </a:extLst>
              </p:cNvPr>
              <p:cNvSpPr/>
              <p:nvPr/>
            </p:nvSpPr>
            <p:spPr>
              <a:xfrm>
                <a:off x="4818797" y="3755169"/>
                <a:ext cx="395715" cy="594093"/>
              </a:xfrm>
              <a:custGeom>
                <a:avLst/>
                <a:gdLst>
                  <a:gd name="connsiteX0" fmla="*/ 390516 w 395715"/>
                  <a:gd name="connsiteY0" fmla="*/ 594093 h 594093"/>
                  <a:gd name="connsiteX1" fmla="*/ 5200 w 395715"/>
                  <a:gd name="connsiteY1" fmla="*/ 594093 h 594093"/>
                  <a:gd name="connsiteX2" fmla="*/ 0 w 395715"/>
                  <a:gd name="connsiteY2" fmla="*/ 588893 h 594093"/>
                  <a:gd name="connsiteX3" fmla="*/ 0 w 395715"/>
                  <a:gd name="connsiteY3" fmla="*/ 5200 h 594093"/>
                  <a:gd name="connsiteX4" fmla="*/ 5200 w 395715"/>
                  <a:gd name="connsiteY4" fmla="*/ 0 h 594093"/>
                  <a:gd name="connsiteX5" fmla="*/ 390516 w 395715"/>
                  <a:gd name="connsiteY5" fmla="*/ 0 h 594093"/>
                  <a:gd name="connsiteX6" fmla="*/ 395716 w 395715"/>
                  <a:gd name="connsiteY6" fmla="*/ 5200 h 594093"/>
                  <a:gd name="connsiteX7" fmla="*/ 395716 w 395715"/>
                  <a:gd name="connsiteY7" fmla="*/ 588893 h 594093"/>
                  <a:gd name="connsiteX8" fmla="*/ 390516 w 395715"/>
                  <a:gd name="connsiteY8" fmla="*/ 594093 h 594093"/>
                  <a:gd name="connsiteX9" fmla="*/ 10400 w 395715"/>
                  <a:gd name="connsiteY9" fmla="*/ 583433 h 594093"/>
                  <a:gd name="connsiteX10" fmla="*/ 385056 w 395715"/>
                  <a:gd name="connsiteY10" fmla="*/ 583433 h 594093"/>
                  <a:gd name="connsiteX11" fmla="*/ 385056 w 395715"/>
                  <a:gd name="connsiteY11" fmla="*/ 10400 h 594093"/>
                  <a:gd name="connsiteX12" fmla="*/ 10400 w 395715"/>
                  <a:gd name="connsiteY12" fmla="*/ 10400 h 594093"/>
                  <a:gd name="connsiteX13" fmla="*/ 10400 w 395715"/>
                  <a:gd name="connsiteY13" fmla="*/ 583433 h 594093"/>
                  <a:gd name="connsiteX14" fmla="*/ 10400 w 395715"/>
                  <a:gd name="connsiteY14" fmla="*/ 583433 h 59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5715" h="594093">
                    <a:moveTo>
                      <a:pt x="390516" y="594093"/>
                    </a:moveTo>
                    <a:lnTo>
                      <a:pt x="5200" y="594093"/>
                    </a:lnTo>
                    <a:cubicBezTo>
                      <a:pt x="2080" y="594093"/>
                      <a:pt x="0" y="592013"/>
                      <a:pt x="0" y="588893"/>
                    </a:cubicBezTo>
                    <a:lnTo>
                      <a:pt x="0" y="5200"/>
                    </a:lnTo>
                    <a:cubicBezTo>
                      <a:pt x="0" y="2080"/>
                      <a:pt x="2080" y="0"/>
                      <a:pt x="5200" y="0"/>
                    </a:cubicBezTo>
                    <a:lnTo>
                      <a:pt x="390516" y="0"/>
                    </a:lnTo>
                    <a:cubicBezTo>
                      <a:pt x="393636" y="0"/>
                      <a:pt x="395716" y="2080"/>
                      <a:pt x="395716" y="5200"/>
                    </a:cubicBezTo>
                    <a:lnTo>
                      <a:pt x="395716" y="588893"/>
                    </a:lnTo>
                    <a:cubicBezTo>
                      <a:pt x="395716" y="591753"/>
                      <a:pt x="393636" y="594093"/>
                      <a:pt x="390516" y="594093"/>
                    </a:cubicBezTo>
                    <a:close/>
                    <a:moveTo>
                      <a:pt x="10400" y="583433"/>
                    </a:moveTo>
                    <a:lnTo>
                      <a:pt x="385056" y="583433"/>
                    </a:lnTo>
                    <a:lnTo>
                      <a:pt x="385056" y="10400"/>
                    </a:lnTo>
                    <a:lnTo>
                      <a:pt x="10400" y="10400"/>
                    </a:lnTo>
                    <a:lnTo>
                      <a:pt x="10400" y="583433"/>
                    </a:lnTo>
                    <a:lnTo>
                      <a:pt x="10400" y="583433"/>
                    </a:lnTo>
                    <a:close/>
                  </a:path>
                </a:pathLst>
              </a:custGeom>
              <a:solidFill>
                <a:srgbClr val="0069FF"/>
              </a:solidFill>
              <a:ln w="2597" cap="flat">
                <a:noFill/>
                <a:prstDash val="solid"/>
                <a:miter/>
              </a:ln>
            </p:spPr>
            <p:txBody>
              <a:bodyPr rtlCol="0" anchor="ctr"/>
              <a:lstStyle/>
              <a:p>
                <a:endParaRPr lang="en-GB"/>
              </a:p>
            </p:txBody>
          </p:sp>
        </p:grpSp>
        <p:grpSp>
          <p:nvGrpSpPr>
            <p:cNvPr id="640" name="Graphic 6">
              <a:extLst>
                <a:ext uri="{FF2B5EF4-FFF2-40B4-BE49-F238E27FC236}">
                  <a16:creationId xmlns:a16="http://schemas.microsoft.com/office/drawing/2014/main" id="{20536A79-A4FB-3944-73FC-6696372D700E}"/>
                </a:ext>
              </a:extLst>
            </p:cNvPr>
            <p:cNvGrpSpPr/>
            <p:nvPr/>
          </p:nvGrpSpPr>
          <p:grpSpPr>
            <a:xfrm>
              <a:off x="4901477" y="3683474"/>
              <a:ext cx="228017" cy="81834"/>
              <a:chOff x="4901477" y="3683474"/>
              <a:chExt cx="228017" cy="81834"/>
            </a:xfrm>
            <a:solidFill>
              <a:srgbClr val="0069FF"/>
            </a:solidFill>
          </p:grpSpPr>
          <p:sp>
            <p:nvSpPr>
              <p:cNvPr id="674" name="Freeform: Shape 673">
                <a:extLst>
                  <a:ext uri="{FF2B5EF4-FFF2-40B4-BE49-F238E27FC236}">
                    <a16:creationId xmlns:a16="http://schemas.microsoft.com/office/drawing/2014/main" id="{B0358662-8313-4BE0-3A18-30ACE9C9255B}"/>
                  </a:ext>
                </a:extLst>
              </p:cNvPr>
              <p:cNvSpPr/>
              <p:nvPr/>
            </p:nvSpPr>
            <p:spPr>
              <a:xfrm>
                <a:off x="4906677" y="3688674"/>
                <a:ext cx="216577" cy="71434"/>
              </a:xfrm>
              <a:custGeom>
                <a:avLst/>
                <a:gdLst>
                  <a:gd name="connsiteX0" fmla="*/ 216578 w 216577"/>
                  <a:gd name="connsiteY0" fmla="*/ 71434 h 71434"/>
                  <a:gd name="connsiteX1" fmla="*/ 0 w 216577"/>
                  <a:gd name="connsiteY1" fmla="*/ 71434 h 71434"/>
                  <a:gd name="connsiteX2" fmla="*/ 0 w 216577"/>
                  <a:gd name="connsiteY2" fmla="*/ 14235 h 71434"/>
                  <a:gd name="connsiteX3" fmla="*/ 216578 w 216577"/>
                  <a:gd name="connsiteY3" fmla="*/ 14235 h 71434"/>
                  <a:gd name="connsiteX4" fmla="*/ 216578 w 216577"/>
                  <a:gd name="connsiteY4" fmla="*/ 71434 h 71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577" h="71434">
                    <a:moveTo>
                      <a:pt x="216578" y="71434"/>
                    </a:moveTo>
                    <a:lnTo>
                      <a:pt x="0" y="71434"/>
                    </a:lnTo>
                    <a:lnTo>
                      <a:pt x="0" y="14235"/>
                    </a:lnTo>
                    <a:cubicBezTo>
                      <a:pt x="72279" y="-4745"/>
                      <a:pt x="144298" y="-4745"/>
                      <a:pt x="216578" y="14235"/>
                    </a:cubicBezTo>
                    <a:lnTo>
                      <a:pt x="216578" y="71434"/>
                    </a:lnTo>
                    <a:close/>
                  </a:path>
                </a:pathLst>
              </a:custGeom>
              <a:solidFill>
                <a:srgbClr val="0069FF"/>
              </a:solidFill>
              <a:ln w="2597" cap="flat">
                <a:noFill/>
                <a:prstDash val="solid"/>
                <a:miter/>
              </a:ln>
            </p:spPr>
            <p:txBody>
              <a:bodyPr rtlCol="0" anchor="ctr"/>
              <a:lstStyle/>
              <a:p>
                <a:endParaRPr lang="en-GB"/>
              </a:p>
            </p:txBody>
          </p:sp>
          <p:sp>
            <p:nvSpPr>
              <p:cNvPr id="675" name="Freeform: Shape 674">
                <a:extLst>
                  <a:ext uri="{FF2B5EF4-FFF2-40B4-BE49-F238E27FC236}">
                    <a16:creationId xmlns:a16="http://schemas.microsoft.com/office/drawing/2014/main" id="{47CA73D6-E443-B6A9-17BE-2D7B79E389F0}"/>
                  </a:ext>
                </a:extLst>
              </p:cNvPr>
              <p:cNvSpPr/>
              <p:nvPr/>
            </p:nvSpPr>
            <p:spPr>
              <a:xfrm>
                <a:off x="4901477" y="3683474"/>
                <a:ext cx="228017" cy="81834"/>
              </a:xfrm>
              <a:custGeom>
                <a:avLst/>
                <a:gdLst>
                  <a:gd name="connsiteX0" fmla="*/ 221778 w 228017"/>
                  <a:gd name="connsiteY0" fmla="*/ 81834 h 81834"/>
                  <a:gd name="connsiteX1" fmla="*/ 5200 w 228017"/>
                  <a:gd name="connsiteY1" fmla="*/ 81834 h 81834"/>
                  <a:gd name="connsiteX2" fmla="*/ 0 w 228017"/>
                  <a:gd name="connsiteY2" fmla="*/ 76634 h 81834"/>
                  <a:gd name="connsiteX3" fmla="*/ 0 w 228017"/>
                  <a:gd name="connsiteY3" fmla="*/ 19435 h 81834"/>
                  <a:gd name="connsiteX4" fmla="*/ 4160 w 228017"/>
                  <a:gd name="connsiteY4" fmla="*/ 14235 h 81834"/>
                  <a:gd name="connsiteX5" fmla="*/ 223857 w 228017"/>
                  <a:gd name="connsiteY5" fmla="*/ 14235 h 81834"/>
                  <a:gd name="connsiteX6" fmla="*/ 228017 w 228017"/>
                  <a:gd name="connsiteY6" fmla="*/ 19435 h 81834"/>
                  <a:gd name="connsiteX7" fmla="*/ 228017 w 228017"/>
                  <a:gd name="connsiteY7" fmla="*/ 76634 h 81834"/>
                  <a:gd name="connsiteX8" fmla="*/ 221778 w 228017"/>
                  <a:gd name="connsiteY8" fmla="*/ 81834 h 81834"/>
                  <a:gd name="connsiteX9" fmla="*/ 10660 w 228017"/>
                  <a:gd name="connsiteY9" fmla="*/ 71434 h 81834"/>
                  <a:gd name="connsiteX10" fmla="*/ 216578 w 228017"/>
                  <a:gd name="connsiteY10" fmla="*/ 71434 h 81834"/>
                  <a:gd name="connsiteX11" fmla="*/ 216578 w 228017"/>
                  <a:gd name="connsiteY11" fmla="*/ 23595 h 81834"/>
                  <a:gd name="connsiteX12" fmla="*/ 10660 w 228017"/>
                  <a:gd name="connsiteY12" fmla="*/ 23595 h 81834"/>
                  <a:gd name="connsiteX13" fmla="*/ 10660 w 228017"/>
                  <a:gd name="connsiteY13" fmla="*/ 71434 h 81834"/>
                  <a:gd name="connsiteX14" fmla="*/ 10660 w 228017"/>
                  <a:gd name="connsiteY14" fmla="*/ 71434 h 81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8017" h="81834">
                    <a:moveTo>
                      <a:pt x="221778" y="81834"/>
                    </a:moveTo>
                    <a:lnTo>
                      <a:pt x="5200" y="81834"/>
                    </a:lnTo>
                    <a:cubicBezTo>
                      <a:pt x="2080" y="81834"/>
                      <a:pt x="0" y="79754"/>
                      <a:pt x="0" y="76634"/>
                    </a:cubicBezTo>
                    <a:lnTo>
                      <a:pt x="0" y="19435"/>
                    </a:lnTo>
                    <a:cubicBezTo>
                      <a:pt x="0" y="17355"/>
                      <a:pt x="2080" y="15275"/>
                      <a:pt x="4160" y="14235"/>
                    </a:cubicBezTo>
                    <a:cubicBezTo>
                      <a:pt x="77479" y="-4745"/>
                      <a:pt x="150538" y="-4745"/>
                      <a:pt x="223857" y="14235"/>
                    </a:cubicBezTo>
                    <a:cubicBezTo>
                      <a:pt x="225937" y="15275"/>
                      <a:pt x="228017" y="17355"/>
                      <a:pt x="228017" y="19435"/>
                    </a:cubicBezTo>
                    <a:lnTo>
                      <a:pt x="228017" y="76634"/>
                    </a:lnTo>
                    <a:cubicBezTo>
                      <a:pt x="227237" y="79754"/>
                      <a:pt x="224897" y="81834"/>
                      <a:pt x="221778" y="81834"/>
                    </a:cubicBezTo>
                    <a:close/>
                    <a:moveTo>
                      <a:pt x="10660" y="71434"/>
                    </a:moveTo>
                    <a:lnTo>
                      <a:pt x="216578" y="71434"/>
                    </a:lnTo>
                    <a:lnTo>
                      <a:pt x="216578" y="23595"/>
                    </a:lnTo>
                    <a:cubicBezTo>
                      <a:pt x="148718" y="6695"/>
                      <a:pt x="78519" y="6695"/>
                      <a:pt x="10660" y="23595"/>
                    </a:cubicBezTo>
                    <a:lnTo>
                      <a:pt x="10660" y="71434"/>
                    </a:lnTo>
                    <a:lnTo>
                      <a:pt x="10660" y="71434"/>
                    </a:lnTo>
                    <a:close/>
                  </a:path>
                </a:pathLst>
              </a:custGeom>
              <a:solidFill>
                <a:srgbClr val="0069FF"/>
              </a:solidFill>
              <a:ln w="2597" cap="flat">
                <a:noFill/>
                <a:prstDash val="solid"/>
                <a:miter/>
              </a:ln>
            </p:spPr>
            <p:txBody>
              <a:bodyPr rtlCol="0" anchor="ctr"/>
              <a:lstStyle/>
              <a:p>
                <a:endParaRPr lang="en-GB"/>
              </a:p>
            </p:txBody>
          </p:sp>
        </p:grpSp>
        <p:sp>
          <p:nvSpPr>
            <p:cNvPr id="641" name="Freeform: Shape 640">
              <a:extLst>
                <a:ext uri="{FF2B5EF4-FFF2-40B4-BE49-F238E27FC236}">
                  <a16:creationId xmlns:a16="http://schemas.microsoft.com/office/drawing/2014/main" id="{911B2C4B-8F65-B591-CFCD-1BEB4C1DD245}"/>
                </a:ext>
              </a:extLst>
            </p:cNvPr>
            <p:cNvSpPr/>
            <p:nvPr/>
          </p:nvSpPr>
          <p:spPr>
            <a:xfrm>
              <a:off x="4786818" y="3725009"/>
              <a:ext cx="402475" cy="600853"/>
            </a:xfrm>
            <a:custGeom>
              <a:avLst/>
              <a:gdLst>
                <a:gd name="connsiteX0" fmla="*/ 393895 w 402475"/>
                <a:gd name="connsiteY0" fmla="*/ 600853 h 600853"/>
                <a:gd name="connsiteX1" fmla="*/ 8580 w 402475"/>
                <a:gd name="connsiteY1" fmla="*/ 600853 h 600853"/>
                <a:gd name="connsiteX2" fmla="*/ 0 w 402475"/>
                <a:gd name="connsiteY2" fmla="*/ 592273 h 600853"/>
                <a:gd name="connsiteX3" fmla="*/ 0 w 402475"/>
                <a:gd name="connsiteY3" fmla="*/ 8580 h 600853"/>
                <a:gd name="connsiteX4" fmla="*/ 8580 w 402475"/>
                <a:gd name="connsiteY4" fmla="*/ 0 h 600853"/>
                <a:gd name="connsiteX5" fmla="*/ 393895 w 402475"/>
                <a:gd name="connsiteY5" fmla="*/ 0 h 600853"/>
                <a:gd name="connsiteX6" fmla="*/ 402475 w 402475"/>
                <a:gd name="connsiteY6" fmla="*/ 8580 h 600853"/>
                <a:gd name="connsiteX7" fmla="*/ 402475 w 402475"/>
                <a:gd name="connsiteY7" fmla="*/ 592273 h 600853"/>
                <a:gd name="connsiteX8" fmla="*/ 393895 w 402475"/>
                <a:gd name="connsiteY8" fmla="*/ 600853 h 600853"/>
                <a:gd name="connsiteX9" fmla="*/ 15860 w 402475"/>
                <a:gd name="connsiteY9" fmla="*/ 584993 h 600853"/>
                <a:gd name="connsiteX10" fmla="*/ 385315 w 402475"/>
                <a:gd name="connsiteY10" fmla="*/ 584993 h 600853"/>
                <a:gd name="connsiteX11" fmla="*/ 385315 w 402475"/>
                <a:gd name="connsiteY11" fmla="*/ 17160 h 600853"/>
                <a:gd name="connsiteX12" fmla="*/ 15860 w 402475"/>
                <a:gd name="connsiteY12" fmla="*/ 17160 h 600853"/>
                <a:gd name="connsiteX13" fmla="*/ 15860 w 402475"/>
                <a:gd name="connsiteY13" fmla="*/ 584993 h 60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2475" h="600853">
                  <a:moveTo>
                    <a:pt x="393895" y="600853"/>
                  </a:moveTo>
                  <a:lnTo>
                    <a:pt x="8580" y="600853"/>
                  </a:lnTo>
                  <a:cubicBezTo>
                    <a:pt x="4420" y="600853"/>
                    <a:pt x="0" y="597733"/>
                    <a:pt x="0" y="592273"/>
                  </a:cubicBezTo>
                  <a:lnTo>
                    <a:pt x="0" y="8580"/>
                  </a:lnTo>
                  <a:cubicBezTo>
                    <a:pt x="0" y="4420"/>
                    <a:pt x="3120" y="0"/>
                    <a:pt x="8580" y="0"/>
                  </a:cubicBezTo>
                  <a:lnTo>
                    <a:pt x="393895" y="0"/>
                  </a:lnTo>
                  <a:cubicBezTo>
                    <a:pt x="398055" y="0"/>
                    <a:pt x="402475" y="3120"/>
                    <a:pt x="402475" y="8580"/>
                  </a:cubicBezTo>
                  <a:lnTo>
                    <a:pt x="402475" y="592273"/>
                  </a:lnTo>
                  <a:cubicBezTo>
                    <a:pt x="402215" y="596433"/>
                    <a:pt x="398055" y="600853"/>
                    <a:pt x="393895" y="600853"/>
                  </a:cubicBezTo>
                  <a:close/>
                  <a:moveTo>
                    <a:pt x="15860" y="584993"/>
                  </a:moveTo>
                  <a:lnTo>
                    <a:pt x="385315" y="584993"/>
                  </a:lnTo>
                  <a:lnTo>
                    <a:pt x="385315" y="17160"/>
                  </a:lnTo>
                  <a:lnTo>
                    <a:pt x="15860" y="17160"/>
                  </a:lnTo>
                  <a:lnTo>
                    <a:pt x="15860" y="584993"/>
                  </a:lnTo>
                  <a:close/>
                </a:path>
              </a:pathLst>
            </a:custGeom>
            <a:solidFill>
              <a:srgbClr val="00005A"/>
            </a:solidFill>
            <a:ln w="2597" cap="flat">
              <a:noFill/>
              <a:prstDash val="solid"/>
              <a:miter/>
            </a:ln>
          </p:spPr>
          <p:txBody>
            <a:bodyPr rtlCol="0" anchor="ctr"/>
            <a:lstStyle/>
            <a:p>
              <a:endParaRPr lang="en-GB"/>
            </a:p>
          </p:txBody>
        </p:sp>
        <p:sp>
          <p:nvSpPr>
            <p:cNvPr id="642" name="Freeform: Shape 641">
              <a:extLst>
                <a:ext uri="{FF2B5EF4-FFF2-40B4-BE49-F238E27FC236}">
                  <a16:creationId xmlns:a16="http://schemas.microsoft.com/office/drawing/2014/main" id="{7A7DFA99-E571-DF0D-F725-8C2B12E74381}"/>
                </a:ext>
              </a:extLst>
            </p:cNvPr>
            <p:cNvSpPr/>
            <p:nvPr/>
          </p:nvSpPr>
          <p:spPr>
            <a:xfrm>
              <a:off x="4871577" y="3819388"/>
              <a:ext cx="233737" cy="74359"/>
            </a:xfrm>
            <a:custGeom>
              <a:avLst/>
              <a:gdLst>
                <a:gd name="connsiteX0" fmla="*/ 225157 w 233737"/>
                <a:gd name="connsiteY0" fmla="*/ 74359 h 74359"/>
                <a:gd name="connsiteX1" fmla="*/ 8580 w 233737"/>
                <a:gd name="connsiteY1" fmla="*/ 74359 h 74359"/>
                <a:gd name="connsiteX2" fmla="*/ 0 w 233737"/>
                <a:gd name="connsiteY2" fmla="*/ 65779 h 74359"/>
                <a:gd name="connsiteX3" fmla="*/ 0 w 233737"/>
                <a:gd name="connsiteY3" fmla="*/ 8580 h 74359"/>
                <a:gd name="connsiteX4" fmla="*/ 8580 w 233737"/>
                <a:gd name="connsiteY4" fmla="*/ 0 h 74359"/>
                <a:gd name="connsiteX5" fmla="*/ 225157 w 233737"/>
                <a:gd name="connsiteY5" fmla="*/ 0 h 74359"/>
                <a:gd name="connsiteX6" fmla="*/ 233737 w 233737"/>
                <a:gd name="connsiteY6" fmla="*/ 8580 h 74359"/>
                <a:gd name="connsiteX7" fmla="*/ 233737 w 233737"/>
                <a:gd name="connsiteY7" fmla="*/ 65779 h 74359"/>
                <a:gd name="connsiteX8" fmla="*/ 225157 w 233737"/>
                <a:gd name="connsiteY8" fmla="*/ 74359 h 74359"/>
                <a:gd name="connsiteX9" fmla="*/ 16120 w 233737"/>
                <a:gd name="connsiteY9" fmla="*/ 58499 h 74359"/>
                <a:gd name="connsiteX10" fmla="*/ 217878 w 233737"/>
                <a:gd name="connsiteY10" fmla="*/ 58499 h 74359"/>
                <a:gd name="connsiteX11" fmla="*/ 217878 w 233737"/>
                <a:gd name="connsiteY11" fmla="*/ 17160 h 74359"/>
                <a:gd name="connsiteX12" fmla="*/ 16120 w 233737"/>
                <a:gd name="connsiteY12" fmla="*/ 17160 h 74359"/>
                <a:gd name="connsiteX13" fmla="*/ 16120 w 233737"/>
                <a:gd name="connsiteY13" fmla="*/ 58499 h 74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737" h="74359">
                  <a:moveTo>
                    <a:pt x="225157" y="74359"/>
                  </a:moveTo>
                  <a:lnTo>
                    <a:pt x="8580" y="74359"/>
                  </a:lnTo>
                  <a:cubicBezTo>
                    <a:pt x="4420" y="74359"/>
                    <a:pt x="0" y="71239"/>
                    <a:pt x="0" y="65779"/>
                  </a:cubicBezTo>
                  <a:lnTo>
                    <a:pt x="0" y="8580"/>
                  </a:lnTo>
                  <a:cubicBezTo>
                    <a:pt x="0" y="4420"/>
                    <a:pt x="3120" y="0"/>
                    <a:pt x="8580" y="0"/>
                  </a:cubicBezTo>
                  <a:lnTo>
                    <a:pt x="225157" y="0"/>
                  </a:lnTo>
                  <a:cubicBezTo>
                    <a:pt x="229317" y="0"/>
                    <a:pt x="233737" y="3120"/>
                    <a:pt x="233737" y="8580"/>
                  </a:cubicBezTo>
                  <a:lnTo>
                    <a:pt x="233737" y="65779"/>
                  </a:lnTo>
                  <a:cubicBezTo>
                    <a:pt x="233737" y="71239"/>
                    <a:pt x="229317" y="74359"/>
                    <a:pt x="225157" y="74359"/>
                  </a:cubicBezTo>
                  <a:close/>
                  <a:moveTo>
                    <a:pt x="16120" y="58499"/>
                  </a:moveTo>
                  <a:lnTo>
                    <a:pt x="217878" y="58499"/>
                  </a:lnTo>
                  <a:lnTo>
                    <a:pt x="217878" y="17160"/>
                  </a:lnTo>
                  <a:lnTo>
                    <a:pt x="16120" y="17160"/>
                  </a:lnTo>
                  <a:lnTo>
                    <a:pt x="16120" y="58499"/>
                  </a:lnTo>
                  <a:close/>
                </a:path>
              </a:pathLst>
            </a:custGeom>
            <a:solidFill>
              <a:srgbClr val="FFFFFF"/>
            </a:solidFill>
            <a:ln w="2597" cap="flat">
              <a:noFill/>
              <a:prstDash val="solid"/>
              <a:miter/>
            </a:ln>
          </p:spPr>
          <p:txBody>
            <a:bodyPr rtlCol="0" anchor="ctr"/>
            <a:lstStyle/>
            <a:p>
              <a:endParaRPr lang="en-GB"/>
            </a:p>
          </p:txBody>
        </p:sp>
        <p:sp>
          <p:nvSpPr>
            <p:cNvPr id="643" name="Freeform: Shape 642">
              <a:extLst>
                <a:ext uri="{FF2B5EF4-FFF2-40B4-BE49-F238E27FC236}">
                  <a16:creationId xmlns:a16="http://schemas.microsoft.com/office/drawing/2014/main" id="{1D959BFD-6D58-CFF2-13C2-4C94A015757E}"/>
                </a:ext>
              </a:extLst>
            </p:cNvPr>
            <p:cNvSpPr/>
            <p:nvPr/>
          </p:nvSpPr>
          <p:spPr>
            <a:xfrm>
              <a:off x="4871577" y="3654615"/>
              <a:ext cx="233259" cy="86513"/>
            </a:xfrm>
            <a:custGeom>
              <a:avLst/>
              <a:gdLst>
                <a:gd name="connsiteX0" fmla="*/ 225157 w 233259"/>
                <a:gd name="connsiteY0" fmla="*/ 86514 h 86513"/>
                <a:gd name="connsiteX1" fmla="*/ 8580 w 233259"/>
                <a:gd name="connsiteY1" fmla="*/ 86514 h 86513"/>
                <a:gd name="connsiteX2" fmla="*/ 0 w 233259"/>
                <a:gd name="connsiteY2" fmla="*/ 77934 h 86513"/>
                <a:gd name="connsiteX3" fmla="*/ 0 w 233259"/>
                <a:gd name="connsiteY3" fmla="*/ 21775 h 86513"/>
                <a:gd name="connsiteX4" fmla="*/ 6240 w 233259"/>
                <a:gd name="connsiteY4" fmla="*/ 14235 h 86513"/>
                <a:gd name="connsiteX5" fmla="*/ 226978 w 233259"/>
                <a:gd name="connsiteY5" fmla="*/ 14235 h 86513"/>
                <a:gd name="connsiteX6" fmla="*/ 233217 w 233259"/>
                <a:gd name="connsiteY6" fmla="*/ 21775 h 86513"/>
                <a:gd name="connsiteX7" fmla="*/ 233217 w 233259"/>
                <a:gd name="connsiteY7" fmla="*/ 78974 h 86513"/>
                <a:gd name="connsiteX8" fmla="*/ 225157 w 233259"/>
                <a:gd name="connsiteY8" fmla="*/ 86514 h 86513"/>
                <a:gd name="connsiteX9" fmla="*/ 16120 w 233259"/>
                <a:gd name="connsiteY9" fmla="*/ 70394 h 86513"/>
                <a:gd name="connsiteX10" fmla="*/ 217878 w 233259"/>
                <a:gd name="connsiteY10" fmla="*/ 70394 h 86513"/>
                <a:gd name="connsiteX11" fmla="*/ 217878 w 233259"/>
                <a:gd name="connsiteY11" fmla="*/ 26975 h 86513"/>
                <a:gd name="connsiteX12" fmla="*/ 17420 w 233259"/>
                <a:gd name="connsiteY12" fmla="*/ 26975 h 86513"/>
                <a:gd name="connsiteX13" fmla="*/ 17420 w 233259"/>
                <a:gd name="connsiteY13" fmla="*/ 70394 h 86513"/>
                <a:gd name="connsiteX14" fmla="*/ 16120 w 233259"/>
                <a:gd name="connsiteY14" fmla="*/ 70394 h 86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3259" h="86513">
                  <a:moveTo>
                    <a:pt x="225157" y="86514"/>
                  </a:moveTo>
                  <a:lnTo>
                    <a:pt x="8580" y="86514"/>
                  </a:lnTo>
                  <a:cubicBezTo>
                    <a:pt x="4420" y="86514"/>
                    <a:pt x="0" y="83394"/>
                    <a:pt x="0" y="77934"/>
                  </a:cubicBezTo>
                  <a:lnTo>
                    <a:pt x="0" y="21775"/>
                  </a:lnTo>
                  <a:cubicBezTo>
                    <a:pt x="0" y="18655"/>
                    <a:pt x="2080" y="15535"/>
                    <a:pt x="6240" y="14235"/>
                  </a:cubicBezTo>
                  <a:cubicBezTo>
                    <a:pt x="79559" y="-4745"/>
                    <a:pt x="153658" y="-4745"/>
                    <a:pt x="226978" y="14235"/>
                  </a:cubicBezTo>
                  <a:cubicBezTo>
                    <a:pt x="230097" y="15275"/>
                    <a:pt x="233217" y="18395"/>
                    <a:pt x="233217" y="21775"/>
                  </a:cubicBezTo>
                  <a:lnTo>
                    <a:pt x="233217" y="78974"/>
                  </a:lnTo>
                  <a:cubicBezTo>
                    <a:pt x="233737" y="83134"/>
                    <a:pt x="229317" y="86514"/>
                    <a:pt x="225157" y="86514"/>
                  </a:cubicBezTo>
                  <a:close/>
                  <a:moveTo>
                    <a:pt x="16120" y="70394"/>
                  </a:moveTo>
                  <a:lnTo>
                    <a:pt x="217878" y="70394"/>
                  </a:lnTo>
                  <a:lnTo>
                    <a:pt x="217878" y="26975"/>
                  </a:lnTo>
                  <a:cubicBezTo>
                    <a:pt x="151058" y="10075"/>
                    <a:pt x="84239" y="10075"/>
                    <a:pt x="17420" y="26975"/>
                  </a:cubicBezTo>
                  <a:lnTo>
                    <a:pt x="17420" y="70394"/>
                  </a:lnTo>
                  <a:lnTo>
                    <a:pt x="16120" y="70394"/>
                  </a:lnTo>
                  <a:close/>
                </a:path>
              </a:pathLst>
            </a:custGeom>
            <a:solidFill>
              <a:srgbClr val="00005A"/>
            </a:solidFill>
            <a:ln w="2597" cap="flat">
              <a:noFill/>
              <a:prstDash val="solid"/>
              <a:miter/>
            </a:ln>
          </p:spPr>
          <p:txBody>
            <a:bodyPr rtlCol="0" anchor="ctr"/>
            <a:lstStyle/>
            <a:p>
              <a:endParaRPr lang="en-GB"/>
            </a:p>
          </p:txBody>
        </p:sp>
        <p:sp>
          <p:nvSpPr>
            <p:cNvPr id="644" name="Freeform: Shape 643">
              <a:extLst>
                <a:ext uri="{FF2B5EF4-FFF2-40B4-BE49-F238E27FC236}">
                  <a16:creationId xmlns:a16="http://schemas.microsoft.com/office/drawing/2014/main" id="{91BA5101-DF5C-A443-6059-C40E91CD9E26}"/>
                </a:ext>
              </a:extLst>
            </p:cNvPr>
            <p:cNvSpPr/>
            <p:nvPr/>
          </p:nvSpPr>
          <p:spPr>
            <a:xfrm>
              <a:off x="5171873" y="3802488"/>
              <a:ext cx="181737" cy="17159"/>
            </a:xfrm>
            <a:custGeom>
              <a:avLst/>
              <a:gdLst>
                <a:gd name="connsiteX0" fmla="*/ 173158 w 181737"/>
                <a:gd name="connsiteY0" fmla="*/ 17160 h 17159"/>
                <a:gd name="connsiteX1" fmla="*/ 8580 w 181737"/>
                <a:gd name="connsiteY1" fmla="*/ 17160 h 17159"/>
                <a:gd name="connsiteX2" fmla="*/ 0 w 181737"/>
                <a:gd name="connsiteY2" fmla="*/ 8580 h 17159"/>
                <a:gd name="connsiteX3" fmla="*/ 8580 w 181737"/>
                <a:gd name="connsiteY3" fmla="*/ 0 h 17159"/>
                <a:gd name="connsiteX4" fmla="*/ 173158 w 181737"/>
                <a:gd name="connsiteY4" fmla="*/ 0 h 17159"/>
                <a:gd name="connsiteX5" fmla="*/ 181738 w 181737"/>
                <a:gd name="connsiteY5" fmla="*/ 8580 h 17159"/>
                <a:gd name="connsiteX6" fmla="*/ 173158 w 181737"/>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737" h="17159">
                  <a:moveTo>
                    <a:pt x="173158" y="17160"/>
                  </a:moveTo>
                  <a:lnTo>
                    <a:pt x="8580" y="17160"/>
                  </a:lnTo>
                  <a:cubicBezTo>
                    <a:pt x="4420" y="17160"/>
                    <a:pt x="0" y="14040"/>
                    <a:pt x="0" y="8580"/>
                  </a:cubicBezTo>
                  <a:cubicBezTo>
                    <a:pt x="0" y="3120"/>
                    <a:pt x="3120" y="0"/>
                    <a:pt x="8580" y="0"/>
                  </a:cubicBezTo>
                  <a:lnTo>
                    <a:pt x="173158" y="0"/>
                  </a:lnTo>
                  <a:cubicBezTo>
                    <a:pt x="177318" y="0"/>
                    <a:pt x="181738" y="3120"/>
                    <a:pt x="181738" y="8580"/>
                  </a:cubicBezTo>
                  <a:cubicBezTo>
                    <a:pt x="181738" y="14040"/>
                    <a:pt x="177578" y="17160"/>
                    <a:pt x="173158" y="17160"/>
                  </a:cubicBezTo>
                  <a:close/>
                </a:path>
              </a:pathLst>
            </a:custGeom>
            <a:solidFill>
              <a:srgbClr val="00005A"/>
            </a:solidFill>
            <a:ln w="2597" cap="flat">
              <a:noFill/>
              <a:prstDash val="solid"/>
              <a:miter/>
            </a:ln>
          </p:spPr>
          <p:txBody>
            <a:bodyPr rtlCol="0" anchor="ctr"/>
            <a:lstStyle/>
            <a:p>
              <a:endParaRPr lang="en-GB"/>
            </a:p>
          </p:txBody>
        </p:sp>
        <p:grpSp>
          <p:nvGrpSpPr>
            <p:cNvPr id="645" name="Graphic 6">
              <a:extLst>
                <a:ext uri="{FF2B5EF4-FFF2-40B4-BE49-F238E27FC236}">
                  <a16:creationId xmlns:a16="http://schemas.microsoft.com/office/drawing/2014/main" id="{B60ECC35-887E-5D4E-FFD3-E41725FBB569}"/>
                </a:ext>
              </a:extLst>
            </p:cNvPr>
            <p:cNvGrpSpPr/>
            <p:nvPr/>
          </p:nvGrpSpPr>
          <p:grpSpPr>
            <a:xfrm>
              <a:off x="5346071" y="3583051"/>
              <a:ext cx="431335" cy="571993"/>
              <a:chOff x="5346071" y="3583051"/>
              <a:chExt cx="431335" cy="571993"/>
            </a:xfrm>
          </p:grpSpPr>
          <p:grpSp>
            <p:nvGrpSpPr>
              <p:cNvPr id="647" name="Graphic 6">
                <a:extLst>
                  <a:ext uri="{FF2B5EF4-FFF2-40B4-BE49-F238E27FC236}">
                    <a16:creationId xmlns:a16="http://schemas.microsoft.com/office/drawing/2014/main" id="{39408BFE-0964-B361-40A4-A78CB1B32566}"/>
                  </a:ext>
                </a:extLst>
              </p:cNvPr>
              <p:cNvGrpSpPr/>
              <p:nvPr/>
            </p:nvGrpSpPr>
            <p:grpSpPr>
              <a:xfrm>
                <a:off x="5379091" y="3775188"/>
                <a:ext cx="389475" cy="379855"/>
                <a:chOff x="5379091" y="3775188"/>
                <a:chExt cx="389475" cy="379855"/>
              </a:xfrm>
              <a:solidFill>
                <a:srgbClr val="0069FF"/>
              </a:solidFill>
            </p:grpSpPr>
            <p:grpSp>
              <p:nvGrpSpPr>
                <p:cNvPr id="659" name="Graphic 6">
                  <a:extLst>
                    <a:ext uri="{FF2B5EF4-FFF2-40B4-BE49-F238E27FC236}">
                      <a16:creationId xmlns:a16="http://schemas.microsoft.com/office/drawing/2014/main" id="{BE6CD937-4AA0-8A01-A98F-19194BDDFBB6}"/>
                    </a:ext>
                  </a:extLst>
                </p:cNvPr>
                <p:cNvGrpSpPr/>
                <p:nvPr/>
              </p:nvGrpSpPr>
              <p:grpSpPr>
                <a:xfrm>
                  <a:off x="5379091" y="3775188"/>
                  <a:ext cx="86059" cy="379855"/>
                  <a:chOff x="5379091" y="3775188"/>
                  <a:chExt cx="86059" cy="379855"/>
                </a:xfrm>
                <a:solidFill>
                  <a:srgbClr val="0069FF"/>
                </a:solidFill>
              </p:grpSpPr>
              <p:sp>
                <p:nvSpPr>
                  <p:cNvPr id="672" name="Freeform: Shape 671">
                    <a:extLst>
                      <a:ext uri="{FF2B5EF4-FFF2-40B4-BE49-F238E27FC236}">
                        <a16:creationId xmlns:a16="http://schemas.microsoft.com/office/drawing/2014/main" id="{7C34A48F-128A-D07D-1202-13F1A6142462}"/>
                      </a:ext>
                    </a:extLst>
                  </p:cNvPr>
                  <p:cNvSpPr/>
                  <p:nvPr/>
                </p:nvSpPr>
                <p:spPr>
                  <a:xfrm>
                    <a:off x="5384291" y="3780388"/>
                    <a:ext cx="75659" cy="369590"/>
                  </a:xfrm>
                  <a:custGeom>
                    <a:avLst/>
                    <a:gdLst>
                      <a:gd name="connsiteX0" fmla="*/ 0 w 75659"/>
                      <a:gd name="connsiteY0" fmla="*/ 335396 h 369590"/>
                      <a:gd name="connsiteX1" fmla="*/ 0 w 75659"/>
                      <a:gd name="connsiteY1" fmla="*/ 34060 h 369590"/>
                      <a:gd name="connsiteX2" fmla="*/ 34060 w 75659"/>
                      <a:gd name="connsiteY2" fmla="*/ 0 h 369590"/>
                      <a:gd name="connsiteX3" fmla="*/ 41600 w 75659"/>
                      <a:gd name="connsiteY3" fmla="*/ 0 h 369590"/>
                      <a:gd name="connsiteX4" fmla="*/ 75659 w 75659"/>
                      <a:gd name="connsiteY4" fmla="*/ 34060 h 369590"/>
                      <a:gd name="connsiteX5" fmla="*/ 75659 w 75659"/>
                      <a:gd name="connsiteY5" fmla="*/ 335396 h 369590"/>
                      <a:gd name="connsiteX6" fmla="*/ 41600 w 75659"/>
                      <a:gd name="connsiteY6" fmla="*/ 369456 h 369590"/>
                      <a:gd name="connsiteX7" fmla="*/ 34060 w 75659"/>
                      <a:gd name="connsiteY7" fmla="*/ 369456 h 369590"/>
                      <a:gd name="connsiteX8" fmla="*/ 0 w 75659"/>
                      <a:gd name="connsiteY8" fmla="*/ 335396 h 36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59" h="369590">
                        <a:moveTo>
                          <a:pt x="0" y="335396"/>
                        </a:moveTo>
                        <a:lnTo>
                          <a:pt x="0" y="34060"/>
                        </a:lnTo>
                        <a:cubicBezTo>
                          <a:pt x="0" y="15080"/>
                          <a:pt x="15860" y="0"/>
                          <a:pt x="34060" y="0"/>
                        </a:cubicBezTo>
                        <a:lnTo>
                          <a:pt x="41600" y="0"/>
                        </a:lnTo>
                        <a:cubicBezTo>
                          <a:pt x="60579" y="0"/>
                          <a:pt x="75659" y="15860"/>
                          <a:pt x="75659" y="34060"/>
                        </a:cubicBezTo>
                        <a:lnTo>
                          <a:pt x="75659" y="335396"/>
                        </a:lnTo>
                        <a:cubicBezTo>
                          <a:pt x="75659" y="354376"/>
                          <a:pt x="59799" y="369456"/>
                          <a:pt x="41600" y="369456"/>
                        </a:cubicBezTo>
                        <a:lnTo>
                          <a:pt x="34060" y="369456"/>
                        </a:lnTo>
                        <a:cubicBezTo>
                          <a:pt x="16120" y="371276"/>
                          <a:pt x="0" y="354376"/>
                          <a:pt x="0" y="335396"/>
                        </a:cubicBezTo>
                        <a:close/>
                      </a:path>
                    </a:pathLst>
                  </a:custGeom>
                  <a:solidFill>
                    <a:srgbClr val="0069FF"/>
                  </a:solidFill>
                  <a:ln w="2597" cap="flat">
                    <a:noFill/>
                    <a:prstDash val="solid"/>
                    <a:miter/>
                  </a:ln>
                </p:spPr>
                <p:txBody>
                  <a:bodyPr rtlCol="0" anchor="ctr"/>
                  <a:lstStyle/>
                  <a:p>
                    <a:endParaRPr lang="en-GB"/>
                  </a:p>
                </p:txBody>
              </p:sp>
              <p:sp>
                <p:nvSpPr>
                  <p:cNvPr id="673" name="Freeform: Shape 672">
                    <a:extLst>
                      <a:ext uri="{FF2B5EF4-FFF2-40B4-BE49-F238E27FC236}">
                        <a16:creationId xmlns:a16="http://schemas.microsoft.com/office/drawing/2014/main" id="{86631077-7450-B79C-01C8-84CBFC5D69E7}"/>
                      </a:ext>
                    </a:extLst>
                  </p:cNvPr>
                  <p:cNvSpPr/>
                  <p:nvPr/>
                </p:nvSpPr>
                <p:spPr>
                  <a:xfrm>
                    <a:off x="5379091" y="3775188"/>
                    <a:ext cx="86059" cy="379855"/>
                  </a:xfrm>
                  <a:custGeom>
                    <a:avLst/>
                    <a:gdLst>
                      <a:gd name="connsiteX0" fmla="*/ 36140 w 86059"/>
                      <a:gd name="connsiteY0" fmla="*/ 379856 h 379855"/>
                      <a:gd name="connsiteX1" fmla="*/ 13780 w 86059"/>
                      <a:gd name="connsiteY1" fmla="*/ 371276 h 379855"/>
                      <a:gd name="connsiteX2" fmla="*/ 0 w 86059"/>
                      <a:gd name="connsiteY2" fmla="*/ 340596 h 379855"/>
                      <a:gd name="connsiteX3" fmla="*/ 0 w 86059"/>
                      <a:gd name="connsiteY3" fmla="*/ 39259 h 379855"/>
                      <a:gd name="connsiteX4" fmla="*/ 39260 w 86059"/>
                      <a:gd name="connsiteY4" fmla="*/ 0 h 379855"/>
                      <a:gd name="connsiteX5" fmla="*/ 46799 w 86059"/>
                      <a:gd name="connsiteY5" fmla="*/ 0 h 379855"/>
                      <a:gd name="connsiteX6" fmla="*/ 86059 w 86059"/>
                      <a:gd name="connsiteY6" fmla="*/ 39259 h 379855"/>
                      <a:gd name="connsiteX7" fmla="*/ 86059 w 86059"/>
                      <a:gd name="connsiteY7" fmla="*/ 340596 h 379855"/>
                      <a:gd name="connsiteX8" fmla="*/ 46799 w 86059"/>
                      <a:gd name="connsiteY8" fmla="*/ 379856 h 379855"/>
                      <a:gd name="connsiteX9" fmla="*/ 39260 w 86059"/>
                      <a:gd name="connsiteY9" fmla="*/ 379856 h 379855"/>
                      <a:gd name="connsiteX10" fmla="*/ 36140 w 86059"/>
                      <a:gd name="connsiteY10" fmla="*/ 379856 h 379855"/>
                      <a:gd name="connsiteX11" fmla="*/ 39260 w 86059"/>
                      <a:gd name="connsiteY11" fmla="*/ 10400 h 379855"/>
                      <a:gd name="connsiteX12" fmla="*/ 10660 w 86059"/>
                      <a:gd name="connsiteY12" fmla="*/ 39000 h 379855"/>
                      <a:gd name="connsiteX13" fmla="*/ 10660 w 86059"/>
                      <a:gd name="connsiteY13" fmla="*/ 340336 h 379855"/>
                      <a:gd name="connsiteX14" fmla="*/ 21320 w 86059"/>
                      <a:gd name="connsiteY14" fmla="*/ 362696 h 379855"/>
                      <a:gd name="connsiteX15" fmla="*/ 39260 w 86059"/>
                      <a:gd name="connsiteY15" fmla="*/ 368936 h 379855"/>
                      <a:gd name="connsiteX16" fmla="*/ 47840 w 86059"/>
                      <a:gd name="connsiteY16" fmla="*/ 368936 h 379855"/>
                      <a:gd name="connsiteX17" fmla="*/ 76439 w 86059"/>
                      <a:gd name="connsiteY17" fmla="*/ 340336 h 379855"/>
                      <a:gd name="connsiteX18" fmla="*/ 76439 w 86059"/>
                      <a:gd name="connsiteY18" fmla="*/ 39000 h 379855"/>
                      <a:gd name="connsiteX19" fmla="*/ 47840 w 86059"/>
                      <a:gd name="connsiteY19" fmla="*/ 10400 h 379855"/>
                      <a:gd name="connsiteX20" fmla="*/ 39260 w 86059"/>
                      <a:gd name="connsiteY20" fmla="*/ 10400 h 37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6059" h="379855">
                        <a:moveTo>
                          <a:pt x="36140" y="379856"/>
                        </a:moveTo>
                        <a:cubicBezTo>
                          <a:pt x="28600" y="379856"/>
                          <a:pt x="20280" y="376736"/>
                          <a:pt x="13780" y="371276"/>
                        </a:cubicBezTo>
                        <a:cubicBezTo>
                          <a:pt x="5200" y="363736"/>
                          <a:pt x="0" y="352296"/>
                          <a:pt x="0" y="340596"/>
                        </a:cubicBezTo>
                        <a:lnTo>
                          <a:pt x="0" y="39259"/>
                        </a:lnTo>
                        <a:cubicBezTo>
                          <a:pt x="0" y="17940"/>
                          <a:pt x="17940" y="0"/>
                          <a:pt x="39260" y="0"/>
                        </a:cubicBezTo>
                        <a:lnTo>
                          <a:pt x="46799" y="0"/>
                        </a:lnTo>
                        <a:cubicBezTo>
                          <a:pt x="68119" y="0"/>
                          <a:pt x="86059" y="17940"/>
                          <a:pt x="86059" y="39259"/>
                        </a:cubicBezTo>
                        <a:lnTo>
                          <a:pt x="86059" y="340596"/>
                        </a:lnTo>
                        <a:cubicBezTo>
                          <a:pt x="86059" y="361916"/>
                          <a:pt x="68119" y="379856"/>
                          <a:pt x="46799" y="379856"/>
                        </a:cubicBezTo>
                        <a:lnTo>
                          <a:pt x="39260" y="379856"/>
                        </a:lnTo>
                        <a:cubicBezTo>
                          <a:pt x="38220" y="379856"/>
                          <a:pt x="37180" y="379856"/>
                          <a:pt x="36140" y="379856"/>
                        </a:cubicBezTo>
                        <a:close/>
                        <a:moveTo>
                          <a:pt x="39260" y="10400"/>
                        </a:moveTo>
                        <a:cubicBezTo>
                          <a:pt x="23400" y="10400"/>
                          <a:pt x="10660" y="23140"/>
                          <a:pt x="10660" y="39000"/>
                        </a:cubicBezTo>
                        <a:lnTo>
                          <a:pt x="10660" y="340336"/>
                        </a:lnTo>
                        <a:cubicBezTo>
                          <a:pt x="10660" y="348916"/>
                          <a:pt x="14820" y="357236"/>
                          <a:pt x="21320" y="362696"/>
                        </a:cubicBezTo>
                        <a:cubicBezTo>
                          <a:pt x="26520" y="366856"/>
                          <a:pt x="33020" y="368936"/>
                          <a:pt x="39260" y="368936"/>
                        </a:cubicBezTo>
                        <a:lnTo>
                          <a:pt x="47840" y="368936"/>
                        </a:lnTo>
                        <a:cubicBezTo>
                          <a:pt x="63699" y="368936"/>
                          <a:pt x="76439" y="356196"/>
                          <a:pt x="76439" y="340336"/>
                        </a:cubicBezTo>
                        <a:lnTo>
                          <a:pt x="76439" y="39000"/>
                        </a:lnTo>
                        <a:cubicBezTo>
                          <a:pt x="76439" y="23140"/>
                          <a:pt x="63699" y="10400"/>
                          <a:pt x="47840" y="10400"/>
                        </a:cubicBezTo>
                        <a:lnTo>
                          <a:pt x="39260" y="10400"/>
                        </a:lnTo>
                        <a:close/>
                      </a:path>
                    </a:pathLst>
                  </a:custGeom>
                  <a:solidFill>
                    <a:srgbClr val="0069FF"/>
                  </a:solidFill>
                  <a:ln w="2597" cap="flat">
                    <a:noFill/>
                    <a:prstDash val="solid"/>
                    <a:miter/>
                  </a:ln>
                </p:spPr>
                <p:txBody>
                  <a:bodyPr rtlCol="0" anchor="ctr"/>
                  <a:lstStyle/>
                  <a:p>
                    <a:endParaRPr lang="en-GB"/>
                  </a:p>
                </p:txBody>
              </p:sp>
            </p:grpSp>
            <p:grpSp>
              <p:nvGrpSpPr>
                <p:cNvPr id="660" name="Graphic 6">
                  <a:extLst>
                    <a:ext uri="{FF2B5EF4-FFF2-40B4-BE49-F238E27FC236}">
                      <a16:creationId xmlns:a16="http://schemas.microsoft.com/office/drawing/2014/main" id="{182D4D3B-687A-6192-B02A-EFB18BE45BD2}"/>
                    </a:ext>
                  </a:extLst>
                </p:cNvPr>
                <p:cNvGrpSpPr/>
                <p:nvPr/>
              </p:nvGrpSpPr>
              <p:grpSpPr>
                <a:xfrm>
                  <a:off x="5454490" y="3775188"/>
                  <a:ext cx="86059" cy="379855"/>
                  <a:chOff x="5454490" y="3775188"/>
                  <a:chExt cx="86059" cy="379855"/>
                </a:xfrm>
                <a:solidFill>
                  <a:srgbClr val="0069FF"/>
                </a:solidFill>
              </p:grpSpPr>
              <p:sp>
                <p:nvSpPr>
                  <p:cNvPr id="670" name="Freeform: Shape 669">
                    <a:extLst>
                      <a:ext uri="{FF2B5EF4-FFF2-40B4-BE49-F238E27FC236}">
                        <a16:creationId xmlns:a16="http://schemas.microsoft.com/office/drawing/2014/main" id="{45D5D255-28F5-6765-A622-DB42CC87B8C4}"/>
                      </a:ext>
                    </a:extLst>
                  </p:cNvPr>
                  <p:cNvSpPr/>
                  <p:nvPr/>
                </p:nvSpPr>
                <p:spPr>
                  <a:xfrm>
                    <a:off x="5459690" y="3780388"/>
                    <a:ext cx="75659" cy="369590"/>
                  </a:xfrm>
                  <a:custGeom>
                    <a:avLst/>
                    <a:gdLst>
                      <a:gd name="connsiteX0" fmla="*/ 0 w 75659"/>
                      <a:gd name="connsiteY0" fmla="*/ 335396 h 369590"/>
                      <a:gd name="connsiteX1" fmla="*/ 0 w 75659"/>
                      <a:gd name="connsiteY1" fmla="*/ 34060 h 369590"/>
                      <a:gd name="connsiteX2" fmla="*/ 34060 w 75659"/>
                      <a:gd name="connsiteY2" fmla="*/ 0 h 369590"/>
                      <a:gd name="connsiteX3" fmla="*/ 41600 w 75659"/>
                      <a:gd name="connsiteY3" fmla="*/ 0 h 369590"/>
                      <a:gd name="connsiteX4" fmla="*/ 75659 w 75659"/>
                      <a:gd name="connsiteY4" fmla="*/ 34060 h 369590"/>
                      <a:gd name="connsiteX5" fmla="*/ 75659 w 75659"/>
                      <a:gd name="connsiteY5" fmla="*/ 335396 h 369590"/>
                      <a:gd name="connsiteX6" fmla="*/ 41600 w 75659"/>
                      <a:gd name="connsiteY6" fmla="*/ 369456 h 369590"/>
                      <a:gd name="connsiteX7" fmla="*/ 34060 w 75659"/>
                      <a:gd name="connsiteY7" fmla="*/ 369456 h 369590"/>
                      <a:gd name="connsiteX8" fmla="*/ 0 w 75659"/>
                      <a:gd name="connsiteY8" fmla="*/ 335396 h 36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59" h="369590">
                        <a:moveTo>
                          <a:pt x="0" y="335396"/>
                        </a:moveTo>
                        <a:lnTo>
                          <a:pt x="0" y="34060"/>
                        </a:lnTo>
                        <a:cubicBezTo>
                          <a:pt x="0" y="15080"/>
                          <a:pt x="15860" y="0"/>
                          <a:pt x="34060" y="0"/>
                        </a:cubicBezTo>
                        <a:lnTo>
                          <a:pt x="41600" y="0"/>
                        </a:lnTo>
                        <a:cubicBezTo>
                          <a:pt x="60579" y="0"/>
                          <a:pt x="75659" y="15860"/>
                          <a:pt x="75659" y="34060"/>
                        </a:cubicBezTo>
                        <a:lnTo>
                          <a:pt x="75659" y="335396"/>
                        </a:lnTo>
                        <a:cubicBezTo>
                          <a:pt x="75659" y="354376"/>
                          <a:pt x="59799" y="369456"/>
                          <a:pt x="41600" y="369456"/>
                        </a:cubicBezTo>
                        <a:lnTo>
                          <a:pt x="34060" y="369456"/>
                        </a:lnTo>
                        <a:cubicBezTo>
                          <a:pt x="14820" y="371276"/>
                          <a:pt x="0" y="354376"/>
                          <a:pt x="0" y="335396"/>
                        </a:cubicBezTo>
                        <a:close/>
                      </a:path>
                    </a:pathLst>
                  </a:custGeom>
                  <a:solidFill>
                    <a:srgbClr val="0069FF"/>
                  </a:solidFill>
                  <a:ln w="2597" cap="flat">
                    <a:noFill/>
                    <a:prstDash val="solid"/>
                    <a:miter/>
                  </a:ln>
                </p:spPr>
                <p:txBody>
                  <a:bodyPr rtlCol="0" anchor="ctr"/>
                  <a:lstStyle/>
                  <a:p>
                    <a:endParaRPr lang="en-GB"/>
                  </a:p>
                </p:txBody>
              </p:sp>
              <p:sp>
                <p:nvSpPr>
                  <p:cNvPr id="671" name="Freeform: Shape 670">
                    <a:extLst>
                      <a:ext uri="{FF2B5EF4-FFF2-40B4-BE49-F238E27FC236}">
                        <a16:creationId xmlns:a16="http://schemas.microsoft.com/office/drawing/2014/main" id="{80023E5B-5333-78D2-8453-06DD7B924ED7}"/>
                      </a:ext>
                    </a:extLst>
                  </p:cNvPr>
                  <p:cNvSpPr/>
                  <p:nvPr/>
                </p:nvSpPr>
                <p:spPr>
                  <a:xfrm>
                    <a:off x="5454490" y="3775188"/>
                    <a:ext cx="86059" cy="379855"/>
                  </a:xfrm>
                  <a:custGeom>
                    <a:avLst/>
                    <a:gdLst>
                      <a:gd name="connsiteX0" fmla="*/ 36140 w 86059"/>
                      <a:gd name="connsiteY0" fmla="*/ 379856 h 379855"/>
                      <a:gd name="connsiteX1" fmla="*/ 13780 w 86059"/>
                      <a:gd name="connsiteY1" fmla="*/ 371276 h 379855"/>
                      <a:gd name="connsiteX2" fmla="*/ 0 w 86059"/>
                      <a:gd name="connsiteY2" fmla="*/ 340596 h 379855"/>
                      <a:gd name="connsiteX3" fmla="*/ 0 w 86059"/>
                      <a:gd name="connsiteY3" fmla="*/ 39259 h 379855"/>
                      <a:gd name="connsiteX4" fmla="*/ 39260 w 86059"/>
                      <a:gd name="connsiteY4" fmla="*/ 0 h 379855"/>
                      <a:gd name="connsiteX5" fmla="*/ 46799 w 86059"/>
                      <a:gd name="connsiteY5" fmla="*/ 0 h 379855"/>
                      <a:gd name="connsiteX6" fmla="*/ 86059 w 86059"/>
                      <a:gd name="connsiteY6" fmla="*/ 39259 h 379855"/>
                      <a:gd name="connsiteX7" fmla="*/ 86059 w 86059"/>
                      <a:gd name="connsiteY7" fmla="*/ 340596 h 379855"/>
                      <a:gd name="connsiteX8" fmla="*/ 46799 w 86059"/>
                      <a:gd name="connsiteY8" fmla="*/ 379856 h 379855"/>
                      <a:gd name="connsiteX9" fmla="*/ 39260 w 86059"/>
                      <a:gd name="connsiteY9" fmla="*/ 379856 h 379855"/>
                      <a:gd name="connsiteX10" fmla="*/ 36140 w 86059"/>
                      <a:gd name="connsiteY10" fmla="*/ 379856 h 379855"/>
                      <a:gd name="connsiteX11" fmla="*/ 39260 w 86059"/>
                      <a:gd name="connsiteY11" fmla="*/ 10400 h 379855"/>
                      <a:gd name="connsiteX12" fmla="*/ 10660 w 86059"/>
                      <a:gd name="connsiteY12" fmla="*/ 39000 h 379855"/>
                      <a:gd name="connsiteX13" fmla="*/ 10660 w 86059"/>
                      <a:gd name="connsiteY13" fmla="*/ 340336 h 379855"/>
                      <a:gd name="connsiteX14" fmla="*/ 20280 w 86059"/>
                      <a:gd name="connsiteY14" fmla="*/ 362696 h 379855"/>
                      <a:gd name="connsiteX15" fmla="*/ 38220 w 86059"/>
                      <a:gd name="connsiteY15" fmla="*/ 368936 h 379855"/>
                      <a:gd name="connsiteX16" fmla="*/ 46799 w 86059"/>
                      <a:gd name="connsiteY16" fmla="*/ 368936 h 379855"/>
                      <a:gd name="connsiteX17" fmla="*/ 75399 w 86059"/>
                      <a:gd name="connsiteY17" fmla="*/ 340336 h 379855"/>
                      <a:gd name="connsiteX18" fmla="*/ 75399 w 86059"/>
                      <a:gd name="connsiteY18" fmla="*/ 39000 h 379855"/>
                      <a:gd name="connsiteX19" fmla="*/ 46799 w 86059"/>
                      <a:gd name="connsiteY19" fmla="*/ 10400 h 379855"/>
                      <a:gd name="connsiteX20" fmla="*/ 39260 w 86059"/>
                      <a:gd name="connsiteY20" fmla="*/ 10400 h 37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6059" h="379855">
                        <a:moveTo>
                          <a:pt x="36140" y="379856"/>
                        </a:moveTo>
                        <a:cubicBezTo>
                          <a:pt x="27560" y="379856"/>
                          <a:pt x="20280" y="376736"/>
                          <a:pt x="13780" y="371276"/>
                        </a:cubicBezTo>
                        <a:cubicBezTo>
                          <a:pt x="5200" y="363736"/>
                          <a:pt x="0" y="352296"/>
                          <a:pt x="0" y="340596"/>
                        </a:cubicBezTo>
                        <a:lnTo>
                          <a:pt x="0" y="39259"/>
                        </a:lnTo>
                        <a:cubicBezTo>
                          <a:pt x="0" y="17940"/>
                          <a:pt x="17940" y="0"/>
                          <a:pt x="39260" y="0"/>
                        </a:cubicBezTo>
                        <a:lnTo>
                          <a:pt x="46799" y="0"/>
                        </a:lnTo>
                        <a:cubicBezTo>
                          <a:pt x="68119" y="0"/>
                          <a:pt x="86059" y="17940"/>
                          <a:pt x="86059" y="39259"/>
                        </a:cubicBezTo>
                        <a:lnTo>
                          <a:pt x="86059" y="340596"/>
                        </a:lnTo>
                        <a:cubicBezTo>
                          <a:pt x="86059" y="361916"/>
                          <a:pt x="68119" y="379856"/>
                          <a:pt x="46799" y="379856"/>
                        </a:cubicBezTo>
                        <a:lnTo>
                          <a:pt x="39260" y="379856"/>
                        </a:lnTo>
                        <a:cubicBezTo>
                          <a:pt x="38220" y="379856"/>
                          <a:pt x="37180" y="379856"/>
                          <a:pt x="36140" y="379856"/>
                        </a:cubicBezTo>
                        <a:close/>
                        <a:moveTo>
                          <a:pt x="39260" y="10400"/>
                        </a:moveTo>
                        <a:cubicBezTo>
                          <a:pt x="23400" y="10400"/>
                          <a:pt x="10660" y="23140"/>
                          <a:pt x="10660" y="39000"/>
                        </a:cubicBezTo>
                        <a:lnTo>
                          <a:pt x="10660" y="340336"/>
                        </a:lnTo>
                        <a:cubicBezTo>
                          <a:pt x="10660" y="348916"/>
                          <a:pt x="13780" y="357236"/>
                          <a:pt x="20280" y="362696"/>
                        </a:cubicBezTo>
                        <a:cubicBezTo>
                          <a:pt x="23400" y="365816"/>
                          <a:pt x="29900" y="370236"/>
                          <a:pt x="38220" y="368936"/>
                        </a:cubicBezTo>
                        <a:lnTo>
                          <a:pt x="46799" y="368936"/>
                        </a:lnTo>
                        <a:cubicBezTo>
                          <a:pt x="62660" y="368936"/>
                          <a:pt x="75399" y="356196"/>
                          <a:pt x="75399" y="340336"/>
                        </a:cubicBezTo>
                        <a:lnTo>
                          <a:pt x="75399" y="39000"/>
                        </a:lnTo>
                        <a:cubicBezTo>
                          <a:pt x="75399" y="23140"/>
                          <a:pt x="62660" y="10400"/>
                          <a:pt x="46799" y="10400"/>
                        </a:cubicBezTo>
                        <a:lnTo>
                          <a:pt x="39260" y="10400"/>
                        </a:lnTo>
                        <a:close/>
                      </a:path>
                    </a:pathLst>
                  </a:custGeom>
                  <a:solidFill>
                    <a:srgbClr val="0069FF"/>
                  </a:solidFill>
                  <a:ln w="2597" cap="flat">
                    <a:noFill/>
                    <a:prstDash val="solid"/>
                    <a:miter/>
                  </a:ln>
                </p:spPr>
                <p:txBody>
                  <a:bodyPr rtlCol="0" anchor="ctr"/>
                  <a:lstStyle/>
                  <a:p>
                    <a:endParaRPr lang="en-GB"/>
                  </a:p>
                </p:txBody>
              </p:sp>
            </p:grpSp>
            <p:grpSp>
              <p:nvGrpSpPr>
                <p:cNvPr id="661" name="Graphic 6">
                  <a:extLst>
                    <a:ext uri="{FF2B5EF4-FFF2-40B4-BE49-F238E27FC236}">
                      <a16:creationId xmlns:a16="http://schemas.microsoft.com/office/drawing/2014/main" id="{784B241D-A21B-C9F8-8745-C38482DFAB72}"/>
                    </a:ext>
                  </a:extLst>
                </p:cNvPr>
                <p:cNvGrpSpPr/>
                <p:nvPr/>
              </p:nvGrpSpPr>
              <p:grpSpPr>
                <a:xfrm>
                  <a:off x="5530669" y="3775188"/>
                  <a:ext cx="86058" cy="379855"/>
                  <a:chOff x="5530669" y="3775188"/>
                  <a:chExt cx="86058" cy="379855"/>
                </a:xfrm>
                <a:solidFill>
                  <a:srgbClr val="0069FF"/>
                </a:solidFill>
              </p:grpSpPr>
              <p:sp>
                <p:nvSpPr>
                  <p:cNvPr id="668" name="Freeform: Shape 667">
                    <a:extLst>
                      <a:ext uri="{FF2B5EF4-FFF2-40B4-BE49-F238E27FC236}">
                        <a16:creationId xmlns:a16="http://schemas.microsoft.com/office/drawing/2014/main" id="{2B2FA33A-0181-180D-8B4C-D9FA5DC7F599}"/>
                      </a:ext>
                    </a:extLst>
                  </p:cNvPr>
                  <p:cNvSpPr/>
                  <p:nvPr/>
                </p:nvSpPr>
                <p:spPr>
                  <a:xfrm>
                    <a:off x="5536129" y="3780388"/>
                    <a:ext cx="75659" cy="369590"/>
                  </a:xfrm>
                  <a:custGeom>
                    <a:avLst/>
                    <a:gdLst>
                      <a:gd name="connsiteX0" fmla="*/ 0 w 75659"/>
                      <a:gd name="connsiteY0" fmla="*/ 335396 h 369590"/>
                      <a:gd name="connsiteX1" fmla="*/ 0 w 75659"/>
                      <a:gd name="connsiteY1" fmla="*/ 34060 h 369590"/>
                      <a:gd name="connsiteX2" fmla="*/ 34060 w 75659"/>
                      <a:gd name="connsiteY2" fmla="*/ 0 h 369590"/>
                      <a:gd name="connsiteX3" fmla="*/ 41600 w 75659"/>
                      <a:gd name="connsiteY3" fmla="*/ 0 h 369590"/>
                      <a:gd name="connsiteX4" fmla="*/ 75659 w 75659"/>
                      <a:gd name="connsiteY4" fmla="*/ 34060 h 369590"/>
                      <a:gd name="connsiteX5" fmla="*/ 75659 w 75659"/>
                      <a:gd name="connsiteY5" fmla="*/ 335396 h 369590"/>
                      <a:gd name="connsiteX6" fmla="*/ 41600 w 75659"/>
                      <a:gd name="connsiteY6" fmla="*/ 369456 h 369590"/>
                      <a:gd name="connsiteX7" fmla="*/ 34060 w 75659"/>
                      <a:gd name="connsiteY7" fmla="*/ 369456 h 369590"/>
                      <a:gd name="connsiteX8" fmla="*/ 0 w 75659"/>
                      <a:gd name="connsiteY8" fmla="*/ 335396 h 36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59" h="369590">
                        <a:moveTo>
                          <a:pt x="0" y="335396"/>
                        </a:moveTo>
                        <a:lnTo>
                          <a:pt x="0" y="34060"/>
                        </a:lnTo>
                        <a:cubicBezTo>
                          <a:pt x="0" y="15080"/>
                          <a:pt x="15860" y="0"/>
                          <a:pt x="34060" y="0"/>
                        </a:cubicBezTo>
                        <a:lnTo>
                          <a:pt x="41600" y="0"/>
                        </a:lnTo>
                        <a:cubicBezTo>
                          <a:pt x="60579" y="0"/>
                          <a:pt x="75659" y="15860"/>
                          <a:pt x="75659" y="34060"/>
                        </a:cubicBezTo>
                        <a:lnTo>
                          <a:pt x="75659" y="335396"/>
                        </a:lnTo>
                        <a:cubicBezTo>
                          <a:pt x="75659" y="354376"/>
                          <a:pt x="59799" y="369456"/>
                          <a:pt x="41600" y="369456"/>
                        </a:cubicBezTo>
                        <a:lnTo>
                          <a:pt x="34060" y="369456"/>
                        </a:lnTo>
                        <a:cubicBezTo>
                          <a:pt x="15860" y="371276"/>
                          <a:pt x="0" y="354376"/>
                          <a:pt x="0" y="335396"/>
                        </a:cubicBezTo>
                        <a:close/>
                      </a:path>
                    </a:pathLst>
                  </a:custGeom>
                  <a:solidFill>
                    <a:srgbClr val="0069FF"/>
                  </a:solidFill>
                  <a:ln w="2597" cap="flat">
                    <a:noFill/>
                    <a:prstDash val="solid"/>
                    <a:miter/>
                  </a:ln>
                </p:spPr>
                <p:txBody>
                  <a:bodyPr rtlCol="0" anchor="ctr"/>
                  <a:lstStyle/>
                  <a:p>
                    <a:endParaRPr lang="en-GB"/>
                  </a:p>
                </p:txBody>
              </p:sp>
              <p:sp>
                <p:nvSpPr>
                  <p:cNvPr id="669" name="Freeform: Shape 668">
                    <a:extLst>
                      <a:ext uri="{FF2B5EF4-FFF2-40B4-BE49-F238E27FC236}">
                        <a16:creationId xmlns:a16="http://schemas.microsoft.com/office/drawing/2014/main" id="{5B449321-46FC-65B1-E959-9942C1507303}"/>
                      </a:ext>
                    </a:extLst>
                  </p:cNvPr>
                  <p:cNvSpPr/>
                  <p:nvPr/>
                </p:nvSpPr>
                <p:spPr>
                  <a:xfrm>
                    <a:off x="5530669" y="3775188"/>
                    <a:ext cx="86058" cy="379855"/>
                  </a:xfrm>
                  <a:custGeom>
                    <a:avLst/>
                    <a:gdLst>
                      <a:gd name="connsiteX0" fmla="*/ 36140 w 86058"/>
                      <a:gd name="connsiteY0" fmla="*/ 379856 h 379855"/>
                      <a:gd name="connsiteX1" fmla="*/ 13780 w 86058"/>
                      <a:gd name="connsiteY1" fmla="*/ 371276 h 379855"/>
                      <a:gd name="connsiteX2" fmla="*/ 0 w 86058"/>
                      <a:gd name="connsiteY2" fmla="*/ 340596 h 379855"/>
                      <a:gd name="connsiteX3" fmla="*/ 0 w 86058"/>
                      <a:gd name="connsiteY3" fmla="*/ 39259 h 379855"/>
                      <a:gd name="connsiteX4" fmla="*/ 39259 w 86058"/>
                      <a:gd name="connsiteY4" fmla="*/ 0 h 379855"/>
                      <a:gd name="connsiteX5" fmla="*/ 46799 w 86058"/>
                      <a:gd name="connsiteY5" fmla="*/ 0 h 379855"/>
                      <a:gd name="connsiteX6" fmla="*/ 86059 w 86058"/>
                      <a:gd name="connsiteY6" fmla="*/ 39259 h 379855"/>
                      <a:gd name="connsiteX7" fmla="*/ 86059 w 86058"/>
                      <a:gd name="connsiteY7" fmla="*/ 340596 h 379855"/>
                      <a:gd name="connsiteX8" fmla="*/ 46799 w 86058"/>
                      <a:gd name="connsiteY8" fmla="*/ 379856 h 379855"/>
                      <a:gd name="connsiteX9" fmla="*/ 39259 w 86058"/>
                      <a:gd name="connsiteY9" fmla="*/ 379856 h 379855"/>
                      <a:gd name="connsiteX10" fmla="*/ 36140 w 86058"/>
                      <a:gd name="connsiteY10" fmla="*/ 379856 h 379855"/>
                      <a:gd name="connsiteX11" fmla="*/ 39519 w 86058"/>
                      <a:gd name="connsiteY11" fmla="*/ 10400 h 379855"/>
                      <a:gd name="connsiteX12" fmla="*/ 10920 w 86058"/>
                      <a:gd name="connsiteY12" fmla="*/ 39000 h 379855"/>
                      <a:gd name="connsiteX13" fmla="*/ 10920 w 86058"/>
                      <a:gd name="connsiteY13" fmla="*/ 340336 h 379855"/>
                      <a:gd name="connsiteX14" fmla="*/ 21580 w 86058"/>
                      <a:gd name="connsiteY14" fmla="*/ 362696 h 379855"/>
                      <a:gd name="connsiteX15" fmla="*/ 39519 w 86058"/>
                      <a:gd name="connsiteY15" fmla="*/ 368936 h 379855"/>
                      <a:gd name="connsiteX16" fmla="*/ 48099 w 86058"/>
                      <a:gd name="connsiteY16" fmla="*/ 368936 h 379855"/>
                      <a:gd name="connsiteX17" fmla="*/ 76699 w 86058"/>
                      <a:gd name="connsiteY17" fmla="*/ 340336 h 379855"/>
                      <a:gd name="connsiteX18" fmla="*/ 76699 w 86058"/>
                      <a:gd name="connsiteY18" fmla="*/ 39000 h 379855"/>
                      <a:gd name="connsiteX19" fmla="*/ 48099 w 86058"/>
                      <a:gd name="connsiteY19" fmla="*/ 10400 h 379855"/>
                      <a:gd name="connsiteX20" fmla="*/ 39519 w 86058"/>
                      <a:gd name="connsiteY20" fmla="*/ 10400 h 37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6058" h="379855">
                        <a:moveTo>
                          <a:pt x="36140" y="379856"/>
                        </a:moveTo>
                        <a:cubicBezTo>
                          <a:pt x="28600" y="379856"/>
                          <a:pt x="20280" y="376736"/>
                          <a:pt x="13780" y="371276"/>
                        </a:cubicBezTo>
                        <a:cubicBezTo>
                          <a:pt x="5200" y="363736"/>
                          <a:pt x="0" y="352296"/>
                          <a:pt x="0" y="340596"/>
                        </a:cubicBezTo>
                        <a:lnTo>
                          <a:pt x="0" y="39259"/>
                        </a:lnTo>
                        <a:cubicBezTo>
                          <a:pt x="0" y="17940"/>
                          <a:pt x="17940" y="0"/>
                          <a:pt x="39259" y="0"/>
                        </a:cubicBezTo>
                        <a:lnTo>
                          <a:pt x="46799" y="0"/>
                        </a:lnTo>
                        <a:cubicBezTo>
                          <a:pt x="68119" y="0"/>
                          <a:pt x="86059" y="17940"/>
                          <a:pt x="86059" y="39259"/>
                        </a:cubicBezTo>
                        <a:lnTo>
                          <a:pt x="86059" y="340596"/>
                        </a:lnTo>
                        <a:cubicBezTo>
                          <a:pt x="86059" y="361916"/>
                          <a:pt x="68119" y="379856"/>
                          <a:pt x="46799" y="379856"/>
                        </a:cubicBezTo>
                        <a:lnTo>
                          <a:pt x="39259" y="379856"/>
                        </a:lnTo>
                        <a:cubicBezTo>
                          <a:pt x="38480" y="379856"/>
                          <a:pt x="37180" y="379856"/>
                          <a:pt x="36140" y="379856"/>
                        </a:cubicBezTo>
                        <a:close/>
                        <a:moveTo>
                          <a:pt x="39519" y="10400"/>
                        </a:moveTo>
                        <a:cubicBezTo>
                          <a:pt x="23660" y="10400"/>
                          <a:pt x="10920" y="23140"/>
                          <a:pt x="10920" y="39000"/>
                        </a:cubicBezTo>
                        <a:lnTo>
                          <a:pt x="10920" y="340336"/>
                        </a:lnTo>
                        <a:cubicBezTo>
                          <a:pt x="10920" y="348916"/>
                          <a:pt x="15080" y="357236"/>
                          <a:pt x="21580" y="362696"/>
                        </a:cubicBezTo>
                        <a:cubicBezTo>
                          <a:pt x="26780" y="366856"/>
                          <a:pt x="33280" y="368936"/>
                          <a:pt x="39519" y="368936"/>
                        </a:cubicBezTo>
                        <a:lnTo>
                          <a:pt x="48099" y="368936"/>
                        </a:lnTo>
                        <a:cubicBezTo>
                          <a:pt x="63959" y="368936"/>
                          <a:pt x="76699" y="356196"/>
                          <a:pt x="76699" y="340336"/>
                        </a:cubicBezTo>
                        <a:lnTo>
                          <a:pt x="76699" y="39000"/>
                        </a:lnTo>
                        <a:cubicBezTo>
                          <a:pt x="76699" y="23140"/>
                          <a:pt x="63959" y="10400"/>
                          <a:pt x="48099" y="10400"/>
                        </a:cubicBezTo>
                        <a:lnTo>
                          <a:pt x="39519" y="10400"/>
                        </a:lnTo>
                        <a:close/>
                      </a:path>
                    </a:pathLst>
                  </a:custGeom>
                  <a:solidFill>
                    <a:srgbClr val="0069FF"/>
                  </a:solidFill>
                  <a:ln w="2597" cap="flat">
                    <a:noFill/>
                    <a:prstDash val="solid"/>
                    <a:miter/>
                  </a:ln>
                </p:spPr>
                <p:txBody>
                  <a:bodyPr rtlCol="0" anchor="ctr"/>
                  <a:lstStyle/>
                  <a:p>
                    <a:endParaRPr lang="en-GB"/>
                  </a:p>
                </p:txBody>
              </p:sp>
            </p:grpSp>
            <p:grpSp>
              <p:nvGrpSpPr>
                <p:cNvPr id="662" name="Graphic 6">
                  <a:extLst>
                    <a:ext uri="{FF2B5EF4-FFF2-40B4-BE49-F238E27FC236}">
                      <a16:creationId xmlns:a16="http://schemas.microsoft.com/office/drawing/2014/main" id="{3748B805-987B-2A1C-F735-D5CB0ADB972F}"/>
                    </a:ext>
                  </a:extLst>
                </p:cNvPr>
                <p:cNvGrpSpPr/>
                <p:nvPr/>
              </p:nvGrpSpPr>
              <p:grpSpPr>
                <a:xfrm>
                  <a:off x="5606068" y="3775188"/>
                  <a:ext cx="86058" cy="379855"/>
                  <a:chOff x="5606068" y="3775188"/>
                  <a:chExt cx="86058" cy="379855"/>
                </a:xfrm>
                <a:solidFill>
                  <a:srgbClr val="0069FF"/>
                </a:solidFill>
              </p:grpSpPr>
              <p:sp>
                <p:nvSpPr>
                  <p:cNvPr id="666" name="Freeform: Shape 665">
                    <a:extLst>
                      <a:ext uri="{FF2B5EF4-FFF2-40B4-BE49-F238E27FC236}">
                        <a16:creationId xmlns:a16="http://schemas.microsoft.com/office/drawing/2014/main" id="{CA0A4772-577B-0CB2-1932-5B4CB143AD03}"/>
                      </a:ext>
                    </a:extLst>
                  </p:cNvPr>
                  <p:cNvSpPr/>
                  <p:nvPr/>
                </p:nvSpPr>
                <p:spPr>
                  <a:xfrm>
                    <a:off x="5611528" y="3780388"/>
                    <a:ext cx="75659" cy="369590"/>
                  </a:xfrm>
                  <a:custGeom>
                    <a:avLst/>
                    <a:gdLst>
                      <a:gd name="connsiteX0" fmla="*/ 0 w 75659"/>
                      <a:gd name="connsiteY0" fmla="*/ 335396 h 369590"/>
                      <a:gd name="connsiteX1" fmla="*/ 0 w 75659"/>
                      <a:gd name="connsiteY1" fmla="*/ 34060 h 369590"/>
                      <a:gd name="connsiteX2" fmla="*/ 34060 w 75659"/>
                      <a:gd name="connsiteY2" fmla="*/ 0 h 369590"/>
                      <a:gd name="connsiteX3" fmla="*/ 41600 w 75659"/>
                      <a:gd name="connsiteY3" fmla="*/ 0 h 369590"/>
                      <a:gd name="connsiteX4" fmla="*/ 75659 w 75659"/>
                      <a:gd name="connsiteY4" fmla="*/ 34060 h 369590"/>
                      <a:gd name="connsiteX5" fmla="*/ 75659 w 75659"/>
                      <a:gd name="connsiteY5" fmla="*/ 335396 h 369590"/>
                      <a:gd name="connsiteX6" fmla="*/ 41600 w 75659"/>
                      <a:gd name="connsiteY6" fmla="*/ 369456 h 369590"/>
                      <a:gd name="connsiteX7" fmla="*/ 34060 w 75659"/>
                      <a:gd name="connsiteY7" fmla="*/ 369456 h 369590"/>
                      <a:gd name="connsiteX8" fmla="*/ 0 w 75659"/>
                      <a:gd name="connsiteY8" fmla="*/ 335396 h 36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59" h="369590">
                        <a:moveTo>
                          <a:pt x="0" y="335396"/>
                        </a:moveTo>
                        <a:lnTo>
                          <a:pt x="0" y="34060"/>
                        </a:lnTo>
                        <a:cubicBezTo>
                          <a:pt x="0" y="15080"/>
                          <a:pt x="15860" y="0"/>
                          <a:pt x="34060" y="0"/>
                        </a:cubicBezTo>
                        <a:lnTo>
                          <a:pt x="41600" y="0"/>
                        </a:lnTo>
                        <a:cubicBezTo>
                          <a:pt x="60579" y="0"/>
                          <a:pt x="75659" y="15860"/>
                          <a:pt x="75659" y="34060"/>
                        </a:cubicBezTo>
                        <a:lnTo>
                          <a:pt x="75659" y="335396"/>
                        </a:lnTo>
                        <a:cubicBezTo>
                          <a:pt x="75659" y="354376"/>
                          <a:pt x="59799" y="369456"/>
                          <a:pt x="41600" y="369456"/>
                        </a:cubicBezTo>
                        <a:lnTo>
                          <a:pt x="34060" y="369456"/>
                        </a:lnTo>
                        <a:cubicBezTo>
                          <a:pt x="14820" y="371276"/>
                          <a:pt x="0" y="354376"/>
                          <a:pt x="0" y="335396"/>
                        </a:cubicBezTo>
                        <a:close/>
                      </a:path>
                    </a:pathLst>
                  </a:custGeom>
                  <a:solidFill>
                    <a:srgbClr val="0069FF"/>
                  </a:solidFill>
                  <a:ln w="2597" cap="flat">
                    <a:noFill/>
                    <a:prstDash val="solid"/>
                    <a:miter/>
                  </a:ln>
                </p:spPr>
                <p:txBody>
                  <a:bodyPr rtlCol="0" anchor="ctr"/>
                  <a:lstStyle/>
                  <a:p>
                    <a:endParaRPr lang="en-GB"/>
                  </a:p>
                </p:txBody>
              </p:sp>
              <p:sp>
                <p:nvSpPr>
                  <p:cNvPr id="667" name="Freeform: Shape 666">
                    <a:extLst>
                      <a:ext uri="{FF2B5EF4-FFF2-40B4-BE49-F238E27FC236}">
                        <a16:creationId xmlns:a16="http://schemas.microsoft.com/office/drawing/2014/main" id="{570223AE-FB07-3FFC-D165-F1278509334E}"/>
                      </a:ext>
                    </a:extLst>
                  </p:cNvPr>
                  <p:cNvSpPr/>
                  <p:nvPr/>
                </p:nvSpPr>
                <p:spPr>
                  <a:xfrm>
                    <a:off x="5606068" y="3775188"/>
                    <a:ext cx="86058" cy="379855"/>
                  </a:xfrm>
                  <a:custGeom>
                    <a:avLst/>
                    <a:gdLst>
                      <a:gd name="connsiteX0" fmla="*/ 36140 w 86058"/>
                      <a:gd name="connsiteY0" fmla="*/ 379856 h 379855"/>
                      <a:gd name="connsiteX1" fmla="*/ 13780 w 86058"/>
                      <a:gd name="connsiteY1" fmla="*/ 371276 h 379855"/>
                      <a:gd name="connsiteX2" fmla="*/ 0 w 86058"/>
                      <a:gd name="connsiteY2" fmla="*/ 340596 h 379855"/>
                      <a:gd name="connsiteX3" fmla="*/ 0 w 86058"/>
                      <a:gd name="connsiteY3" fmla="*/ 39259 h 379855"/>
                      <a:gd name="connsiteX4" fmla="*/ 39259 w 86058"/>
                      <a:gd name="connsiteY4" fmla="*/ 0 h 379855"/>
                      <a:gd name="connsiteX5" fmla="*/ 46799 w 86058"/>
                      <a:gd name="connsiteY5" fmla="*/ 0 h 379855"/>
                      <a:gd name="connsiteX6" fmla="*/ 86059 w 86058"/>
                      <a:gd name="connsiteY6" fmla="*/ 39259 h 379855"/>
                      <a:gd name="connsiteX7" fmla="*/ 86059 w 86058"/>
                      <a:gd name="connsiteY7" fmla="*/ 340596 h 379855"/>
                      <a:gd name="connsiteX8" fmla="*/ 46799 w 86058"/>
                      <a:gd name="connsiteY8" fmla="*/ 379856 h 379855"/>
                      <a:gd name="connsiteX9" fmla="*/ 39259 w 86058"/>
                      <a:gd name="connsiteY9" fmla="*/ 379856 h 379855"/>
                      <a:gd name="connsiteX10" fmla="*/ 36140 w 86058"/>
                      <a:gd name="connsiteY10" fmla="*/ 379856 h 379855"/>
                      <a:gd name="connsiteX11" fmla="*/ 39259 w 86058"/>
                      <a:gd name="connsiteY11" fmla="*/ 10400 h 379855"/>
                      <a:gd name="connsiteX12" fmla="*/ 10660 w 86058"/>
                      <a:gd name="connsiteY12" fmla="*/ 39000 h 379855"/>
                      <a:gd name="connsiteX13" fmla="*/ 10660 w 86058"/>
                      <a:gd name="connsiteY13" fmla="*/ 340336 h 379855"/>
                      <a:gd name="connsiteX14" fmla="*/ 20280 w 86058"/>
                      <a:gd name="connsiteY14" fmla="*/ 362696 h 379855"/>
                      <a:gd name="connsiteX15" fmla="*/ 38219 w 86058"/>
                      <a:gd name="connsiteY15" fmla="*/ 368936 h 379855"/>
                      <a:gd name="connsiteX16" fmla="*/ 46799 w 86058"/>
                      <a:gd name="connsiteY16" fmla="*/ 368936 h 379855"/>
                      <a:gd name="connsiteX17" fmla="*/ 75399 w 86058"/>
                      <a:gd name="connsiteY17" fmla="*/ 340336 h 379855"/>
                      <a:gd name="connsiteX18" fmla="*/ 75399 w 86058"/>
                      <a:gd name="connsiteY18" fmla="*/ 39000 h 379855"/>
                      <a:gd name="connsiteX19" fmla="*/ 46799 w 86058"/>
                      <a:gd name="connsiteY19" fmla="*/ 10400 h 379855"/>
                      <a:gd name="connsiteX20" fmla="*/ 39259 w 86058"/>
                      <a:gd name="connsiteY20" fmla="*/ 10400 h 37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6058" h="379855">
                        <a:moveTo>
                          <a:pt x="36140" y="379856"/>
                        </a:moveTo>
                        <a:cubicBezTo>
                          <a:pt x="27560" y="379856"/>
                          <a:pt x="20280" y="376736"/>
                          <a:pt x="13780" y="371276"/>
                        </a:cubicBezTo>
                        <a:cubicBezTo>
                          <a:pt x="5200" y="363736"/>
                          <a:pt x="0" y="352296"/>
                          <a:pt x="0" y="340596"/>
                        </a:cubicBezTo>
                        <a:lnTo>
                          <a:pt x="0" y="39259"/>
                        </a:lnTo>
                        <a:cubicBezTo>
                          <a:pt x="0" y="17940"/>
                          <a:pt x="17940" y="0"/>
                          <a:pt x="39259" y="0"/>
                        </a:cubicBezTo>
                        <a:lnTo>
                          <a:pt x="46799" y="0"/>
                        </a:lnTo>
                        <a:cubicBezTo>
                          <a:pt x="68119" y="0"/>
                          <a:pt x="86059" y="17940"/>
                          <a:pt x="86059" y="39259"/>
                        </a:cubicBezTo>
                        <a:lnTo>
                          <a:pt x="86059" y="340596"/>
                        </a:lnTo>
                        <a:cubicBezTo>
                          <a:pt x="86059" y="361916"/>
                          <a:pt x="68119" y="379856"/>
                          <a:pt x="46799" y="379856"/>
                        </a:cubicBezTo>
                        <a:lnTo>
                          <a:pt x="39259" y="379856"/>
                        </a:lnTo>
                        <a:cubicBezTo>
                          <a:pt x="38219" y="379856"/>
                          <a:pt x="37180" y="379856"/>
                          <a:pt x="36140" y="379856"/>
                        </a:cubicBezTo>
                        <a:close/>
                        <a:moveTo>
                          <a:pt x="39259" y="10400"/>
                        </a:moveTo>
                        <a:cubicBezTo>
                          <a:pt x="23400" y="10400"/>
                          <a:pt x="10660" y="23140"/>
                          <a:pt x="10660" y="39000"/>
                        </a:cubicBezTo>
                        <a:lnTo>
                          <a:pt x="10660" y="340336"/>
                        </a:lnTo>
                        <a:cubicBezTo>
                          <a:pt x="10660" y="348916"/>
                          <a:pt x="13780" y="357236"/>
                          <a:pt x="20280" y="362696"/>
                        </a:cubicBezTo>
                        <a:cubicBezTo>
                          <a:pt x="23400" y="365816"/>
                          <a:pt x="29900" y="370236"/>
                          <a:pt x="38219" y="368936"/>
                        </a:cubicBezTo>
                        <a:lnTo>
                          <a:pt x="46799" y="368936"/>
                        </a:lnTo>
                        <a:cubicBezTo>
                          <a:pt x="62659" y="368936"/>
                          <a:pt x="75399" y="356196"/>
                          <a:pt x="75399" y="340336"/>
                        </a:cubicBezTo>
                        <a:lnTo>
                          <a:pt x="75399" y="39000"/>
                        </a:lnTo>
                        <a:cubicBezTo>
                          <a:pt x="75399" y="23140"/>
                          <a:pt x="62659" y="10400"/>
                          <a:pt x="46799" y="10400"/>
                        </a:cubicBezTo>
                        <a:lnTo>
                          <a:pt x="39259" y="10400"/>
                        </a:lnTo>
                        <a:close/>
                      </a:path>
                    </a:pathLst>
                  </a:custGeom>
                  <a:solidFill>
                    <a:srgbClr val="0069FF"/>
                  </a:solidFill>
                  <a:ln w="2597" cap="flat">
                    <a:noFill/>
                    <a:prstDash val="solid"/>
                    <a:miter/>
                  </a:ln>
                </p:spPr>
                <p:txBody>
                  <a:bodyPr rtlCol="0" anchor="ctr"/>
                  <a:lstStyle/>
                  <a:p>
                    <a:endParaRPr lang="en-GB"/>
                  </a:p>
                </p:txBody>
              </p:sp>
            </p:grpSp>
            <p:grpSp>
              <p:nvGrpSpPr>
                <p:cNvPr id="663" name="Graphic 6">
                  <a:extLst>
                    <a:ext uri="{FF2B5EF4-FFF2-40B4-BE49-F238E27FC236}">
                      <a16:creationId xmlns:a16="http://schemas.microsoft.com/office/drawing/2014/main" id="{896B0393-3817-0F31-0935-40F6846111E3}"/>
                    </a:ext>
                  </a:extLst>
                </p:cNvPr>
                <p:cNvGrpSpPr/>
                <p:nvPr/>
              </p:nvGrpSpPr>
              <p:grpSpPr>
                <a:xfrm>
                  <a:off x="5682508" y="3775188"/>
                  <a:ext cx="86058" cy="379855"/>
                  <a:chOff x="5682508" y="3775188"/>
                  <a:chExt cx="86058" cy="379855"/>
                </a:xfrm>
                <a:solidFill>
                  <a:srgbClr val="0069FF"/>
                </a:solidFill>
              </p:grpSpPr>
              <p:sp>
                <p:nvSpPr>
                  <p:cNvPr id="664" name="Freeform: Shape 663">
                    <a:extLst>
                      <a:ext uri="{FF2B5EF4-FFF2-40B4-BE49-F238E27FC236}">
                        <a16:creationId xmlns:a16="http://schemas.microsoft.com/office/drawing/2014/main" id="{43785835-9CDB-24FF-62CB-77A049A24260}"/>
                      </a:ext>
                    </a:extLst>
                  </p:cNvPr>
                  <p:cNvSpPr/>
                  <p:nvPr/>
                </p:nvSpPr>
                <p:spPr>
                  <a:xfrm>
                    <a:off x="5687968" y="3780388"/>
                    <a:ext cx="75659" cy="369590"/>
                  </a:xfrm>
                  <a:custGeom>
                    <a:avLst/>
                    <a:gdLst>
                      <a:gd name="connsiteX0" fmla="*/ 0 w 75659"/>
                      <a:gd name="connsiteY0" fmla="*/ 335396 h 369590"/>
                      <a:gd name="connsiteX1" fmla="*/ 0 w 75659"/>
                      <a:gd name="connsiteY1" fmla="*/ 34060 h 369590"/>
                      <a:gd name="connsiteX2" fmla="*/ 34060 w 75659"/>
                      <a:gd name="connsiteY2" fmla="*/ 0 h 369590"/>
                      <a:gd name="connsiteX3" fmla="*/ 41600 w 75659"/>
                      <a:gd name="connsiteY3" fmla="*/ 0 h 369590"/>
                      <a:gd name="connsiteX4" fmla="*/ 75659 w 75659"/>
                      <a:gd name="connsiteY4" fmla="*/ 34060 h 369590"/>
                      <a:gd name="connsiteX5" fmla="*/ 75659 w 75659"/>
                      <a:gd name="connsiteY5" fmla="*/ 335396 h 369590"/>
                      <a:gd name="connsiteX6" fmla="*/ 41600 w 75659"/>
                      <a:gd name="connsiteY6" fmla="*/ 369456 h 369590"/>
                      <a:gd name="connsiteX7" fmla="*/ 34060 w 75659"/>
                      <a:gd name="connsiteY7" fmla="*/ 369456 h 369590"/>
                      <a:gd name="connsiteX8" fmla="*/ 0 w 75659"/>
                      <a:gd name="connsiteY8" fmla="*/ 335396 h 36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59" h="369590">
                        <a:moveTo>
                          <a:pt x="0" y="335396"/>
                        </a:moveTo>
                        <a:lnTo>
                          <a:pt x="0" y="34060"/>
                        </a:lnTo>
                        <a:cubicBezTo>
                          <a:pt x="0" y="15080"/>
                          <a:pt x="15860" y="0"/>
                          <a:pt x="34060" y="0"/>
                        </a:cubicBezTo>
                        <a:lnTo>
                          <a:pt x="41600" y="0"/>
                        </a:lnTo>
                        <a:cubicBezTo>
                          <a:pt x="60579" y="0"/>
                          <a:pt x="75659" y="15860"/>
                          <a:pt x="75659" y="34060"/>
                        </a:cubicBezTo>
                        <a:lnTo>
                          <a:pt x="75659" y="335396"/>
                        </a:lnTo>
                        <a:cubicBezTo>
                          <a:pt x="75659" y="354376"/>
                          <a:pt x="59799" y="369456"/>
                          <a:pt x="41600" y="369456"/>
                        </a:cubicBezTo>
                        <a:lnTo>
                          <a:pt x="34060" y="369456"/>
                        </a:lnTo>
                        <a:cubicBezTo>
                          <a:pt x="15860" y="371276"/>
                          <a:pt x="0" y="354376"/>
                          <a:pt x="0" y="335396"/>
                        </a:cubicBezTo>
                        <a:close/>
                      </a:path>
                    </a:pathLst>
                  </a:custGeom>
                  <a:solidFill>
                    <a:srgbClr val="0069FF"/>
                  </a:solidFill>
                  <a:ln w="2597" cap="flat">
                    <a:noFill/>
                    <a:prstDash val="solid"/>
                    <a:miter/>
                  </a:ln>
                </p:spPr>
                <p:txBody>
                  <a:bodyPr rtlCol="0" anchor="ctr"/>
                  <a:lstStyle/>
                  <a:p>
                    <a:endParaRPr lang="en-GB"/>
                  </a:p>
                </p:txBody>
              </p:sp>
              <p:sp>
                <p:nvSpPr>
                  <p:cNvPr id="665" name="Freeform: Shape 664">
                    <a:extLst>
                      <a:ext uri="{FF2B5EF4-FFF2-40B4-BE49-F238E27FC236}">
                        <a16:creationId xmlns:a16="http://schemas.microsoft.com/office/drawing/2014/main" id="{E0C606EA-E349-F98C-F3C7-BD378A36A087}"/>
                      </a:ext>
                    </a:extLst>
                  </p:cNvPr>
                  <p:cNvSpPr/>
                  <p:nvPr/>
                </p:nvSpPr>
                <p:spPr>
                  <a:xfrm>
                    <a:off x="5682508" y="3775188"/>
                    <a:ext cx="86058" cy="379855"/>
                  </a:xfrm>
                  <a:custGeom>
                    <a:avLst/>
                    <a:gdLst>
                      <a:gd name="connsiteX0" fmla="*/ 36140 w 86058"/>
                      <a:gd name="connsiteY0" fmla="*/ 379856 h 379855"/>
                      <a:gd name="connsiteX1" fmla="*/ 13780 w 86058"/>
                      <a:gd name="connsiteY1" fmla="*/ 371276 h 379855"/>
                      <a:gd name="connsiteX2" fmla="*/ 0 w 86058"/>
                      <a:gd name="connsiteY2" fmla="*/ 340596 h 379855"/>
                      <a:gd name="connsiteX3" fmla="*/ 0 w 86058"/>
                      <a:gd name="connsiteY3" fmla="*/ 39259 h 379855"/>
                      <a:gd name="connsiteX4" fmla="*/ 39259 w 86058"/>
                      <a:gd name="connsiteY4" fmla="*/ 0 h 379855"/>
                      <a:gd name="connsiteX5" fmla="*/ 46799 w 86058"/>
                      <a:gd name="connsiteY5" fmla="*/ 0 h 379855"/>
                      <a:gd name="connsiteX6" fmla="*/ 86059 w 86058"/>
                      <a:gd name="connsiteY6" fmla="*/ 39259 h 379855"/>
                      <a:gd name="connsiteX7" fmla="*/ 86059 w 86058"/>
                      <a:gd name="connsiteY7" fmla="*/ 340596 h 379855"/>
                      <a:gd name="connsiteX8" fmla="*/ 46799 w 86058"/>
                      <a:gd name="connsiteY8" fmla="*/ 379856 h 379855"/>
                      <a:gd name="connsiteX9" fmla="*/ 39259 w 86058"/>
                      <a:gd name="connsiteY9" fmla="*/ 379856 h 379855"/>
                      <a:gd name="connsiteX10" fmla="*/ 36140 w 86058"/>
                      <a:gd name="connsiteY10" fmla="*/ 379856 h 379855"/>
                      <a:gd name="connsiteX11" fmla="*/ 39259 w 86058"/>
                      <a:gd name="connsiteY11" fmla="*/ 10400 h 379855"/>
                      <a:gd name="connsiteX12" fmla="*/ 10660 w 86058"/>
                      <a:gd name="connsiteY12" fmla="*/ 39000 h 379855"/>
                      <a:gd name="connsiteX13" fmla="*/ 10660 w 86058"/>
                      <a:gd name="connsiteY13" fmla="*/ 340336 h 379855"/>
                      <a:gd name="connsiteX14" fmla="*/ 21320 w 86058"/>
                      <a:gd name="connsiteY14" fmla="*/ 362696 h 379855"/>
                      <a:gd name="connsiteX15" fmla="*/ 39259 w 86058"/>
                      <a:gd name="connsiteY15" fmla="*/ 368936 h 379855"/>
                      <a:gd name="connsiteX16" fmla="*/ 47840 w 86058"/>
                      <a:gd name="connsiteY16" fmla="*/ 368936 h 379855"/>
                      <a:gd name="connsiteX17" fmla="*/ 76439 w 86058"/>
                      <a:gd name="connsiteY17" fmla="*/ 340336 h 379855"/>
                      <a:gd name="connsiteX18" fmla="*/ 76439 w 86058"/>
                      <a:gd name="connsiteY18" fmla="*/ 39000 h 379855"/>
                      <a:gd name="connsiteX19" fmla="*/ 47840 w 86058"/>
                      <a:gd name="connsiteY19" fmla="*/ 10400 h 379855"/>
                      <a:gd name="connsiteX20" fmla="*/ 39259 w 86058"/>
                      <a:gd name="connsiteY20" fmla="*/ 10400 h 37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6058" h="379855">
                        <a:moveTo>
                          <a:pt x="36140" y="379856"/>
                        </a:moveTo>
                        <a:cubicBezTo>
                          <a:pt x="28600" y="379856"/>
                          <a:pt x="20280" y="376736"/>
                          <a:pt x="13780" y="371276"/>
                        </a:cubicBezTo>
                        <a:cubicBezTo>
                          <a:pt x="5200" y="363736"/>
                          <a:pt x="0" y="352296"/>
                          <a:pt x="0" y="340596"/>
                        </a:cubicBezTo>
                        <a:lnTo>
                          <a:pt x="0" y="39259"/>
                        </a:lnTo>
                        <a:cubicBezTo>
                          <a:pt x="0" y="17940"/>
                          <a:pt x="17940" y="0"/>
                          <a:pt x="39259" y="0"/>
                        </a:cubicBezTo>
                        <a:lnTo>
                          <a:pt x="46799" y="0"/>
                        </a:lnTo>
                        <a:cubicBezTo>
                          <a:pt x="68119" y="0"/>
                          <a:pt x="86059" y="17940"/>
                          <a:pt x="86059" y="39259"/>
                        </a:cubicBezTo>
                        <a:lnTo>
                          <a:pt x="86059" y="340596"/>
                        </a:lnTo>
                        <a:cubicBezTo>
                          <a:pt x="86059" y="361916"/>
                          <a:pt x="68119" y="379856"/>
                          <a:pt x="46799" y="379856"/>
                        </a:cubicBezTo>
                        <a:lnTo>
                          <a:pt x="39259" y="379856"/>
                        </a:lnTo>
                        <a:cubicBezTo>
                          <a:pt x="38219" y="379856"/>
                          <a:pt x="37179" y="379856"/>
                          <a:pt x="36140" y="379856"/>
                        </a:cubicBezTo>
                        <a:close/>
                        <a:moveTo>
                          <a:pt x="39259" y="10400"/>
                        </a:moveTo>
                        <a:cubicBezTo>
                          <a:pt x="23400" y="10400"/>
                          <a:pt x="10660" y="23140"/>
                          <a:pt x="10660" y="39000"/>
                        </a:cubicBezTo>
                        <a:lnTo>
                          <a:pt x="10660" y="340336"/>
                        </a:lnTo>
                        <a:cubicBezTo>
                          <a:pt x="10660" y="348916"/>
                          <a:pt x="14820" y="357236"/>
                          <a:pt x="21320" y="362696"/>
                        </a:cubicBezTo>
                        <a:cubicBezTo>
                          <a:pt x="26520" y="366856"/>
                          <a:pt x="33019" y="368936"/>
                          <a:pt x="39259" y="368936"/>
                        </a:cubicBezTo>
                        <a:lnTo>
                          <a:pt x="47840" y="368936"/>
                        </a:lnTo>
                        <a:cubicBezTo>
                          <a:pt x="63699" y="368936"/>
                          <a:pt x="76439" y="356196"/>
                          <a:pt x="76439" y="340336"/>
                        </a:cubicBezTo>
                        <a:lnTo>
                          <a:pt x="76439" y="39000"/>
                        </a:lnTo>
                        <a:cubicBezTo>
                          <a:pt x="76439" y="23140"/>
                          <a:pt x="63699" y="10400"/>
                          <a:pt x="47840" y="10400"/>
                        </a:cubicBezTo>
                        <a:lnTo>
                          <a:pt x="39259" y="10400"/>
                        </a:lnTo>
                        <a:close/>
                      </a:path>
                    </a:pathLst>
                  </a:custGeom>
                  <a:solidFill>
                    <a:srgbClr val="0069FF"/>
                  </a:solidFill>
                  <a:ln w="2597" cap="flat">
                    <a:noFill/>
                    <a:prstDash val="solid"/>
                    <a:miter/>
                  </a:ln>
                </p:spPr>
                <p:txBody>
                  <a:bodyPr rtlCol="0" anchor="ctr"/>
                  <a:lstStyle/>
                  <a:p>
                    <a:endParaRPr lang="en-GB"/>
                  </a:p>
                </p:txBody>
              </p:sp>
            </p:grpSp>
          </p:grpSp>
          <p:grpSp>
            <p:nvGrpSpPr>
              <p:cNvPr id="648" name="Graphic 6">
                <a:extLst>
                  <a:ext uri="{FF2B5EF4-FFF2-40B4-BE49-F238E27FC236}">
                    <a16:creationId xmlns:a16="http://schemas.microsoft.com/office/drawing/2014/main" id="{1C62681C-61B0-B932-0042-97EB13450EBE}"/>
                  </a:ext>
                </a:extLst>
              </p:cNvPr>
              <p:cNvGrpSpPr/>
              <p:nvPr/>
            </p:nvGrpSpPr>
            <p:grpSpPr>
              <a:xfrm>
                <a:off x="5346071" y="3747629"/>
                <a:ext cx="398055" cy="385055"/>
                <a:chOff x="5346071" y="3747629"/>
                <a:chExt cx="398055" cy="385055"/>
              </a:xfrm>
              <a:solidFill>
                <a:srgbClr val="00005A"/>
              </a:solidFill>
            </p:grpSpPr>
            <p:sp>
              <p:nvSpPr>
                <p:cNvPr id="654" name="Freeform: Shape 653">
                  <a:extLst>
                    <a:ext uri="{FF2B5EF4-FFF2-40B4-BE49-F238E27FC236}">
                      <a16:creationId xmlns:a16="http://schemas.microsoft.com/office/drawing/2014/main" id="{D6308977-4772-55AF-752E-CA6D9C2A4A7B}"/>
                    </a:ext>
                  </a:extLst>
                </p:cNvPr>
                <p:cNvSpPr/>
                <p:nvPr/>
              </p:nvSpPr>
              <p:spPr>
                <a:xfrm>
                  <a:off x="5346071" y="3747629"/>
                  <a:ext cx="91258" cy="385055"/>
                </a:xfrm>
                <a:custGeom>
                  <a:avLst/>
                  <a:gdLst>
                    <a:gd name="connsiteX0" fmla="*/ 49919 w 91258"/>
                    <a:gd name="connsiteY0" fmla="*/ 385056 h 385055"/>
                    <a:gd name="connsiteX1" fmla="*/ 42380 w 91258"/>
                    <a:gd name="connsiteY1" fmla="*/ 385056 h 385055"/>
                    <a:gd name="connsiteX2" fmla="*/ 0 w 91258"/>
                    <a:gd name="connsiteY2" fmla="*/ 342676 h 385055"/>
                    <a:gd name="connsiteX3" fmla="*/ 0 w 91258"/>
                    <a:gd name="connsiteY3" fmla="*/ 41340 h 385055"/>
                    <a:gd name="connsiteX4" fmla="*/ 42380 w 91258"/>
                    <a:gd name="connsiteY4" fmla="*/ 0 h 385055"/>
                    <a:gd name="connsiteX5" fmla="*/ 49919 w 91258"/>
                    <a:gd name="connsiteY5" fmla="*/ 0 h 385055"/>
                    <a:gd name="connsiteX6" fmla="*/ 91259 w 91258"/>
                    <a:gd name="connsiteY6" fmla="*/ 41340 h 385055"/>
                    <a:gd name="connsiteX7" fmla="*/ 91259 w 91258"/>
                    <a:gd name="connsiteY7" fmla="*/ 342676 h 385055"/>
                    <a:gd name="connsiteX8" fmla="*/ 49919 w 91258"/>
                    <a:gd name="connsiteY8" fmla="*/ 385056 h 385055"/>
                    <a:gd name="connsiteX9" fmla="*/ 42640 w 91258"/>
                    <a:gd name="connsiteY9" fmla="*/ 15600 h 385055"/>
                    <a:gd name="connsiteX10" fmla="*/ 16120 w 91258"/>
                    <a:gd name="connsiteY10" fmla="*/ 41080 h 385055"/>
                    <a:gd name="connsiteX11" fmla="*/ 16120 w 91258"/>
                    <a:gd name="connsiteY11" fmla="*/ 342416 h 385055"/>
                    <a:gd name="connsiteX12" fmla="*/ 42640 w 91258"/>
                    <a:gd name="connsiteY12" fmla="*/ 368936 h 385055"/>
                    <a:gd name="connsiteX13" fmla="*/ 50180 w 91258"/>
                    <a:gd name="connsiteY13" fmla="*/ 368936 h 385055"/>
                    <a:gd name="connsiteX14" fmla="*/ 75659 w 91258"/>
                    <a:gd name="connsiteY14" fmla="*/ 342416 h 385055"/>
                    <a:gd name="connsiteX15" fmla="*/ 75659 w 91258"/>
                    <a:gd name="connsiteY15" fmla="*/ 41080 h 385055"/>
                    <a:gd name="connsiteX16" fmla="*/ 50180 w 91258"/>
                    <a:gd name="connsiteY16" fmla="*/ 15600 h 385055"/>
                    <a:gd name="connsiteX17" fmla="*/ 42640 w 91258"/>
                    <a:gd name="connsiteY17" fmla="*/ 15600 h 38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1258" h="385055">
                      <a:moveTo>
                        <a:pt x="49919" y="385056"/>
                      </a:moveTo>
                      <a:lnTo>
                        <a:pt x="42380" y="385056"/>
                      </a:lnTo>
                      <a:cubicBezTo>
                        <a:pt x="17940" y="385056"/>
                        <a:pt x="0" y="367116"/>
                        <a:pt x="0" y="342676"/>
                      </a:cubicBezTo>
                      <a:lnTo>
                        <a:pt x="0" y="41340"/>
                      </a:lnTo>
                      <a:cubicBezTo>
                        <a:pt x="0" y="17940"/>
                        <a:pt x="18980" y="0"/>
                        <a:pt x="42380" y="0"/>
                      </a:cubicBezTo>
                      <a:lnTo>
                        <a:pt x="49919" y="0"/>
                      </a:lnTo>
                      <a:cubicBezTo>
                        <a:pt x="73319" y="0"/>
                        <a:pt x="91259" y="18980"/>
                        <a:pt x="91259" y="41340"/>
                      </a:cubicBezTo>
                      <a:lnTo>
                        <a:pt x="91259" y="342676"/>
                      </a:lnTo>
                      <a:cubicBezTo>
                        <a:pt x="91259" y="365816"/>
                        <a:pt x="73319" y="385056"/>
                        <a:pt x="49919" y="385056"/>
                      </a:cubicBezTo>
                      <a:close/>
                      <a:moveTo>
                        <a:pt x="42640" y="15600"/>
                      </a:moveTo>
                      <a:cubicBezTo>
                        <a:pt x="28860" y="15600"/>
                        <a:pt x="16120" y="27300"/>
                        <a:pt x="16120" y="41080"/>
                      </a:cubicBezTo>
                      <a:lnTo>
                        <a:pt x="16120" y="342416"/>
                      </a:lnTo>
                      <a:cubicBezTo>
                        <a:pt x="16120" y="357236"/>
                        <a:pt x="26780" y="368936"/>
                        <a:pt x="42640" y="368936"/>
                      </a:cubicBezTo>
                      <a:lnTo>
                        <a:pt x="50180" y="368936"/>
                      </a:lnTo>
                      <a:cubicBezTo>
                        <a:pt x="63959" y="368936"/>
                        <a:pt x="75659" y="357236"/>
                        <a:pt x="75659" y="342416"/>
                      </a:cubicBezTo>
                      <a:lnTo>
                        <a:pt x="75659" y="41080"/>
                      </a:lnTo>
                      <a:cubicBezTo>
                        <a:pt x="75659" y="27300"/>
                        <a:pt x="63959" y="15600"/>
                        <a:pt x="50180" y="15600"/>
                      </a:cubicBezTo>
                      <a:lnTo>
                        <a:pt x="42640" y="15600"/>
                      </a:lnTo>
                      <a:close/>
                    </a:path>
                  </a:pathLst>
                </a:custGeom>
                <a:solidFill>
                  <a:srgbClr val="00005A"/>
                </a:solidFill>
                <a:ln w="2597" cap="flat">
                  <a:noFill/>
                  <a:prstDash val="solid"/>
                  <a:miter/>
                </a:ln>
              </p:spPr>
              <p:txBody>
                <a:bodyPr rtlCol="0" anchor="ctr"/>
                <a:lstStyle/>
                <a:p>
                  <a:endParaRPr lang="en-GB"/>
                </a:p>
              </p:txBody>
            </p:sp>
            <p:sp>
              <p:nvSpPr>
                <p:cNvPr id="655" name="Freeform: Shape 654">
                  <a:extLst>
                    <a:ext uri="{FF2B5EF4-FFF2-40B4-BE49-F238E27FC236}">
                      <a16:creationId xmlns:a16="http://schemas.microsoft.com/office/drawing/2014/main" id="{16E61A5F-D8BA-C0F2-4F5A-9C552587F657}"/>
                    </a:ext>
                  </a:extLst>
                </p:cNvPr>
                <p:cNvSpPr/>
                <p:nvPr/>
              </p:nvSpPr>
              <p:spPr>
                <a:xfrm>
                  <a:off x="5422511" y="3747629"/>
                  <a:ext cx="92298" cy="385055"/>
                </a:xfrm>
                <a:custGeom>
                  <a:avLst/>
                  <a:gdLst>
                    <a:gd name="connsiteX0" fmla="*/ 49919 w 92298"/>
                    <a:gd name="connsiteY0" fmla="*/ 385056 h 385055"/>
                    <a:gd name="connsiteX1" fmla="*/ 42379 w 92298"/>
                    <a:gd name="connsiteY1" fmla="*/ 385056 h 385055"/>
                    <a:gd name="connsiteX2" fmla="*/ 0 w 92298"/>
                    <a:gd name="connsiteY2" fmla="*/ 342676 h 385055"/>
                    <a:gd name="connsiteX3" fmla="*/ 0 w 92298"/>
                    <a:gd name="connsiteY3" fmla="*/ 41340 h 385055"/>
                    <a:gd name="connsiteX4" fmla="*/ 42379 w 92298"/>
                    <a:gd name="connsiteY4" fmla="*/ 0 h 385055"/>
                    <a:gd name="connsiteX5" fmla="*/ 49919 w 92298"/>
                    <a:gd name="connsiteY5" fmla="*/ 0 h 385055"/>
                    <a:gd name="connsiteX6" fmla="*/ 92299 w 92298"/>
                    <a:gd name="connsiteY6" fmla="*/ 41340 h 385055"/>
                    <a:gd name="connsiteX7" fmla="*/ 92299 w 92298"/>
                    <a:gd name="connsiteY7" fmla="*/ 342676 h 385055"/>
                    <a:gd name="connsiteX8" fmla="*/ 49919 w 92298"/>
                    <a:gd name="connsiteY8" fmla="*/ 385056 h 385055"/>
                    <a:gd name="connsiteX9" fmla="*/ 42640 w 92298"/>
                    <a:gd name="connsiteY9" fmla="*/ 15600 h 385055"/>
                    <a:gd name="connsiteX10" fmla="*/ 16120 w 92298"/>
                    <a:gd name="connsiteY10" fmla="*/ 41080 h 385055"/>
                    <a:gd name="connsiteX11" fmla="*/ 16120 w 92298"/>
                    <a:gd name="connsiteY11" fmla="*/ 342416 h 385055"/>
                    <a:gd name="connsiteX12" fmla="*/ 42640 w 92298"/>
                    <a:gd name="connsiteY12" fmla="*/ 368936 h 385055"/>
                    <a:gd name="connsiteX13" fmla="*/ 50179 w 92298"/>
                    <a:gd name="connsiteY13" fmla="*/ 368936 h 385055"/>
                    <a:gd name="connsiteX14" fmla="*/ 76699 w 92298"/>
                    <a:gd name="connsiteY14" fmla="*/ 342416 h 385055"/>
                    <a:gd name="connsiteX15" fmla="*/ 76699 w 92298"/>
                    <a:gd name="connsiteY15" fmla="*/ 41080 h 385055"/>
                    <a:gd name="connsiteX16" fmla="*/ 50179 w 92298"/>
                    <a:gd name="connsiteY16" fmla="*/ 15600 h 385055"/>
                    <a:gd name="connsiteX17" fmla="*/ 42640 w 92298"/>
                    <a:gd name="connsiteY17" fmla="*/ 15600 h 38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2298" h="385055">
                      <a:moveTo>
                        <a:pt x="49919" y="385056"/>
                      </a:moveTo>
                      <a:lnTo>
                        <a:pt x="42379" y="385056"/>
                      </a:lnTo>
                      <a:cubicBezTo>
                        <a:pt x="18980" y="385056"/>
                        <a:pt x="0" y="367116"/>
                        <a:pt x="0" y="342676"/>
                      </a:cubicBezTo>
                      <a:lnTo>
                        <a:pt x="0" y="41340"/>
                      </a:lnTo>
                      <a:cubicBezTo>
                        <a:pt x="0" y="17940"/>
                        <a:pt x="18980" y="0"/>
                        <a:pt x="42379" y="0"/>
                      </a:cubicBezTo>
                      <a:lnTo>
                        <a:pt x="49919" y="0"/>
                      </a:lnTo>
                      <a:cubicBezTo>
                        <a:pt x="73319" y="0"/>
                        <a:pt x="92299" y="18980"/>
                        <a:pt x="92299" y="41340"/>
                      </a:cubicBezTo>
                      <a:lnTo>
                        <a:pt x="92299" y="342676"/>
                      </a:lnTo>
                      <a:cubicBezTo>
                        <a:pt x="91259" y="365816"/>
                        <a:pt x="73319" y="385056"/>
                        <a:pt x="49919" y="385056"/>
                      </a:cubicBezTo>
                      <a:close/>
                      <a:moveTo>
                        <a:pt x="42640" y="15600"/>
                      </a:moveTo>
                      <a:cubicBezTo>
                        <a:pt x="28860" y="15600"/>
                        <a:pt x="16120" y="27300"/>
                        <a:pt x="16120" y="41080"/>
                      </a:cubicBezTo>
                      <a:lnTo>
                        <a:pt x="16120" y="342416"/>
                      </a:lnTo>
                      <a:cubicBezTo>
                        <a:pt x="16120" y="359316"/>
                        <a:pt x="29900" y="368936"/>
                        <a:pt x="42640" y="368936"/>
                      </a:cubicBezTo>
                      <a:lnTo>
                        <a:pt x="50179" y="368936"/>
                      </a:lnTo>
                      <a:cubicBezTo>
                        <a:pt x="63959" y="368936"/>
                        <a:pt x="76699" y="357236"/>
                        <a:pt x="76699" y="342416"/>
                      </a:cubicBezTo>
                      <a:lnTo>
                        <a:pt x="76699" y="41080"/>
                      </a:lnTo>
                      <a:cubicBezTo>
                        <a:pt x="76699" y="27300"/>
                        <a:pt x="64999" y="15600"/>
                        <a:pt x="50179" y="15600"/>
                      </a:cubicBezTo>
                      <a:lnTo>
                        <a:pt x="42640" y="15600"/>
                      </a:lnTo>
                      <a:close/>
                    </a:path>
                  </a:pathLst>
                </a:custGeom>
                <a:solidFill>
                  <a:srgbClr val="00005A"/>
                </a:solidFill>
                <a:ln w="2597" cap="flat">
                  <a:noFill/>
                  <a:prstDash val="solid"/>
                  <a:miter/>
                </a:ln>
              </p:spPr>
              <p:txBody>
                <a:bodyPr rtlCol="0" anchor="ctr"/>
                <a:lstStyle/>
                <a:p>
                  <a:endParaRPr lang="en-GB"/>
                </a:p>
              </p:txBody>
            </p:sp>
            <p:sp>
              <p:nvSpPr>
                <p:cNvPr id="656" name="Freeform: Shape 655">
                  <a:extLst>
                    <a:ext uri="{FF2B5EF4-FFF2-40B4-BE49-F238E27FC236}">
                      <a16:creationId xmlns:a16="http://schemas.microsoft.com/office/drawing/2014/main" id="{0937D8CB-C5A9-920D-3B45-1D58CA6F1197}"/>
                    </a:ext>
                  </a:extLst>
                </p:cNvPr>
                <p:cNvSpPr/>
                <p:nvPr/>
              </p:nvSpPr>
              <p:spPr>
                <a:xfrm>
                  <a:off x="5499990" y="3747629"/>
                  <a:ext cx="91259" cy="385055"/>
                </a:xfrm>
                <a:custGeom>
                  <a:avLst/>
                  <a:gdLst>
                    <a:gd name="connsiteX0" fmla="*/ 48880 w 91259"/>
                    <a:gd name="connsiteY0" fmla="*/ 385056 h 385055"/>
                    <a:gd name="connsiteX1" fmla="*/ 41340 w 91259"/>
                    <a:gd name="connsiteY1" fmla="*/ 385056 h 385055"/>
                    <a:gd name="connsiteX2" fmla="*/ 0 w 91259"/>
                    <a:gd name="connsiteY2" fmla="*/ 342676 h 385055"/>
                    <a:gd name="connsiteX3" fmla="*/ 0 w 91259"/>
                    <a:gd name="connsiteY3" fmla="*/ 41340 h 385055"/>
                    <a:gd name="connsiteX4" fmla="*/ 41340 w 91259"/>
                    <a:gd name="connsiteY4" fmla="*/ 0 h 385055"/>
                    <a:gd name="connsiteX5" fmla="*/ 48880 w 91259"/>
                    <a:gd name="connsiteY5" fmla="*/ 0 h 385055"/>
                    <a:gd name="connsiteX6" fmla="*/ 91259 w 91259"/>
                    <a:gd name="connsiteY6" fmla="*/ 41340 h 385055"/>
                    <a:gd name="connsiteX7" fmla="*/ 91259 w 91259"/>
                    <a:gd name="connsiteY7" fmla="*/ 342676 h 385055"/>
                    <a:gd name="connsiteX8" fmla="*/ 48880 w 91259"/>
                    <a:gd name="connsiteY8" fmla="*/ 385056 h 385055"/>
                    <a:gd name="connsiteX9" fmla="*/ 41340 w 91259"/>
                    <a:gd name="connsiteY9" fmla="*/ 15600 h 385055"/>
                    <a:gd name="connsiteX10" fmla="*/ 15860 w 91259"/>
                    <a:gd name="connsiteY10" fmla="*/ 41080 h 385055"/>
                    <a:gd name="connsiteX11" fmla="*/ 15860 w 91259"/>
                    <a:gd name="connsiteY11" fmla="*/ 342416 h 385055"/>
                    <a:gd name="connsiteX12" fmla="*/ 41340 w 91259"/>
                    <a:gd name="connsiteY12" fmla="*/ 368936 h 385055"/>
                    <a:gd name="connsiteX13" fmla="*/ 48880 w 91259"/>
                    <a:gd name="connsiteY13" fmla="*/ 368936 h 385055"/>
                    <a:gd name="connsiteX14" fmla="*/ 75399 w 91259"/>
                    <a:gd name="connsiteY14" fmla="*/ 342416 h 385055"/>
                    <a:gd name="connsiteX15" fmla="*/ 75399 w 91259"/>
                    <a:gd name="connsiteY15" fmla="*/ 41080 h 385055"/>
                    <a:gd name="connsiteX16" fmla="*/ 48880 w 91259"/>
                    <a:gd name="connsiteY16" fmla="*/ 15600 h 385055"/>
                    <a:gd name="connsiteX17" fmla="*/ 41340 w 91259"/>
                    <a:gd name="connsiteY17" fmla="*/ 15600 h 38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1259" h="385055">
                      <a:moveTo>
                        <a:pt x="48880" y="385056"/>
                      </a:moveTo>
                      <a:lnTo>
                        <a:pt x="41340" y="385056"/>
                      </a:lnTo>
                      <a:cubicBezTo>
                        <a:pt x="16900" y="385056"/>
                        <a:pt x="0" y="367116"/>
                        <a:pt x="0" y="342676"/>
                      </a:cubicBezTo>
                      <a:lnTo>
                        <a:pt x="0" y="41340"/>
                      </a:lnTo>
                      <a:cubicBezTo>
                        <a:pt x="0" y="17940"/>
                        <a:pt x="18980" y="0"/>
                        <a:pt x="41340" y="0"/>
                      </a:cubicBezTo>
                      <a:lnTo>
                        <a:pt x="48880" y="0"/>
                      </a:lnTo>
                      <a:cubicBezTo>
                        <a:pt x="72279" y="0"/>
                        <a:pt x="91259" y="18980"/>
                        <a:pt x="91259" y="41340"/>
                      </a:cubicBezTo>
                      <a:lnTo>
                        <a:pt x="91259" y="342676"/>
                      </a:lnTo>
                      <a:cubicBezTo>
                        <a:pt x="90219" y="365816"/>
                        <a:pt x="72279" y="385056"/>
                        <a:pt x="48880" y="385056"/>
                      </a:cubicBezTo>
                      <a:close/>
                      <a:moveTo>
                        <a:pt x="41340" y="15600"/>
                      </a:moveTo>
                      <a:cubicBezTo>
                        <a:pt x="27560" y="15600"/>
                        <a:pt x="15860" y="27300"/>
                        <a:pt x="15860" y="41080"/>
                      </a:cubicBezTo>
                      <a:lnTo>
                        <a:pt x="15860" y="342416"/>
                      </a:lnTo>
                      <a:cubicBezTo>
                        <a:pt x="15860" y="357236"/>
                        <a:pt x="26520" y="368936"/>
                        <a:pt x="41340" y="368936"/>
                      </a:cubicBezTo>
                      <a:lnTo>
                        <a:pt x="48880" y="368936"/>
                      </a:lnTo>
                      <a:cubicBezTo>
                        <a:pt x="62660" y="368936"/>
                        <a:pt x="75399" y="357236"/>
                        <a:pt x="75399" y="342416"/>
                      </a:cubicBezTo>
                      <a:lnTo>
                        <a:pt x="75399" y="41080"/>
                      </a:lnTo>
                      <a:cubicBezTo>
                        <a:pt x="75399" y="27300"/>
                        <a:pt x="63699" y="15600"/>
                        <a:pt x="48880" y="15600"/>
                      </a:cubicBezTo>
                      <a:lnTo>
                        <a:pt x="41340" y="15600"/>
                      </a:lnTo>
                      <a:close/>
                    </a:path>
                  </a:pathLst>
                </a:custGeom>
                <a:solidFill>
                  <a:srgbClr val="00005A"/>
                </a:solidFill>
                <a:ln w="2597" cap="flat">
                  <a:noFill/>
                  <a:prstDash val="solid"/>
                  <a:miter/>
                </a:ln>
              </p:spPr>
              <p:txBody>
                <a:bodyPr rtlCol="0" anchor="ctr"/>
                <a:lstStyle/>
                <a:p>
                  <a:endParaRPr lang="en-GB"/>
                </a:p>
              </p:txBody>
            </p:sp>
            <p:sp>
              <p:nvSpPr>
                <p:cNvPr id="657" name="Freeform: Shape 656">
                  <a:extLst>
                    <a:ext uri="{FF2B5EF4-FFF2-40B4-BE49-F238E27FC236}">
                      <a16:creationId xmlns:a16="http://schemas.microsoft.com/office/drawing/2014/main" id="{37317E01-A70E-2399-4FED-936890E204EE}"/>
                    </a:ext>
                  </a:extLst>
                </p:cNvPr>
                <p:cNvSpPr/>
                <p:nvPr/>
              </p:nvSpPr>
              <p:spPr>
                <a:xfrm>
                  <a:off x="5575389" y="3747629"/>
                  <a:ext cx="92298" cy="385055"/>
                </a:xfrm>
                <a:custGeom>
                  <a:avLst/>
                  <a:gdLst>
                    <a:gd name="connsiteX0" fmla="*/ 49920 w 92298"/>
                    <a:gd name="connsiteY0" fmla="*/ 385056 h 385055"/>
                    <a:gd name="connsiteX1" fmla="*/ 42380 w 92298"/>
                    <a:gd name="connsiteY1" fmla="*/ 385056 h 385055"/>
                    <a:gd name="connsiteX2" fmla="*/ 0 w 92298"/>
                    <a:gd name="connsiteY2" fmla="*/ 342676 h 385055"/>
                    <a:gd name="connsiteX3" fmla="*/ 0 w 92298"/>
                    <a:gd name="connsiteY3" fmla="*/ 41340 h 385055"/>
                    <a:gd name="connsiteX4" fmla="*/ 42380 w 92298"/>
                    <a:gd name="connsiteY4" fmla="*/ 0 h 385055"/>
                    <a:gd name="connsiteX5" fmla="*/ 49920 w 92298"/>
                    <a:gd name="connsiteY5" fmla="*/ 0 h 385055"/>
                    <a:gd name="connsiteX6" fmla="*/ 92299 w 92298"/>
                    <a:gd name="connsiteY6" fmla="*/ 41340 h 385055"/>
                    <a:gd name="connsiteX7" fmla="*/ 92299 w 92298"/>
                    <a:gd name="connsiteY7" fmla="*/ 342676 h 385055"/>
                    <a:gd name="connsiteX8" fmla="*/ 49920 w 92298"/>
                    <a:gd name="connsiteY8" fmla="*/ 385056 h 385055"/>
                    <a:gd name="connsiteX9" fmla="*/ 42380 w 92298"/>
                    <a:gd name="connsiteY9" fmla="*/ 15600 h 385055"/>
                    <a:gd name="connsiteX10" fmla="*/ 15860 w 92298"/>
                    <a:gd name="connsiteY10" fmla="*/ 41080 h 385055"/>
                    <a:gd name="connsiteX11" fmla="*/ 15860 w 92298"/>
                    <a:gd name="connsiteY11" fmla="*/ 342416 h 385055"/>
                    <a:gd name="connsiteX12" fmla="*/ 42380 w 92298"/>
                    <a:gd name="connsiteY12" fmla="*/ 368936 h 385055"/>
                    <a:gd name="connsiteX13" fmla="*/ 49920 w 92298"/>
                    <a:gd name="connsiteY13" fmla="*/ 368936 h 385055"/>
                    <a:gd name="connsiteX14" fmla="*/ 76439 w 92298"/>
                    <a:gd name="connsiteY14" fmla="*/ 342416 h 385055"/>
                    <a:gd name="connsiteX15" fmla="*/ 76439 w 92298"/>
                    <a:gd name="connsiteY15" fmla="*/ 41080 h 385055"/>
                    <a:gd name="connsiteX16" fmla="*/ 49920 w 92298"/>
                    <a:gd name="connsiteY16" fmla="*/ 15600 h 385055"/>
                    <a:gd name="connsiteX17" fmla="*/ 42380 w 92298"/>
                    <a:gd name="connsiteY17" fmla="*/ 15600 h 38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2298" h="385055">
                      <a:moveTo>
                        <a:pt x="49920" y="385056"/>
                      </a:moveTo>
                      <a:lnTo>
                        <a:pt x="42380" y="385056"/>
                      </a:lnTo>
                      <a:cubicBezTo>
                        <a:pt x="18980" y="385056"/>
                        <a:pt x="0" y="367116"/>
                        <a:pt x="0" y="342676"/>
                      </a:cubicBezTo>
                      <a:lnTo>
                        <a:pt x="0" y="41340"/>
                      </a:lnTo>
                      <a:cubicBezTo>
                        <a:pt x="0" y="17940"/>
                        <a:pt x="18980" y="0"/>
                        <a:pt x="42380" y="0"/>
                      </a:cubicBezTo>
                      <a:lnTo>
                        <a:pt x="49920" y="0"/>
                      </a:lnTo>
                      <a:cubicBezTo>
                        <a:pt x="73319" y="0"/>
                        <a:pt x="92299" y="18980"/>
                        <a:pt x="92299" y="41340"/>
                      </a:cubicBezTo>
                      <a:lnTo>
                        <a:pt x="92299" y="342676"/>
                      </a:lnTo>
                      <a:cubicBezTo>
                        <a:pt x="92299" y="365816"/>
                        <a:pt x="73319" y="385056"/>
                        <a:pt x="49920" y="385056"/>
                      </a:cubicBezTo>
                      <a:close/>
                      <a:moveTo>
                        <a:pt x="42380" y="15600"/>
                      </a:moveTo>
                      <a:cubicBezTo>
                        <a:pt x="28600" y="15600"/>
                        <a:pt x="15860" y="27300"/>
                        <a:pt x="15860" y="41080"/>
                      </a:cubicBezTo>
                      <a:lnTo>
                        <a:pt x="15860" y="342416"/>
                      </a:lnTo>
                      <a:cubicBezTo>
                        <a:pt x="15860" y="359316"/>
                        <a:pt x="29640" y="368936"/>
                        <a:pt x="42380" y="368936"/>
                      </a:cubicBezTo>
                      <a:lnTo>
                        <a:pt x="49920" y="368936"/>
                      </a:lnTo>
                      <a:cubicBezTo>
                        <a:pt x="63699" y="368936"/>
                        <a:pt x="76439" y="357236"/>
                        <a:pt x="76439" y="342416"/>
                      </a:cubicBezTo>
                      <a:lnTo>
                        <a:pt x="76439" y="41080"/>
                      </a:lnTo>
                      <a:cubicBezTo>
                        <a:pt x="76439" y="27300"/>
                        <a:pt x="64739" y="15600"/>
                        <a:pt x="49920" y="15600"/>
                      </a:cubicBezTo>
                      <a:lnTo>
                        <a:pt x="42380" y="15600"/>
                      </a:lnTo>
                      <a:close/>
                    </a:path>
                  </a:pathLst>
                </a:custGeom>
                <a:solidFill>
                  <a:srgbClr val="00005A"/>
                </a:solidFill>
                <a:ln w="2597" cap="flat">
                  <a:noFill/>
                  <a:prstDash val="solid"/>
                  <a:miter/>
                </a:ln>
              </p:spPr>
              <p:txBody>
                <a:bodyPr rtlCol="0" anchor="ctr"/>
                <a:lstStyle/>
                <a:p>
                  <a:endParaRPr lang="en-GB"/>
                </a:p>
              </p:txBody>
            </p:sp>
            <p:sp>
              <p:nvSpPr>
                <p:cNvPr id="658" name="Freeform: Shape 657">
                  <a:extLst>
                    <a:ext uri="{FF2B5EF4-FFF2-40B4-BE49-F238E27FC236}">
                      <a16:creationId xmlns:a16="http://schemas.microsoft.com/office/drawing/2014/main" id="{13BC17BF-2F60-990A-AD64-892E2687D8BA}"/>
                    </a:ext>
                  </a:extLst>
                </p:cNvPr>
                <p:cNvSpPr/>
                <p:nvPr/>
              </p:nvSpPr>
              <p:spPr>
                <a:xfrm>
                  <a:off x="5651828" y="3747629"/>
                  <a:ext cx="92298" cy="385055"/>
                </a:xfrm>
                <a:custGeom>
                  <a:avLst/>
                  <a:gdLst>
                    <a:gd name="connsiteX0" fmla="*/ 49920 w 92298"/>
                    <a:gd name="connsiteY0" fmla="*/ 385056 h 385055"/>
                    <a:gd name="connsiteX1" fmla="*/ 42380 w 92298"/>
                    <a:gd name="connsiteY1" fmla="*/ 385056 h 385055"/>
                    <a:gd name="connsiteX2" fmla="*/ 0 w 92298"/>
                    <a:gd name="connsiteY2" fmla="*/ 342676 h 385055"/>
                    <a:gd name="connsiteX3" fmla="*/ 0 w 92298"/>
                    <a:gd name="connsiteY3" fmla="*/ 41340 h 385055"/>
                    <a:gd name="connsiteX4" fmla="*/ 42380 w 92298"/>
                    <a:gd name="connsiteY4" fmla="*/ 0 h 385055"/>
                    <a:gd name="connsiteX5" fmla="*/ 49920 w 92298"/>
                    <a:gd name="connsiteY5" fmla="*/ 0 h 385055"/>
                    <a:gd name="connsiteX6" fmla="*/ 92299 w 92298"/>
                    <a:gd name="connsiteY6" fmla="*/ 41340 h 385055"/>
                    <a:gd name="connsiteX7" fmla="*/ 92299 w 92298"/>
                    <a:gd name="connsiteY7" fmla="*/ 342676 h 385055"/>
                    <a:gd name="connsiteX8" fmla="*/ 49920 w 92298"/>
                    <a:gd name="connsiteY8" fmla="*/ 385056 h 385055"/>
                    <a:gd name="connsiteX9" fmla="*/ 42380 w 92298"/>
                    <a:gd name="connsiteY9" fmla="*/ 15600 h 385055"/>
                    <a:gd name="connsiteX10" fmla="*/ 15860 w 92298"/>
                    <a:gd name="connsiteY10" fmla="*/ 41080 h 385055"/>
                    <a:gd name="connsiteX11" fmla="*/ 15860 w 92298"/>
                    <a:gd name="connsiteY11" fmla="*/ 342416 h 385055"/>
                    <a:gd name="connsiteX12" fmla="*/ 42380 w 92298"/>
                    <a:gd name="connsiteY12" fmla="*/ 368936 h 385055"/>
                    <a:gd name="connsiteX13" fmla="*/ 49920 w 92298"/>
                    <a:gd name="connsiteY13" fmla="*/ 368936 h 385055"/>
                    <a:gd name="connsiteX14" fmla="*/ 76439 w 92298"/>
                    <a:gd name="connsiteY14" fmla="*/ 342416 h 385055"/>
                    <a:gd name="connsiteX15" fmla="*/ 76439 w 92298"/>
                    <a:gd name="connsiteY15" fmla="*/ 41080 h 385055"/>
                    <a:gd name="connsiteX16" fmla="*/ 49920 w 92298"/>
                    <a:gd name="connsiteY16" fmla="*/ 15600 h 385055"/>
                    <a:gd name="connsiteX17" fmla="*/ 42380 w 92298"/>
                    <a:gd name="connsiteY17" fmla="*/ 15600 h 38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2298" h="385055">
                      <a:moveTo>
                        <a:pt x="49920" y="385056"/>
                      </a:moveTo>
                      <a:lnTo>
                        <a:pt x="42380" y="385056"/>
                      </a:lnTo>
                      <a:cubicBezTo>
                        <a:pt x="17940" y="385056"/>
                        <a:pt x="0" y="367116"/>
                        <a:pt x="0" y="342676"/>
                      </a:cubicBezTo>
                      <a:lnTo>
                        <a:pt x="0" y="41340"/>
                      </a:lnTo>
                      <a:cubicBezTo>
                        <a:pt x="0" y="17940"/>
                        <a:pt x="18980" y="0"/>
                        <a:pt x="42380" y="0"/>
                      </a:cubicBezTo>
                      <a:lnTo>
                        <a:pt x="49920" y="0"/>
                      </a:lnTo>
                      <a:cubicBezTo>
                        <a:pt x="73319" y="0"/>
                        <a:pt x="92299" y="18980"/>
                        <a:pt x="92299" y="41340"/>
                      </a:cubicBezTo>
                      <a:lnTo>
                        <a:pt x="92299" y="342676"/>
                      </a:lnTo>
                      <a:cubicBezTo>
                        <a:pt x="92299" y="365816"/>
                        <a:pt x="73319" y="385056"/>
                        <a:pt x="49920" y="385056"/>
                      </a:cubicBezTo>
                      <a:close/>
                      <a:moveTo>
                        <a:pt x="42380" y="15600"/>
                      </a:moveTo>
                      <a:cubicBezTo>
                        <a:pt x="28600" y="15600"/>
                        <a:pt x="15860" y="27300"/>
                        <a:pt x="15860" y="41080"/>
                      </a:cubicBezTo>
                      <a:lnTo>
                        <a:pt x="15860" y="342416"/>
                      </a:lnTo>
                      <a:cubicBezTo>
                        <a:pt x="15860" y="357236"/>
                        <a:pt x="26520" y="368936"/>
                        <a:pt x="42380" y="368936"/>
                      </a:cubicBezTo>
                      <a:lnTo>
                        <a:pt x="49920" y="368936"/>
                      </a:lnTo>
                      <a:cubicBezTo>
                        <a:pt x="63699" y="368936"/>
                        <a:pt x="76439" y="357236"/>
                        <a:pt x="76439" y="342416"/>
                      </a:cubicBezTo>
                      <a:lnTo>
                        <a:pt x="76439" y="41080"/>
                      </a:lnTo>
                      <a:cubicBezTo>
                        <a:pt x="76439" y="27300"/>
                        <a:pt x="64739" y="15600"/>
                        <a:pt x="49920" y="15600"/>
                      </a:cubicBezTo>
                      <a:lnTo>
                        <a:pt x="42380" y="15600"/>
                      </a:lnTo>
                      <a:close/>
                    </a:path>
                  </a:pathLst>
                </a:custGeom>
                <a:solidFill>
                  <a:srgbClr val="00005A"/>
                </a:solidFill>
                <a:ln w="2597" cap="flat">
                  <a:noFill/>
                  <a:prstDash val="solid"/>
                  <a:miter/>
                </a:ln>
              </p:spPr>
              <p:txBody>
                <a:bodyPr rtlCol="0" anchor="ctr"/>
                <a:lstStyle/>
                <a:p>
                  <a:endParaRPr lang="en-GB"/>
                </a:p>
              </p:txBody>
            </p:sp>
          </p:grpSp>
          <p:grpSp>
            <p:nvGrpSpPr>
              <p:cNvPr id="649" name="Graphic 6">
                <a:extLst>
                  <a:ext uri="{FF2B5EF4-FFF2-40B4-BE49-F238E27FC236}">
                    <a16:creationId xmlns:a16="http://schemas.microsoft.com/office/drawing/2014/main" id="{B4C6CA96-E0C2-F56A-29D9-3BAFADFB9C96}"/>
                  </a:ext>
                </a:extLst>
              </p:cNvPr>
              <p:cNvGrpSpPr/>
              <p:nvPr/>
            </p:nvGrpSpPr>
            <p:grpSpPr>
              <a:xfrm>
                <a:off x="5400411" y="3583051"/>
                <a:ext cx="290676" cy="289636"/>
                <a:chOff x="5400411" y="3583051"/>
                <a:chExt cx="290676" cy="289636"/>
              </a:xfrm>
            </p:grpSpPr>
            <p:sp>
              <p:nvSpPr>
                <p:cNvPr id="652" name="Freeform: Shape 651">
                  <a:extLst>
                    <a:ext uri="{FF2B5EF4-FFF2-40B4-BE49-F238E27FC236}">
                      <a16:creationId xmlns:a16="http://schemas.microsoft.com/office/drawing/2014/main" id="{B701A025-6501-89C0-31BF-51866BFC943E}"/>
                    </a:ext>
                  </a:extLst>
                </p:cNvPr>
                <p:cNvSpPr/>
                <p:nvPr/>
              </p:nvSpPr>
              <p:spPr>
                <a:xfrm>
                  <a:off x="5408731" y="3590330"/>
                  <a:ext cx="274036" cy="274036"/>
                </a:xfrm>
                <a:custGeom>
                  <a:avLst/>
                  <a:gdLst>
                    <a:gd name="connsiteX0" fmla="*/ 274037 w 274036"/>
                    <a:gd name="connsiteY0" fmla="*/ 137018 h 274036"/>
                    <a:gd name="connsiteX1" fmla="*/ 137019 w 274036"/>
                    <a:gd name="connsiteY1" fmla="*/ 274037 h 274036"/>
                    <a:gd name="connsiteX2" fmla="*/ 0 w 274036"/>
                    <a:gd name="connsiteY2" fmla="*/ 137018 h 274036"/>
                    <a:gd name="connsiteX3" fmla="*/ 137019 w 274036"/>
                    <a:gd name="connsiteY3" fmla="*/ 0 h 274036"/>
                    <a:gd name="connsiteX4" fmla="*/ 274037 w 274036"/>
                    <a:gd name="connsiteY4" fmla="*/ 137018 h 274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036" h="274036">
                      <a:moveTo>
                        <a:pt x="274037" y="137018"/>
                      </a:moveTo>
                      <a:cubicBezTo>
                        <a:pt x="274037" y="212691"/>
                        <a:pt x="212692" y="274037"/>
                        <a:pt x="137019" y="274037"/>
                      </a:cubicBezTo>
                      <a:cubicBezTo>
                        <a:pt x="61346" y="274037"/>
                        <a:pt x="0" y="212691"/>
                        <a:pt x="0" y="137018"/>
                      </a:cubicBezTo>
                      <a:cubicBezTo>
                        <a:pt x="0" y="61345"/>
                        <a:pt x="61346" y="0"/>
                        <a:pt x="137019" y="0"/>
                      </a:cubicBezTo>
                      <a:cubicBezTo>
                        <a:pt x="212692" y="0"/>
                        <a:pt x="274037" y="61345"/>
                        <a:pt x="274037" y="137018"/>
                      </a:cubicBezTo>
                      <a:close/>
                    </a:path>
                  </a:pathLst>
                </a:custGeom>
                <a:solidFill>
                  <a:srgbClr val="0069FF"/>
                </a:solidFill>
                <a:ln w="2597" cap="flat">
                  <a:noFill/>
                  <a:prstDash val="solid"/>
                  <a:miter/>
                </a:ln>
              </p:spPr>
              <p:txBody>
                <a:bodyPr rtlCol="0" anchor="ctr"/>
                <a:lstStyle/>
                <a:p>
                  <a:endParaRPr lang="en-GB"/>
                </a:p>
              </p:txBody>
            </p:sp>
            <p:sp>
              <p:nvSpPr>
                <p:cNvPr id="653" name="Freeform: Shape 652">
                  <a:extLst>
                    <a:ext uri="{FF2B5EF4-FFF2-40B4-BE49-F238E27FC236}">
                      <a16:creationId xmlns:a16="http://schemas.microsoft.com/office/drawing/2014/main" id="{7DD91D0D-5045-9FF0-1ECC-55905BFDBCDA}"/>
                    </a:ext>
                  </a:extLst>
                </p:cNvPr>
                <p:cNvSpPr/>
                <p:nvPr/>
              </p:nvSpPr>
              <p:spPr>
                <a:xfrm>
                  <a:off x="5400411" y="3583051"/>
                  <a:ext cx="290676" cy="289636"/>
                </a:xfrm>
                <a:custGeom>
                  <a:avLst/>
                  <a:gdLst>
                    <a:gd name="connsiteX0" fmla="*/ 145338 w 290676"/>
                    <a:gd name="connsiteY0" fmla="*/ 289637 h 289636"/>
                    <a:gd name="connsiteX1" fmla="*/ 0 w 290676"/>
                    <a:gd name="connsiteY1" fmla="*/ 144298 h 289636"/>
                    <a:gd name="connsiteX2" fmla="*/ 145338 w 290676"/>
                    <a:gd name="connsiteY2" fmla="*/ 0 h 289636"/>
                    <a:gd name="connsiteX3" fmla="*/ 290676 w 290676"/>
                    <a:gd name="connsiteY3" fmla="*/ 144298 h 289636"/>
                    <a:gd name="connsiteX4" fmla="*/ 145338 w 290676"/>
                    <a:gd name="connsiteY4" fmla="*/ 289637 h 289636"/>
                    <a:gd name="connsiteX5" fmla="*/ 145338 w 290676"/>
                    <a:gd name="connsiteY5" fmla="*/ 14820 h 289636"/>
                    <a:gd name="connsiteX6" fmla="*/ 15860 w 290676"/>
                    <a:gd name="connsiteY6" fmla="*/ 143258 h 289636"/>
                    <a:gd name="connsiteX7" fmla="*/ 145338 w 290676"/>
                    <a:gd name="connsiteY7" fmla="*/ 272737 h 289636"/>
                    <a:gd name="connsiteX8" fmla="*/ 274817 w 290676"/>
                    <a:gd name="connsiteY8" fmla="*/ 143258 h 289636"/>
                    <a:gd name="connsiteX9" fmla="*/ 145338 w 290676"/>
                    <a:gd name="connsiteY9" fmla="*/ 14820 h 289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676" h="289636">
                      <a:moveTo>
                        <a:pt x="145338" y="289637"/>
                      </a:moveTo>
                      <a:cubicBezTo>
                        <a:pt x="65779" y="289637"/>
                        <a:pt x="0" y="224897"/>
                        <a:pt x="0" y="144298"/>
                      </a:cubicBezTo>
                      <a:cubicBezTo>
                        <a:pt x="0" y="63699"/>
                        <a:pt x="64739" y="0"/>
                        <a:pt x="145338" y="0"/>
                      </a:cubicBezTo>
                      <a:cubicBezTo>
                        <a:pt x="225937" y="0"/>
                        <a:pt x="290676" y="64739"/>
                        <a:pt x="290676" y="144298"/>
                      </a:cubicBezTo>
                      <a:cubicBezTo>
                        <a:pt x="290676" y="223858"/>
                        <a:pt x="224897" y="289637"/>
                        <a:pt x="145338" y="289637"/>
                      </a:cubicBezTo>
                      <a:close/>
                      <a:moveTo>
                        <a:pt x="145338" y="14820"/>
                      </a:moveTo>
                      <a:cubicBezTo>
                        <a:pt x="74359" y="14820"/>
                        <a:pt x="15860" y="73319"/>
                        <a:pt x="15860" y="143258"/>
                      </a:cubicBezTo>
                      <a:cubicBezTo>
                        <a:pt x="15860" y="214237"/>
                        <a:pt x="74359" y="272737"/>
                        <a:pt x="145338" y="272737"/>
                      </a:cubicBezTo>
                      <a:cubicBezTo>
                        <a:pt x="216317" y="272737"/>
                        <a:pt x="274817" y="214237"/>
                        <a:pt x="274817" y="143258"/>
                      </a:cubicBezTo>
                      <a:cubicBezTo>
                        <a:pt x="274817" y="73059"/>
                        <a:pt x="216317" y="14820"/>
                        <a:pt x="145338" y="14820"/>
                      </a:cubicBezTo>
                      <a:close/>
                    </a:path>
                  </a:pathLst>
                </a:custGeom>
                <a:solidFill>
                  <a:srgbClr val="FFFFFF"/>
                </a:solidFill>
                <a:ln w="2597" cap="flat">
                  <a:noFill/>
                  <a:prstDash val="solid"/>
                  <a:miter/>
                </a:ln>
              </p:spPr>
              <p:txBody>
                <a:bodyPr rtlCol="0" anchor="ctr"/>
                <a:lstStyle/>
                <a:p>
                  <a:endParaRPr lang="en-GB"/>
                </a:p>
              </p:txBody>
            </p:sp>
          </p:grpSp>
          <p:sp>
            <p:nvSpPr>
              <p:cNvPr id="650" name="Freeform: Shape 649">
                <a:extLst>
                  <a:ext uri="{FF2B5EF4-FFF2-40B4-BE49-F238E27FC236}">
                    <a16:creationId xmlns:a16="http://schemas.microsoft.com/office/drawing/2014/main" id="{7A29E458-8023-7B44-42F4-B37AA72EF1B3}"/>
                  </a:ext>
                </a:extLst>
              </p:cNvPr>
              <p:cNvSpPr/>
              <p:nvPr/>
            </p:nvSpPr>
            <p:spPr>
              <a:xfrm>
                <a:off x="5484689" y="3625802"/>
                <a:ext cx="120339" cy="175645"/>
              </a:xfrm>
              <a:custGeom>
                <a:avLst/>
                <a:gdLst>
                  <a:gd name="connsiteX0" fmla="*/ 61060 w 120339"/>
                  <a:gd name="connsiteY0" fmla="*/ 175646 h 175645"/>
                  <a:gd name="connsiteX1" fmla="*/ 37660 w 120339"/>
                  <a:gd name="connsiteY1" fmla="*/ 172526 h 175645"/>
                  <a:gd name="connsiteX2" fmla="*/ 17380 w 120339"/>
                  <a:gd name="connsiteY2" fmla="*/ 159786 h 175645"/>
                  <a:gd name="connsiteX3" fmla="*/ 4641 w 120339"/>
                  <a:gd name="connsiteY3" fmla="*/ 139507 h 175645"/>
                  <a:gd name="connsiteX4" fmla="*/ 14261 w 120339"/>
                  <a:gd name="connsiteY4" fmla="*/ 63067 h 175645"/>
                  <a:gd name="connsiteX5" fmla="*/ 15300 w 120339"/>
                  <a:gd name="connsiteY5" fmla="*/ 60987 h 175645"/>
                  <a:gd name="connsiteX6" fmla="*/ 22840 w 120339"/>
                  <a:gd name="connsiteY6" fmla="*/ 57867 h 175645"/>
                  <a:gd name="connsiteX7" fmla="*/ 31420 w 120339"/>
                  <a:gd name="connsiteY7" fmla="*/ 63067 h 175645"/>
                  <a:gd name="connsiteX8" fmla="*/ 71720 w 120339"/>
                  <a:gd name="connsiteY8" fmla="*/ 1448 h 175645"/>
                  <a:gd name="connsiteX9" fmla="*/ 72760 w 120339"/>
                  <a:gd name="connsiteY9" fmla="*/ 408 h 175645"/>
                  <a:gd name="connsiteX10" fmla="*/ 74840 w 120339"/>
                  <a:gd name="connsiteY10" fmla="*/ 408 h 175645"/>
                  <a:gd name="connsiteX11" fmla="*/ 83420 w 120339"/>
                  <a:gd name="connsiteY11" fmla="*/ 2488 h 175645"/>
                  <a:gd name="connsiteX12" fmla="*/ 86540 w 120339"/>
                  <a:gd name="connsiteY12" fmla="*/ 18348 h 175645"/>
                  <a:gd name="connsiteX13" fmla="*/ 104479 w 120339"/>
                  <a:gd name="connsiteY13" fmla="*/ 71387 h 175645"/>
                  <a:gd name="connsiteX14" fmla="*/ 117219 w 120339"/>
                  <a:gd name="connsiteY14" fmla="*/ 91667 h 175645"/>
                  <a:gd name="connsiteX15" fmla="*/ 120339 w 120339"/>
                  <a:gd name="connsiteY15" fmla="*/ 115067 h 175645"/>
                  <a:gd name="connsiteX16" fmla="*/ 117219 w 120339"/>
                  <a:gd name="connsiteY16" fmla="*/ 138466 h 175645"/>
                  <a:gd name="connsiteX17" fmla="*/ 104479 w 120339"/>
                  <a:gd name="connsiteY17" fmla="*/ 158746 h 175645"/>
                  <a:gd name="connsiteX18" fmla="*/ 84200 w 120339"/>
                  <a:gd name="connsiteY18" fmla="*/ 171486 h 175645"/>
                  <a:gd name="connsiteX19" fmla="*/ 61060 w 120339"/>
                  <a:gd name="connsiteY19" fmla="*/ 175646 h 175645"/>
                  <a:gd name="connsiteX20" fmla="*/ 23880 w 120339"/>
                  <a:gd name="connsiteY20" fmla="*/ 79187 h 175645"/>
                  <a:gd name="connsiteX21" fmla="*/ 19721 w 120339"/>
                  <a:gd name="connsiteY21" fmla="*/ 133267 h 175645"/>
                  <a:gd name="connsiteX22" fmla="*/ 28300 w 120339"/>
                  <a:gd name="connsiteY22" fmla="*/ 148086 h 175645"/>
                  <a:gd name="connsiteX23" fmla="*/ 42080 w 120339"/>
                  <a:gd name="connsiteY23" fmla="*/ 156666 h 175645"/>
                  <a:gd name="connsiteX24" fmla="*/ 79260 w 120339"/>
                  <a:gd name="connsiteY24" fmla="*/ 156666 h 175645"/>
                  <a:gd name="connsiteX25" fmla="*/ 93040 w 120339"/>
                  <a:gd name="connsiteY25" fmla="*/ 148086 h 175645"/>
                  <a:gd name="connsiteX26" fmla="*/ 101620 w 120339"/>
                  <a:gd name="connsiteY26" fmla="*/ 134307 h 175645"/>
                  <a:gd name="connsiteX27" fmla="*/ 104739 w 120339"/>
                  <a:gd name="connsiteY27" fmla="*/ 115327 h 175645"/>
                  <a:gd name="connsiteX28" fmla="*/ 101620 w 120339"/>
                  <a:gd name="connsiteY28" fmla="*/ 96347 h 175645"/>
                  <a:gd name="connsiteX29" fmla="*/ 93040 w 120339"/>
                  <a:gd name="connsiteY29" fmla="*/ 82567 h 175645"/>
                  <a:gd name="connsiteX30" fmla="*/ 70680 w 120339"/>
                  <a:gd name="connsiteY30" fmla="*/ 23028 h 175645"/>
                  <a:gd name="connsiteX31" fmla="*/ 54820 w 120339"/>
                  <a:gd name="connsiteY31" fmla="*/ 94007 h 175645"/>
                  <a:gd name="connsiteX32" fmla="*/ 54820 w 120339"/>
                  <a:gd name="connsiteY32" fmla="*/ 108827 h 175645"/>
                  <a:gd name="connsiteX33" fmla="*/ 53780 w 120339"/>
                  <a:gd name="connsiteY33" fmla="*/ 109867 h 175645"/>
                  <a:gd name="connsiteX34" fmla="*/ 51700 w 120339"/>
                  <a:gd name="connsiteY34" fmla="*/ 110907 h 175645"/>
                  <a:gd name="connsiteX35" fmla="*/ 32720 w 120339"/>
                  <a:gd name="connsiteY35" fmla="*/ 92967 h 175645"/>
                  <a:gd name="connsiteX36" fmla="*/ 23880 w 120339"/>
                  <a:gd name="connsiteY36" fmla="*/ 79187 h 175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0339" h="175645">
                    <a:moveTo>
                      <a:pt x="61060" y="175646"/>
                    </a:moveTo>
                    <a:cubicBezTo>
                      <a:pt x="52480" y="175646"/>
                      <a:pt x="44160" y="174606"/>
                      <a:pt x="37660" y="172526"/>
                    </a:cubicBezTo>
                    <a:cubicBezTo>
                      <a:pt x="30120" y="170446"/>
                      <a:pt x="22840" y="164986"/>
                      <a:pt x="17380" y="159786"/>
                    </a:cubicBezTo>
                    <a:cubicBezTo>
                      <a:pt x="12181" y="154586"/>
                      <a:pt x="6721" y="147046"/>
                      <a:pt x="4641" y="139507"/>
                    </a:cubicBezTo>
                    <a:cubicBezTo>
                      <a:pt x="-3939" y="114027"/>
                      <a:pt x="-559" y="88547"/>
                      <a:pt x="14261" y="63067"/>
                    </a:cubicBezTo>
                    <a:lnTo>
                      <a:pt x="15300" y="60987"/>
                    </a:lnTo>
                    <a:cubicBezTo>
                      <a:pt x="17380" y="58907"/>
                      <a:pt x="20500" y="57867"/>
                      <a:pt x="22840" y="57867"/>
                    </a:cubicBezTo>
                    <a:cubicBezTo>
                      <a:pt x="25960" y="57867"/>
                      <a:pt x="28040" y="59947"/>
                      <a:pt x="31420" y="63067"/>
                    </a:cubicBezTo>
                    <a:cubicBezTo>
                      <a:pt x="33500" y="46168"/>
                      <a:pt x="43120" y="23808"/>
                      <a:pt x="71720" y="1448"/>
                    </a:cubicBezTo>
                    <a:lnTo>
                      <a:pt x="72760" y="408"/>
                    </a:lnTo>
                    <a:lnTo>
                      <a:pt x="74840" y="408"/>
                    </a:lnTo>
                    <a:cubicBezTo>
                      <a:pt x="77960" y="-632"/>
                      <a:pt x="81080" y="408"/>
                      <a:pt x="83420" y="2488"/>
                    </a:cubicBezTo>
                    <a:cubicBezTo>
                      <a:pt x="87580" y="5608"/>
                      <a:pt x="87580" y="11068"/>
                      <a:pt x="86540" y="18348"/>
                    </a:cubicBezTo>
                    <a:cubicBezTo>
                      <a:pt x="85500" y="31088"/>
                      <a:pt x="84460" y="53447"/>
                      <a:pt x="104479" y="71387"/>
                    </a:cubicBezTo>
                    <a:cubicBezTo>
                      <a:pt x="110719" y="77627"/>
                      <a:pt x="115139" y="84127"/>
                      <a:pt x="117219" y="91667"/>
                    </a:cubicBezTo>
                    <a:cubicBezTo>
                      <a:pt x="119299" y="99207"/>
                      <a:pt x="120339" y="106487"/>
                      <a:pt x="120339" y="115067"/>
                    </a:cubicBezTo>
                    <a:cubicBezTo>
                      <a:pt x="120339" y="123646"/>
                      <a:pt x="119299" y="131967"/>
                      <a:pt x="117219" y="138466"/>
                    </a:cubicBezTo>
                    <a:cubicBezTo>
                      <a:pt x="115139" y="146006"/>
                      <a:pt x="109679" y="153286"/>
                      <a:pt x="104479" y="158746"/>
                    </a:cubicBezTo>
                    <a:cubicBezTo>
                      <a:pt x="99280" y="164206"/>
                      <a:pt x="91740" y="169406"/>
                      <a:pt x="84200" y="171486"/>
                    </a:cubicBezTo>
                    <a:cubicBezTo>
                      <a:pt x="77960" y="174606"/>
                      <a:pt x="69380" y="175646"/>
                      <a:pt x="61060" y="175646"/>
                    </a:cubicBezTo>
                    <a:close/>
                    <a:moveTo>
                      <a:pt x="23880" y="79187"/>
                    </a:moveTo>
                    <a:cubicBezTo>
                      <a:pt x="11140" y="106747"/>
                      <a:pt x="17640" y="127027"/>
                      <a:pt x="19721" y="133267"/>
                    </a:cubicBezTo>
                    <a:cubicBezTo>
                      <a:pt x="21800" y="138466"/>
                      <a:pt x="24920" y="144966"/>
                      <a:pt x="28300" y="148086"/>
                    </a:cubicBezTo>
                    <a:cubicBezTo>
                      <a:pt x="31420" y="151206"/>
                      <a:pt x="37920" y="155626"/>
                      <a:pt x="42080" y="156666"/>
                    </a:cubicBezTo>
                    <a:cubicBezTo>
                      <a:pt x="52740" y="159786"/>
                      <a:pt x="68600" y="159786"/>
                      <a:pt x="79260" y="156666"/>
                    </a:cubicBezTo>
                    <a:cubicBezTo>
                      <a:pt x="83420" y="155626"/>
                      <a:pt x="89920" y="151466"/>
                      <a:pt x="93040" y="148086"/>
                    </a:cubicBezTo>
                    <a:cubicBezTo>
                      <a:pt x="97199" y="144966"/>
                      <a:pt x="100580" y="138466"/>
                      <a:pt x="101620" y="134307"/>
                    </a:cubicBezTo>
                    <a:cubicBezTo>
                      <a:pt x="103699" y="129107"/>
                      <a:pt x="104739" y="122607"/>
                      <a:pt x="104739" y="115327"/>
                    </a:cubicBezTo>
                    <a:cubicBezTo>
                      <a:pt x="104739" y="109087"/>
                      <a:pt x="103699" y="101547"/>
                      <a:pt x="101620" y="96347"/>
                    </a:cubicBezTo>
                    <a:cubicBezTo>
                      <a:pt x="99539" y="91147"/>
                      <a:pt x="97460" y="86727"/>
                      <a:pt x="93040" y="82567"/>
                    </a:cubicBezTo>
                    <a:cubicBezTo>
                      <a:pt x="71720" y="62287"/>
                      <a:pt x="69640" y="39147"/>
                      <a:pt x="70680" y="23028"/>
                    </a:cubicBezTo>
                    <a:cubicBezTo>
                      <a:pt x="35580" y="57087"/>
                      <a:pt x="48320" y="82567"/>
                      <a:pt x="54820" y="94007"/>
                    </a:cubicBezTo>
                    <a:cubicBezTo>
                      <a:pt x="56900" y="98167"/>
                      <a:pt x="60020" y="103627"/>
                      <a:pt x="54820" y="108827"/>
                    </a:cubicBezTo>
                    <a:lnTo>
                      <a:pt x="53780" y="109867"/>
                    </a:lnTo>
                    <a:lnTo>
                      <a:pt x="51700" y="110907"/>
                    </a:lnTo>
                    <a:cubicBezTo>
                      <a:pt x="44160" y="112987"/>
                      <a:pt x="41040" y="107787"/>
                      <a:pt x="32720" y="92967"/>
                    </a:cubicBezTo>
                    <a:cubicBezTo>
                      <a:pt x="30120" y="90887"/>
                      <a:pt x="25960" y="84387"/>
                      <a:pt x="23880" y="79187"/>
                    </a:cubicBezTo>
                    <a:close/>
                  </a:path>
                </a:pathLst>
              </a:custGeom>
              <a:solidFill>
                <a:srgbClr val="FFFFFF"/>
              </a:solidFill>
              <a:ln w="2597" cap="flat">
                <a:noFill/>
                <a:prstDash val="solid"/>
                <a:miter/>
              </a:ln>
            </p:spPr>
            <p:txBody>
              <a:bodyPr rtlCol="0" anchor="ctr"/>
              <a:lstStyle/>
              <a:p>
                <a:endParaRPr lang="en-GB"/>
              </a:p>
            </p:txBody>
          </p:sp>
          <p:sp>
            <p:nvSpPr>
              <p:cNvPr id="651" name="Freeform: Shape 650">
                <a:extLst>
                  <a:ext uri="{FF2B5EF4-FFF2-40B4-BE49-F238E27FC236}">
                    <a16:creationId xmlns:a16="http://schemas.microsoft.com/office/drawing/2014/main" id="{2413A42E-BB20-6F1E-6A90-02B04BC2981F}"/>
                  </a:ext>
                </a:extLst>
              </p:cNvPr>
              <p:cNvSpPr/>
              <p:nvPr/>
            </p:nvSpPr>
            <p:spPr>
              <a:xfrm>
                <a:off x="5728267" y="4012566"/>
                <a:ext cx="49139" cy="56419"/>
              </a:xfrm>
              <a:custGeom>
                <a:avLst/>
                <a:gdLst>
                  <a:gd name="connsiteX0" fmla="*/ 40300 w 49139"/>
                  <a:gd name="connsiteY0" fmla="*/ 56419 h 56419"/>
                  <a:gd name="connsiteX1" fmla="*/ 8580 w 49139"/>
                  <a:gd name="connsiteY1" fmla="*/ 56419 h 56419"/>
                  <a:gd name="connsiteX2" fmla="*/ 0 w 49139"/>
                  <a:gd name="connsiteY2" fmla="*/ 47840 h 56419"/>
                  <a:gd name="connsiteX3" fmla="*/ 8580 w 49139"/>
                  <a:gd name="connsiteY3" fmla="*/ 39259 h 56419"/>
                  <a:gd name="connsiteX4" fmla="*/ 31980 w 49139"/>
                  <a:gd name="connsiteY4" fmla="*/ 39259 h 56419"/>
                  <a:gd name="connsiteX5" fmla="*/ 31980 w 49139"/>
                  <a:gd name="connsiteY5" fmla="*/ 8580 h 56419"/>
                  <a:gd name="connsiteX6" fmla="*/ 40559 w 49139"/>
                  <a:gd name="connsiteY6" fmla="*/ 0 h 56419"/>
                  <a:gd name="connsiteX7" fmla="*/ 49139 w 49139"/>
                  <a:gd name="connsiteY7" fmla="*/ 8580 h 56419"/>
                  <a:gd name="connsiteX8" fmla="*/ 49139 w 49139"/>
                  <a:gd name="connsiteY8" fmla="*/ 46799 h 56419"/>
                  <a:gd name="connsiteX9" fmla="*/ 40300 w 49139"/>
                  <a:gd name="connsiteY9" fmla="*/ 56419 h 56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139" h="56419">
                    <a:moveTo>
                      <a:pt x="40300" y="56419"/>
                    </a:moveTo>
                    <a:lnTo>
                      <a:pt x="8580" y="56419"/>
                    </a:lnTo>
                    <a:cubicBezTo>
                      <a:pt x="4420" y="56419"/>
                      <a:pt x="0" y="53299"/>
                      <a:pt x="0" y="47840"/>
                    </a:cubicBezTo>
                    <a:cubicBezTo>
                      <a:pt x="0" y="42379"/>
                      <a:pt x="3120" y="39259"/>
                      <a:pt x="8580" y="39259"/>
                    </a:cubicBezTo>
                    <a:lnTo>
                      <a:pt x="31980" y="39259"/>
                    </a:lnTo>
                    <a:lnTo>
                      <a:pt x="31980" y="8580"/>
                    </a:lnTo>
                    <a:cubicBezTo>
                      <a:pt x="31980" y="4420"/>
                      <a:pt x="35100" y="0"/>
                      <a:pt x="40559" y="0"/>
                    </a:cubicBezTo>
                    <a:cubicBezTo>
                      <a:pt x="46019" y="0"/>
                      <a:pt x="49139" y="3120"/>
                      <a:pt x="49139" y="8580"/>
                    </a:cubicBezTo>
                    <a:lnTo>
                      <a:pt x="49139" y="46799"/>
                    </a:lnTo>
                    <a:cubicBezTo>
                      <a:pt x="48880" y="52259"/>
                      <a:pt x="44459" y="56419"/>
                      <a:pt x="40300" y="56419"/>
                    </a:cubicBezTo>
                    <a:close/>
                  </a:path>
                </a:pathLst>
              </a:custGeom>
              <a:solidFill>
                <a:srgbClr val="00005A"/>
              </a:solidFill>
              <a:ln w="2597" cap="flat">
                <a:noFill/>
                <a:prstDash val="solid"/>
                <a:miter/>
              </a:ln>
            </p:spPr>
            <p:txBody>
              <a:bodyPr rtlCol="0" anchor="ctr"/>
              <a:lstStyle/>
              <a:p>
                <a:endParaRPr lang="en-GB"/>
              </a:p>
            </p:txBody>
          </p:sp>
        </p:grpSp>
        <p:sp>
          <p:nvSpPr>
            <p:cNvPr id="646" name="Freeform: Shape 645">
              <a:extLst>
                <a:ext uri="{FF2B5EF4-FFF2-40B4-BE49-F238E27FC236}">
                  <a16:creationId xmlns:a16="http://schemas.microsoft.com/office/drawing/2014/main" id="{90857507-3C3D-55BC-86D4-682FF90484F7}"/>
                </a:ext>
              </a:extLst>
            </p:cNvPr>
            <p:cNvSpPr/>
            <p:nvPr/>
          </p:nvSpPr>
          <p:spPr>
            <a:xfrm>
              <a:off x="4962925" y="3931944"/>
              <a:ext cx="53640" cy="128460"/>
            </a:xfrm>
            <a:custGeom>
              <a:avLst/>
              <a:gdLst>
                <a:gd name="connsiteX0" fmla="*/ 25650 w 53640"/>
                <a:gd name="connsiteY0" fmla="*/ 128461 h 128460"/>
                <a:gd name="connsiteX1" fmla="*/ 22531 w 53640"/>
                <a:gd name="connsiteY1" fmla="*/ 128461 h 128460"/>
                <a:gd name="connsiteX2" fmla="*/ 17331 w 53640"/>
                <a:gd name="connsiteY2" fmla="*/ 117801 h 128460"/>
                <a:gd name="connsiteX3" fmla="*/ 33190 w 53640"/>
                <a:gd name="connsiteY3" fmla="*/ 72041 h 128460"/>
                <a:gd name="connsiteX4" fmla="*/ 7711 w 53640"/>
                <a:gd name="connsiteY4" fmla="*/ 72041 h 128460"/>
                <a:gd name="connsiteX5" fmla="*/ 1471 w 53640"/>
                <a:gd name="connsiteY5" fmla="*/ 68922 h 128460"/>
                <a:gd name="connsiteX6" fmla="*/ 431 w 53640"/>
                <a:gd name="connsiteY6" fmla="*/ 62682 h 128460"/>
                <a:gd name="connsiteX7" fmla="*/ 13170 w 53640"/>
                <a:gd name="connsiteY7" fmla="*/ 6522 h 128460"/>
                <a:gd name="connsiteX8" fmla="*/ 22790 w 53640"/>
                <a:gd name="connsiteY8" fmla="*/ 282 h 128460"/>
                <a:gd name="connsiteX9" fmla="*/ 29030 w 53640"/>
                <a:gd name="connsiteY9" fmla="*/ 9902 h 128460"/>
                <a:gd name="connsiteX10" fmla="*/ 18370 w 53640"/>
                <a:gd name="connsiteY10" fmla="*/ 56702 h 128460"/>
                <a:gd name="connsiteX11" fmla="*/ 45930 w 53640"/>
                <a:gd name="connsiteY11" fmla="*/ 56702 h 128460"/>
                <a:gd name="connsiteX12" fmla="*/ 52170 w 53640"/>
                <a:gd name="connsiteY12" fmla="*/ 59822 h 128460"/>
                <a:gd name="connsiteX13" fmla="*/ 53210 w 53640"/>
                <a:gd name="connsiteY13" fmla="*/ 67362 h 128460"/>
                <a:gd name="connsiteX14" fmla="*/ 32930 w 53640"/>
                <a:gd name="connsiteY14" fmla="*/ 123521 h 128460"/>
                <a:gd name="connsiteX15" fmla="*/ 25650 w 53640"/>
                <a:gd name="connsiteY15" fmla="*/ 128461 h 12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640" h="128460">
                  <a:moveTo>
                    <a:pt x="25650" y="128461"/>
                  </a:moveTo>
                  <a:cubicBezTo>
                    <a:pt x="24610" y="128461"/>
                    <a:pt x="23570" y="128461"/>
                    <a:pt x="22531" y="128461"/>
                  </a:cubicBezTo>
                  <a:cubicBezTo>
                    <a:pt x="18370" y="127421"/>
                    <a:pt x="16291" y="122221"/>
                    <a:pt x="17331" y="117801"/>
                  </a:cubicBezTo>
                  <a:lnTo>
                    <a:pt x="33190" y="72041"/>
                  </a:lnTo>
                  <a:lnTo>
                    <a:pt x="7711" y="72041"/>
                  </a:lnTo>
                  <a:cubicBezTo>
                    <a:pt x="5631" y="72041"/>
                    <a:pt x="3551" y="71001"/>
                    <a:pt x="1471" y="68922"/>
                  </a:cubicBezTo>
                  <a:cubicBezTo>
                    <a:pt x="431" y="66841"/>
                    <a:pt x="-609" y="64762"/>
                    <a:pt x="431" y="62682"/>
                  </a:cubicBezTo>
                  <a:lnTo>
                    <a:pt x="13170" y="6522"/>
                  </a:lnTo>
                  <a:cubicBezTo>
                    <a:pt x="14210" y="2362"/>
                    <a:pt x="18370" y="-1018"/>
                    <a:pt x="22790" y="282"/>
                  </a:cubicBezTo>
                  <a:cubicBezTo>
                    <a:pt x="26950" y="1322"/>
                    <a:pt x="30330" y="5482"/>
                    <a:pt x="29030" y="9902"/>
                  </a:cubicBezTo>
                  <a:lnTo>
                    <a:pt x="18370" y="56702"/>
                  </a:lnTo>
                  <a:lnTo>
                    <a:pt x="45930" y="56702"/>
                  </a:lnTo>
                  <a:cubicBezTo>
                    <a:pt x="48010" y="56702"/>
                    <a:pt x="51130" y="57742"/>
                    <a:pt x="52170" y="59822"/>
                  </a:cubicBezTo>
                  <a:cubicBezTo>
                    <a:pt x="53210" y="61901"/>
                    <a:pt x="54250" y="65022"/>
                    <a:pt x="53210" y="67362"/>
                  </a:cubicBezTo>
                  <a:lnTo>
                    <a:pt x="32930" y="123521"/>
                  </a:lnTo>
                  <a:cubicBezTo>
                    <a:pt x="31890" y="126381"/>
                    <a:pt x="28770" y="128461"/>
                    <a:pt x="25650" y="128461"/>
                  </a:cubicBezTo>
                  <a:close/>
                </a:path>
              </a:pathLst>
            </a:custGeom>
            <a:solidFill>
              <a:srgbClr val="FFFFFF"/>
            </a:solidFill>
            <a:ln w="2597" cap="flat">
              <a:noFill/>
              <a:prstDash val="solid"/>
              <a:miter/>
            </a:ln>
          </p:spPr>
          <p:txBody>
            <a:bodyPr rtlCol="0" anchor="ctr"/>
            <a:lstStyle/>
            <a:p>
              <a:endParaRPr lang="en-GB"/>
            </a:p>
          </p:txBody>
        </p:sp>
      </p:grpSp>
      <p:grpSp>
        <p:nvGrpSpPr>
          <p:cNvPr id="526" name="Graphic 6">
            <a:extLst>
              <a:ext uri="{FF2B5EF4-FFF2-40B4-BE49-F238E27FC236}">
                <a16:creationId xmlns:a16="http://schemas.microsoft.com/office/drawing/2014/main" id="{07BA06AE-B221-10AC-88D2-22D5E5CFD7CB}"/>
              </a:ext>
            </a:extLst>
          </p:cNvPr>
          <p:cNvGrpSpPr/>
          <p:nvPr/>
        </p:nvGrpSpPr>
        <p:grpSpPr>
          <a:xfrm>
            <a:off x="5642908" y="4724814"/>
            <a:ext cx="467342" cy="350401"/>
            <a:chOff x="3578850" y="4697138"/>
            <a:chExt cx="937311" cy="702772"/>
          </a:xfrm>
        </p:grpSpPr>
        <p:grpSp>
          <p:nvGrpSpPr>
            <p:cNvPr id="581" name="Graphic 6">
              <a:extLst>
                <a:ext uri="{FF2B5EF4-FFF2-40B4-BE49-F238E27FC236}">
                  <a16:creationId xmlns:a16="http://schemas.microsoft.com/office/drawing/2014/main" id="{337FF941-1C46-9C04-6B89-A36192DA920D}"/>
                </a:ext>
              </a:extLst>
            </p:cNvPr>
            <p:cNvGrpSpPr/>
            <p:nvPr/>
          </p:nvGrpSpPr>
          <p:grpSpPr>
            <a:xfrm>
              <a:off x="4045827" y="4697138"/>
              <a:ext cx="470334" cy="542354"/>
              <a:chOff x="4045827" y="4697138"/>
              <a:chExt cx="470334" cy="542354"/>
            </a:xfrm>
          </p:grpSpPr>
          <p:grpSp>
            <p:nvGrpSpPr>
              <p:cNvPr id="604" name="Graphic 6">
                <a:extLst>
                  <a:ext uri="{FF2B5EF4-FFF2-40B4-BE49-F238E27FC236}">
                    <a16:creationId xmlns:a16="http://schemas.microsoft.com/office/drawing/2014/main" id="{E9961ECE-FD5A-E23D-51F8-66EAAFF80825}"/>
                  </a:ext>
                </a:extLst>
              </p:cNvPr>
              <p:cNvGrpSpPr/>
              <p:nvPr/>
            </p:nvGrpSpPr>
            <p:grpSpPr>
              <a:xfrm>
                <a:off x="4071566" y="4723917"/>
                <a:ext cx="444594" cy="515574"/>
                <a:chOff x="4071566" y="4723917"/>
                <a:chExt cx="444594" cy="515574"/>
              </a:xfrm>
              <a:solidFill>
                <a:srgbClr val="0069FF"/>
              </a:solidFill>
            </p:grpSpPr>
            <p:grpSp>
              <p:nvGrpSpPr>
                <p:cNvPr id="632" name="Graphic 6">
                  <a:extLst>
                    <a:ext uri="{FF2B5EF4-FFF2-40B4-BE49-F238E27FC236}">
                      <a16:creationId xmlns:a16="http://schemas.microsoft.com/office/drawing/2014/main" id="{B1A9797E-D822-1BCA-6BE5-AF85CC4EB16A}"/>
                    </a:ext>
                  </a:extLst>
                </p:cNvPr>
                <p:cNvGrpSpPr/>
                <p:nvPr/>
              </p:nvGrpSpPr>
              <p:grpSpPr>
                <a:xfrm>
                  <a:off x="4071566" y="4723917"/>
                  <a:ext cx="444594" cy="477354"/>
                  <a:chOff x="4071566" y="4723917"/>
                  <a:chExt cx="444594" cy="477354"/>
                </a:xfrm>
                <a:solidFill>
                  <a:srgbClr val="0069FF"/>
                </a:solidFill>
              </p:grpSpPr>
              <p:sp>
                <p:nvSpPr>
                  <p:cNvPr id="637" name="Freeform: Shape 636">
                    <a:extLst>
                      <a:ext uri="{FF2B5EF4-FFF2-40B4-BE49-F238E27FC236}">
                        <a16:creationId xmlns:a16="http://schemas.microsoft.com/office/drawing/2014/main" id="{6B2A7382-4025-33FC-5195-EF99E84C03CD}"/>
                      </a:ext>
                    </a:extLst>
                  </p:cNvPr>
                  <p:cNvSpPr/>
                  <p:nvPr/>
                </p:nvSpPr>
                <p:spPr>
                  <a:xfrm>
                    <a:off x="4076766" y="4729117"/>
                    <a:ext cx="434194" cy="466954"/>
                  </a:xfrm>
                  <a:custGeom>
                    <a:avLst/>
                    <a:gdLst>
                      <a:gd name="connsiteX0" fmla="*/ 0 w 434194"/>
                      <a:gd name="connsiteY0" fmla="*/ 0 h 466954"/>
                      <a:gd name="connsiteX1" fmla="*/ 434195 w 434194"/>
                      <a:gd name="connsiteY1" fmla="*/ 0 h 466954"/>
                      <a:gd name="connsiteX2" fmla="*/ 434195 w 434194"/>
                      <a:gd name="connsiteY2" fmla="*/ 466955 h 466954"/>
                      <a:gd name="connsiteX3" fmla="*/ 0 w 434194"/>
                      <a:gd name="connsiteY3" fmla="*/ 466955 h 466954"/>
                    </a:gdLst>
                    <a:ahLst/>
                    <a:cxnLst>
                      <a:cxn ang="0">
                        <a:pos x="connsiteX0" y="connsiteY0"/>
                      </a:cxn>
                      <a:cxn ang="0">
                        <a:pos x="connsiteX1" y="connsiteY1"/>
                      </a:cxn>
                      <a:cxn ang="0">
                        <a:pos x="connsiteX2" y="connsiteY2"/>
                      </a:cxn>
                      <a:cxn ang="0">
                        <a:pos x="connsiteX3" y="connsiteY3"/>
                      </a:cxn>
                    </a:cxnLst>
                    <a:rect l="l" t="t" r="r" b="b"/>
                    <a:pathLst>
                      <a:path w="434194" h="466954">
                        <a:moveTo>
                          <a:pt x="0" y="0"/>
                        </a:moveTo>
                        <a:lnTo>
                          <a:pt x="434195" y="0"/>
                        </a:lnTo>
                        <a:lnTo>
                          <a:pt x="434195" y="466955"/>
                        </a:lnTo>
                        <a:lnTo>
                          <a:pt x="0" y="466955"/>
                        </a:lnTo>
                        <a:close/>
                      </a:path>
                    </a:pathLst>
                  </a:custGeom>
                  <a:solidFill>
                    <a:srgbClr val="0069FF"/>
                  </a:solidFill>
                  <a:ln w="2597" cap="flat">
                    <a:noFill/>
                    <a:prstDash val="solid"/>
                    <a:miter/>
                  </a:ln>
                </p:spPr>
                <p:txBody>
                  <a:bodyPr rtlCol="0" anchor="ctr"/>
                  <a:lstStyle/>
                  <a:p>
                    <a:endParaRPr lang="en-GB"/>
                  </a:p>
                </p:txBody>
              </p:sp>
              <p:sp>
                <p:nvSpPr>
                  <p:cNvPr id="638" name="Freeform: Shape 637">
                    <a:extLst>
                      <a:ext uri="{FF2B5EF4-FFF2-40B4-BE49-F238E27FC236}">
                        <a16:creationId xmlns:a16="http://schemas.microsoft.com/office/drawing/2014/main" id="{6C223AD8-A0EA-5F86-0C0B-4910EDCBE89B}"/>
                      </a:ext>
                    </a:extLst>
                  </p:cNvPr>
                  <p:cNvSpPr/>
                  <p:nvPr/>
                </p:nvSpPr>
                <p:spPr>
                  <a:xfrm>
                    <a:off x="4071566" y="4723917"/>
                    <a:ext cx="444594" cy="477354"/>
                  </a:xfrm>
                  <a:custGeom>
                    <a:avLst/>
                    <a:gdLst>
                      <a:gd name="connsiteX0" fmla="*/ 439395 w 444594"/>
                      <a:gd name="connsiteY0" fmla="*/ 477354 h 477354"/>
                      <a:gd name="connsiteX1" fmla="*/ 5200 w 444594"/>
                      <a:gd name="connsiteY1" fmla="*/ 477354 h 477354"/>
                      <a:gd name="connsiteX2" fmla="*/ 0 w 444594"/>
                      <a:gd name="connsiteY2" fmla="*/ 472155 h 477354"/>
                      <a:gd name="connsiteX3" fmla="*/ 0 w 444594"/>
                      <a:gd name="connsiteY3" fmla="*/ 5200 h 477354"/>
                      <a:gd name="connsiteX4" fmla="*/ 5200 w 444594"/>
                      <a:gd name="connsiteY4" fmla="*/ 0 h 477354"/>
                      <a:gd name="connsiteX5" fmla="*/ 439395 w 444594"/>
                      <a:gd name="connsiteY5" fmla="*/ 0 h 477354"/>
                      <a:gd name="connsiteX6" fmla="*/ 444595 w 444594"/>
                      <a:gd name="connsiteY6" fmla="*/ 5200 h 477354"/>
                      <a:gd name="connsiteX7" fmla="*/ 444595 w 444594"/>
                      <a:gd name="connsiteY7" fmla="*/ 472155 h 477354"/>
                      <a:gd name="connsiteX8" fmla="*/ 439395 w 444594"/>
                      <a:gd name="connsiteY8" fmla="*/ 477354 h 477354"/>
                      <a:gd name="connsiteX9" fmla="*/ 10660 w 444594"/>
                      <a:gd name="connsiteY9" fmla="*/ 466955 h 477354"/>
                      <a:gd name="connsiteX10" fmla="*/ 434195 w 444594"/>
                      <a:gd name="connsiteY10" fmla="*/ 466955 h 477354"/>
                      <a:gd name="connsiteX11" fmla="*/ 434195 w 444594"/>
                      <a:gd name="connsiteY11" fmla="*/ 10400 h 477354"/>
                      <a:gd name="connsiteX12" fmla="*/ 10660 w 444594"/>
                      <a:gd name="connsiteY12" fmla="*/ 10400 h 477354"/>
                      <a:gd name="connsiteX13" fmla="*/ 10660 w 444594"/>
                      <a:gd name="connsiteY13" fmla="*/ 466955 h 477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4594" h="477354">
                        <a:moveTo>
                          <a:pt x="439395" y="477354"/>
                        </a:moveTo>
                        <a:lnTo>
                          <a:pt x="5200" y="477354"/>
                        </a:lnTo>
                        <a:cubicBezTo>
                          <a:pt x="2080" y="477354"/>
                          <a:pt x="0" y="475275"/>
                          <a:pt x="0" y="472155"/>
                        </a:cubicBezTo>
                        <a:lnTo>
                          <a:pt x="0" y="5200"/>
                        </a:lnTo>
                        <a:cubicBezTo>
                          <a:pt x="0" y="2080"/>
                          <a:pt x="2080" y="0"/>
                          <a:pt x="5200" y="0"/>
                        </a:cubicBezTo>
                        <a:lnTo>
                          <a:pt x="439395" y="0"/>
                        </a:lnTo>
                        <a:cubicBezTo>
                          <a:pt x="442515" y="0"/>
                          <a:pt x="444595" y="2080"/>
                          <a:pt x="444595" y="5200"/>
                        </a:cubicBezTo>
                        <a:lnTo>
                          <a:pt x="444595" y="472155"/>
                        </a:lnTo>
                        <a:cubicBezTo>
                          <a:pt x="444595" y="475275"/>
                          <a:pt x="442515" y="477354"/>
                          <a:pt x="439395" y="477354"/>
                        </a:cubicBezTo>
                        <a:close/>
                        <a:moveTo>
                          <a:pt x="10660" y="466955"/>
                        </a:moveTo>
                        <a:lnTo>
                          <a:pt x="434195" y="466955"/>
                        </a:lnTo>
                        <a:lnTo>
                          <a:pt x="434195" y="10400"/>
                        </a:lnTo>
                        <a:lnTo>
                          <a:pt x="10660" y="10400"/>
                        </a:lnTo>
                        <a:lnTo>
                          <a:pt x="10660" y="466955"/>
                        </a:lnTo>
                        <a:close/>
                      </a:path>
                    </a:pathLst>
                  </a:custGeom>
                  <a:solidFill>
                    <a:srgbClr val="0069FF"/>
                  </a:solidFill>
                  <a:ln w="2597" cap="flat">
                    <a:noFill/>
                    <a:prstDash val="solid"/>
                    <a:miter/>
                  </a:ln>
                </p:spPr>
                <p:txBody>
                  <a:bodyPr rtlCol="0" anchor="ctr"/>
                  <a:lstStyle/>
                  <a:p>
                    <a:endParaRPr lang="en-GB"/>
                  </a:p>
                </p:txBody>
              </p:sp>
            </p:grpSp>
            <p:sp>
              <p:nvSpPr>
                <p:cNvPr id="633" name="Freeform: Shape 632">
                  <a:extLst>
                    <a:ext uri="{FF2B5EF4-FFF2-40B4-BE49-F238E27FC236}">
                      <a16:creationId xmlns:a16="http://schemas.microsoft.com/office/drawing/2014/main" id="{78AE71C3-EABE-89B4-224A-927FF02553F3}"/>
                    </a:ext>
                  </a:extLst>
                </p:cNvPr>
                <p:cNvSpPr/>
                <p:nvPr/>
              </p:nvSpPr>
              <p:spPr>
                <a:xfrm>
                  <a:off x="4145925" y="5193992"/>
                  <a:ext cx="72279" cy="40299"/>
                </a:xfrm>
                <a:custGeom>
                  <a:avLst/>
                  <a:gdLst>
                    <a:gd name="connsiteX0" fmla="*/ 0 w 72279"/>
                    <a:gd name="connsiteY0" fmla="*/ 0 h 40299"/>
                    <a:gd name="connsiteX1" fmla="*/ 72279 w 72279"/>
                    <a:gd name="connsiteY1" fmla="*/ 0 h 40299"/>
                    <a:gd name="connsiteX2" fmla="*/ 72279 w 72279"/>
                    <a:gd name="connsiteY2" fmla="*/ 40300 h 40299"/>
                    <a:gd name="connsiteX3" fmla="*/ 0 w 72279"/>
                    <a:gd name="connsiteY3" fmla="*/ 40300 h 40299"/>
                  </a:gdLst>
                  <a:ahLst/>
                  <a:cxnLst>
                    <a:cxn ang="0">
                      <a:pos x="connsiteX0" y="connsiteY0"/>
                    </a:cxn>
                    <a:cxn ang="0">
                      <a:pos x="connsiteX1" y="connsiteY1"/>
                    </a:cxn>
                    <a:cxn ang="0">
                      <a:pos x="connsiteX2" y="connsiteY2"/>
                    </a:cxn>
                    <a:cxn ang="0">
                      <a:pos x="connsiteX3" y="connsiteY3"/>
                    </a:cxn>
                  </a:cxnLst>
                  <a:rect l="l" t="t" r="r" b="b"/>
                  <a:pathLst>
                    <a:path w="72279" h="40299">
                      <a:moveTo>
                        <a:pt x="0" y="0"/>
                      </a:moveTo>
                      <a:lnTo>
                        <a:pt x="72279" y="0"/>
                      </a:lnTo>
                      <a:lnTo>
                        <a:pt x="72279" y="40300"/>
                      </a:lnTo>
                      <a:lnTo>
                        <a:pt x="0" y="40300"/>
                      </a:lnTo>
                      <a:close/>
                    </a:path>
                  </a:pathLst>
                </a:custGeom>
                <a:solidFill>
                  <a:srgbClr val="0069FF"/>
                </a:solidFill>
                <a:ln w="2597" cap="flat">
                  <a:noFill/>
                  <a:prstDash val="solid"/>
                  <a:miter/>
                </a:ln>
              </p:spPr>
              <p:txBody>
                <a:bodyPr rtlCol="0" anchor="ctr"/>
                <a:lstStyle/>
                <a:p>
                  <a:endParaRPr lang="en-GB"/>
                </a:p>
              </p:txBody>
            </p:sp>
            <p:grpSp>
              <p:nvGrpSpPr>
                <p:cNvPr id="634" name="Graphic 6">
                  <a:extLst>
                    <a:ext uri="{FF2B5EF4-FFF2-40B4-BE49-F238E27FC236}">
                      <a16:creationId xmlns:a16="http://schemas.microsoft.com/office/drawing/2014/main" id="{B5D06D14-D846-C888-2AE0-E50717E1F032}"/>
                    </a:ext>
                  </a:extLst>
                </p:cNvPr>
                <p:cNvGrpSpPr/>
                <p:nvPr/>
              </p:nvGrpSpPr>
              <p:grpSpPr>
                <a:xfrm>
                  <a:off x="4367703" y="5188792"/>
                  <a:ext cx="82679" cy="50699"/>
                  <a:chOff x="4367703" y="5188792"/>
                  <a:chExt cx="82679" cy="50699"/>
                </a:xfrm>
                <a:solidFill>
                  <a:srgbClr val="0069FF"/>
                </a:solidFill>
              </p:grpSpPr>
              <p:sp>
                <p:nvSpPr>
                  <p:cNvPr id="635" name="Freeform: Shape 634">
                    <a:extLst>
                      <a:ext uri="{FF2B5EF4-FFF2-40B4-BE49-F238E27FC236}">
                        <a16:creationId xmlns:a16="http://schemas.microsoft.com/office/drawing/2014/main" id="{76A0DE6E-4FE3-B41B-D4D3-4E1382E1B32F}"/>
                      </a:ext>
                    </a:extLst>
                  </p:cNvPr>
                  <p:cNvSpPr/>
                  <p:nvPr/>
                </p:nvSpPr>
                <p:spPr>
                  <a:xfrm>
                    <a:off x="4372903" y="5193992"/>
                    <a:ext cx="72279" cy="40299"/>
                  </a:xfrm>
                  <a:custGeom>
                    <a:avLst/>
                    <a:gdLst>
                      <a:gd name="connsiteX0" fmla="*/ 0 w 72279"/>
                      <a:gd name="connsiteY0" fmla="*/ 0 h 40299"/>
                      <a:gd name="connsiteX1" fmla="*/ 72279 w 72279"/>
                      <a:gd name="connsiteY1" fmla="*/ 0 h 40299"/>
                      <a:gd name="connsiteX2" fmla="*/ 72279 w 72279"/>
                      <a:gd name="connsiteY2" fmla="*/ 40300 h 40299"/>
                      <a:gd name="connsiteX3" fmla="*/ 0 w 72279"/>
                      <a:gd name="connsiteY3" fmla="*/ 40300 h 40299"/>
                    </a:gdLst>
                    <a:ahLst/>
                    <a:cxnLst>
                      <a:cxn ang="0">
                        <a:pos x="connsiteX0" y="connsiteY0"/>
                      </a:cxn>
                      <a:cxn ang="0">
                        <a:pos x="connsiteX1" y="connsiteY1"/>
                      </a:cxn>
                      <a:cxn ang="0">
                        <a:pos x="connsiteX2" y="connsiteY2"/>
                      </a:cxn>
                      <a:cxn ang="0">
                        <a:pos x="connsiteX3" y="connsiteY3"/>
                      </a:cxn>
                    </a:cxnLst>
                    <a:rect l="l" t="t" r="r" b="b"/>
                    <a:pathLst>
                      <a:path w="72279" h="40299">
                        <a:moveTo>
                          <a:pt x="0" y="0"/>
                        </a:moveTo>
                        <a:lnTo>
                          <a:pt x="72279" y="0"/>
                        </a:lnTo>
                        <a:lnTo>
                          <a:pt x="72279" y="40300"/>
                        </a:lnTo>
                        <a:lnTo>
                          <a:pt x="0" y="40300"/>
                        </a:lnTo>
                        <a:close/>
                      </a:path>
                    </a:pathLst>
                  </a:custGeom>
                  <a:solidFill>
                    <a:srgbClr val="0069FF"/>
                  </a:solidFill>
                  <a:ln w="2597" cap="flat">
                    <a:noFill/>
                    <a:prstDash val="solid"/>
                    <a:miter/>
                  </a:ln>
                </p:spPr>
                <p:txBody>
                  <a:bodyPr rtlCol="0" anchor="ctr"/>
                  <a:lstStyle/>
                  <a:p>
                    <a:endParaRPr lang="en-GB"/>
                  </a:p>
                </p:txBody>
              </p:sp>
              <p:sp>
                <p:nvSpPr>
                  <p:cNvPr id="636" name="Freeform: Shape 635">
                    <a:extLst>
                      <a:ext uri="{FF2B5EF4-FFF2-40B4-BE49-F238E27FC236}">
                        <a16:creationId xmlns:a16="http://schemas.microsoft.com/office/drawing/2014/main" id="{0A2CA501-8F23-CD90-54C8-1C88248BF871}"/>
                      </a:ext>
                    </a:extLst>
                  </p:cNvPr>
                  <p:cNvSpPr/>
                  <p:nvPr/>
                </p:nvSpPr>
                <p:spPr>
                  <a:xfrm>
                    <a:off x="4367703" y="5188792"/>
                    <a:ext cx="82679" cy="50699"/>
                  </a:xfrm>
                  <a:custGeom>
                    <a:avLst/>
                    <a:gdLst>
                      <a:gd name="connsiteX0" fmla="*/ 77479 w 82679"/>
                      <a:gd name="connsiteY0" fmla="*/ 50699 h 50699"/>
                      <a:gd name="connsiteX1" fmla="*/ 5200 w 82679"/>
                      <a:gd name="connsiteY1" fmla="*/ 50699 h 50699"/>
                      <a:gd name="connsiteX2" fmla="*/ 0 w 82679"/>
                      <a:gd name="connsiteY2" fmla="*/ 45499 h 50699"/>
                      <a:gd name="connsiteX3" fmla="*/ 0 w 82679"/>
                      <a:gd name="connsiteY3" fmla="*/ 5200 h 50699"/>
                      <a:gd name="connsiteX4" fmla="*/ 5200 w 82679"/>
                      <a:gd name="connsiteY4" fmla="*/ 0 h 50699"/>
                      <a:gd name="connsiteX5" fmla="*/ 77479 w 82679"/>
                      <a:gd name="connsiteY5" fmla="*/ 0 h 50699"/>
                      <a:gd name="connsiteX6" fmla="*/ 82679 w 82679"/>
                      <a:gd name="connsiteY6" fmla="*/ 5200 h 50699"/>
                      <a:gd name="connsiteX7" fmla="*/ 82679 w 82679"/>
                      <a:gd name="connsiteY7" fmla="*/ 45499 h 50699"/>
                      <a:gd name="connsiteX8" fmla="*/ 77479 w 82679"/>
                      <a:gd name="connsiteY8" fmla="*/ 50699 h 50699"/>
                      <a:gd name="connsiteX9" fmla="*/ 10660 w 82679"/>
                      <a:gd name="connsiteY9" fmla="*/ 40300 h 50699"/>
                      <a:gd name="connsiteX10" fmla="*/ 72279 w 82679"/>
                      <a:gd name="connsiteY10" fmla="*/ 40300 h 50699"/>
                      <a:gd name="connsiteX11" fmla="*/ 72279 w 82679"/>
                      <a:gd name="connsiteY11" fmla="*/ 10660 h 50699"/>
                      <a:gd name="connsiteX12" fmla="*/ 10660 w 82679"/>
                      <a:gd name="connsiteY12" fmla="*/ 10660 h 50699"/>
                      <a:gd name="connsiteX13" fmla="*/ 10660 w 82679"/>
                      <a:gd name="connsiteY13" fmla="*/ 40300 h 50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679" h="50699">
                        <a:moveTo>
                          <a:pt x="77479" y="50699"/>
                        </a:moveTo>
                        <a:lnTo>
                          <a:pt x="5200" y="50699"/>
                        </a:lnTo>
                        <a:cubicBezTo>
                          <a:pt x="2080" y="50699"/>
                          <a:pt x="0" y="48619"/>
                          <a:pt x="0" y="45499"/>
                        </a:cubicBezTo>
                        <a:lnTo>
                          <a:pt x="0" y="5200"/>
                        </a:lnTo>
                        <a:cubicBezTo>
                          <a:pt x="0" y="2080"/>
                          <a:pt x="2080" y="0"/>
                          <a:pt x="5200" y="0"/>
                        </a:cubicBezTo>
                        <a:lnTo>
                          <a:pt x="77479" y="0"/>
                        </a:lnTo>
                        <a:cubicBezTo>
                          <a:pt x="80599" y="0"/>
                          <a:pt x="82679" y="2080"/>
                          <a:pt x="82679" y="5200"/>
                        </a:cubicBezTo>
                        <a:lnTo>
                          <a:pt x="82679" y="45499"/>
                        </a:lnTo>
                        <a:cubicBezTo>
                          <a:pt x="82679" y="48619"/>
                          <a:pt x="80599" y="50699"/>
                          <a:pt x="77479" y="50699"/>
                        </a:cubicBezTo>
                        <a:close/>
                        <a:moveTo>
                          <a:pt x="10660" y="40300"/>
                        </a:moveTo>
                        <a:lnTo>
                          <a:pt x="72279" y="40300"/>
                        </a:lnTo>
                        <a:lnTo>
                          <a:pt x="72279" y="10660"/>
                        </a:lnTo>
                        <a:lnTo>
                          <a:pt x="10660" y="10660"/>
                        </a:lnTo>
                        <a:lnTo>
                          <a:pt x="10660" y="40300"/>
                        </a:lnTo>
                        <a:close/>
                      </a:path>
                    </a:pathLst>
                  </a:custGeom>
                  <a:solidFill>
                    <a:srgbClr val="0069FF"/>
                  </a:solidFill>
                  <a:ln w="2597" cap="flat">
                    <a:noFill/>
                    <a:prstDash val="solid"/>
                    <a:miter/>
                  </a:ln>
                </p:spPr>
                <p:txBody>
                  <a:bodyPr rtlCol="0" anchor="ctr"/>
                  <a:lstStyle/>
                  <a:p>
                    <a:endParaRPr lang="en-GB"/>
                  </a:p>
                </p:txBody>
              </p:sp>
            </p:grpSp>
          </p:grpSp>
          <p:sp>
            <p:nvSpPr>
              <p:cNvPr id="605" name="Freeform: Shape 604">
                <a:extLst>
                  <a:ext uri="{FF2B5EF4-FFF2-40B4-BE49-F238E27FC236}">
                    <a16:creationId xmlns:a16="http://schemas.microsoft.com/office/drawing/2014/main" id="{316039C6-95F3-D017-B02D-AD3DCD117683}"/>
                  </a:ext>
                </a:extLst>
              </p:cNvPr>
              <p:cNvSpPr/>
              <p:nvPr/>
            </p:nvSpPr>
            <p:spPr>
              <a:xfrm>
                <a:off x="4045827" y="4697138"/>
                <a:ext cx="451354" cy="484114"/>
              </a:xfrm>
              <a:custGeom>
                <a:avLst/>
                <a:gdLst>
                  <a:gd name="connsiteX0" fmla="*/ 442775 w 451354"/>
                  <a:gd name="connsiteY0" fmla="*/ 484115 h 484114"/>
                  <a:gd name="connsiteX1" fmla="*/ 8580 w 451354"/>
                  <a:gd name="connsiteY1" fmla="*/ 484115 h 484114"/>
                  <a:gd name="connsiteX2" fmla="*/ 0 w 451354"/>
                  <a:gd name="connsiteY2" fmla="*/ 475535 h 484114"/>
                  <a:gd name="connsiteX3" fmla="*/ 0 w 451354"/>
                  <a:gd name="connsiteY3" fmla="*/ 8580 h 484114"/>
                  <a:gd name="connsiteX4" fmla="*/ 8580 w 451354"/>
                  <a:gd name="connsiteY4" fmla="*/ 0 h 484114"/>
                  <a:gd name="connsiteX5" fmla="*/ 442775 w 451354"/>
                  <a:gd name="connsiteY5" fmla="*/ 0 h 484114"/>
                  <a:gd name="connsiteX6" fmla="*/ 451355 w 451354"/>
                  <a:gd name="connsiteY6" fmla="*/ 8580 h 484114"/>
                  <a:gd name="connsiteX7" fmla="*/ 451355 w 451354"/>
                  <a:gd name="connsiteY7" fmla="*/ 475535 h 484114"/>
                  <a:gd name="connsiteX8" fmla="*/ 442775 w 451354"/>
                  <a:gd name="connsiteY8" fmla="*/ 484115 h 484114"/>
                  <a:gd name="connsiteX9" fmla="*/ 16120 w 451354"/>
                  <a:gd name="connsiteY9" fmla="*/ 467215 h 484114"/>
                  <a:gd name="connsiteX10" fmla="*/ 434195 w 451354"/>
                  <a:gd name="connsiteY10" fmla="*/ 467215 h 484114"/>
                  <a:gd name="connsiteX11" fmla="*/ 434195 w 451354"/>
                  <a:gd name="connsiteY11" fmla="*/ 16120 h 484114"/>
                  <a:gd name="connsiteX12" fmla="*/ 16120 w 451354"/>
                  <a:gd name="connsiteY12" fmla="*/ 16120 h 484114"/>
                  <a:gd name="connsiteX13" fmla="*/ 16120 w 451354"/>
                  <a:gd name="connsiteY13" fmla="*/ 467215 h 484114"/>
                  <a:gd name="connsiteX14" fmla="*/ 16120 w 451354"/>
                  <a:gd name="connsiteY14" fmla="*/ 467215 h 48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1354" h="484114">
                    <a:moveTo>
                      <a:pt x="442775" y="484115"/>
                    </a:moveTo>
                    <a:lnTo>
                      <a:pt x="8580" y="484115"/>
                    </a:lnTo>
                    <a:cubicBezTo>
                      <a:pt x="4420" y="484115"/>
                      <a:pt x="0" y="480994"/>
                      <a:pt x="0" y="475535"/>
                    </a:cubicBezTo>
                    <a:lnTo>
                      <a:pt x="0" y="8580"/>
                    </a:lnTo>
                    <a:cubicBezTo>
                      <a:pt x="0" y="4420"/>
                      <a:pt x="3120" y="0"/>
                      <a:pt x="8580" y="0"/>
                    </a:cubicBezTo>
                    <a:lnTo>
                      <a:pt x="442775" y="0"/>
                    </a:lnTo>
                    <a:cubicBezTo>
                      <a:pt x="446935" y="0"/>
                      <a:pt x="451355" y="3120"/>
                      <a:pt x="451355" y="8580"/>
                    </a:cubicBezTo>
                    <a:lnTo>
                      <a:pt x="451355" y="475535"/>
                    </a:lnTo>
                    <a:cubicBezTo>
                      <a:pt x="450315" y="479955"/>
                      <a:pt x="446935" y="484115"/>
                      <a:pt x="442775" y="484115"/>
                    </a:cubicBezTo>
                    <a:close/>
                    <a:moveTo>
                      <a:pt x="16120" y="467215"/>
                    </a:moveTo>
                    <a:lnTo>
                      <a:pt x="434195" y="467215"/>
                    </a:lnTo>
                    <a:lnTo>
                      <a:pt x="434195" y="16120"/>
                    </a:lnTo>
                    <a:lnTo>
                      <a:pt x="16120" y="16120"/>
                    </a:lnTo>
                    <a:lnTo>
                      <a:pt x="16120" y="467215"/>
                    </a:lnTo>
                    <a:lnTo>
                      <a:pt x="16120" y="467215"/>
                    </a:lnTo>
                    <a:close/>
                  </a:path>
                </a:pathLst>
              </a:custGeom>
              <a:solidFill>
                <a:srgbClr val="00005A"/>
              </a:solidFill>
              <a:ln w="2597" cap="flat">
                <a:noFill/>
                <a:prstDash val="solid"/>
                <a:miter/>
              </a:ln>
            </p:spPr>
            <p:txBody>
              <a:bodyPr rtlCol="0" anchor="ctr"/>
              <a:lstStyle/>
              <a:p>
                <a:endParaRPr lang="en-GB"/>
              </a:p>
            </p:txBody>
          </p:sp>
          <p:grpSp>
            <p:nvGrpSpPr>
              <p:cNvPr id="606" name="Graphic 6">
                <a:extLst>
                  <a:ext uri="{FF2B5EF4-FFF2-40B4-BE49-F238E27FC236}">
                    <a16:creationId xmlns:a16="http://schemas.microsoft.com/office/drawing/2014/main" id="{FD681B42-7CCE-BBA8-6ECD-C2B435BBF208}"/>
                  </a:ext>
                </a:extLst>
              </p:cNvPr>
              <p:cNvGrpSpPr/>
              <p:nvPr/>
            </p:nvGrpSpPr>
            <p:grpSpPr>
              <a:xfrm>
                <a:off x="4330523" y="4791517"/>
                <a:ext cx="99838" cy="315376"/>
                <a:chOff x="4330523" y="4791517"/>
                <a:chExt cx="99838" cy="315376"/>
              </a:xfrm>
              <a:solidFill>
                <a:srgbClr val="FFFFFF"/>
              </a:solidFill>
            </p:grpSpPr>
            <p:sp>
              <p:nvSpPr>
                <p:cNvPr id="625" name="Freeform: Shape 624">
                  <a:extLst>
                    <a:ext uri="{FF2B5EF4-FFF2-40B4-BE49-F238E27FC236}">
                      <a16:creationId xmlns:a16="http://schemas.microsoft.com/office/drawing/2014/main" id="{0F1AAC19-E687-46D6-FD1D-D4038B501F51}"/>
                    </a:ext>
                  </a:extLst>
                </p:cNvPr>
                <p:cNvSpPr/>
                <p:nvPr/>
              </p:nvSpPr>
              <p:spPr>
                <a:xfrm>
                  <a:off x="4330523" y="4791517"/>
                  <a:ext cx="99838" cy="17159"/>
                </a:xfrm>
                <a:custGeom>
                  <a:avLst/>
                  <a:gdLst>
                    <a:gd name="connsiteX0" fmla="*/ 91259 w 99838"/>
                    <a:gd name="connsiteY0" fmla="*/ 17160 h 17159"/>
                    <a:gd name="connsiteX1" fmla="*/ 8580 w 99838"/>
                    <a:gd name="connsiteY1" fmla="*/ 17160 h 17159"/>
                    <a:gd name="connsiteX2" fmla="*/ 0 w 99838"/>
                    <a:gd name="connsiteY2" fmla="*/ 8580 h 17159"/>
                    <a:gd name="connsiteX3" fmla="*/ 8580 w 99838"/>
                    <a:gd name="connsiteY3" fmla="*/ 0 h 17159"/>
                    <a:gd name="connsiteX4" fmla="*/ 91259 w 99838"/>
                    <a:gd name="connsiteY4" fmla="*/ 0 h 17159"/>
                    <a:gd name="connsiteX5" fmla="*/ 99839 w 99838"/>
                    <a:gd name="connsiteY5" fmla="*/ 8580 h 17159"/>
                    <a:gd name="connsiteX6" fmla="*/ 91259 w 9983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838" h="17159">
                      <a:moveTo>
                        <a:pt x="91259" y="17160"/>
                      </a:moveTo>
                      <a:lnTo>
                        <a:pt x="8580" y="17160"/>
                      </a:lnTo>
                      <a:cubicBezTo>
                        <a:pt x="4420" y="17160"/>
                        <a:pt x="0" y="14040"/>
                        <a:pt x="0" y="8580"/>
                      </a:cubicBezTo>
                      <a:cubicBezTo>
                        <a:pt x="0" y="3120"/>
                        <a:pt x="3120" y="0"/>
                        <a:pt x="8580" y="0"/>
                      </a:cubicBezTo>
                      <a:lnTo>
                        <a:pt x="91259" y="0"/>
                      </a:lnTo>
                      <a:cubicBezTo>
                        <a:pt x="95419" y="0"/>
                        <a:pt x="99839" y="3120"/>
                        <a:pt x="99839" y="8580"/>
                      </a:cubicBezTo>
                      <a:cubicBezTo>
                        <a:pt x="99839" y="14040"/>
                        <a:pt x="95419" y="17160"/>
                        <a:pt x="91259" y="17160"/>
                      </a:cubicBezTo>
                      <a:close/>
                    </a:path>
                  </a:pathLst>
                </a:custGeom>
                <a:solidFill>
                  <a:srgbClr val="FFFFFF"/>
                </a:solidFill>
                <a:ln w="2597" cap="flat">
                  <a:noFill/>
                  <a:prstDash val="solid"/>
                  <a:miter/>
                </a:ln>
              </p:spPr>
              <p:txBody>
                <a:bodyPr rtlCol="0" anchor="ctr"/>
                <a:lstStyle/>
                <a:p>
                  <a:endParaRPr lang="en-GB"/>
                </a:p>
              </p:txBody>
            </p:sp>
            <p:sp>
              <p:nvSpPr>
                <p:cNvPr id="626" name="Freeform: Shape 625">
                  <a:extLst>
                    <a:ext uri="{FF2B5EF4-FFF2-40B4-BE49-F238E27FC236}">
                      <a16:creationId xmlns:a16="http://schemas.microsoft.com/office/drawing/2014/main" id="{72AD3AF3-FAE9-33F8-26D7-22784E290BA7}"/>
                    </a:ext>
                  </a:extLst>
                </p:cNvPr>
                <p:cNvSpPr/>
                <p:nvPr/>
              </p:nvSpPr>
              <p:spPr>
                <a:xfrm>
                  <a:off x="4330523" y="4840396"/>
                  <a:ext cx="99838" cy="17159"/>
                </a:xfrm>
                <a:custGeom>
                  <a:avLst/>
                  <a:gdLst>
                    <a:gd name="connsiteX0" fmla="*/ 91259 w 99838"/>
                    <a:gd name="connsiteY0" fmla="*/ 17160 h 17159"/>
                    <a:gd name="connsiteX1" fmla="*/ 8580 w 99838"/>
                    <a:gd name="connsiteY1" fmla="*/ 17160 h 17159"/>
                    <a:gd name="connsiteX2" fmla="*/ 0 w 99838"/>
                    <a:gd name="connsiteY2" fmla="*/ 8580 h 17159"/>
                    <a:gd name="connsiteX3" fmla="*/ 8580 w 99838"/>
                    <a:gd name="connsiteY3" fmla="*/ 0 h 17159"/>
                    <a:gd name="connsiteX4" fmla="*/ 91259 w 99838"/>
                    <a:gd name="connsiteY4" fmla="*/ 0 h 17159"/>
                    <a:gd name="connsiteX5" fmla="*/ 99839 w 99838"/>
                    <a:gd name="connsiteY5" fmla="*/ 8580 h 17159"/>
                    <a:gd name="connsiteX6" fmla="*/ 91259 w 9983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838" h="17159">
                      <a:moveTo>
                        <a:pt x="91259" y="17160"/>
                      </a:moveTo>
                      <a:lnTo>
                        <a:pt x="8580" y="17160"/>
                      </a:lnTo>
                      <a:cubicBezTo>
                        <a:pt x="4420" y="17160"/>
                        <a:pt x="0" y="14040"/>
                        <a:pt x="0" y="8580"/>
                      </a:cubicBezTo>
                      <a:cubicBezTo>
                        <a:pt x="0" y="3380"/>
                        <a:pt x="3120" y="0"/>
                        <a:pt x="8580" y="0"/>
                      </a:cubicBezTo>
                      <a:lnTo>
                        <a:pt x="91259" y="0"/>
                      </a:lnTo>
                      <a:cubicBezTo>
                        <a:pt x="95419" y="0"/>
                        <a:pt x="99839" y="3120"/>
                        <a:pt x="99839" y="8580"/>
                      </a:cubicBezTo>
                      <a:cubicBezTo>
                        <a:pt x="99839" y="14040"/>
                        <a:pt x="95419" y="17160"/>
                        <a:pt x="91259" y="17160"/>
                      </a:cubicBezTo>
                      <a:close/>
                    </a:path>
                  </a:pathLst>
                </a:custGeom>
                <a:solidFill>
                  <a:srgbClr val="FFFFFF"/>
                </a:solidFill>
                <a:ln w="2597" cap="flat">
                  <a:noFill/>
                  <a:prstDash val="solid"/>
                  <a:miter/>
                </a:ln>
              </p:spPr>
              <p:txBody>
                <a:bodyPr rtlCol="0" anchor="ctr"/>
                <a:lstStyle/>
                <a:p>
                  <a:endParaRPr lang="en-GB"/>
                </a:p>
              </p:txBody>
            </p:sp>
            <p:sp>
              <p:nvSpPr>
                <p:cNvPr id="627" name="Freeform: Shape 626">
                  <a:extLst>
                    <a:ext uri="{FF2B5EF4-FFF2-40B4-BE49-F238E27FC236}">
                      <a16:creationId xmlns:a16="http://schemas.microsoft.com/office/drawing/2014/main" id="{3C8C1EC2-613B-9060-884A-B486A8DF941E}"/>
                    </a:ext>
                  </a:extLst>
                </p:cNvPr>
                <p:cNvSpPr/>
                <p:nvPr/>
              </p:nvSpPr>
              <p:spPr>
                <a:xfrm>
                  <a:off x="4330523" y="4890316"/>
                  <a:ext cx="99838" cy="17159"/>
                </a:xfrm>
                <a:custGeom>
                  <a:avLst/>
                  <a:gdLst>
                    <a:gd name="connsiteX0" fmla="*/ 91259 w 99838"/>
                    <a:gd name="connsiteY0" fmla="*/ 17160 h 17159"/>
                    <a:gd name="connsiteX1" fmla="*/ 8580 w 99838"/>
                    <a:gd name="connsiteY1" fmla="*/ 17160 h 17159"/>
                    <a:gd name="connsiteX2" fmla="*/ 0 w 99838"/>
                    <a:gd name="connsiteY2" fmla="*/ 8580 h 17159"/>
                    <a:gd name="connsiteX3" fmla="*/ 8580 w 99838"/>
                    <a:gd name="connsiteY3" fmla="*/ 0 h 17159"/>
                    <a:gd name="connsiteX4" fmla="*/ 91259 w 99838"/>
                    <a:gd name="connsiteY4" fmla="*/ 0 h 17159"/>
                    <a:gd name="connsiteX5" fmla="*/ 99839 w 99838"/>
                    <a:gd name="connsiteY5" fmla="*/ 8580 h 17159"/>
                    <a:gd name="connsiteX6" fmla="*/ 91259 w 9983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838" h="17159">
                      <a:moveTo>
                        <a:pt x="91259" y="17160"/>
                      </a:moveTo>
                      <a:lnTo>
                        <a:pt x="8580" y="17160"/>
                      </a:lnTo>
                      <a:cubicBezTo>
                        <a:pt x="4420" y="17160"/>
                        <a:pt x="0" y="14040"/>
                        <a:pt x="0" y="8580"/>
                      </a:cubicBezTo>
                      <a:cubicBezTo>
                        <a:pt x="0" y="3120"/>
                        <a:pt x="3120" y="0"/>
                        <a:pt x="8580" y="0"/>
                      </a:cubicBezTo>
                      <a:lnTo>
                        <a:pt x="91259" y="0"/>
                      </a:lnTo>
                      <a:cubicBezTo>
                        <a:pt x="95419" y="0"/>
                        <a:pt x="99839" y="3120"/>
                        <a:pt x="99839" y="8580"/>
                      </a:cubicBezTo>
                      <a:cubicBezTo>
                        <a:pt x="99839" y="14040"/>
                        <a:pt x="95419" y="17160"/>
                        <a:pt x="91259" y="17160"/>
                      </a:cubicBezTo>
                      <a:close/>
                    </a:path>
                  </a:pathLst>
                </a:custGeom>
                <a:solidFill>
                  <a:srgbClr val="FFFFFF"/>
                </a:solidFill>
                <a:ln w="2597" cap="flat">
                  <a:noFill/>
                  <a:prstDash val="solid"/>
                  <a:miter/>
                </a:ln>
              </p:spPr>
              <p:txBody>
                <a:bodyPr rtlCol="0" anchor="ctr"/>
                <a:lstStyle/>
                <a:p>
                  <a:endParaRPr lang="en-GB"/>
                </a:p>
              </p:txBody>
            </p:sp>
            <p:sp>
              <p:nvSpPr>
                <p:cNvPr id="628" name="Freeform: Shape 627">
                  <a:extLst>
                    <a:ext uri="{FF2B5EF4-FFF2-40B4-BE49-F238E27FC236}">
                      <a16:creationId xmlns:a16="http://schemas.microsoft.com/office/drawing/2014/main" id="{F7D8A31E-D74D-9F4F-201F-D42A74BC99EA}"/>
                    </a:ext>
                  </a:extLst>
                </p:cNvPr>
                <p:cNvSpPr/>
                <p:nvPr/>
              </p:nvSpPr>
              <p:spPr>
                <a:xfrm>
                  <a:off x="4330523" y="4940235"/>
                  <a:ext cx="99838" cy="17160"/>
                </a:xfrm>
                <a:custGeom>
                  <a:avLst/>
                  <a:gdLst>
                    <a:gd name="connsiteX0" fmla="*/ 91259 w 99838"/>
                    <a:gd name="connsiteY0" fmla="*/ 17160 h 17160"/>
                    <a:gd name="connsiteX1" fmla="*/ 8580 w 99838"/>
                    <a:gd name="connsiteY1" fmla="*/ 17160 h 17160"/>
                    <a:gd name="connsiteX2" fmla="*/ 0 w 99838"/>
                    <a:gd name="connsiteY2" fmla="*/ 8580 h 17160"/>
                    <a:gd name="connsiteX3" fmla="*/ 8580 w 99838"/>
                    <a:gd name="connsiteY3" fmla="*/ 0 h 17160"/>
                    <a:gd name="connsiteX4" fmla="*/ 91259 w 99838"/>
                    <a:gd name="connsiteY4" fmla="*/ 0 h 17160"/>
                    <a:gd name="connsiteX5" fmla="*/ 99839 w 99838"/>
                    <a:gd name="connsiteY5" fmla="*/ 8580 h 17160"/>
                    <a:gd name="connsiteX6" fmla="*/ 91259 w 99838"/>
                    <a:gd name="connsiteY6" fmla="*/ 17160 h 1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838" h="17160">
                      <a:moveTo>
                        <a:pt x="91259" y="17160"/>
                      </a:moveTo>
                      <a:lnTo>
                        <a:pt x="8580" y="17160"/>
                      </a:lnTo>
                      <a:cubicBezTo>
                        <a:pt x="4420" y="17160"/>
                        <a:pt x="0" y="14040"/>
                        <a:pt x="0" y="8580"/>
                      </a:cubicBezTo>
                      <a:cubicBezTo>
                        <a:pt x="0" y="3120"/>
                        <a:pt x="3120" y="0"/>
                        <a:pt x="8580" y="0"/>
                      </a:cubicBezTo>
                      <a:lnTo>
                        <a:pt x="91259" y="0"/>
                      </a:lnTo>
                      <a:cubicBezTo>
                        <a:pt x="95419" y="0"/>
                        <a:pt x="99839" y="3120"/>
                        <a:pt x="99839" y="8580"/>
                      </a:cubicBezTo>
                      <a:cubicBezTo>
                        <a:pt x="99839" y="14040"/>
                        <a:pt x="95419" y="17160"/>
                        <a:pt x="91259" y="17160"/>
                      </a:cubicBezTo>
                      <a:close/>
                    </a:path>
                  </a:pathLst>
                </a:custGeom>
                <a:solidFill>
                  <a:srgbClr val="FFFFFF"/>
                </a:solidFill>
                <a:ln w="2597" cap="flat">
                  <a:noFill/>
                  <a:prstDash val="solid"/>
                  <a:miter/>
                </a:ln>
              </p:spPr>
              <p:txBody>
                <a:bodyPr rtlCol="0" anchor="ctr"/>
                <a:lstStyle/>
                <a:p>
                  <a:endParaRPr lang="en-GB"/>
                </a:p>
              </p:txBody>
            </p:sp>
            <p:sp>
              <p:nvSpPr>
                <p:cNvPr id="629" name="Freeform: Shape 628">
                  <a:extLst>
                    <a:ext uri="{FF2B5EF4-FFF2-40B4-BE49-F238E27FC236}">
                      <a16:creationId xmlns:a16="http://schemas.microsoft.com/office/drawing/2014/main" id="{4905E51F-17AE-B5E9-F1E9-EB8C000AD7F2}"/>
                    </a:ext>
                  </a:extLst>
                </p:cNvPr>
                <p:cNvSpPr/>
                <p:nvPr/>
              </p:nvSpPr>
              <p:spPr>
                <a:xfrm>
                  <a:off x="4330523" y="4991194"/>
                  <a:ext cx="99838" cy="17159"/>
                </a:xfrm>
                <a:custGeom>
                  <a:avLst/>
                  <a:gdLst>
                    <a:gd name="connsiteX0" fmla="*/ 91259 w 99838"/>
                    <a:gd name="connsiteY0" fmla="*/ 17160 h 17159"/>
                    <a:gd name="connsiteX1" fmla="*/ 8580 w 99838"/>
                    <a:gd name="connsiteY1" fmla="*/ 17160 h 17159"/>
                    <a:gd name="connsiteX2" fmla="*/ 0 w 99838"/>
                    <a:gd name="connsiteY2" fmla="*/ 8580 h 17159"/>
                    <a:gd name="connsiteX3" fmla="*/ 8580 w 99838"/>
                    <a:gd name="connsiteY3" fmla="*/ 0 h 17159"/>
                    <a:gd name="connsiteX4" fmla="*/ 91259 w 99838"/>
                    <a:gd name="connsiteY4" fmla="*/ 0 h 17159"/>
                    <a:gd name="connsiteX5" fmla="*/ 99839 w 99838"/>
                    <a:gd name="connsiteY5" fmla="*/ 8580 h 17159"/>
                    <a:gd name="connsiteX6" fmla="*/ 91259 w 9983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838" h="17159">
                      <a:moveTo>
                        <a:pt x="91259" y="17160"/>
                      </a:moveTo>
                      <a:lnTo>
                        <a:pt x="8580" y="17160"/>
                      </a:lnTo>
                      <a:cubicBezTo>
                        <a:pt x="4420" y="17160"/>
                        <a:pt x="0" y="14040"/>
                        <a:pt x="0" y="8580"/>
                      </a:cubicBezTo>
                      <a:cubicBezTo>
                        <a:pt x="0" y="3120"/>
                        <a:pt x="3120" y="0"/>
                        <a:pt x="8580" y="0"/>
                      </a:cubicBezTo>
                      <a:lnTo>
                        <a:pt x="91259" y="0"/>
                      </a:lnTo>
                      <a:cubicBezTo>
                        <a:pt x="95419" y="0"/>
                        <a:pt x="99839" y="3120"/>
                        <a:pt x="99839" y="8580"/>
                      </a:cubicBezTo>
                      <a:cubicBezTo>
                        <a:pt x="99839" y="14040"/>
                        <a:pt x="95419" y="17160"/>
                        <a:pt x="91259" y="17160"/>
                      </a:cubicBezTo>
                      <a:close/>
                    </a:path>
                  </a:pathLst>
                </a:custGeom>
                <a:solidFill>
                  <a:srgbClr val="FFFFFF"/>
                </a:solidFill>
                <a:ln w="2597" cap="flat">
                  <a:noFill/>
                  <a:prstDash val="solid"/>
                  <a:miter/>
                </a:ln>
              </p:spPr>
              <p:txBody>
                <a:bodyPr rtlCol="0" anchor="ctr"/>
                <a:lstStyle/>
                <a:p>
                  <a:endParaRPr lang="en-GB"/>
                </a:p>
              </p:txBody>
            </p:sp>
            <p:sp>
              <p:nvSpPr>
                <p:cNvPr id="630" name="Freeform: Shape 629">
                  <a:extLst>
                    <a:ext uri="{FF2B5EF4-FFF2-40B4-BE49-F238E27FC236}">
                      <a16:creationId xmlns:a16="http://schemas.microsoft.com/office/drawing/2014/main" id="{2D128A63-185C-B57F-A8D4-F1963E972662}"/>
                    </a:ext>
                  </a:extLst>
                </p:cNvPr>
                <p:cNvSpPr/>
                <p:nvPr/>
              </p:nvSpPr>
              <p:spPr>
                <a:xfrm>
                  <a:off x="4330523" y="5040854"/>
                  <a:ext cx="99838" cy="17159"/>
                </a:xfrm>
                <a:custGeom>
                  <a:avLst/>
                  <a:gdLst>
                    <a:gd name="connsiteX0" fmla="*/ 91259 w 99838"/>
                    <a:gd name="connsiteY0" fmla="*/ 17160 h 17159"/>
                    <a:gd name="connsiteX1" fmla="*/ 8580 w 99838"/>
                    <a:gd name="connsiteY1" fmla="*/ 17160 h 17159"/>
                    <a:gd name="connsiteX2" fmla="*/ 0 w 99838"/>
                    <a:gd name="connsiteY2" fmla="*/ 8580 h 17159"/>
                    <a:gd name="connsiteX3" fmla="*/ 8580 w 99838"/>
                    <a:gd name="connsiteY3" fmla="*/ 0 h 17159"/>
                    <a:gd name="connsiteX4" fmla="*/ 91259 w 99838"/>
                    <a:gd name="connsiteY4" fmla="*/ 0 h 17159"/>
                    <a:gd name="connsiteX5" fmla="*/ 99839 w 99838"/>
                    <a:gd name="connsiteY5" fmla="*/ 8580 h 17159"/>
                    <a:gd name="connsiteX6" fmla="*/ 91259 w 99838"/>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838" h="17159">
                      <a:moveTo>
                        <a:pt x="91259" y="17160"/>
                      </a:moveTo>
                      <a:lnTo>
                        <a:pt x="8580" y="17160"/>
                      </a:lnTo>
                      <a:cubicBezTo>
                        <a:pt x="4420" y="17160"/>
                        <a:pt x="0" y="14040"/>
                        <a:pt x="0" y="8580"/>
                      </a:cubicBezTo>
                      <a:cubicBezTo>
                        <a:pt x="0" y="3120"/>
                        <a:pt x="3120" y="0"/>
                        <a:pt x="8580" y="0"/>
                      </a:cubicBezTo>
                      <a:lnTo>
                        <a:pt x="91259" y="0"/>
                      </a:lnTo>
                      <a:cubicBezTo>
                        <a:pt x="95419" y="0"/>
                        <a:pt x="99839" y="3120"/>
                        <a:pt x="99839" y="8580"/>
                      </a:cubicBezTo>
                      <a:cubicBezTo>
                        <a:pt x="99839" y="14040"/>
                        <a:pt x="95419" y="17160"/>
                        <a:pt x="91259" y="17160"/>
                      </a:cubicBezTo>
                      <a:close/>
                    </a:path>
                  </a:pathLst>
                </a:custGeom>
                <a:solidFill>
                  <a:srgbClr val="FFFFFF"/>
                </a:solidFill>
                <a:ln w="2597" cap="flat">
                  <a:noFill/>
                  <a:prstDash val="solid"/>
                  <a:miter/>
                </a:ln>
              </p:spPr>
              <p:txBody>
                <a:bodyPr rtlCol="0" anchor="ctr"/>
                <a:lstStyle/>
                <a:p>
                  <a:endParaRPr lang="en-GB"/>
                </a:p>
              </p:txBody>
            </p:sp>
            <p:sp>
              <p:nvSpPr>
                <p:cNvPr id="631" name="Freeform: Shape 630">
                  <a:extLst>
                    <a:ext uri="{FF2B5EF4-FFF2-40B4-BE49-F238E27FC236}">
                      <a16:creationId xmlns:a16="http://schemas.microsoft.com/office/drawing/2014/main" id="{DDF914C7-0AB5-66C9-3256-6FE824268200}"/>
                    </a:ext>
                  </a:extLst>
                </p:cNvPr>
                <p:cNvSpPr/>
                <p:nvPr/>
              </p:nvSpPr>
              <p:spPr>
                <a:xfrm>
                  <a:off x="4330523" y="5089733"/>
                  <a:ext cx="99838" cy="17160"/>
                </a:xfrm>
                <a:custGeom>
                  <a:avLst/>
                  <a:gdLst>
                    <a:gd name="connsiteX0" fmla="*/ 91259 w 99838"/>
                    <a:gd name="connsiteY0" fmla="*/ 17160 h 17160"/>
                    <a:gd name="connsiteX1" fmla="*/ 8580 w 99838"/>
                    <a:gd name="connsiteY1" fmla="*/ 17160 h 17160"/>
                    <a:gd name="connsiteX2" fmla="*/ 0 w 99838"/>
                    <a:gd name="connsiteY2" fmla="*/ 8580 h 17160"/>
                    <a:gd name="connsiteX3" fmla="*/ 8580 w 99838"/>
                    <a:gd name="connsiteY3" fmla="*/ 0 h 17160"/>
                    <a:gd name="connsiteX4" fmla="*/ 91259 w 99838"/>
                    <a:gd name="connsiteY4" fmla="*/ 0 h 17160"/>
                    <a:gd name="connsiteX5" fmla="*/ 99839 w 99838"/>
                    <a:gd name="connsiteY5" fmla="*/ 8580 h 17160"/>
                    <a:gd name="connsiteX6" fmla="*/ 91259 w 99838"/>
                    <a:gd name="connsiteY6" fmla="*/ 17160 h 1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838" h="17160">
                      <a:moveTo>
                        <a:pt x="91259" y="17160"/>
                      </a:moveTo>
                      <a:lnTo>
                        <a:pt x="8580" y="17160"/>
                      </a:lnTo>
                      <a:cubicBezTo>
                        <a:pt x="4420" y="17160"/>
                        <a:pt x="0" y="14040"/>
                        <a:pt x="0" y="8580"/>
                      </a:cubicBezTo>
                      <a:cubicBezTo>
                        <a:pt x="0" y="3380"/>
                        <a:pt x="3120" y="0"/>
                        <a:pt x="8580" y="0"/>
                      </a:cubicBezTo>
                      <a:lnTo>
                        <a:pt x="91259" y="0"/>
                      </a:lnTo>
                      <a:cubicBezTo>
                        <a:pt x="95419" y="0"/>
                        <a:pt x="99839" y="3120"/>
                        <a:pt x="99839" y="8580"/>
                      </a:cubicBezTo>
                      <a:cubicBezTo>
                        <a:pt x="99839" y="14040"/>
                        <a:pt x="95419" y="17160"/>
                        <a:pt x="91259" y="17160"/>
                      </a:cubicBezTo>
                      <a:close/>
                    </a:path>
                  </a:pathLst>
                </a:custGeom>
                <a:solidFill>
                  <a:srgbClr val="FFFFFF"/>
                </a:solidFill>
                <a:ln w="2597" cap="flat">
                  <a:noFill/>
                  <a:prstDash val="solid"/>
                  <a:miter/>
                </a:ln>
              </p:spPr>
              <p:txBody>
                <a:bodyPr rtlCol="0" anchor="ctr"/>
                <a:lstStyle/>
                <a:p>
                  <a:endParaRPr lang="en-GB"/>
                </a:p>
              </p:txBody>
            </p:sp>
          </p:grpSp>
          <p:grpSp>
            <p:nvGrpSpPr>
              <p:cNvPr id="607" name="Graphic 6">
                <a:extLst>
                  <a:ext uri="{FF2B5EF4-FFF2-40B4-BE49-F238E27FC236}">
                    <a16:creationId xmlns:a16="http://schemas.microsoft.com/office/drawing/2014/main" id="{809FB6BE-1B4C-A2E8-1FA5-125ACBD2C21A}"/>
                  </a:ext>
                </a:extLst>
              </p:cNvPr>
              <p:cNvGrpSpPr/>
              <p:nvPr/>
            </p:nvGrpSpPr>
            <p:grpSpPr>
              <a:xfrm>
                <a:off x="4135005" y="4792557"/>
                <a:ext cx="146638" cy="144558"/>
                <a:chOff x="4135005" y="4792557"/>
                <a:chExt cx="146638" cy="144558"/>
              </a:xfrm>
            </p:grpSpPr>
            <p:grpSp>
              <p:nvGrpSpPr>
                <p:cNvPr id="618" name="Graphic 6">
                  <a:extLst>
                    <a:ext uri="{FF2B5EF4-FFF2-40B4-BE49-F238E27FC236}">
                      <a16:creationId xmlns:a16="http://schemas.microsoft.com/office/drawing/2014/main" id="{A3939C7C-4E94-51A3-17F1-E9C342F01CE6}"/>
                    </a:ext>
                  </a:extLst>
                </p:cNvPr>
                <p:cNvGrpSpPr/>
                <p:nvPr/>
              </p:nvGrpSpPr>
              <p:grpSpPr>
                <a:xfrm>
                  <a:off x="4135005" y="4792557"/>
                  <a:ext cx="146638" cy="144558"/>
                  <a:chOff x="4135005" y="4792557"/>
                  <a:chExt cx="146638" cy="144558"/>
                </a:xfrm>
                <a:solidFill>
                  <a:srgbClr val="FFFFFF"/>
                </a:solidFill>
              </p:grpSpPr>
              <p:sp>
                <p:nvSpPr>
                  <p:cNvPr id="622" name="Freeform: Shape 621">
                    <a:extLst>
                      <a:ext uri="{FF2B5EF4-FFF2-40B4-BE49-F238E27FC236}">
                        <a16:creationId xmlns:a16="http://schemas.microsoft.com/office/drawing/2014/main" id="{9843138D-8FBE-AF30-6A60-5B1FD26345CA}"/>
                      </a:ext>
                    </a:extLst>
                  </p:cNvPr>
                  <p:cNvSpPr/>
                  <p:nvPr/>
                </p:nvSpPr>
                <p:spPr>
                  <a:xfrm>
                    <a:off x="4135005" y="4792557"/>
                    <a:ext cx="146638" cy="144558"/>
                  </a:xfrm>
                  <a:custGeom>
                    <a:avLst/>
                    <a:gdLst>
                      <a:gd name="connsiteX0" fmla="*/ 73319 w 146638"/>
                      <a:gd name="connsiteY0" fmla="*/ 144558 h 144558"/>
                      <a:gd name="connsiteX1" fmla="*/ 0 w 146638"/>
                      <a:gd name="connsiteY1" fmla="*/ 72279 h 144558"/>
                      <a:gd name="connsiteX2" fmla="*/ 73319 w 146638"/>
                      <a:gd name="connsiteY2" fmla="*/ 0 h 144558"/>
                      <a:gd name="connsiteX3" fmla="*/ 146638 w 146638"/>
                      <a:gd name="connsiteY3" fmla="*/ 72279 h 144558"/>
                      <a:gd name="connsiteX4" fmla="*/ 73319 w 146638"/>
                      <a:gd name="connsiteY4" fmla="*/ 144558 h 144558"/>
                      <a:gd name="connsiteX5" fmla="*/ 73319 w 146638"/>
                      <a:gd name="connsiteY5" fmla="*/ 16120 h 144558"/>
                      <a:gd name="connsiteX6" fmla="*/ 16120 w 146638"/>
                      <a:gd name="connsiteY6" fmla="*/ 72279 h 144558"/>
                      <a:gd name="connsiteX7" fmla="*/ 73319 w 146638"/>
                      <a:gd name="connsiteY7" fmla="*/ 128439 h 144558"/>
                      <a:gd name="connsiteX8" fmla="*/ 130519 w 146638"/>
                      <a:gd name="connsiteY8" fmla="*/ 72279 h 144558"/>
                      <a:gd name="connsiteX9" fmla="*/ 73319 w 146638"/>
                      <a:gd name="connsiteY9" fmla="*/ 16120 h 144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638" h="144558">
                        <a:moveTo>
                          <a:pt x="73319" y="144558"/>
                        </a:moveTo>
                        <a:cubicBezTo>
                          <a:pt x="33020" y="144558"/>
                          <a:pt x="0" y="111539"/>
                          <a:pt x="0" y="72279"/>
                        </a:cubicBezTo>
                        <a:cubicBezTo>
                          <a:pt x="0" y="33019"/>
                          <a:pt x="33020" y="0"/>
                          <a:pt x="73319" y="0"/>
                        </a:cubicBezTo>
                        <a:cubicBezTo>
                          <a:pt x="113619" y="0"/>
                          <a:pt x="146638" y="33019"/>
                          <a:pt x="146638" y="72279"/>
                        </a:cubicBezTo>
                        <a:cubicBezTo>
                          <a:pt x="146638" y="111539"/>
                          <a:pt x="113879" y="144558"/>
                          <a:pt x="73319" y="144558"/>
                        </a:cubicBezTo>
                        <a:close/>
                        <a:moveTo>
                          <a:pt x="73319" y="16120"/>
                        </a:moveTo>
                        <a:cubicBezTo>
                          <a:pt x="41600" y="16120"/>
                          <a:pt x="16120" y="41600"/>
                          <a:pt x="16120" y="72279"/>
                        </a:cubicBezTo>
                        <a:cubicBezTo>
                          <a:pt x="16120" y="102959"/>
                          <a:pt x="41600" y="128439"/>
                          <a:pt x="73319" y="128439"/>
                        </a:cubicBezTo>
                        <a:cubicBezTo>
                          <a:pt x="105039" y="128439"/>
                          <a:pt x="130519" y="102959"/>
                          <a:pt x="130519" y="72279"/>
                        </a:cubicBezTo>
                        <a:cubicBezTo>
                          <a:pt x="130519" y="41600"/>
                          <a:pt x="105299" y="16120"/>
                          <a:pt x="73319" y="16120"/>
                        </a:cubicBezTo>
                        <a:close/>
                      </a:path>
                    </a:pathLst>
                  </a:custGeom>
                  <a:solidFill>
                    <a:srgbClr val="FFFFFF"/>
                  </a:solidFill>
                  <a:ln w="2597" cap="flat">
                    <a:noFill/>
                    <a:prstDash val="solid"/>
                    <a:miter/>
                  </a:ln>
                </p:spPr>
                <p:txBody>
                  <a:bodyPr rtlCol="0" anchor="ctr"/>
                  <a:lstStyle/>
                  <a:p>
                    <a:endParaRPr lang="en-GB"/>
                  </a:p>
                </p:txBody>
              </p:sp>
              <p:sp>
                <p:nvSpPr>
                  <p:cNvPr id="623" name="Freeform: Shape 622">
                    <a:extLst>
                      <a:ext uri="{FF2B5EF4-FFF2-40B4-BE49-F238E27FC236}">
                        <a16:creationId xmlns:a16="http://schemas.microsoft.com/office/drawing/2014/main" id="{5297595A-FA8A-5118-5371-BB89A666112E}"/>
                      </a:ext>
                    </a:extLst>
                  </p:cNvPr>
                  <p:cNvSpPr/>
                  <p:nvPr/>
                </p:nvSpPr>
                <p:spPr>
                  <a:xfrm>
                    <a:off x="4157365" y="4815956"/>
                    <a:ext cx="102438" cy="99838"/>
                  </a:xfrm>
                  <a:custGeom>
                    <a:avLst/>
                    <a:gdLst>
                      <a:gd name="connsiteX0" fmla="*/ 7540 w 102438"/>
                      <a:gd name="connsiteY0" fmla="*/ 99839 h 99838"/>
                      <a:gd name="connsiteX1" fmla="*/ 2340 w 102438"/>
                      <a:gd name="connsiteY1" fmla="*/ 97759 h 99838"/>
                      <a:gd name="connsiteX2" fmla="*/ 2340 w 102438"/>
                      <a:gd name="connsiteY2" fmla="*/ 86059 h 99838"/>
                      <a:gd name="connsiteX3" fmla="*/ 88399 w 102438"/>
                      <a:gd name="connsiteY3" fmla="*/ 2340 h 99838"/>
                      <a:gd name="connsiteX4" fmla="*/ 100099 w 102438"/>
                      <a:gd name="connsiteY4" fmla="*/ 2340 h 99838"/>
                      <a:gd name="connsiteX5" fmla="*/ 100099 w 102438"/>
                      <a:gd name="connsiteY5" fmla="*/ 14040 h 99838"/>
                      <a:gd name="connsiteX6" fmla="*/ 14040 w 102438"/>
                      <a:gd name="connsiteY6" fmla="*/ 97759 h 99838"/>
                      <a:gd name="connsiteX7" fmla="*/ 7540 w 102438"/>
                      <a:gd name="connsiteY7" fmla="*/ 99839 h 99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438" h="99838">
                        <a:moveTo>
                          <a:pt x="7540" y="99839"/>
                        </a:moveTo>
                        <a:cubicBezTo>
                          <a:pt x="5460" y="99839"/>
                          <a:pt x="3380" y="98799"/>
                          <a:pt x="2340" y="97759"/>
                        </a:cubicBezTo>
                        <a:cubicBezTo>
                          <a:pt x="-780" y="94639"/>
                          <a:pt x="-780" y="89179"/>
                          <a:pt x="2340" y="86059"/>
                        </a:cubicBezTo>
                        <a:lnTo>
                          <a:pt x="88399" y="2340"/>
                        </a:lnTo>
                        <a:cubicBezTo>
                          <a:pt x="91519" y="-780"/>
                          <a:pt x="96979" y="-780"/>
                          <a:pt x="100099" y="2340"/>
                        </a:cubicBezTo>
                        <a:cubicBezTo>
                          <a:pt x="103219" y="5460"/>
                          <a:pt x="103219" y="10920"/>
                          <a:pt x="100099" y="14040"/>
                        </a:cubicBezTo>
                        <a:lnTo>
                          <a:pt x="14040" y="97759"/>
                        </a:lnTo>
                        <a:cubicBezTo>
                          <a:pt x="11700" y="98799"/>
                          <a:pt x="9620" y="99839"/>
                          <a:pt x="7540" y="99839"/>
                        </a:cubicBezTo>
                        <a:close/>
                      </a:path>
                    </a:pathLst>
                  </a:custGeom>
                  <a:solidFill>
                    <a:srgbClr val="FFFFFF"/>
                  </a:solidFill>
                  <a:ln w="2597" cap="flat">
                    <a:noFill/>
                    <a:prstDash val="solid"/>
                    <a:miter/>
                  </a:ln>
                </p:spPr>
                <p:txBody>
                  <a:bodyPr rtlCol="0" anchor="ctr"/>
                  <a:lstStyle/>
                  <a:p>
                    <a:endParaRPr lang="en-GB"/>
                  </a:p>
                </p:txBody>
              </p:sp>
              <p:sp>
                <p:nvSpPr>
                  <p:cNvPr id="624" name="Freeform: Shape 623">
                    <a:extLst>
                      <a:ext uri="{FF2B5EF4-FFF2-40B4-BE49-F238E27FC236}">
                        <a16:creationId xmlns:a16="http://schemas.microsoft.com/office/drawing/2014/main" id="{1BDD3F54-26C9-14C9-96E8-BDD08ED3D315}"/>
                      </a:ext>
                    </a:extLst>
                  </p:cNvPr>
                  <p:cNvSpPr/>
                  <p:nvPr/>
                </p:nvSpPr>
                <p:spPr>
                  <a:xfrm>
                    <a:off x="4161785" y="4818296"/>
                    <a:ext cx="100099" cy="99838"/>
                  </a:xfrm>
                  <a:custGeom>
                    <a:avLst/>
                    <a:gdLst>
                      <a:gd name="connsiteX0" fmla="*/ 91259 w 100099"/>
                      <a:gd name="connsiteY0" fmla="*/ 99839 h 99838"/>
                      <a:gd name="connsiteX1" fmla="*/ 86059 w 100099"/>
                      <a:gd name="connsiteY1" fmla="*/ 97759 h 99838"/>
                      <a:gd name="connsiteX2" fmla="*/ 2340 w 100099"/>
                      <a:gd name="connsiteY2" fmla="*/ 14040 h 99838"/>
                      <a:gd name="connsiteX3" fmla="*/ 2340 w 100099"/>
                      <a:gd name="connsiteY3" fmla="*/ 2340 h 99838"/>
                      <a:gd name="connsiteX4" fmla="*/ 14040 w 100099"/>
                      <a:gd name="connsiteY4" fmla="*/ 2340 h 99838"/>
                      <a:gd name="connsiteX5" fmla="*/ 97759 w 100099"/>
                      <a:gd name="connsiteY5" fmla="*/ 86059 h 99838"/>
                      <a:gd name="connsiteX6" fmla="*/ 97759 w 100099"/>
                      <a:gd name="connsiteY6" fmla="*/ 97759 h 99838"/>
                      <a:gd name="connsiteX7" fmla="*/ 91259 w 100099"/>
                      <a:gd name="connsiteY7" fmla="*/ 99839 h 99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99" h="99838">
                        <a:moveTo>
                          <a:pt x="91259" y="99839"/>
                        </a:moveTo>
                        <a:cubicBezTo>
                          <a:pt x="89179" y="99839"/>
                          <a:pt x="87099" y="98799"/>
                          <a:pt x="86059" y="97759"/>
                        </a:cubicBezTo>
                        <a:lnTo>
                          <a:pt x="2340" y="14040"/>
                        </a:lnTo>
                        <a:cubicBezTo>
                          <a:pt x="-780" y="10920"/>
                          <a:pt x="-780" y="5460"/>
                          <a:pt x="2340" y="2340"/>
                        </a:cubicBezTo>
                        <a:cubicBezTo>
                          <a:pt x="5460" y="-780"/>
                          <a:pt x="10920" y="-780"/>
                          <a:pt x="14040" y="2340"/>
                        </a:cubicBezTo>
                        <a:lnTo>
                          <a:pt x="97759" y="86059"/>
                        </a:lnTo>
                        <a:cubicBezTo>
                          <a:pt x="100879" y="89179"/>
                          <a:pt x="100879" y="94639"/>
                          <a:pt x="97759" y="97759"/>
                        </a:cubicBezTo>
                        <a:cubicBezTo>
                          <a:pt x="95419" y="98539"/>
                          <a:pt x="93339" y="99839"/>
                          <a:pt x="91259" y="99839"/>
                        </a:cubicBezTo>
                        <a:close/>
                      </a:path>
                    </a:pathLst>
                  </a:custGeom>
                  <a:solidFill>
                    <a:srgbClr val="FFFFFF"/>
                  </a:solidFill>
                  <a:ln w="2597" cap="flat">
                    <a:noFill/>
                    <a:prstDash val="solid"/>
                    <a:miter/>
                  </a:ln>
                </p:spPr>
                <p:txBody>
                  <a:bodyPr rtlCol="0" anchor="ctr"/>
                  <a:lstStyle/>
                  <a:p>
                    <a:endParaRPr lang="en-GB"/>
                  </a:p>
                </p:txBody>
              </p:sp>
            </p:grpSp>
            <p:grpSp>
              <p:nvGrpSpPr>
                <p:cNvPr id="619" name="Graphic 6">
                  <a:extLst>
                    <a:ext uri="{FF2B5EF4-FFF2-40B4-BE49-F238E27FC236}">
                      <a16:creationId xmlns:a16="http://schemas.microsoft.com/office/drawing/2014/main" id="{4ABD018B-F68D-E413-114C-6DD4C5B38E5F}"/>
                    </a:ext>
                  </a:extLst>
                </p:cNvPr>
                <p:cNvGrpSpPr/>
                <p:nvPr/>
              </p:nvGrpSpPr>
              <p:grpSpPr>
                <a:xfrm>
                  <a:off x="4181805" y="4838316"/>
                  <a:ext cx="53039" cy="53039"/>
                  <a:chOff x="4181805" y="4838316"/>
                  <a:chExt cx="53039" cy="53039"/>
                </a:xfrm>
              </p:grpSpPr>
              <p:sp>
                <p:nvSpPr>
                  <p:cNvPr id="620" name="Freeform: Shape 619">
                    <a:extLst>
                      <a:ext uri="{FF2B5EF4-FFF2-40B4-BE49-F238E27FC236}">
                        <a16:creationId xmlns:a16="http://schemas.microsoft.com/office/drawing/2014/main" id="{8C6F3C8D-AE12-F4DF-043A-D66DD7BD5DAF}"/>
                      </a:ext>
                    </a:extLst>
                  </p:cNvPr>
                  <p:cNvSpPr/>
                  <p:nvPr/>
                </p:nvSpPr>
                <p:spPr>
                  <a:xfrm>
                    <a:off x="4190385" y="4846896"/>
                    <a:ext cx="35879" cy="35879"/>
                  </a:xfrm>
                  <a:custGeom>
                    <a:avLst/>
                    <a:gdLst>
                      <a:gd name="connsiteX0" fmla="*/ 35880 w 35879"/>
                      <a:gd name="connsiteY0" fmla="*/ 17940 h 35879"/>
                      <a:gd name="connsiteX1" fmla="*/ 17940 w 35879"/>
                      <a:gd name="connsiteY1" fmla="*/ 35880 h 35879"/>
                      <a:gd name="connsiteX2" fmla="*/ 0 w 35879"/>
                      <a:gd name="connsiteY2" fmla="*/ 17940 h 35879"/>
                      <a:gd name="connsiteX3" fmla="*/ 17940 w 35879"/>
                      <a:gd name="connsiteY3" fmla="*/ 0 h 35879"/>
                      <a:gd name="connsiteX4" fmla="*/ 35880 w 35879"/>
                      <a:gd name="connsiteY4" fmla="*/ 17940 h 35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79" h="35879">
                        <a:moveTo>
                          <a:pt x="35880" y="17940"/>
                        </a:moveTo>
                        <a:cubicBezTo>
                          <a:pt x="35880" y="27848"/>
                          <a:pt x="27848" y="35880"/>
                          <a:pt x="17940" y="35880"/>
                        </a:cubicBezTo>
                        <a:cubicBezTo>
                          <a:pt x="8032" y="35880"/>
                          <a:pt x="0" y="27848"/>
                          <a:pt x="0" y="17940"/>
                        </a:cubicBezTo>
                        <a:cubicBezTo>
                          <a:pt x="0" y="8032"/>
                          <a:pt x="8032" y="0"/>
                          <a:pt x="17940" y="0"/>
                        </a:cubicBezTo>
                        <a:cubicBezTo>
                          <a:pt x="27848" y="0"/>
                          <a:pt x="35880" y="8032"/>
                          <a:pt x="35880" y="17940"/>
                        </a:cubicBezTo>
                        <a:close/>
                      </a:path>
                    </a:pathLst>
                  </a:custGeom>
                  <a:solidFill>
                    <a:srgbClr val="0069FF"/>
                  </a:solidFill>
                  <a:ln w="2597" cap="flat">
                    <a:noFill/>
                    <a:prstDash val="solid"/>
                    <a:miter/>
                  </a:ln>
                </p:spPr>
                <p:txBody>
                  <a:bodyPr rtlCol="0" anchor="ctr"/>
                  <a:lstStyle/>
                  <a:p>
                    <a:endParaRPr lang="en-GB"/>
                  </a:p>
                </p:txBody>
              </p:sp>
              <p:sp>
                <p:nvSpPr>
                  <p:cNvPr id="621" name="Freeform: Shape 620">
                    <a:extLst>
                      <a:ext uri="{FF2B5EF4-FFF2-40B4-BE49-F238E27FC236}">
                        <a16:creationId xmlns:a16="http://schemas.microsoft.com/office/drawing/2014/main" id="{A9B42773-FD58-42D2-5F9C-3299093019AA}"/>
                      </a:ext>
                    </a:extLst>
                  </p:cNvPr>
                  <p:cNvSpPr/>
                  <p:nvPr/>
                </p:nvSpPr>
                <p:spPr>
                  <a:xfrm>
                    <a:off x="4181805" y="4838316"/>
                    <a:ext cx="53039" cy="53039"/>
                  </a:xfrm>
                  <a:custGeom>
                    <a:avLst/>
                    <a:gdLst>
                      <a:gd name="connsiteX0" fmla="*/ 26520 w 53039"/>
                      <a:gd name="connsiteY0" fmla="*/ 53039 h 53039"/>
                      <a:gd name="connsiteX1" fmla="*/ 0 w 53039"/>
                      <a:gd name="connsiteY1" fmla="*/ 26520 h 53039"/>
                      <a:gd name="connsiteX2" fmla="*/ 26520 w 53039"/>
                      <a:gd name="connsiteY2" fmla="*/ 0 h 53039"/>
                      <a:gd name="connsiteX3" fmla="*/ 53039 w 53039"/>
                      <a:gd name="connsiteY3" fmla="*/ 26520 h 53039"/>
                      <a:gd name="connsiteX4" fmla="*/ 26520 w 53039"/>
                      <a:gd name="connsiteY4" fmla="*/ 53039 h 53039"/>
                      <a:gd name="connsiteX5" fmla="*/ 26520 w 53039"/>
                      <a:gd name="connsiteY5" fmla="*/ 16120 h 53039"/>
                      <a:gd name="connsiteX6" fmla="*/ 15860 w 53039"/>
                      <a:gd name="connsiteY6" fmla="*/ 26780 h 53039"/>
                      <a:gd name="connsiteX7" fmla="*/ 26520 w 53039"/>
                      <a:gd name="connsiteY7" fmla="*/ 37440 h 53039"/>
                      <a:gd name="connsiteX8" fmla="*/ 37180 w 53039"/>
                      <a:gd name="connsiteY8" fmla="*/ 26780 h 53039"/>
                      <a:gd name="connsiteX9" fmla="*/ 26520 w 53039"/>
                      <a:gd name="connsiteY9" fmla="*/ 16120 h 53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039" h="53039">
                        <a:moveTo>
                          <a:pt x="26520" y="53039"/>
                        </a:moveTo>
                        <a:cubicBezTo>
                          <a:pt x="11700" y="53039"/>
                          <a:pt x="0" y="41340"/>
                          <a:pt x="0" y="26520"/>
                        </a:cubicBezTo>
                        <a:cubicBezTo>
                          <a:pt x="0" y="11700"/>
                          <a:pt x="11700" y="0"/>
                          <a:pt x="26520" y="0"/>
                        </a:cubicBezTo>
                        <a:cubicBezTo>
                          <a:pt x="41340" y="0"/>
                          <a:pt x="53039" y="11700"/>
                          <a:pt x="53039" y="26520"/>
                        </a:cubicBezTo>
                        <a:cubicBezTo>
                          <a:pt x="53039" y="41340"/>
                          <a:pt x="41600" y="53039"/>
                          <a:pt x="26520" y="53039"/>
                        </a:cubicBezTo>
                        <a:close/>
                        <a:moveTo>
                          <a:pt x="26520" y="16120"/>
                        </a:moveTo>
                        <a:cubicBezTo>
                          <a:pt x="21320" y="16120"/>
                          <a:pt x="15860" y="20280"/>
                          <a:pt x="15860" y="26780"/>
                        </a:cubicBezTo>
                        <a:cubicBezTo>
                          <a:pt x="15860" y="33280"/>
                          <a:pt x="20020" y="37440"/>
                          <a:pt x="26520" y="37440"/>
                        </a:cubicBezTo>
                        <a:cubicBezTo>
                          <a:pt x="33020" y="37440"/>
                          <a:pt x="37180" y="33280"/>
                          <a:pt x="37180" y="26780"/>
                        </a:cubicBezTo>
                        <a:cubicBezTo>
                          <a:pt x="37180" y="20280"/>
                          <a:pt x="31980" y="16120"/>
                          <a:pt x="26520" y="16120"/>
                        </a:cubicBezTo>
                        <a:close/>
                      </a:path>
                    </a:pathLst>
                  </a:custGeom>
                  <a:solidFill>
                    <a:srgbClr val="FFFFFF"/>
                  </a:solidFill>
                  <a:ln w="2597" cap="flat">
                    <a:noFill/>
                    <a:prstDash val="solid"/>
                    <a:miter/>
                  </a:ln>
                </p:spPr>
                <p:txBody>
                  <a:bodyPr rtlCol="0" anchor="ctr"/>
                  <a:lstStyle/>
                  <a:p>
                    <a:endParaRPr lang="en-GB"/>
                  </a:p>
                </p:txBody>
              </p:sp>
            </p:grpSp>
          </p:grpSp>
          <p:grpSp>
            <p:nvGrpSpPr>
              <p:cNvPr id="608" name="Graphic 6">
                <a:extLst>
                  <a:ext uri="{FF2B5EF4-FFF2-40B4-BE49-F238E27FC236}">
                    <a16:creationId xmlns:a16="http://schemas.microsoft.com/office/drawing/2014/main" id="{D745FEB6-8BC7-4B4A-1BEB-F72730FE02F8}"/>
                  </a:ext>
                </a:extLst>
              </p:cNvPr>
              <p:cNvGrpSpPr/>
              <p:nvPr/>
            </p:nvGrpSpPr>
            <p:grpSpPr>
              <a:xfrm>
                <a:off x="4135005" y="4961295"/>
                <a:ext cx="146638" cy="145598"/>
                <a:chOff x="4135005" y="4961295"/>
                <a:chExt cx="146638" cy="145598"/>
              </a:xfrm>
            </p:grpSpPr>
            <p:grpSp>
              <p:nvGrpSpPr>
                <p:cNvPr id="611" name="Graphic 6">
                  <a:extLst>
                    <a:ext uri="{FF2B5EF4-FFF2-40B4-BE49-F238E27FC236}">
                      <a16:creationId xmlns:a16="http://schemas.microsoft.com/office/drawing/2014/main" id="{30924945-69C8-3B53-E58F-184185F64F12}"/>
                    </a:ext>
                  </a:extLst>
                </p:cNvPr>
                <p:cNvGrpSpPr/>
                <p:nvPr/>
              </p:nvGrpSpPr>
              <p:grpSpPr>
                <a:xfrm>
                  <a:off x="4135005" y="4961295"/>
                  <a:ext cx="146638" cy="145598"/>
                  <a:chOff x="4135005" y="4961295"/>
                  <a:chExt cx="146638" cy="145598"/>
                </a:xfrm>
                <a:solidFill>
                  <a:srgbClr val="FFFFFF"/>
                </a:solidFill>
              </p:grpSpPr>
              <p:sp>
                <p:nvSpPr>
                  <p:cNvPr id="615" name="Freeform: Shape 614">
                    <a:extLst>
                      <a:ext uri="{FF2B5EF4-FFF2-40B4-BE49-F238E27FC236}">
                        <a16:creationId xmlns:a16="http://schemas.microsoft.com/office/drawing/2014/main" id="{225398B3-288C-8E02-6419-B487F3A426DD}"/>
                      </a:ext>
                    </a:extLst>
                  </p:cNvPr>
                  <p:cNvSpPr/>
                  <p:nvPr/>
                </p:nvSpPr>
                <p:spPr>
                  <a:xfrm>
                    <a:off x="4135005" y="4961295"/>
                    <a:ext cx="146638" cy="145598"/>
                  </a:xfrm>
                  <a:custGeom>
                    <a:avLst/>
                    <a:gdLst>
                      <a:gd name="connsiteX0" fmla="*/ 73319 w 146638"/>
                      <a:gd name="connsiteY0" fmla="*/ 145598 h 145598"/>
                      <a:gd name="connsiteX1" fmla="*/ 0 w 146638"/>
                      <a:gd name="connsiteY1" fmla="*/ 73319 h 145598"/>
                      <a:gd name="connsiteX2" fmla="*/ 73319 w 146638"/>
                      <a:gd name="connsiteY2" fmla="*/ 0 h 145598"/>
                      <a:gd name="connsiteX3" fmla="*/ 146638 w 146638"/>
                      <a:gd name="connsiteY3" fmla="*/ 73319 h 145598"/>
                      <a:gd name="connsiteX4" fmla="*/ 73319 w 146638"/>
                      <a:gd name="connsiteY4" fmla="*/ 145598 h 145598"/>
                      <a:gd name="connsiteX5" fmla="*/ 73319 w 146638"/>
                      <a:gd name="connsiteY5" fmla="*/ 15080 h 145598"/>
                      <a:gd name="connsiteX6" fmla="*/ 16120 w 146638"/>
                      <a:gd name="connsiteY6" fmla="*/ 72279 h 145598"/>
                      <a:gd name="connsiteX7" fmla="*/ 73319 w 146638"/>
                      <a:gd name="connsiteY7" fmla="*/ 128438 h 145598"/>
                      <a:gd name="connsiteX8" fmla="*/ 130519 w 146638"/>
                      <a:gd name="connsiteY8" fmla="*/ 72279 h 145598"/>
                      <a:gd name="connsiteX9" fmla="*/ 73319 w 146638"/>
                      <a:gd name="connsiteY9" fmla="*/ 15080 h 14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638" h="145598">
                        <a:moveTo>
                          <a:pt x="73319" y="145598"/>
                        </a:moveTo>
                        <a:cubicBezTo>
                          <a:pt x="33020" y="145598"/>
                          <a:pt x="0" y="112579"/>
                          <a:pt x="0" y="73319"/>
                        </a:cubicBezTo>
                        <a:cubicBezTo>
                          <a:pt x="0" y="34060"/>
                          <a:pt x="33020" y="0"/>
                          <a:pt x="73319" y="0"/>
                        </a:cubicBezTo>
                        <a:cubicBezTo>
                          <a:pt x="113619" y="0"/>
                          <a:pt x="146638" y="33019"/>
                          <a:pt x="146638" y="73319"/>
                        </a:cubicBezTo>
                        <a:cubicBezTo>
                          <a:pt x="146638" y="113879"/>
                          <a:pt x="113879" y="145598"/>
                          <a:pt x="73319" y="145598"/>
                        </a:cubicBezTo>
                        <a:close/>
                        <a:moveTo>
                          <a:pt x="73319" y="15080"/>
                        </a:moveTo>
                        <a:cubicBezTo>
                          <a:pt x="41600" y="15080"/>
                          <a:pt x="16120" y="40559"/>
                          <a:pt x="16120" y="72279"/>
                        </a:cubicBezTo>
                        <a:cubicBezTo>
                          <a:pt x="16120" y="103999"/>
                          <a:pt x="41600" y="128438"/>
                          <a:pt x="73319" y="128438"/>
                        </a:cubicBezTo>
                        <a:cubicBezTo>
                          <a:pt x="105039" y="128438"/>
                          <a:pt x="130519" y="102959"/>
                          <a:pt x="130519" y="72279"/>
                        </a:cubicBezTo>
                        <a:cubicBezTo>
                          <a:pt x="130779" y="41600"/>
                          <a:pt x="105299" y="15080"/>
                          <a:pt x="73319" y="15080"/>
                        </a:cubicBezTo>
                        <a:close/>
                      </a:path>
                    </a:pathLst>
                  </a:custGeom>
                  <a:solidFill>
                    <a:srgbClr val="FFFFFF"/>
                  </a:solidFill>
                  <a:ln w="2597" cap="flat">
                    <a:noFill/>
                    <a:prstDash val="solid"/>
                    <a:miter/>
                  </a:ln>
                </p:spPr>
                <p:txBody>
                  <a:bodyPr rtlCol="0" anchor="ctr"/>
                  <a:lstStyle/>
                  <a:p>
                    <a:endParaRPr lang="en-GB"/>
                  </a:p>
                </p:txBody>
              </p:sp>
              <p:sp>
                <p:nvSpPr>
                  <p:cNvPr id="616" name="Freeform: Shape 615">
                    <a:extLst>
                      <a:ext uri="{FF2B5EF4-FFF2-40B4-BE49-F238E27FC236}">
                        <a16:creationId xmlns:a16="http://schemas.microsoft.com/office/drawing/2014/main" id="{AF53D7FF-1667-404A-AF41-1A8E6BA2E590}"/>
                      </a:ext>
                    </a:extLst>
                  </p:cNvPr>
                  <p:cNvSpPr/>
                  <p:nvPr/>
                </p:nvSpPr>
                <p:spPr>
                  <a:xfrm>
                    <a:off x="4157365" y="4984694"/>
                    <a:ext cx="102438" cy="99838"/>
                  </a:xfrm>
                  <a:custGeom>
                    <a:avLst/>
                    <a:gdLst>
                      <a:gd name="connsiteX0" fmla="*/ 7540 w 102438"/>
                      <a:gd name="connsiteY0" fmla="*/ 99839 h 99838"/>
                      <a:gd name="connsiteX1" fmla="*/ 2340 w 102438"/>
                      <a:gd name="connsiteY1" fmla="*/ 97759 h 99838"/>
                      <a:gd name="connsiteX2" fmla="*/ 2340 w 102438"/>
                      <a:gd name="connsiteY2" fmla="*/ 86059 h 99838"/>
                      <a:gd name="connsiteX3" fmla="*/ 88399 w 102438"/>
                      <a:gd name="connsiteY3" fmla="*/ 2340 h 99838"/>
                      <a:gd name="connsiteX4" fmla="*/ 100099 w 102438"/>
                      <a:gd name="connsiteY4" fmla="*/ 2340 h 99838"/>
                      <a:gd name="connsiteX5" fmla="*/ 100099 w 102438"/>
                      <a:gd name="connsiteY5" fmla="*/ 14040 h 99838"/>
                      <a:gd name="connsiteX6" fmla="*/ 14040 w 102438"/>
                      <a:gd name="connsiteY6" fmla="*/ 97759 h 99838"/>
                      <a:gd name="connsiteX7" fmla="*/ 7540 w 102438"/>
                      <a:gd name="connsiteY7" fmla="*/ 99839 h 99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438" h="99838">
                        <a:moveTo>
                          <a:pt x="7540" y="99839"/>
                        </a:moveTo>
                        <a:cubicBezTo>
                          <a:pt x="5460" y="99839"/>
                          <a:pt x="3380" y="98799"/>
                          <a:pt x="2340" y="97759"/>
                        </a:cubicBezTo>
                        <a:cubicBezTo>
                          <a:pt x="-780" y="94639"/>
                          <a:pt x="-780" y="89179"/>
                          <a:pt x="2340" y="86059"/>
                        </a:cubicBezTo>
                        <a:lnTo>
                          <a:pt x="88399" y="2340"/>
                        </a:lnTo>
                        <a:cubicBezTo>
                          <a:pt x="91519" y="-780"/>
                          <a:pt x="96979" y="-780"/>
                          <a:pt x="100099" y="2340"/>
                        </a:cubicBezTo>
                        <a:cubicBezTo>
                          <a:pt x="103219" y="5460"/>
                          <a:pt x="103219" y="10920"/>
                          <a:pt x="100099" y="14040"/>
                        </a:cubicBezTo>
                        <a:lnTo>
                          <a:pt x="14040" y="97759"/>
                        </a:lnTo>
                        <a:cubicBezTo>
                          <a:pt x="11700" y="98799"/>
                          <a:pt x="9620" y="99839"/>
                          <a:pt x="7540" y="99839"/>
                        </a:cubicBezTo>
                        <a:close/>
                      </a:path>
                    </a:pathLst>
                  </a:custGeom>
                  <a:solidFill>
                    <a:srgbClr val="FFFFFF"/>
                  </a:solidFill>
                  <a:ln w="2597" cap="flat">
                    <a:noFill/>
                    <a:prstDash val="solid"/>
                    <a:miter/>
                  </a:ln>
                </p:spPr>
                <p:txBody>
                  <a:bodyPr rtlCol="0" anchor="ctr"/>
                  <a:lstStyle/>
                  <a:p>
                    <a:endParaRPr lang="en-GB"/>
                  </a:p>
                </p:txBody>
              </p:sp>
              <p:sp>
                <p:nvSpPr>
                  <p:cNvPr id="617" name="Freeform: Shape 616">
                    <a:extLst>
                      <a:ext uri="{FF2B5EF4-FFF2-40B4-BE49-F238E27FC236}">
                        <a16:creationId xmlns:a16="http://schemas.microsoft.com/office/drawing/2014/main" id="{D6A253C1-665D-A484-3004-9A32C95346D9}"/>
                      </a:ext>
                    </a:extLst>
                  </p:cNvPr>
                  <p:cNvSpPr/>
                  <p:nvPr/>
                </p:nvSpPr>
                <p:spPr>
                  <a:xfrm>
                    <a:off x="4161785" y="4985734"/>
                    <a:ext cx="100099" cy="99838"/>
                  </a:xfrm>
                  <a:custGeom>
                    <a:avLst/>
                    <a:gdLst>
                      <a:gd name="connsiteX0" fmla="*/ 91259 w 100099"/>
                      <a:gd name="connsiteY0" fmla="*/ 99839 h 99838"/>
                      <a:gd name="connsiteX1" fmla="*/ 86059 w 100099"/>
                      <a:gd name="connsiteY1" fmla="*/ 97759 h 99838"/>
                      <a:gd name="connsiteX2" fmla="*/ 2340 w 100099"/>
                      <a:gd name="connsiteY2" fmla="*/ 14040 h 99838"/>
                      <a:gd name="connsiteX3" fmla="*/ 2340 w 100099"/>
                      <a:gd name="connsiteY3" fmla="*/ 2340 h 99838"/>
                      <a:gd name="connsiteX4" fmla="*/ 14040 w 100099"/>
                      <a:gd name="connsiteY4" fmla="*/ 2340 h 99838"/>
                      <a:gd name="connsiteX5" fmla="*/ 97759 w 100099"/>
                      <a:gd name="connsiteY5" fmla="*/ 86059 h 99838"/>
                      <a:gd name="connsiteX6" fmla="*/ 97759 w 100099"/>
                      <a:gd name="connsiteY6" fmla="*/ 97759 h 99838"/>
                      <a:gd name="connsiteX7" fmla="*/ 91259 w 100099"/>
                      <a:gd name="connsiteY7" fmla="*/ 99839 h 99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99" h="99838">
                        <a:moveTo>
                          <a:pt x="91259" y="99839"/>
                        </a:moveTo>
                        <a:cubicBezTo>
                          <a:pt x="89179" y="99839"/>
                          <a:pt x="87099" y="98799"/>
                          <a:pt x="86059" y="97759"/>
                        </a:cubicBezTo>
                        <a:lnTo>
                          <a:pt x="2340" y="14040"/>
                        </a:lnTo>
                        <a:cubicBezTo>
                          <a:pt x="-780" y="10920"/>
                          <a:pt x="-780" y="5460"/>
                          <a:pt x="2340" y="2340"/>
                        </a:cubicBezTo>
                        <a:cubicBezTo>
                          <a:pt x="5460" y="-780"/>
                          <a:pt x="10920" y="-780"/>
                          <a:pt x="14040" y="2340"/>
                        </a:cubicBezTo>
                        <a:lnTo>
                          <a:pt x="97759" y="86059"/>
                        </a:lnTo>
                        <a:cubicBezTo>
                          <a:pt x="100879" y="89179"/>
                          <a:pt x="100879" y="94639"/>
                          <a:pt x="97759" y="97759"/>
                        </a:cubicBezTo>
                        <a:cubicBezTo>
                          <a:pt x="95419" y="99839"/>
                          <a:pt x="93339" y="99839"/>
                          <a:pt x="91259" y="99839"/>
                        </a:cubicBezTo>
                        <a:close/>
                      </a:path>
                    </a:pathLst>
                  </a:custGeom>
                  <a:solidFill>
                    <a:srgbClr val="FFFFFF"/>
                  </a:solidFill>
                  <a:ln w="2597" cap="flat">
                    <a:noFill/>
                    <a:prstDash val="solid"/>
                    <a:miter/>
                  </a:ln>
                </p:spPr>
                <p:txBody>
                  <a:bodyPr rtlCol="0" anchor="ctr"/>
                  <a:lstStyle/>
                  <a:p>
                    <a:endParaRPr lang="en-GB"/>
                  </a:p>
                </p:txBody>
              </p:sp>
            </p:grpSp>
            <p:grpSp>
              <p:nvGrpSpPr>
                <p:cNvPr id="612" name="Graphic 6">
                  <a:extLst>
                    <a:ext uri="{FF2B5EF4-FFF2-40B4-BE49-F238E27FC236}">
                      <a16:creationId xmlns:a16="http://schemas.microsoft.com/office/drawing/2014/main" id="{9F84DC2E-0DFF-633C-4487-470AE4977EEB}"/>
                    </a:ext>
                  </a:extLst>
                </p:cNvPr>
                <p:cNvGrpSpPr/>
                <p:nvPr/>
              </p:nvGrpSpPr>
              <p:grpSpPr>
                <a:xfrm>
                  <a:off x="4181805" y="5007054"/>
                  <a:ext cx="53043" cy="51999"/>
                  <a:chOff x="4181805" y="5007054"/>
                  <a:chExt cx="53043" cy="51999"/>
                </a:xfrm>
              </p:grpSpPr>
              <p:sp>
                <p:nvSpPr>
                  <p:cNvPr id="613" name="Freeform: Shape 612">
                    <a:extLst>
                      <a:ext uri="{FF2B5EF4-FFF2-40B4-BE49-F238E27FC236}">
                        <a16:creationId xmlns:a16="http://schemas.microsoft.com/office/drawing/2014/main" id="{2A291D3E-0E76-E188-6AF0-687D7D1EAE48}"/>
                      </a:ext>
                    </a:extLst>
                  </p:cNvPr>
                  <p:cNvSpPr/>
                  <p:nvPr/>
                </p:nvSpPr>
                <p:spPr>
                  <a:xfrm>
                    <a:off x="4190385" y="5015634"/>
                    <a:ext cx="35879" cy="35879"/>
                  </a:xfrm>
                  <a:custGeom>
                    <a:avLst/>
                    <a:gdLst>
                      <a:gd name="connsiteX0" fmla="*/ 35880 w 35879"/>
                      <a:gd name="connsiteY0" fmla="*/ 17940 h 35879"/>
                      <a:gd name="connsiteX1" fmla="*/ 17940 w 35879"/>
                      <a:gd name="connsiteY1" fmla="*/ 35880 h 35879"/>
                      <a:gd name="connsiteX2" fmla="*/ 0 w 35879"/>
                      <a:gd name="connsiteY2" fmla="*/ 17940 h 35879"/>
                      <a:gd name="connsiteX3" fmla="*/ 17940 w 35879"/>
                      <a:gd name="connsiteY3" fmla="*/ 0 h 35879"/>
                      <a:gd name="connsiteX4" fmla="*/ 35880 w 35879"/>
                      <a:gd name="connsiteY4" fmla="*/ 17940 h 35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79" h="35879">
                        <a:moveTo>
                          <a:pt x="35880" y="17940"/>
                        </a:moveTo>
                        <a:cubicBezTo>
                          <a:pt x="35880" y="27848"/>
                          <a:pt x="27848" y="35880"/>
                          <a:pt x="17940" y="35880"/>
                        </a:cubicBezTo>
                        <a:cubicBezTo>
                          <a:pt x="8032" y="35880"/>
                          <a:pt x="0" y="27848"/>
                          <a:pt x="0" y="17940"/>
                        </a:cubicBezTo>
                        <a:cubicBezTo>
                          <a:pt x="0" y="8032"/>
                          <a:pt x="8032" y="0"/>
                          <a:pt x="17940" y="0"/>
                        </a:cubicBezTo>
                        <a:cubicBezTo>
                          <a:pt x="27848" y="0"/>
                          <a:pt x="35880" y="8032"/>
                          <a:pt x="35880" y="17940"/>
                        </a:cubicBezTo>
                        <a:close/>
                      </a:path>
                    </a:pathLst>
                  </a:custGeom>
                  <a:solidFill>
                    <a:srgbClr val="0069FF"/>
                  </a:solidFill>
                  <a:ln w="2597" cap="flat">
                    <a:noFill/>
                    <a:prstDash val="solid"/>
                    <a:miter/>
                  </a:ln>
                </p:spPr>
                <p:txBody>
                  <a:bodyPr rtlCol="0" anchor="ctr"/>
                  <a:lstStyle/>
                  <a:p>
                    <a:endParaRPr lang="en-GB"/>
                  </a:p>
                </p:txBody>
              </p:sp>
              <p:sp>
                <p:nvSpPr>
                  <p:cNvPr id="614" name="Freeform: Shape 613">
                    <a:extLst>
                      <a:ext uri="{FF2B5EF4-FFF2-40B4-BE49-F238E27FC236}">
                        <a16:creationId xmlns:a16="http://schemas.microsoft.com/office/drawing/2014/main" id="{FA0BE4FE-A3EB-5A63-38D8-2E68A3CA6D4B}"/>
                      </a:ext>
                    </a:extLst>
                  </p:cNvPr>
                  <p:cNvSpPr/>
                  <p:nvPr/>
                </p:nvSpPr>
                <p:spPr>
                  <a:xfrm>
                    <a:off x="4181805" y="5007054"/>
                    <a:ext cx="53043" cy="51999"/>
                  </a:xfrm>
                  <a:custGeom>
                    <a:avLst/>
                    <a:gdLst>
                      <a:gd name="connsiteX0" fmla="*/ 26520 w 53043"/>
                      <a:gd name="connsiteY0" fmla="*/ 51999 h 51999"/>
                      <a:gd name="connsiteX1" fmla="*/ 0 w 53043"/>
                      <a:gd name="connsiteY1" fmla="*/ 26520 h 51999"/>
                      <a:gd name="connsiteX2" fmla="*/ 26520 w 53043"/>
                      <a:gd name="connsiteY2" fmla="*/ 0 h 51999"/>
                      <a:gd name="connsiteX3" fmla="*/ 53039 w 53043"/>
                      <a:gd name="connsiteY3" fmla="*/ 26520 h 51999"/>
                      <a:gd name="connsiteX4" fmla="*/ 26520 w 53043"/>
                      <a:gd name="connsiteY4" fmla="*/ 51999 h 51999"/>
                      <a:gd name="connsiteX5" fmla="*/ 26520 w 53043"/>
                      <a:gd name="connsiteY5" fmla="*/ 17160 h 51999"/>
                      <a:gd name="connsiteX6" fmla="*/ 15860 w 53043"/>
                      <a:gd name="connsiteY6" fmla="*/ 27820 h 51999"/>
                      <a:gd name="connsiteX7" fmla="*/ 26520 w 53043"/>
                      <a:gd name="connsiteY7" fmla="*/ 37440 h 51999"/>
                      <a:gd name="connsiteX8" fmla="*/ 37180 w 53043"/>
                      <a:gd name="connsiteY8" fmla="*/ 27820 h 51999"/>
                      <a:gd name="connsiteX9" fmla="*/ 26520 w 53043"/>
                      <a:gd name="connsiteY9" fmla="*/ 17160 h 5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043" h="51999">
                        <a:moveTo>
                          <a:pt x="26520" y="51999"/>
                        </a:moveTo>
                        <a:cubicBezTo>
                          <a:pt x="11700" y="51999"/>
                          <a:pt x="0" y="40300"/>
                          <a:pt x="0" y="26520"/>
                        </a:cubicBezTo>
                        <a:cubicBezTo>
                          <a:pt x="0" y="12740"/>
                          <a:pt x="11700" y="0"/>
                          <a:pt x="26520" y="0"/>
                        </a:cubicBezTo>
                        <a:cubicBezTo>
                          <a:pt x="41340" y="0"/>
                          <a:pt x="53039" y="11700"/>
                          <a:pt x="53039" y="26520"/>
                        </a:cubicBezTo>
                        <a:cubicBezTo>
                          <a:pt x="53299" y="41600"/>
                          <a:pt x="41600" y="51999"/>
                          <a:pt x="26520" y="51999"/>
                        </a:cubicBezTo>
                        <a:close/>
                        <a:moveTo>
                          <a:pt x="26520" y="17160"/>
                        </a:moveTo>
                        <a:cubicBezTo>
                          <a:pt x="21320" y="17160"/>
                          <a:pt x="15860" y="21320"/>
                          <a:pt x="15860" y="27820"/>
                        </a:cubicBezTo>
                        <a:cubicBezTo>
                          <a:pt x="15860" y="33019"/>
                          <a:pt x="20020" y="37440"/>
                          <a:pt x="26520" y="37440"/>
                        </a:cubicBezTo>
                        <a:cubicBezTo>
                          <a:pt x="33020" y="37440"/>
                          <a:pt x="37180" y="33279"/>
                          <a:pt x="37180" y="27820"/>
                        </a:cubicBezTo>
                        <a:cubicBezTo>
                          <a:pt x="37180" y="21320"/>
                          <a:pt x="31980" y="17160"/>
                          <a:pt x="26520" y="17160"/>
                        </a:cubicBezTo>
                        <a:close/>
                      </a:path>
                    </a:pathLst>
                  </a:custGeom>
                  <a:solidFill>
                    <a:srgbClr val="FFFFFF"/>
                  </a:solidFill>
                  <a:ln w="2597" cap="flat">
                    <a:noFill/>
                    <a:prstDash val="solid"/>
                    <a:miter/>
                  </a:ln>
                </p:spPr>
                <p:txBody>
                  <a:bodyPr rtlCol="0" anchor="ctr"/>
                  <a:lstStyle/>
                  <a:p>
                    <a:endParaRPr lang="en-GB"/>
                  </a:p>
                </p:txBody>
              </p:sp>
            </p:grpSp>
          </p:grpSp>
          <p:sp>
            <p:nvSpPr>
              <p:cNvPr id="609" name="Freeform: Shape 608">
                <a:extLst>
                  <a:ext uri="{FF2B5EF4-FFF2-40B4-BE49-F238E27FC236}">
                    <a16:creationId xmlns:a16="http://schemas.microsoft.com/office/drawing/2014/main" id="{C32E1736-6502-28B9-31AA-E70FC7C18671}"/>
                  </a:ext>
                </a:extLst>
              </p:cNvPr>
              <p:cNvSpPr/>
              <p:nvPr/>
            </p:nvSpPr>
            <p:spPr>
              <a:xfrm>
                <a:off x="4114726" y="5163052"/>
                <a:ext cx="89439" cy="57459"/>
              </a:xfrm>
              <a:custGeom>
                <a:avLst/>
                <a:gdLst>
                  <a:gd name="connsiteX0" fmla="*/ 80859 w 89439"/>
                  <a:gd name="connsiteY0" fmla="*/ 57459 h 57459"/>
                  <a:gd name="connsiteX1" fmla="*/ 8580 w 89439"/>
                  <a:gd name="connsiteY1" fmla="*/ 57459 h 57459"/>
                  <a:gd name="connsiteX2" fmla="*/ 0 w 89439"/>
                  <a:gd name="connsiteY2" fmla="*/ 48879 h 57459"/>
                  <a:gd name="connsiteX3" fmla="*/ 0 w 89439"/>
                  <a:gd name="connsiteY3" fmla="*/ 8580 h 57459"/>
                  <a:gd name="connsiteX4" fmla="*/ 8580 w 89439"/>
                  <a:gd name="connsiteY4" fmla="*/ 0 h 57459"/>
                  <a:gd name="connsiteX5" fmla="*/ 80859 w 89439"/>
                  <a:gd name="connsiteY5" fmla="*/ 0 h 57459"/>
                  <a:gd name="connsiteX6" fmla="*/ 89439 w 89439"/>
                  <a:gd name="connsiteY6" fmla="*/ 8580 h 57459"/>
                  <a:gd name="connsiteX7" fmla="*/ 89439 w 89439"/>
                  <a:gd name="connsiteY7" fmla="*/ 48879 h 57459"/>
                  <a:gd name="connsiteX8" fmla="*/ 80859 w 89439"/>
                  <a:gd name="connsiteY8" fmla="*/ 57459 h 57459"/>
                  <a:gd name="connsiteX9" fmla="*/ 17420 w 89439"/>
                  <a:gd name="connsiteY9" fmla="*/ 41600 h 57459"/>
                  <a:gd name="connsiteX10" fmla="*/ 73579 w 89439"/>
                  <a:gd name="connsiteY10" fmla="*/ 41600 h 57459"/>
                  <a:gd name="connsiteX11" fmla="*/ 73579 w 89439"/>
                  <a:gd name="connsiteY11" fmla="*/ 17160 h 57459"/>
                  <a:gd name="connsiteX12" fmla="*/ 17420 w 89439"/>
                  <a:gd name="connsiteY12" fmla="*/ 17160 h 57459"/>
                  <a:gd name="connsiteX13" fmla="*/ 17420 w 89439"/>
                  <a:gd name="connsiteY13" fmla="*/ 41600 h 5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439" h="57459">
                    <a:moveTo>
                      <a:pt x="80859" y="57459"/>
                    </a:moveTo>
                    <a:lnTo>
                      <a:pt x="8580" y="57459"/>
                    </a:lnTo>
                    <a:cubicBezTo>
                      <a:pt x="4420" y="57459"/>
                      <a:pt x="0" y="54339"/>
                      <a:pt x="0" y="48879"/>
                    </a:cubicBezTo>
                    <a:lnTo>
                      <a:pt x="0" y="8580"/>
                    </a:lnTo>
                    <a:cubicBezTo>
                      <a:pt x="0" y="4420"/>
                      <a:pt x="3120" y="0"/>
                      <a:pt x="8580" y="0"/>
                    </a:cubicBezTo>
                    <a:lnTo>
                      <a:pt x="80859" y="0"/>
                    </a:lnTo>
                    <a:cubicBezTo>
                      <a:pt x="85019" y="0"/>
                      <a:pt x="89439" y="3120"/>
                      <a:pt x="89439" y="8580"/>
                    </a:cubicBezTo>
                    <a:lnTo>
                      <a:pt x="89439" y="48879"/>
                    </a:lnTo>
                    <a:cubicBezTo>
                      <a:pt x="88399" y="53299"/>
                      <a:pt x="85279" y="57459"/>
                      <a:pt x="80859" y="57459"/>
                    </a:cubicBezTo>
                    <a:close/>
                    <a:moveTo>
                      <a:pt x="17420" y="41600"/>
                    </a:moveTo>
                    <a:lnTo>
                      <a:pt x="73579" y="41600"/>
                    </a:lnTo>
                    <a:lnTo>
                      <a:pt x="73579" y="17160"/>
                    </a:lnTo>
                    <a:lnTo>
                      <a:pt x="17420" y="17160"/>
                    </a:lnTo>
                    <a:lnTo>
                      <a:pt x="17420" y="41600"/>
                    </a:lnTo>
                    <a:close/>
                  </a:path>
                </a:pathLst>
              </a:custGeom>
              <a:solidFill>
                <a:srgbClr val="00005A"/>
              </a:solidFill>
              <a:ln w="2597" cap="flat">
                <a:noFill/>
                <a:prstDash val="solid"/>
                <a:miter/>
              </a:ln>
            </p:spPr>
            <p:txBody>
              <a:bodyPr rtlCol="0" anchor="ctr"/>
              <a:lstStyle/>
              <a:p>
                <a:endParaRPr lang="en-GB"/>
              </a:p>
            </p:txBody>
          </p:sp>
          <p:sp>
            <p:nvSpPr>
              <p:cNvPr id="610" name="Freeform: Shape 609">
                <a:extLst>
                  <a:ext uri="{FF2B5EF4-FFF2-40B4-BE49-F238E27FC236}">
                    <a16:creationId xmlns:a16="http://schemas.microsoft.com/office/drawing/2014/main" id="{79D51D8D-31D7-1019-CF33-762EBAA3309B}"/>
                  </a:ext>
                </a:extLst>
              </p:cNvPr>
              <p:cNvSpPr/>
              <p:nvPr/>
            </p:nvSpPr>
            <p:spPr>
              <a:xfrm>
                <a:off x="4343003" y="5163052"/>
                <a:ext cx="89439" cy="57459"/>
              </a:xfrm>
              <a:custGeom>
                <a:avLst/>
                <a:gdLst>
                  <a:gd name="connsiteX0" fmla="*/ 80859 w 89439"/>
                  <a:gd name="connsiteY0" fmla="*/ 57459 h 57459"/>
                  <a:gd name="connsiteX1" fmla="*/ 8580 w 89439"/>
                  <a:gd name="connsiteY1" fmla="*/ 57459 h 57459"/>
                  <a:gd name="connsiteX2" fmla="*/ 0 w 89439"/>
                  <a:gd name="connsiteY2" fmla="*/ 48879 h 57459"/>
                  <a:gd name="connsiteX3" fmla="*/ 0 w 89439"/>
                  <a:gd name="connsiteY3" fmla="*/ 8580 h 57459"/>
                  <a:gd name="connsiteX4" fmla="*/ 8580 w 89439"/>
                  <a:gd name="connsiteY4" fmla="*/ 0 h 57459"/>
                  <a:gd name="connsiteX5" fmla="*/ 80859 w 89439"/>
                  <a:gd name="connsiteY5" fmla="*/ 0 h 57459"/>
                  <a:gd name="connsiteX6" fmla="*/ 89439 w 89439"/>
                  <a:gd name="connsiteY6" fmla="*/ 8580 h 57459"/>
                  <a:gd name="connsiteX7" fmla="*/ 89439 w 89439"/>
                  <a:gd name="connsiteY7" fmla="*/ 48879 h 57459"/>
                  <a:gd name="connsiteX8" fmla="*/ 80859 w 89439"/>
                  <a:gd name="connsiteY8" fmla="*/ 57459 h 57459"/>
                  <a:gd name="connsiteX9" fmla="*/ 16120 w 89439"/>
                  <a:gd name="connsiteY9" fmla="*/ 41600 h 57459"/>
                  <a:gd name="connsiteX10" fmla="*/ 72279 w 89439"/>
                  <a:gd name="connsiteY10" fmla="*/ 41600 h 57459"/>
                  <a:gd name="connsiteX11" fmla="*/ 72279 w 89439"/>
                  <a:gd name="connsiteY11" fmla="*/ 17160 h 57459"/>
                  <a:gd name="connsiteX12" fmla="*/ 16120 w 89439"/>
                  <a:gd name="connsiteY12" fmla="*/ 17160 h 57459"/>
                  <a:gd name="connsiteX13" fmla="*/ 16120 w 89439"/>
                  <a:gd name="connsiteY13" fmla="*/ 41600 h 5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439" h="57459">
                    <a:moveTo>
                      <a:pt x="80859" y="57459"/>
                    </a:moveTo>
                    <a:lnTo>
                      <a:pt x="8580" y="57459"/>
                    </a:lnTo>
                    <a:cubicBezTo>
                      <a:pt x="4420" y="57459"/>
                      <a:pt x="0" y="54339"/>
                      <a:pt x="0" y="48879"/>
                    </a:cubicBezTo>
                    <a:lnTo>
                      <a:pt x="0" y="8580"/>
                    </a:lnTo>
                    <a:cubicBezTo>
                      <a:pt x="0" y="4420"/>
                      <a:pt x="3120" y="0"/>
                      <a:pt x="8580" y="0"/>
                    </a:cubicBezTo>
                    <a:lnTo>
                      <a:pt x="80859" y="0"/>
                    </a:lnTo>
                    <a:cubicBezTo>
                      <a:pt x="85019" y="0"/>
                      <a:pt x="89439" y="3120"/>
                      <a:pt x="89439" y="8580"/>
                    </a:cubicBezTo>
                    <a:lnTo>
                      <a:pt x="89439" y="48879"/>
                    </a:lnTo>
                    <a:cubicBezTo>
                      <a:pt x="88399" y="53299"/>
                      <a:pt x="85019" y="57459"/>
                      <a:pt x="80859" y="57459"/>
                    </a:cubicBezTo>
                    <a:close/>
                    <a:moveTo>
                      <a:pt x="16120" y="41600"/>
                    </a:moveTo>
                    <a:lnTo>
                      <a:pt x="72279" y="41600"/>
                    </a:lnTo>
                    <a:lnTo>
                      <a:pt x="72279" y="17160"/>
                    </a:lnTo>
                    <a:lnTo>
                      <a:pt x="16120" y="17160"/>
                    </a:lnTo>
                    <a:lnTo>
                      <a:pt x="16120" y="41600"/>
                    </a:lnTo>
                    <a:close/>
                  </a:path>
                </a:pathLst>
              </a:custGeom>
              <a:solidFill>
                <a:srgbClr val="00005A"/>
              </a:solidFill>
              <a:ln w="2597" cap="flat">
                <a:noFill/>
                <a:prstDash val="solid"/>
                <a:miter/>
              </a:ln>
            </p:spPr>
            <p:txBody>
              <a:bodyPr rtlCol="0" anchor="ctr"/>
              <a:lstStyle/>
              <a:p>
                <a:endParaRPr lang="en-GB"/>
              </a:p>
            </p:txBody>
          </p:sp>
        </p:grpSp>
        <p:grpSp>
          <p:nvGrpSpPr>
            <p:cNvPr id="582" name="Graphic 6">
              <a:extLst>
                <a:ext uri="{FF2B5EF4-FFF2-40B4-BE49-F238E27FC236}">
                  <a16:creationId xmlns:a16="http://schemas.microsoft.com/office/drawing/2014/main" id="{40F9E92E-E38E-2D06-5BED-F3D64BE5448B}"/>
                </a:ext>
              </a:extLst>
            </p:cNvPr>
            <p:cNvGrpSpPr/>
            <p:nvPr/>
          </p:nvGrpSpPr>
          <p:grpSpPr>
            <a:xfrm>
              <a:off x="3578850" y="4708578"/>
              <a:ext cx="678354" cy="481254"/>
              <a:chOff x="3578850" y="4708578"/>
              <a:chExt cx="678354" cy="481254"/>
            </a:xfrm>
          </p:grpSpPr>
          <p:grpSp>
            <p:nvGrpSpPr>
              <p:cNvPr id="591" name="Graphic 6">
                <a:extLst>
                  <a:ext uri="{FF2B5EF4-FFF2-40B4-BE49-F238E27FC236}">
                    <a16:creationId xmlns:a16="http://schemas.microsoft.com/office/drawing/2014/main" id="{6CADBA72-AD99-0401-3213-559278B8EB7C}"/>
                  </a:ext>
                </a:extLst>
              </p:cNvPr>
              <p:cNvGrpSpPr/>
              <p:nvPr/>
            </p:nvGrpSpPr>
            <p:grpSpPr>
              <a:xfrm>
                <a:off x="3578850" y="4708578"/>
                <a:ext cx="278219" cy="481254"/>
                <a:chOff x="3578850" y="4708578"/>
                <a:chExt cx="278219" cy="481254"/>
              </a:xfrm>
            </p:grpSpPr>
            <p:grpSp>
              <p:nvGrpSpPr>
                <p:cNvPr id="593" name="Graphic 6">
                  <a:extLst>
                    <a:ext uri="{FF2B5EF4-FFF2-40B4-BE49-F238E27FC236}">
                      <a16:creationId xmlns:a16="http://schemas.microsoft.com/office/drawing/2014/main" id="{3F31759B-F2C7-D456-5B6F-644DC37CA56B}"/>
                    </a:ext>
                  </a:extLst>
                </p:cNvPr>
                <p:cNvGrpSpPr/>
                <p:nvPr/>
              </p:nvGrpSpPr>
              <p:grpSpPr>
                <a:xfrm>
                  <a:off x="3610072" y="4772082"/>
                  <a:ext cx="246997" cy="377190"/>
                  <a:chOff x="3610072" y="4772082"/>
                  <a:chExt cx="246997" cy="377190"/>
                </a:xfrm>
                <a:solidFill>
                  <a:srgbClr val="0069FF"/>
                </a:solidFill>
              </p:grpSpPr>
              <p:sp>
                <p:nvSpPr>
                  <p:cNvPr id="602" name="Freeform: Shape 601">
                    <a:extLst>
                      <a:ext uri="{FF2B5EF4-FFF2-40B4-BE49-F238E27FC236}">
                        <a16:creationId xmlns:a16="http://schemas.microsoft.com/office/drawing/2014/main" id="{1BAFD288-9E3D-5204-C63B-EA2F0E71076C}"/>
                      </a:ext>
                    </a:extLst>
                  </p:cNvPr>
                  <p:cNvSpPr/>
                  <p:nvPr/>
                </p:nvSpPr>
                <p:spPr>
                  <a:xfrm>
                    <a:off x="3615272" y="4777270"/>
                    <a:ext cx="236597" cy="366802"/>
                  </a:xfrm>
                  <a:custGeom>
                    <a:avLst/>
                    <a:gdLst>
                      <a:gd name="connsiteX0" fmla="*/ 236597 w 236597"/>
                      <a:gd name="connsiteY0" fmla="*/ 366802 h 366802"/>
                      <a:gd name="connsiteX1" fmla="*/ 0 w 236597"/>
                      <a:gd name="connsiteY1" fmla="*/ 366802 h 366802"/>
                      <a:gd name="connsiteX2" fmla="*/ 0 w 236597"/>
                      <a:gd name="connsiteY2" fmla="*/ 13466 h 366802"/>
                      <a:gd name="connsiteX3" fmla="*/ 236597 w 236597"/>
                      <a:gd name="connsiteY3" fmla="*/ 13466 h 366802"/>
                      <a:gd name="connsiteX4" fmla="*/ 236597 w 236597"/>
                      <a:gd name="connsiteY4" fmla="*/ 366802 h 366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97" h="366802">
                        <a:moveTo>
                          <a:pt x="236597" y="366802"/>
                        </a:moveTo>
                        <a:lnTo>
                          <a:pt x="0" y="366802"/>
                        </a:lnTo>
                        <a:lnTo>
                          <a:pt x="0" y="13466"/>
                        </a:lnTo>
                        <a:cubicBezTo>
                          <a:pt x="72279" y="-5514"/>
                          <a:pt x="151838" y="-3434"/>
                          <a:pt x="236597" y="13466"/>
                        </a:cubicBezTo>
                        <a:lnTo>
                          <a:pt x="236597" y="366802"/>
                        </a:lnTo>
                        <a:close/>
                      </a:path>
                    </a:pathLst>
                  </a:custGeom>
                  <a:solidFill>
                    <a:srgbClr val="0069FF"/>
                  </a:solidFill>
                  <a:ln w="2597" cap="flat">
                    <a:noFill/>
                    <a:prstDash val="solid"/>
                    <a:miter/>
                  </a:ln>
                </p:spPr>
                <p:txBody>
                  <a:bodyPr rtlCol="0" anchor="ctr"/>
                  <a:lstStyle/>
                  <a:p>
                    <a:endParaRPr lang="en-GB"/>
                  </a:p>
                </p:txBody>
              </p:sp>
              <p:sp>
                <p:nvSpPr>
                  <p:cNvPr id="603" name="Freeform: Shape 602">
                    <a:extLst>
                      <a:ext uri="{FF2B5EF4-FFF2-40B4-BE49-F238E27FC236}">
                        <a16:creationId xmlns:a16="http://schemas.microsoft.com/office/drawing/2014/main" id="{23AA97FE-B728-BC48-9B1A-15ED52BDDE22}"/>
                      </a:ext>
                    </a:extLst>
                  </p:cNvPr>
                  <p:cNvSpPr/>
                  <p:nvPr/>
                </p:nvSpPr>
                <p:spPr>
                  <a:xfrm>
                    <a:off x="3610072" y="4772082"/>
                    <a:ext cx="246997" cy="377190"/>
                  </a:xfrm>
                  <a:custGeom>
                    <a:avLst/>
                    <a:gdLst>
                      <a:gd name="connsiteX0" fmla="*/ 241797 w 246997"/>
                      <a:gd name="connsiteY0" fmla="*/ 377191 h 377190"/>
                      <a:gd name="connsiteX1" fmla="*/ 5200 w 246997"/>
                      <a:gd name="connsiteY1" fmla="*/ 377191 h 377190"/>
                      <a:gd name="connsiteX2" fmla="*/ 0 w 246997"/>
                      <a:gd name="connsiteY2" fmla="*/ 371991 h 377190"/>
                      <a:gd name="connsiteX3" fmla="*/ 0 w 246997"/>
                      <a:gd name="connsiteY3" fmla="*/ 18655 h 377190"/>
                      <a:gd name="connsiteX4" fmla="*/ 4160 w 246997"/>
                      <a:gd name="connsiteY4" fmla="*/ 13455 h 377190"/>
                      <a:gd name="connsiteX5" fmla="*/ 242837 w 246997"/>
                      <a:gd name="connsiteY5" fmla="*/ 13455 h 377190"/>
                      <a:gd name="connsiteX6" fmla="*/ 246997 w 246997"/>
                      <a:gd name="connsiteY6" fmla="*/ 18655 h 377190"/>
                      <a:gd name="connsiteX7" fmla="*/ 246997 w 246997"/>
                      <a:gd name="connsiteY7" fmla="*/ 371991 h 377190"/>
                      <a:gd name="connsiteX8" fmla="*/ 241797 w 246997"/>
                      <a:gd name="connsiteY8" fmla="*/ 377191 h 377190"/>
                      <a:gd name="connsiteX9" fmla="*/ 10400 w 246997"/>
                      <a:gd name="connsiteY9" fmla="*/ 366791 h 377190"/>
                      <a:gd name="connsiteX10" fmla="*/ 236337 w 246997"/>
                      <a:gd name="connsiteY10" fmla="*/ 366791 h 377190"/>
                      <a:gd name="connsiteX11" fmla="*/ 236337 w 246997"/>
                      <a:gd name="connsiteY11" fmla="*/ 22815 h 377190"/>
                      <a:gd name="connsiteX12" fmla="*/ 10400 w 246997"/>
                      <a:gd name="connsiteY12" fmla="*/ 22815 h 377190"/>
                      <a:gd name="connsiteX13" fmla="*/ 10400 w 246997"/>
                      <a:gd name="connsiteY13" fmla="*/ 366791 h 3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6997" h="377190">
                        <a:moveTo>
                          <a:pt x="241797" y="377191"/>
                        </a:moveTo>
                        <a:lnTo>
                          <a:pt x="5200" y="377191"/>
                        </a:lnTo>
                        <a:cubicBezTo>
                          <a:pt x="2080" y="377191"/>
                          <a:pt x="0" y="375111"/>
                          <a:pt x="0" y="371991"/>
                        </a:cubicBezTo>
                        <a:lnTo>
                          <a:pt x="0" y="18655"/>
                        </a:lnTo>
                        <a:cubicBezTo>
                          <a:pt x="0" y="16575"/>
                          <a:pt x="2080" y="14495"/>
                          <a:pt x="4160" y="13455"/>
                        </a:cubicBezTo>
                        <a:cubicBezTo>
                          <a:pt x="73059" y="-4485"/>
                          <a:pt x="151578" y="-4485"/>
                          <a:pt x="242837" y="13455"/>
                        </a:cubicBezTo>
                        <a:cubicBezTo>
                          <a:pt x="244917" y="13455"/>
                          <a:pt x="246997" y="16575"/>
                          <a:pt x="246997" y="18655"/>
                        </a:cubicBezTo>
                        <a:lnTo>
                          <a:pt x="246997" y="371991"/>
                        </a:lnTo>
                        <a:cubicBezTo>
                          <a:pt x="246997" y="375111"/>
                          <a:pt x="244917" y="377191"/>
                          <a:pt x="241797" y="377191"/>
                        </a:cubicBezTo>
                        <a:close/>
                        <a:moveTo>
                          <a:pt x="10400" y="366791"/>
                        </a:moveTo>
                        <a:lnTo>
                          <a:pt x="236337" y="366791"/>
                        </a:lnTo>
                        <a:lnTo>
                          <a:pt x="236337" y="22815"/>
                        </a:lnTo>
                        <a:cubicBezTo>
                          <a:pt x="150278" y="5915"/>
                          <a:pt x="76179" y="5915"/>
                          <a:pt x="10400" y="22815"/>
                        </a:cubicBezTo>
                        <a:cubicBezTo>
                          <a:pt x="10400" y="22815"/>
                          <a:pt x="10400" y="366791"/>
                          <a:pt x="10400" y="366791"/>
                        </a:cubicBezTo>
                        <a:close/>
                      </a:path>
                    </a:pathLst>
                  </a:custGeom>
                  <a:solidFill>
                    <a:srgbClr val="0069FF"/>
                  </a:solidFill>
                  <a:ln w="2597" cap="flat">
                    <a:noFill/>
                    <a:prstDash val="solid"/>
                    <a:miter/>
                  </a:ln>
                </p:spPr>
                <p:txBody>
                  <a:bodyPr rtlCol="0" anchor="ctr"/>
                  <a:lstStyle/>
                  <a:p>
                    <a:endParaRPr lang="en-GB"/>
                  </a:p>
                </p:txBody>
              </p:sp>
            </p:grpSp>
            <p:sp>
              <p:nvSpPr>
                <p:cNvPr id="594" name="Freeform: Shape 593">
                  <a:extLst>
                    <a:ext uri="{FF2B5EF4-FFF2-40B4-BE49-F238E27FC236}">
                      <a16:creationId xmlns:a16="http://schemas.microsoft.com/office/drawing/2014/main" id="{F4B84C53-AD0B-7805-5F17-A74AB10161B9}"/>
                    </a:ext>
                  </a:extLst>
                </p:cNvPr>
                <p:cNvSpPr/>
                <p:nvPr/>
              </p:nvSpPr>
              <p:spPr>
                <a:xfrm>
                  <a:off x="3579132" y="4742182"/>
                  <a:ext cx="252457" cy="382910"/>
                </a:xfrm>
                <a:custGeom>
                  <a:avLst/>
                  <a:gdLst>
                    <a:gd name="connsiteX0" fmla="*/ 245177 w 252457"/>
                    <a:gd name="connsiteY0" fmla="*/ 382911 h 382910"/>
                    <a:gd name="connsiteX1" fmla="*/ 8580 w 252457"/>
                    <a:gd name="connsiteY1" fmla="*/ 382911 h 382910"/>
                    <a:gd name="connsiteX2" fmla="*/ 0 w 252457"/>
                    <a:gd name="connsiteY2" fmla="*/ 374331 h 382910"/>
                    <a:gd name="connsiteX3" fmla="*/ 0 w 252457"/>
                    <a:gd name="connsiteY3" fmla="*/ 20995 h 382910"/>
                    <a:gd name="connsiteX4" fmla="*/ 6240 w 252457"/>
                    <a:gd name="connsiteY4" fmla="*/ 13455 h 382910"/>
                    <a:gd name="connsiteX5" fmla="*/ 246217 w 252457"/>
                    <a:gd name="connsiteY5" fmla="*/ 13455 h 382910"/>
                    <a:gd name="connsiteX6" fmla="*/ 252457 w 252457"/>
                    <a:gd name="connsiteY6" fmla="*/ 20995 h 382910"/>
                    <a:gd name="connsiteX7" fmla="*/ 252457 w 252457"/>
                    <a:gd name="connsiteY7" fmla="*/ 374331 h 382910"/>
                    <a:gd name="connsiteX8" fmla="*/ 245177 w 252457"/>
                    <a:gd name="connsiteY8" fmla="*/ 382911 h 382910"/>
                    <a:gd name="connsiteX9" fmla="*/ 15860 w 252457"/>
                    <a:gd name="connsiteY9" fmla="*/ 366791 h 382910"/>
                    <a:gd name="connsiteX10" fmla="*/ 236597 w 252457"/>
                    <a:gd name="connsiteY10" fmla="*/ 366791 h 382910"/>
                    <a:gd name="connsiteX11" fmla="*/ 236597 w 252457"/>
                    <a:gd name="connsiteY11" fmla="*/ 28275 h 382910"/>
                    <a:gd name="connsiteX12" fmla="*/ 15860 w 252457"/>
                    <a:gd name="connsiteY12" fmla="*/ 28275 h 382910"/>
                    <a:gd name="connsiteX13" fmla="*/ 15860 w 252457"/>
                    <a:gd name="connsiteY13" fmla="*/ 366791 h 382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2457" h="382910">
                      <a:moveTo>
                        <a:pt x="245177" y="382911"/>
                      </a:moveTo>
                      <a:lnTo>
                        <a:pt x="8580" y="382911"/>
                      </a:lnTo>
                      <a:cubicBezTo>
                        <a:pt x="4420" y="382911"/>
                        <a:pt x="0" y="379791"/>
                        <a:pt x="0" y="374331"/>
                      </a:cubicBezTo>
                      <a:lnTo>
                        <a:pt x="0" y="20995"/>
                      </a:lnTo>
                      <a:cubicBezTo>
                        <a:pt x="0" y="17875"/>
                        <a:pt x="2080" y="14755"/>
                        <a:pt x="6240" y="13455"/>
                      </a:cubicBezTo>
                      <a:cubicBezTo>
                        <a:pt x="76179" y="-4485"/>
                        <a:pt x="154698" y="-4485"/>
                        <a:pt x="246217" y="13455"/>
                      </a:cubicBezTo>
                      <a:cubicBezTo>
                        <a:pt x="250377" y="14495"/>
                        <a:pt x="252457" y="17615"/>
                        <a:pt x="252457" y="20995"/>
                      </a:cubicBezTo>
                      <a:lnTo>
                        <a:pt x="252457" y="374331"/>
                      </a:lnTo>
                      <a:cubicBezTo>
                        <a:pt x="252457" y="379531"/>
                        <a:pt x="249337" y="382911"/>
                        <a:pt x="245177" y="382911"/>
                      </a:cubicBezTo>
                      <a:close/>
                      <a:moveTo>
                        <a:pt x="15860" y="366791"/>
                      </a:moveTo>
                      <a:lnTo>
                        <a:pt x="236597" y="366791"/>
                      </a:lnTo>
                      <a:lnTo>
                        <a:pt x="236597" y="28275"/>
                      </a:lnTo>
                      <a:cubicBezTo>
                        <a:pt x="152878" y="12415"/>
                        <a:pt x="80599" y="12415"/>
                        <a:pt x="15860" y="28275"/>
                      </a:cubicBezTo>
                      <a:lnTo>
                        <a:pt x="15860" y="366791"/>
                      </a:lnTo>
                      <a:close/>
                    </a:path>
                  </a:pathLst>
                </a:custGeom>
                <a:solidFill>
                  <a:srgbClr val="00005A"/>
                </a:solidFill>
                <a:ln w="2597" cap="flat">
                  <a:noFill/>
                  <a:prstDash val="solid"/>
                  <a:miter/>
                </a:ln>
              </p:spPr>
              <p:txBody>
                <a:bodyPr rtlCol="0" anchor="ctr"/>
                <a:lstStyle/>
                <a:p>
                  <a:endParaRPr lang="en-GB"/>
                </a:p>
              </p:txBody>
            </p:sp>
            <p:sp>
              <p:nvSpPr>
                <p:cNvPr id="595" name="Freeform: Shape 594">
                  <a:extLst>
                    <a:ext uri="{FF2B5EF4-FFF2-40B4-BE49-F238E27FC236}">
                      <a16:creationId xmlns:a16="http://schemas.microsoft.com/office/drawing/2014/main" id="{62FD3695-1BF4-F18E-111B-7FF7DF058BF9}"/>
                    </a:ext>
                  </a:extLst>
                </p:cNvPr>
                <p:cNvSpPr/>
                <p:nvPr/>
              </p:nvSpPr>
              <p:spPr>
                <a:xfrm>
                  <a:off x="3657651" y="4708578"/>
                  <a:ext cx="96719" cy="50179"/>
                </a:xfrm>
                <a:custGeom>
                  <a:avLst/>
                  <a:gdLst>
                    <a:gd name="connsiteX0" fmla="*/ 88139 w 96719"/>
                    <a:gd name="connsiteY0" fmla="*/ 50180 h 50179"/>
                    <a:gd name="connsiteX1" fmla="*/ 8580 w 96719"/>
                    <a:gd name="connsiteY1" fmla="*/ 50180 h 50179"/>
                    <a:gd name="connsiteX2" fmla="*/ 0 w 96719"/>
                    <a:gd name="connsiteY2" fmla="*/ 41600 h 50179"/>
                    <a:gd name="connsiteX3" fmla="*/ 0 w 96719"/>
                    <a:gd name="connsiteY3" fmla="*/ 8580 h 50179"/>
                    <a:gd name="connsiteX4" fmla="*/ 8580 w 96719"/>
                    <a:gd name="connsiteY4" fmla="*/ 0 h 50179"/>
                    <a:gd name="connsiteX5" fmla="*/ 88139 w 96719"/>
                    <a:gd name="connsiteY5" fmla="*/ 0 h 50179"/>
                    <a:gd name="connsiteX6" fmla="*/ 96719 w 96719"/>
                    <a:gd name="connsiteY6" fmla="*/ 8580 h 50179"/>
                    <a:gd name="connsiteX7" fmla="*/ 96719 w 96719"/>
                    <a:gd name="connsiteY7" fmla="*/ 41600 h 50179"/>
                    <a:gd name="connsiteX8" fmla="*/ 88139 w 96719"/>
                    <a:gd name="connsiteY8" fmla="*/ 50180 h 50179"/>
                    <a:gd name="connsiteX9" fmla="*/ 15860 w 96719"/>
                    <a:gd name="connsiteY9" fmla="*/ 34320 h 50179"/>
                    <a:gd name="connsiteX10" fmla="*/ 79559 w 96719"/>
                    <a:gd name="connsiteY10" fmla="*/ 34320 h 50179"/>
                    <a:gd name="connsiteX11" fmla="*/ 79559 w 96719"/>
                    <a:gd name="connsiteY11" fmla="*/ 17420 h 50179"/>
                    <a:gd name="connsiteX12" fmla="*/ 15860 w 96719"/>
                    <a:gd name="connsiteY12" fmla="*/ 17420 h 50179"/>
                    <a:gd name="connsiteX13" fmla="*/ 15860 w 96719"/>
                    <a:gd name="connsiteY13" fmla="*/ 34320 h 50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719" h="50179">
                      <a:moveTo>
                        <a:pt x="88139" y="50180"/>
                      </a:moveTo>
                      <a:lnTo>
                        <a:pt x="8580" y="50180"/>
                      </a:lnTo>
                      <a:cubicBezTo>
                        <a:pt x="4420" y="50180"/>
                        <a:pt x="0" y="47059"/>
                        <a:pt x="0" y="41600"/>
                      </a:cubicBezTo>
                      <a:lnTo>
                        <a:pt x="0" y="8580"/>
                      </a:lnTo>
                      <a:cubicBezTo>
                        <a:pt x="0" y="4420"/>
                        <a:pt x="3120" y="0"/>
                        <a:pt x="8580" y="0"/>
                      </a:cubicBezTo>
                      <a:lnTo>
                        <a:pt x="88139" y="0"/>
                      </a:lnTo>
                      <a:cubicBezTo>
                        <a:pt x="92299" y="0"/>
                        <a:pt x="96719" y="3120"/>
                        <a:pt x="96719" y="8580"/>
                      </a:cubicBezTo>
                      <a:lnTo>
                        <a:pt x="96719" y="41600"/>
                      </a:lnTo>
                      <a:cubicBezTo>
                        <a:pt x="95419" y="46020"/>
                        <a:pt x="92299" y="50180"/>
                        <a:pt x="88139" y="50180"/>
                      </a:cubicBezTo>
                      <a:close/>
                      <a:moveTo>
                        <a:pt x="15860" y="34320"/>
                      </a:moveTo>
                      <a:lnTo>
                        <a:pt x="79559" y="34320"/>
                      </a:lnTo>
                      <a:lnTo>
                        <a:pt x="79559" y="17420"/>
                      </a:lnTo>
                      <a:lnTo>
                        <a:pt x="15860" y="17420"/>
                      </a:lnTo>
                      <a:lnTo>
                        <a:pt x="15860" y="34320"/>
                      </a:lnTo>
                      <a:close/>
                    </a:path>
                  </a:pathLst>
                </a:custGeom>
                <a:solidFill>
                  <a:srgbClr val="00005A"/>
                </a:solidFill>
                <a:ln w="2597" cap="flat">
                  <a:noFill/>
                  <a:prstDash val="solid"/>
                  <a:miter/>
                </a:ln>
              </p:spPr>
              <p:txBody>
                <a:bodyPr rtlCol="0" anchor="ctr"/>
                <a:lstStyle/>
                <a:p>
                  <a:endParaRPr lang="en-GB"/>
                </a:p>
              </p:txBody>
            </p:sp>
            <p:sp>
              <p:nvSpPr>
                <p:cNvPr id="596" name="Freeform: Shape 595">
                  <a:extLst>
                    <a:ext uri="{FF2B5EF4-FFF2-40B4-BE49-F238E27FC236}">
                      <a16:creationId xmlns:a16="http://schemas.microsoft.com/office/drawing/2014/main" id="{9D26553A-8912-9C96-7638-78ACA5C03858}"/>
                    </a:ext>
                  </a:extLst>
                </p:cNvPr>
                <p:cNvSpPr/>
                <p:nvPr/>
              </p:nvSpPr>
              <p:spPr>
                <a:xfrm>
                  <a:off x="3578850" y="5017417"/>
                  <a:ext cx="253200" cy="28897"/>
                </a:xfrm>
                <a:custGeom>
                  <a:avLst/>
                  <a:gdLst>
                    <a:gd name="connsiteX0" fmla="*/ 122221 w 253200"/>
                    <a:gd name="connsiteY0" fmla="*/ 28897 h 28897"/>
                    <a:gd name="connsiteX1" fmla="*/ 6522 w 253200"/>
                    <a:gd name="connsiteY1" fmla="*/ 16157 h 28897"/>
                    <a:gd name="connsiteX2" fmla="*/ 282 w 253200"/>
                    <a:gd name="connsiteY2" fmla="*/ 6538 h 28897"/>
                    <a:gd name="connsiteX3" fmla="*/ 9902 w 253200"/>
                    <a:gd name="connsiteY3" fmla="*/ 298 h 28897"/>
                    <a:gd name="connsiteX4" fmla="*/ 243380 w 253200"/>
                    <a:gd name="connsiteY4" fmla="*/ 298 h 28897"/>
                    <a:gd name="connsiteX5" fmla="*/ 252999 w 253200"/>
                    <a:gd name="connsiteY5" fmla="*/ 6538 h 28897"/>
                    <a:gd name="connsiteX6" fmla="*/ 246759 w 253200"/>
                    <a:gd name="connsiteY6" fmla="*/ 16157 h 28897"/>
                    <a:gd name="connsiteX7" fmla="*/ 122221 w 253200"/>
                    <a:gd name="connsiteY7" fmla="*/ 28897 h 28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3200" h="28897">
                      <a:moveTo>
                        <a:pt x="122221" y="28897"/>
                      </a:moveTo>
                      <a:cubicBezTo>
                        <a:pt x="81921" y="28897"/>
                        <a:pt x="43702" y="24737"/>
                        <a:pt x="6522" y="16157"/>
                      </a:cubicBezTo>
                      <a:cubicBezTo>
                        <a:pt x="2362" y="15117"/>
                        <a:pt x="-1018" y="10957"/>
                        <a:pt x="282" y="6538"/>
                      </a:cubicBezTo>
                      <a:cubicBezTo>
                        <a:pt x="1582" y="2117"/>
                        <a:pt x="5482" y="-1002"/>
                        <a:pt x="9902" y="298"/>
                      </a:cubicBezTo>
                      <a:cubicBezTo>
                        <a:pt x="82181" y="16157"/>
                        <a:pt x="158360" y="16157"/>
                        <a:pt x="243380" y="298"/>
                      </a:cubicBezTo>
                      <a:cubicBezTo>
                        <a:pt x="247539" y="-742"/>
                        <a:pt x="251959" y="2378"/>
                        <a:pt x="252999" y="6538"/>
                      </a:cubicBezTo>
                      <a:cubicBezTo>
                        <a:pt x="254039" y="10697"/>
                        <a:pt x="250919" y="15117"/>
                        <a:pt x="246759" y="16157"/>
                      </a:cubicBezTo>
                      <a:cubicBezTo>
                        <a:pt x="203080" y="24737"/>
                        <a:pt x="162521" y="28897"/>
                        <a:pt x="122221" y="28897"/>
                      </a:cubicBezTo>
                      <a:close/>
                    </a:path>
                  </a:pathLst>
                </a:custGeom>
                <a:solidFill>
                  <a:srgbClr val="00005A"/>
                </a:solidFill>
                <a:ln w="2597" cap="flat">
                  <a:noFill/>
                  <a:prstDash val="solid"/>
                  <a:miter/>
                </a:ln>
              </p:spPr>
              <p:txBody>
                <a:bodyPr rtlCol="0" anchor="ctr"/>
                <a:lstStyle/>
                <a:p>
                  <a:endParaRPr lang="en-GB"/>
                </a:p>
              </p:txBody>
            </p:sp>
            <p:sp>
              <p:nvSpPr>
                <p:cNvPr id="597" name="Freeform: Shape 596">
                  <a:extLst>
                    <a:ext uri="{FF2B5EF4-FFF2-40B4-BE49-F238E27FC236}">
                      <a16:creationId xmlns:a16="http://schemas.microsoft.com/office/drawing/2014/main" id="{43537A3F-D6B4-B258-DC1B-DC124728F186}"/>
                    </a:ext>
                  </a:extLst>
                </p:cNvPr>
                <p:cNvSpPr/>
                <p:nvPr/>
              </p:nvSpPr>
              <p:spPr>
                <a:xfrm>
                  <a:off x="3626971" y="5061394"/>
                  <a:ext cx="30679" cy="31719"/>
                </a:xfrm>
                <a:custGeom>
                  <a:avLst/>
                  <a:gdLst>
                    <a:gd name="connsiteX0" fmla="*/ 15860 w 30679"/>
                    <a:gd name="connsiteY0" fmla="*/ 31720 h 31719"/>
                    <a:gd name="connsiteX1" fmla="*/ 0 w 30679"/>
                    <a:gd name="connsiteY1" fmla="*/ 15860 h 31719"/>
                    <a:gd name="connsiteX2" fmla="*/ 15860 w 30679"/>
                    <a:gd name="connsiteY2" fmla="*/ 0 h 31719"/>
                    <a:gd name="connsiteX3" fmla="*/ 30679 w 30679"/>
                    <a:gd name="connsiteY3" fmla="*/ 15860 h 31719"/>
                    <a:gd name="connsiteX4" fmla="*/ 15860 w 30679"/>
                    <a:gd name="connsiteY4" fmla="*/ 31720 h 31719"/>
                    <a:gd name="connsiteX5" fmla="*/ 14820 w 30679"/>
                    <a:gd name="connsiteY5" fmla="*/ 15860 h 31719"/>
                    <a:gd name="connsiteX6" fmla="*/ 14820 w 30679"/>
                    <a:gd name="connsiteY6" fmla="*/ 15860 h 31719"/>
                    <a:gd name="connsiteX7" fmla="*/ 15860 w 30679"/>
                    <a:gd name="connsiteY7" fmla="*/ 15860 h 31719"/>
                    <a:gd name="connsiteX8" fmla="*/ 14820 w 30679"/>
                    <a:gd name="connsiteY8" fmla="*/ 15860 h 3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79" h="31719">
                      <a:moveTo>
                        <a:pt x="15860" y="31720"/>
                      </a:moveTo>
                      <a:cubicBezTo>
                        <a:pt x="7280" y="31720"/>
                        <a:pt x="0" y="24180"/>
                        <a:pt x="0" y="15860"/>
                      </a:cubicBezTo>
                      <a:cubicBezTo>
                        <a:pt x="0" y="7280"/>
                        <a:pt x="7540" y="0"/>
                        <a:pt x="15860" y="0"/>
                      </a:cubicBezTo>
                      <a:cubicBezTo>
                        <a:pt x="24180" y="0"/>
                        <a:pt x="30679" y="7540"/>
                        <a:pt x="30679" y="15860"/>
                      </a:cubicBezTo>
                      <a:cubicBezTo>
                        <a:pt x="30679" y="24180"/>
                        <a:pt x="24180" y="31720"/>
                        <a:pt x="15860" y="31720"/>
                      </a:cubicBezTo>
                      <a:close/>
                      <a:moveTo>
                        <a:pt x="14820" y="15860"/>
                      </a:moveTo>
                      <a:lnTo>
                        <a:pt x="14820" y="15860"/>
                      </a:lnTo>
                      <a:cubicBezTo>
                        <a:pt x="15860" y="15860"/>
                        <a:pt x="15860" y="15860"/>
                        <a:pt x="15860" y="15860"/>
                      </a:cubicBezTo>
                      <a:lnTo>
                        <a:pt x="14820" y="15860"/>
                      </a:lnTo>
                      <a:close/>
                    </a:path>
                  </a:pathLst>
                </a:custGeom>
                <a:solidFill>
                  <a:srgbClr val="FFFFFF"/>
                </a:solidFill>
                <a:ln w="2597" cap="flat">
                  <a:noFill/>
                  <a:prstDash val="solid"/>
                  <a:miter/>
                </a:ln>
              </p:spPr>
              <p:txBody>
                <a:bodyPr rtlCol="0" anchor="ctr"/>
                <a:lstStyle/>
                <a:p>
                  <a:endParaRPr lang="en-GB"/>
                </a:p>
              </p:txBody>
            </p:sp>
            <p:sp>
              <p:nvSpPr>
                <p:cNvPr id="598" name="Freeform: Shape 597">
                  <a:extLst>
                    <a:ext uri="{FF2B5EF4-FFF2-40B4-BE49-F238E27FC236}">
                      <a16:creationId xmlns:a16="http://schemas.microsoft.com/office/drawing/2014/main" id="{BCAF4B1D-C524-2331-1D72-E58E46005C31}"/>
                    </a:ext>
                  </a:extLst>
                </p:cNvPr>
                <p:cNvSpPr/>
                <p:nvPr/>
              </p:nvSpPr>
              <p:spPr>
                <a:xfrm>
                  <a:off x="3664931" y="5109233"/>
                  <a:ext cx="40559" cy="80599"/>
                </a:xfrm>
                <a:custGeom>
                  <a:avLst/>
                  <a:gdLst>
                    <a:gd name="connsiteX0" fmla="*/ 20280 w 40559"/>
                    <a:gd name="connsiteY0" fmla="*/ 80599 h 80599"/>
                    <a:gd name="connsiteX1" fmla="*/ 0 w 40559"/>
                    <a:gd name="connsiteY1" fmla="*/ 62660 h 80599"/>
                    <a:gd name="connsiteX2" fmla="*/ 0 w 40559"/>
                    <a:gd name="connsiteY2" fmla="*/ 8580 h 80599"/>
                    <a:gd name="connsiteX3" fmla="*/ 8580 w 40559"/>
                    <a:gd name="connsiteY3" fmla="*/ 0 h 80599"/>
                    <a:gd name="connsiteX4" fmla="*/ 31979 w 40559"/>
                    <a:gd name="connsiteY4" fmla="*/ 0 h 80599"/>
                    <a:gd name="connsiteX5" fmla="*/ 40559 w 40559"/>
                    <a:gd name="connsiteY5" fmla="*/ 8580 h 80599"/>
                    <a:gd name="connsiteX6" fmla="*/ 40559 w 40559"/>
                    <a:gd name="connsiteY6" fmla="*/ 62660 h 80599"/>
                    <a:gd name="connsiteX7" fmla="*/ 20280 w 40559"/>
                    <a:gd name="connsiteY7" fmla="*/ 80599 h 80599"/>
                    <a:gd name="connsiteX8" fmla="*/ 17160 w 40559"/>
                    <a:gd name="connsiteY8" fmla="*/ 15860 h 80599"/>
                    <a:gd name="connsiteX9" fmla="*/ 17160 w 40559"/>
                    <a:gd name="connsiteY9" fmla="*/ 62660 h 80599"/>
                    <a:gd name="connsiteX10" fmla="*/ 21320 w 40559"/>
                    <a:gd name="connsiteY10" fmla="*/ 64739 h 80599"/>
                    <a:gd name="connsiteX11" fmla="*/ 24440 w 40559"/>
                    <a:gd name="connsiteY11" fmla="*/ 62660 h 80599"/>
                    <a:gd name="connsiteX12" fmla="*/ 24440 w 40559"/>
                    <a:gd name="connsiteY12" fmla="*/ 15860 h 80599"/>
                    <a:gd name="connsiteX13" fmla="*/ 17160 w 40559"/>
                    <a:gd name="connsiteY13" fmla="*/ 15860 h 8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559" h="80599">
                      <a:moveTo>
                        <a:pt x="20280" y="80599"/>
                      </a:moveTo>
                      <a:cubicBezTo>
                        <a:pt x="8580" y="80599"/>
                        <a:pt x="0" y="73059"/>
                        <a:pt x="0" y="62660"/>
                      </a:cubicBezTo>
                      <a:lnTo>
                        <a:pt x="0" y="8580"/>
                      </a:lnTo>
                      <a:cubicBezTo>
                        <a:pt x="0" y="4420"/>
                        <a:pt x="3120" y="0"/>
                        <a:pt x="8580" y="0"/>
                      </a:cubicBezTo>
                      <a:lnTo>
                        <a:pt x="31979" y="0"/>
                      </a:lnTo>
                      <a:cubicBezTo>
                        <a:pt x="36140" y="0"/>
                        <a:pt x="40559" y="3120"/>
                        <a:pt x="40559" y="8580"/>
                      </a:cubicBezTo>
                      <a:lnTo>
                        <a:pt x="40559" y="62660"/>
                      </a:lnTo>
                      <a:cubicBezTo>
                        <a:pt x="39519" y="73059"/>
                        <a:pt x="31979" y="80599"/>
                        <a:pt x="20280" y="80599"/>
                      </a:cubicBezTo>
                      <a:close/>
                      <a:moveTo>
                        <a:pt x="17160" y="15860"/>
                      </a:moveTo>
                      <a:lnTo>
                        <a:pt x="17160" y="62660"/>
                      </a:lnTo>
                      <a:cubicBezTo>
                        <a:pt x="17160" y="64739"/>
                        <a:pt x="20280" y="64739"/>
                        <a:pt x="21320" y="64739"/>
                      </a:cubicBezTo>
                      <a:cubicBezTo>
                        <a:pt x="22360" y="64739"/>
                        <a:pt x="24440" y="64739"/>
                        <a:pt x="24440" y="62660"/>
                      </a:cubicBezTo>
                      <a:lnTo>
                        <a:pt x="24440" y="15860"/>
                      </a:lnTo>
                      <a:lnTo>
                        <a:pt x="17160" y="15860"/>
                      </a:lnTo>
                      <a:close/>
                    </a:path>
                  </a:pathLst>
                </a:custGeom>
                <a:solidFill>
                  <a:srgbClr val="00005A"/>
                </a:solidFill>
                <a:ln w="2597" cap="flat">
                  <a:noFill/>
                  <a:prstDash val="solid"/>
                  <a:miter/>
                </a:ln>
              </p:spPr>
              <p:txBody>
                <a:bodyPr rtlCol="0" anchor="ctr"/>
                <a:lstStyle/>
                <a:p>
                  <a:endParaRPr lang="en-GB"/>
                </a:p>
              </p:txBody>
            </p:sp>
            <p:sp>
              <p:nvSpPr>
                <p:cNvPr id="599" name="Freeform: Shape 598">
                  <a:extLst>
                    <a:ext uri="{FF2B5EF4-FFF2-40B4-BE49-F238E27FC236}">
                      <a16:creationId xmlns:a16="http://schemas.microsoft.com/office/drawing/2014/main" id="{7F66B070-8F46-32F8-C638-75FE11A9151F}"/>
                    </a:ext>
                  </a:extLst>
                </p:cNvPr>
                <p:cNvSpPr/>
                <p:nvPr/>
              </p:nvSpPr>
              <p:spPr>
                <a:xfrm>
                  <a:off x="3707310" y="5109233"/>
                  <a:ext cx="40559" cy="80599"/>
                </a:xfrm>
                <a:custGeom>
                  <a:avLst/>
                  <a:gdLst>
                    <a:gd name="connsiteX0" fmla="*/ 20280 w 40559"/>
                    <a:gd name="connsiteY0" fmla="*/ 80599 h 80599"/>
                    <a:gd name="connsiteX1" fmla="*/ 0 w 40559"/>
                    <a:gd name="connsiteY1" fmla="*/ 62660 h 80599"/>
                    <a:gd name="connsiteX2" fmla="*/ 0 w 40559"/>
                    <a:gd name="connsiteY2" fmla="*/ 8580 h 80599"/>
                    <a:gd name="connsiteX3" fmla="*/ 8580 w 40559"/>
                    <a:gd name="connsiteY3" fmla="*/ 0 h 80599"/>
                    <a:gd name="connsiteX4" fmla="*/ 31980 w 40559"/>
                    <a:gd name="connsiteY4" fmla="*/ 0 h 80599"/>
                    <a:gd name="connsiteX5" fmla="*/ 40560 w 40559"/>
                    <a:gd name="connsiteY5" fmla="*/ 8580 h 80599"/>
                    <a:gd name="connsiteX6" fmla="*/ 40560 w 40559"/>
                    <a:gd name="connsiteY6" fmla="*/ 62660 h 80599"/>
                    <a:gd name="connsiteX7" fmla="*/ 20280 w 40559"/>
                    <a:gd name="connsiteY7" fmla="*/ 80599 h 80599"/>
                    <a:gd name="connsiteX8" fmla="*/ 17160 w 40559"/>
                    <a:gd name="connsiteY8" fmla="*/ 15860 h 80599"/>
                    <a:gd name="connsiteX9" fmla="*/ 17160 w 40559"/>
                    <a:gd name="connsiteY9" fmla="*/ 62660 h 80599"/>
                    <a:gd name="connsiteX10" fmla="*/ 21320 w 40559"/>
                    <a:gd name="connsiteY10" fmla="*/ 64739 h 80599"/>
                    <a:gd name="connsiteX11" fmla="*/ 24440 w 40559"/>
                    <a:gd name="connsiteY11" fmla="*/ 62660 h 80599"/>
                    <a:gd name="connsiteX12" fmla="*/ 24440 w 40559"/>
                    <a:gd name="connsiteY12" fmla="*/ 15860 h 80599"/>
                    <a:gd name="connsiteX13" fmla="*/ 17160 w 40559"/>
                    <a:gd name="connsiteY13" fmla="*/ 15860 h 8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559" h="80599">
                      <a:moveTo>
                        <a:pt x="20280" y="80599"/>
                      </a:moveTo>
                      <a:cubicBezTo>
                        <a:pt x="8580" y="80599"/>
                        <a:pt x="0" y="73059"/>
                        <a:pt x="0" y="62660"/>
                      </a:cubicBezTo>
                      <a:lnTo>
                        <a:pt x="0" y="8580"/>
                      </a:lnTo>
                      <a:cubicBezTo>
                        <a:pt x="0" y="4420"/>
                        <a:pt x="3120" y="0"/>
                        <a:pt x="8580" y="0"/>
                      </a:cubicBezTo>
                      <a:lnTo>
                        <a:pt x="31980" y="0"/>
                      </a:lnTo>
                      <a:cubicBezTo>
                        <a:pt x="36140" y="0"/>
                        <a:pt x="40560" y="3120"/>
                        <a:pt x="40560" y="8580"/>
                      </a:cubicBezTo>
                      <a:lnTo>
                        <a:pt x="40560" y="62660"/>
                      </a:lnTo>
                      <a:cubicBezTo>
                        <a:pt x="39520" y="73059"/>
                        <a:pt x="31980" y="80599"/>
                        <a:pt x="20280" y="80599"/>
                      </a:cubicBezTo>
                      <a:close/>
                      <a:moveTo>
                        <a:pt x="17160" y="15860"/>
                      </a:moveTo>
                      <a:lnTo>
                        <a:pt x="17160" y="62660"/>
                      </a:lnTo>
                      <a:cubicBezTo>
                        <a:pt x="17160" y="64739"/>
                        <a:pt x="20280" y="64739"/>
                        <a:pt x="21320" y="64739"/>
                      </a:cubicBezTo>
                      <a:cubicBezTo>
                        <a:pt x="22360" y="64739"/>
                        <a:pt x="24440" y="64739"/>
                        <a:pt x="24440" y="62660"/>
                      </a:cubicBezTo>
                      <a:lnTo>
                        <a:pt x="24440" y="15860"/>
                      </a:lnTo>
                      <a:lnTo>
                        <a:pt x="17160" y="15860"/>
                      </a:lnTo>
                      <a:close/>
                    </a:path>
                  </a:pathLst>
                </a:custGeom>
                <a:solidFill>
                  <a:srgbClr val="00005A"/>
                </a:solidFill>
                <a:ln w="2597" cap="flat">
                  <a:noFill/>
                  <a:prstDash val="solid"/>
                  <a:miter/>
                </a:ln>
              </p:spPr>
              <p:txBody>
                <a:bodyPr rtlCol="0" anchor="ctr"/>
                <a:lstStyle/>
                <a:p>
                  <a:endParaRPr lang="en-GB"/>
                </a:p>
              </p:txBody>
            </p:sp>
            <p:sp>
              <p:nvSpPr>
                <p:cNvPr id="600" name="Freeform: Shape 599">
                  <a:extLst>
                    <a:ext uri="{FF2B5EF4-FFF2-40B4-BE49-F238E27FC236}">
                      <a16:creationId xmlns:a16="http://schemas.microsoft.com/office/drawing/2014/main" id="{63AA1D16-81BC-6443-4C10-3347DCEB0CA3}"/>
                    </a:ext>
                  </a:extLst>
                </p:cNvPr>
                <p:cNvSpPr/>
                <p:nvPr/>
              </p:nvSpPr>
              <p:spPr>
                <a:xfrm>
                  <a:off x="3644911" y="5152393"/>
                  <a:ext cx="33019" cy="17159"/>
                </a:xfrm>
                <a:custGeom>
                  <a:avLst/>
                  <a:gdLst>
                    <a:gd name="connsiteX0" fmla="*/ 24440 w 33019"/>
                    <a:gd name="connsiteY0" fmla="*/ 17160 h 17159"/>
                    <a:gd name="connsiteX1" fmla="*/ 8580 w 33019"/>
                    <a:gd name="connsiteY1" fmla="*/ 17160 h 17159"/>
                    <a:gd name="connsiteX2" fmla="*/ 0 w 33019"/>
                    <a:gd name="connsiteY2" fmla="*/ 8580 h 17159"/>
                    <a:gd name="connsiteX3" fmla="*/ 8580 w 33019"/>
                    <a:gd name="connsiteY3" fmla="*/ 0 h 17159"/>
                    <a:gd name="connsiteX4" fmla="*/ 24440 w 33019"/>
                    <a:gd name="connsiteY4" fmla="*/ 0 h 17159"/>
                    <a:gd name="connsiteX5" fmla="*/ 33020 w 33019"/>
                    <a:gd name="connsiteY5" fmla="*/ 8580 h 17159"/>
                    <a:gd name="connsiteX6" fmla="*/ 24440 w 33019"/>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019" h="17159">
                      <a:moveTo>
                        <a:pt x="24440" y="17160"/>
                      </a:moveTo>
                      <a:lnTo>
                        <a:pt x="8580" y="17160"/>
                      </a:lnTo>
                      <a:cubicBezTo>
                        <a:pt x="4420" y="17160"/>
                        <a:pt x="0" y="14040"/>
                        <a:pt x="0" y="8580"/>
                      </a:cubicBezTo>
                      <a:cubicBezTo>
                        <a:pt x="0" y="3380"/>
                        <a:pt x="3120" y="0"/>
                        <a:pt x="8580" y="0"/>
                      </a:cubicBezTo>
                      <a:lnTo>
                        <a:pt x="24440" y="0"/>
                      </a:lnTo>
                      <a:cubicBezTo>
                        <a:pt x="28600" y="0"/>
                        <a:pt x="33020" y="3120"/>
                        <a:pt x="33020" y="8580"/>
                      </a:cubicBezTo>
                      <a:cubicBezTo>
                        <a:pt x="32760" y="14040"/>
                        <a:pt x="28600" y="17160"/>
                        <a:pt x="24440" y="17160"/>
                      </a:cubicBezTo>
                      <a:close/>
                    </a:path>
                  </a:pathLst>
                </a:custGeom>
                <a:solidFill>
                  <a:srgbClr val="00005A"/>
                </a:solidFill>
                <a:ln w="2597" cap="flat">
                  <a:noFill/>
                  <a:prstDash val="solid"/>
                  <a:miter/>
                </a:ln>
              </p:spPr>
              <p:txBody>
                <a:bodyPr rtlCol="0" anchor="ctr"/>
                <a:lstStyle/>
                <a:p>
                  <a:endParaRPr lang="en-GB"/>
                </a:p>
              </p:txBody>
            </p:sp>
            <p:sp>
              <p:nvSpPr>
                <p:cNvPr id="601" name="Freeform: Shape 600">
                  <a:extLst>
                    <a:ext uri="{FF2B5EF4-FFF2-40B4-BE49-F238E27FC236}">
                      <a16:creationId xmlns:a16="http://schemas.microsoft.com/office/drawing/2014/main" id="{F329B519-EAAD-253B-DDD7-E413AB88112E}"/>
                    </a:ext>
                  </a:extLst>
                </p:cNvPr>
                <p:cNvSpPr/>
                <p:nvPr/>
              </p:nvSpPr>
              <p:spPr>
                <a:xfrm>
                  <a:off x="3641531" y="5132113"/>
                  <a:ext cx="17159" cy="54339"/>
                </a:xfrm>
                <a:custGeom>
                  <a:avLst/>
                  <a:gdLst>
                    <a:gd name="connsiteX0" fmla="*/ 8580 w 17159"/>
                    <a:gd name="connsiteY0" fmla="*/ 54339 h 54339"/>
                    <a:gd name="connsiteX1" fmla="*/ 0 w 17159"/>
                    <a:gd name="connsiteY1" fmla="*/ 45759 h 54339"/>
                    <a:gd name="connsiteX2" fmla="*/ 0 w 17159"/>
                    <a:gd name="connsiteY2" fmla="*/ 8580 h 54339"/>
                    <a:gd name="connsiteX3" fmla="*/ 8580 w 17159"/>
                    <a:gd name="connsiteY3" fmla="*/ 0 h 54339"/>
                    <a:gd name="connsiteX4" fmla="*/ 17160 w 17159"/>
                    <a:gd name="connsiteY4" fmla="*/ 8580 h 54339"/>
                    <a:gd name="connsiteX5" fmla="*/ 17160 w 17159"/>
                    <a:gd name="connsiteY5" fmla="*/ 45759 h 54339"/>
                    <a:gd name="connsiteX6" fmla="*/ 8580 w 17159"/>
                    <a:gd name="connsiteY6" fmla="*/ 54339 h 54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59" h="54339">
                      <a:moveTo>
                        <a:pt x="8580" y="54339"/>
                      </a:moveTo>
                      <a:cubicBezTo>
                        <a:pt x="4420" y="54339"/>
                        <a:pt x="0" y="51219"/>
                        <a:pt x="0" y="45759"/>
                      </a:cubicBezTo>
                      <a:lnTo>
                        <a:pt x="0" y="8580"/>
                      </a:lnTo>
                      <a:cubicBezTo>
                        <a:pt x="0" y="4420"/>
                        <a:pt x="3120" y="0"/>
                        <a:pt x="8580" y="0"/>
                      </a:cubicBezTo>
                      <a:cubicBezTo>
                        <a:pt x="14040" y="0"/>
                        <a:pt x="17160" y="3120"/>
                        <a:pt x="17160" y="8580"/>
                      </a:cubicBezTo>
                      <a:lnTo>
                        <a:pt x="17160" y="45759"/>
                      </a:lnTo>
                      <a:cubicBezTo>
                        <a:pt x="16120" y="51219"/>
                        <a:pt x="13000" y="54339"/>
                        <a:pt x="8580" y="54339"/>
                      </a:cubicBezTo>
                      <a:close/>
                    </a:path>
                  </a:pathLst>
                </a:custGeom>
                <a:solidFill>
                  <a:srgbClr val="00005A"/>
                </a:solidFill>
                <a:ln w="2597" cap="flat">
                  <a:noFill/>
                  <a:prstDash val="solid"/>
                  <a:miter/>
                </a:ln>
              </p:spPr>
              <p:txBody>
                <a:bodyPr rtlCol="0" anchor="ctr"/>
                <a:lstStyle/>
                <a:p>
                  <a:endParaRPr lang="en-GB"/>
                </a:p>
              </p:txBody>
            </p:sp>
          </p:grpSp>
          <p:sp>
            <p:nvSpPr>
              <p:cNvPr id="592" name="Freeform: Shape 591">
                <a:extLst>
                  <a:ext uri="{FF2B5EF4-FFF2-40B4-BE49-F238E27FC236}">
                    <a16:creationId xmlns:a16="http://schemas.microsoft.com/office/drawing/2014/main" id="{0AEC97D7-65F5-0CAC-0307-5D5445DCCA45}"/>
                  </a:ext>
                </a:extLst>
              </p:cNvPr>
              <p:cNvSpPr/>
              <p:nvPr/>
            </p:nvSpPr>
            <p:spPr>
              <a:xfrm>
                <a:off x="3777509" y="5082453"/>
                <a:ext cx="479694" cy="106078"/>
              </a:xfrm>
              <a:custGeom>
                <a:avLst/>
                <a:gdLst>
                  <a:gd name="connsiteX0" fmla="*/ 447975 w 479694"/>
                  <a:gd name="connsiteY0" fmla="*/ 106079 h 106078"/>
                  <a:gd name="connsiteX1" fmla="*/ 0 w 479694"/>
                  <a:gd name="connsiteY1" fmla="*/ 94639 h 106078"/>
                  <a:gd name="connsiteX2" fmla="*/ 33020 w 479694"/>
                  <a:gd name="connsiteY2" fmla="*/ 0 h 106078"/>
                  <a:gd name="connsiteX3" fmla="*/ 479694 w 479694"/>
                  <a:gd name="connsiteY3" fmla="*/ 0 h 106078"/>
                </a:gdLst>
                <a:ahLst/>
                <a:cxnLst>
                  <a:cxn ang="0">
                    <a:pos x="connsiteX0" y="connsiteY0"/>
                  </a:cxn>
                  <a:cxn ang="0">
                    <a:pos x="connsiteX1" y="connsiteY1"/>
                  </a:cxn>
                  <a:cxn ang="0">
                    <a:pos x="connsiteX2" y="connsiteY2"/>
                  </a:cxn>
                  <a:cxn ang="0">
                    <a:pos x="connsiteX3" y="connsiteY3"/>
                  </a:cxn>
                </a:cxnLst>
                <a:rect l="l" t="t" r="r" b="b"/>
                <a:pathLst>
                  <a:path w="479694" h="106078">
                    <a:moveTo>
                      <a:pt x="447975" y="106079"/>
                    </a:moveTo>
                    <a:lnTo>
                      <a:pt x="0" y="94639"/>
                    </a:lnTo>
                    <a:lnTo>
                      <a:pt x="33020" y="0"/>
                    </a:lnTo>
                    <a:lnTo>
                      <a:pt x="479694" y="0"/>
                    </a:lnTo>
                    <a:close/>
                  </a:path>
                </a:pathLst>
              </a:custGeom>
              <a:solidFill>
                <a:srgbClr val="FFFFFF"/>
              </a:solidFill>
              <a:ln w="2597" cap="flat">
                <a:noFill/>
                <a:prstDash val="solid"/>
                <a:miter/>
              </a:ln>
            </p:spPr>
            <p:txBody>
              <a:bodyPr rtlCol="0" anchor="ctr"/>
              <a:lstStyle/>
              <a:p>
                <a:endParaRPr lang="en-GB"/>
              </a:p>
            </p:txBody>
          </p:sp>
        </p:grpSp>
        <p:grpSp>
          <p:nvGrpSpPr>
            <p:cNvPr id="583" name="Graphic 6">
              <a:extLst>
                <a:ext uri="{FF2B5EF4-FFF2-40B4-BE49-F238E27FC236}">
                  <a16:creationId xmlns:a16="http://schemas.microsoft.com/office/drawing/2014/main" id="{3D72F460-A810-E200-BCE6-1C13B6437BAF}"/>
                </a:ext>
              </a:extLst>
            </p:cNvPr>
            <p:cNvGrpSpPr/>
            <p:nvPr/>
          </p:nvGrpSpPr>
          <p:grpSpPr>
            <a:xfrm>
              <a:off x="3690240" y="5072573"/>
              <a:ext cx="599983" cy="327336"/>
              <a:chOff x="3690240" y="5072573"/>
              <a:chExt cx="599983" cy="327336"/>
            </a:xfrm>
          </p:grpSpPr>
          <p:sp>
            <p:nvSpPr>
              <p:cNvPr id="584" name="Freeform: Shape 583">
                <a:extLst>
                  <a:ext uri="{FF2B5EF4-FFF2-40B4-BE49-F238E27FC236}">
                    <a16:creationId xmlns:a16="http://schemas.microsoft.com/office/drawing/2014/main" id="{71D20767-FF89-D1E2-99BF-16A5F29BDDA3}"/>
                  </a:ext>
                </a:extLst>
              </p:cNvPr>
              <p:cNvSpPr/>
              <p:nvPr/>
            </p:nvSpPr>
            <p:spPr>
              <a:xfrm>
                <a:off x="3714167" y="5113393"/>
                <a:ext cx="576056" cy="286516"/>
              </a:xfrm>
              <a:custGeom>
                <a:avLst/>
                <a:gdLst>
                  <a:gd name="connsiteX0" fmla="*/ 573977 w 576056"/>
                  <a:gd name="connsiteY0" fmla="*/ 6240 h 286516"/>
                  <a:gd name="connsiteX1" fmla="*/ 573977 w 576056"/>
                  <a:gd name="connsiteY1" fmla="*/ 6240 h 286516"/>
                  <a:gd name="connsiteX2" fmla="*/ 572937 w 576056"/>
                  <a:gd name="connsiteY2" fmla="*/ 3120 h 286516"/>
                  <a:gd name="connsiteX3" fmla="*/ 572937 w 576056"/>
                  <a:gd name="connsiteY3" fmla="*/ 3120 h 286516"/>
                  <a:gd name="connsiteX4" fmla="*/ 572937 w 576056"/>
                  <a:gd name="connsiteY4" fmla="*/ 3120 h 286516"/>
                  <a:gd name="connsiteX5" fmla="*/ 570857 w 576056"/>
                  <a:gd name="connsiteY5" fmla="*/ 1040 h 286516"/>
                  <a:gd name="connsiteX6" fmla="*/ 570857 w 576056"/>
                  <a:gd name="connsiteY6" fmla="*/ 1040 h 286516"/>
                  <a:gd name="connsiteX7" fmla="*/ 569817 w 576056"/>
                  <a:gd name="connsiteY7" fmla="*/ 0 h 286516"/>
                  <a:gd name="connsiteX8" fmla="*/ 568777 w 576056"/>
                  <a:gd name="connsiteY8" fmla="*/ 0 h 286516"/>
                  <a:gd name="connsiteX9" fmla="*/ 568777 w 576056"/>
                  <a:gd name="connsiteY9" fmla="*/ 0 h 286516"/>
                  <a:gd name="connsiteX10" fmla="*/ 121842 w 576056"/>
                  <a:gd name="connsiteY10" fmla="*/ 0 h 286516"/>
                  <a:gd name="connsiteX11" fmla="*/ 114302 w 576056"/>
                  <a:gd name="connsiteY11" fmla="*/ 5200 h 286516"/>
                  <a:gd name="connsiteX12" fmla="*/ 683 w 576056"/>
                  <a:gd name="connsiteY12" fmla="*/ 275857 h 286516"/>
                  <a:gd name="connsiteX13" fmla="*/ 1723 w 576056"/>
                  <a:gd name="connsiteY13" fmla="*/ 283397 h 286516"/>
                  <a:gd name="connsiteX14" fmla="*/ 7963 w 576056"/>
                  <a:gd name="connsiteY14" fmla="*/ 286517 h 286516"/>
                  <a:gd name="connsiteX15" fmla="*/ 452558 w 576056"/>
                  <a:gd name="connsiteY15" fmla="*/ 286517 h 286516"/>
                  <a:gd name="connsiteX16" fmla="*/ 460098 w 576056"/>
                  <a:gd name="connsiteY16" fmla="*/ 281317 h 286516"/>
                  <a:gd name="connsiteX17" fmla="*/ 483498 w 576056"/>
                  <a:gd name="connsiteY17" fmla="*/ 226197 h 286516"/>
                  <a:gd name="connsiteX18" fmla="*/ 568517 w 576056"/>
                  <a:gd name="connsiteY18" fmla="*/ 226197 h 286516"/>
                  <a:gd name="connsiteX19" fmla="*/ 576057 w 576056"/>
                  <a:gd name="connsiteY19" fmla="*/ 218657 h 286516"/>
                  <a:gd name="connsiteX20" fmla="*/ 573977 w 576056"/>
                  <a:gd name="connsiteY20" fmla="*/ 6240 h 286516"/>
                  <a:gd name="connsiteX21" fmla="*/ 573977 w 576056"/>
                  <a:gd name="connsiteY21" fmla="*/ 6240 h 28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6056" h="286516">
                    <a:moveTo>
                      <a:pt x="573977" y="6240"/>
                    </a:moveTo>
                    <a:lnTo>
                      <a:pt x="573977" y="6240"/>
                    </a:lnTo>
                    <a:cubicBezTo>
                      <a:pt x="573977" y="5200"/>
                      <a:pt x="573977" y="4160"/>
                      <a:pt x="572937" y="3120"/>
                    </a:cubicBezTo>
                    <a:lnTo>
                      <a:pt x="572937" y="3120"/>
                    </a:lnTo>
                    <a:lnTo>
                      <a:pt x="572937" y="3120"/>
                    </a:lnTo>
                    <a:cubicBezTo>
                      <a:pt x="571897" y="2080"/>
                      <a:pt x="571897" y="2080"/>
                      <a:pt x="570857" y="1040"/>
                    </a:cubicBezTo>
                    <a:lnTo>
                      <a:pt x="570857" y="1040"/>
                    </a:lnTo>
                    <a:cubicBezTo>
                      <a:pt x="570857" y="1040"/>
                      <a:pt x="569817" y="1040"/>
                      <a:pt x="569817" y="0"/>
                    </a:cubicBezTo>
                    <a:lnTo>
                      <a:pt x="568777" y="0"/>
                    </a:lnTo>
                    <a:lnTo>
                      <a:pt x="568777" y="0"/>
                    </a:lnTo>
                    <a:lnTo>
                      <a:pt x="121842" y="0"/>
                    </a:lnTo>
                    <a:cubicBezTo>
                      <a:pt x="119762" y="0"/>
                      <a:pt x="115602" y="1040"/>
                      <a:pt x="114302" y="5200"/>
                    </a:cubicBezTo>
                    <a:lnTo>
                      <a:pt x="683" y="275857"/>
                    </a:lnTo>
                    <a:cubicBezTo>
                      <a:pt x="-357" y="277937"/>
                      <a:pt x="-357" y="281057"/>
                      <a:pt x="1723" y="283397"/>
                    </a:cubicBezTo>
                    <a:cubicBezTo>
                      <a:pt x="2763" y="285477"/>
                      <a:pt x="4843" y="286517"/>
                      <a:pt x="7963" y="286517"/>
                    </a:cubicBezTo>
                    <a:lnTo>
                      <a:pt x="452558" y="286517"/>
                    </a:lnTo>
                    <a:cubicBezTo>
                      <a:pt x="454638" y="286517"/>
                      <a:pt x="458798" y="285477"/>
                      <a:pt x="460098" y="281317"/>
                    </a:cubicBezTo>
                    <a:lnTo>
                      <a:pt x="483498" y="226197"/>
                    </a:lnTo>
                    <a:lnTo>
                      <a:pt x="568517" y="226197"/>
                    </a:lnTo>
                    <a:cubicBezTo>
                      <a:pt x="571637" y="226197"/>
                      <a:pt x="576057" y="223077"/>
                      <a:pt x="576057" y="218657"/>
                    </a:cubicBezTo>
                    <a:lnTo>
                      <a:pt x="573977" y="6240"/>
                    </a:lnTo>
                    <a:lnTo>
                      <a:pt x="573977" y="6240"/>
                    </a:lnTo>
                    <a:close/>
                  </a:path>
                </a:pathLst>
              </a:custGeom>
              <a:solidFill>
                <a:srgbClr val="0069FF"/>
              </a:solidFill>
              <a:ln w="2597" cap="flat">
                <a:noFill/>
                <a:prstDash val="solid"/>
                <a:miter/>
              </a:ln>
            </p:spPr>
            <p:txBody>
              <a:bodyPr rtlCol="0" anchor="ctr"/>
              <a:lstStyle/>
              <a:p>
                <a:endParaRPr lang="en-GB"/>
              </a:p>
            </p:txBody>
          </p:sp>
          <p:sp>
            <p:nvSpPr>
              <p:cNvPr id="585" name="Freeform: Shape 584">
                <a:extLst>
                  <a:ext uri="{FF2B5EF4-FFF2-40B4-BE49-F238E27FC236}">
                    <a16:creationId xmlns:a16="http://schemas.microsoft.com/office/drawing/2014/main" id="{7AE73816-0E90-DB8E-48F7-A929040DBB76}"/>
                  </a:ext>
                </a:extLst>
              </p:cNvPr>
              <p:cNvSpPr/>
              <p:nvPr/>
            </p:nvSpPr>
            <p:spPr>
              <a:xfrm>
                <a:off x="3690240" y="5075173"/>
                <a:ext cx="574934" cy="286516"/>
              </a:xfrm>
              <a:custGeom>
                <a:avLst/>
                <a:gdLst>
                  <a:gd name="connsiteX0" fmla="*/ 453345 w 574934"/>
                  <a:gd name="connsiteY0" fmla="*/ 286517 h 286516"/>
                  <a:gd name="connsiteX1" fmla="*/ 7711 w 574934"/>
                  <a:gd name="connsiteY1" fmla="*/ 286517 h 286516"/>
                  <a:gd name="connsiteX2" fmla="*/ 1471 w 574934"/>
                  <a:gd name="connsiteY2" fmla="*/ 283397 h 286516"/>
                  <a:gd name="connsiteX3" fmla="*/ 431 w 574934"/>
                  <a:gd name="connsiteY3" fmla="*/ 275857 h 286516"/>
                  <a:gd name="connsiteX4" fmla="*/ 114049 w 574934"/>
                  <a:gd name="connsiteY4" fmla="*/ 5200 h 286516"/>
                  <a:gd name="connsiteX5" fmla="*/ 121589 w 574934"/>
                  <a:gd name="connsiteY5" fmla="*/ 0 h 286516"/>
                  <a:gd name="connsiteX6" fmla="*/ 567224 w 574934"/>
                  <a:gd name="connsiteY6" fmla="*/ 0 h 286516"/>
                  <a:gd name="connsiteX7" fmla="*/ 573464 w 574934"/>
                  <a:gd name="connsiteY7" fmla="*/ 3120 h 286516"/>
                  <a:gd name="connsiteX8" fmla="*/ 574504 w 574934"/>
                  <a:gd name="connsiteY8" fmla="*/ 10660 h 286516"/>
                  <a:gd name="connsiteX9" fmla="*/ 460885 w 574934"/>
                  <a:gd name="connsiteY9" fmla="*/ 281317 h 286516"/>
                  <a:gd name="connsiteX10" fmla="*/ 453345 w 574934"/>
                  <a:gd name="connsiteY10" fmla="*/ 286517 h 286516"/>
                  <a:gd name="connsiteX11" fmla="*/ 19410 w 574934"/>
                  <a:gd name="connsiteY11" fmla="*/ 269357 h 286516"/>
                  <a:gd name="connsiteX12" fmla="*/ 448146 w 574934"/>
                  <a:gd name="connsiteY12" fmla="*/ 269357 h 286516"/>
                  <a:gd name="connsiteX13" fmla="*/ 555264 w 574934"/>
                  <a:gd name="connsiteY13" fmla="*/ 14560 h 286516"/>
                  <a:gd name="connsiteX14" fmla="*/ 126529 w 574934"/>
                  <a:gd name="connsiteY14" fmla="*/ 14560 h 286516"/>
                  <a:gd name="connsiteX15" fmla="*/ 19410 w 574934"/>
                  <a:gd name="connsiteY15" fmla="*/ 269357 h 28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4934" h="286516">
                    <a:moveTo>
                      <a:pt x="453345" y="286517"/>
                    </a:moveTo>
                    <a:lnTo>
                      <a:pt x="7711" y="286517"/>
                    </a:lnTo>
                    <a:cubicBezTo>
                      <a:pt x="4591" y="286517"/>
                      <a:pt x="2511" y="285477"/>
                      <a:pt x="1471" y="283397"/>
                    </a:cubicBezTo>
                    <a:cubicBezTo>
                      <a:pt x="431" y="281317"/>
                      <a:pt x="-609" y="278197"/>
                      <a:pt x="431" y="275857"/>
                    </a:cubicBezTo>
                    <a:lnTo>
                      <a:pt x="114049" y="5200"/>
                    </a:lnTo>
                    <a:cubicBezTo>
                      <a:pt x="115089" y="2080"/>
                      <a:pt x="118209" y="0"/>
                      <a:pt x="121589" y="0"/>
                    </a:cubicBezTo>
                    <a:lnTo>
                      <a:pt x="567224" y="0"/>
                    </a:lnTo>
                    <a:cubicBezTo>
                      <a:pt x="570344" y="0"/>
                      <a:pt x="572424" y="1040"/>
                      <a:pt x="573464" y="3120"/>
                    </a:cubicBezTo>
                    <a:cubicBezTo>
                      <a:pt x="574504" y="5200"/>
                      <a:pt x="575544" y="8320"/>
                      <a:pt x="574504" y="10660"/>
                    </a:cubicBezTo>
                    <a:lnTo>
                      <a:pt x="460885" y="281317"/>
                    </a:lnTo>
                    <a:cubicBezTo>
                      <a:pt x="459845" y="284437"/>
                      <a:pt x="456726" y="286517"/>
                      <a:pt x="453345" y="286517"/>
                    </a:cubicBezTo>
                    <a:close/>
                    <a:moveTo>
                      <a:pt x="19410" y="269357"/>
                    </a:moveTo>
                    <a:lnTo>
                      <a:pt x="448146" y="269357"/>
                    </a:lnTo>
                    <a:lnTo>
                      <a:pt x="555264" y="14560"/>
                    </a:lnTo>
                    <a:lnTo>
                      <a:pt x="126529" y="14560"/>
                    </a:lnTo>
                    <a:lnTo>
                      <a:pt x="19410" y="269357"/>
                    </a:lnTo>
                    <a:close/>
                  </a:path>
                </a:pathLst>
              </a:custGeom>
              <a:solidFill>
                <a:srgbClr val="00005A"/>
              </a:solidFill>
              <a:ln w="2597" cap="flat">
                <a:noFill/>
                <a:prstDash val="solid"/>
                <a:miter/>
              </a:ln>
            </p:spPr>
            <p:txBody>
              <a:bodyPr rtlCol="0" anchor="ctr"/>
              <a:lstStyle/>
              <a:p>
                <a:endParaRPr lang="en-GB"/>
              </a:p>
            </p:txBody>
          </p:sp>
          <p:sp>
            <p:nvSpPr>
              <p:cNvPr id="586" name="Freeform: Shape 585">
                <a:extLst>
                  <a:ext uri="{FF2B5EF4-FFF2-40B4-BE49-F238E27FC236}">
                    <a16:creationId xmlns:a16="http://schemas.microsoft.com/office/drawing/2014/main" id="{2C8B58A6-F512-CBD4-FA22-69BB7C2081D5}"/>
                  </a:ext>
                </a:extLst>
              </p:cNvPr>
              <p:cNvSpPr/>
              <p:nvPr/>
            </p:nvSpPr>
            <p:spPr>
              <a:xfrm>
                <a:off x="3748910" y="5208552"/>
                <a:ext cx="456554" cy="17159"/>
              </a:xfrm>
              <a:custGeom>
                <a:avLst/>
                <a:gdLst>
                  <a:gd name="connsiteX0" fmla="*/ 447975 w 456554"/>
                  <a:gd name="connsiteY0" fmla="*/ 17160 h 17159"/>
                  <a:gd name="connsiteX1" fmla="*/ 8580 w 456554"/>
                  <a:gd name="connsiteY1" fmla="*/ 17160 h 17159"/>
                  <a:gd name="connsiteX2" fmla="*/ 0 w 456554"/>
                  <a:gd name="connsiteY2" fmla="*/ 8580 h 17159"/>
                  <a:gd name="connsiteX3" fmla="*/ 8580 w 456554"/>
                  <a:gd name="connsiteY3" fmla="*/ 0 h 17159"/>
                  <a:gd name="connsiteX4" fmla="*/ 447975 w 456554"/>
                  <a:gd name="connsiteY4" fmla="*/ 0 h 17159"/>
                  <a:gd name="connsiteX5" fmla="*/ 456555 w 456554"/>
                  <a:gd name="connsiteY5" fmla="*/ 8580 h 17159"/>
                  <a:gd name="connsiteX6" fmla="*/ 447975 w 456554"/>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6554" h="17159">
                    <a:moveTo>
                      <a:pt x="447975" y="17160"/>
                    </a:moveTo>
                    <a:lnTo>
                      <a:pt x="8580" y="17160"/>
                    </a:lnTo>
                    <a:cubicBezTo>
                      <a:pt x="4420" y="17160"/>
                      <a:pt x="0" y="14040"/>
                      <a:pt x="0" y="8580"/>
                    </a:cubicBezTo>
                    <a:cubicBezTo>
                      <a:pt x="0" y="3120"/>
                      <a:pt x="3120" y="0"/>
                      <a:pt x="8580" y="0"/>
                    </a:cubicBezTo>
                    <a:lnTo>
                      <a:pt x="447975" y="0"/>
                    </a:lnTo>
                    <a:cubicBezTo>
                      <a:pt x="452135" y="0"/>
                      <a:pt x="456555" y="3120"/>
                      <a:pt x="456555" y="8580"/>
                    </a:cubicBezTo>
                    <a:cubicBezTo>
                      <a:pt x="456555" y="14040"/>
                      <a:pt x="452135" y="17160"/>
                      <a:pt x="447975" y="17160"/>
                    </a:cubicBezTo>
                    <a:close/>
                  </a:path>
                </a:pathLst>
              </a:custGeom>
              <a:solidFill>
                <a:srgbClr val="00005A"/>
              </a:solidFill>
              <a:ln w="2597" cap="flat">
                <a:noFill/>
                <a:prstDash val="solid"/>
                <a:miter/>
              </a:ln>
            </p:spPr>
            <p:txBody>
              <a:bodyPr rtlCol="0" anchor="ctr"/>
              <a:lstStyle/>
              <a:p>
                <a:endParaRPr lang="en-GB"/>
              </a:p>
            </p:txBody>
          </p:sp>
          <p:sp>
            <p:nvSpPr>
              <p:cNvPr id="587" name="Freeform: Shape 586">
                <a:extLst>
                  <a:ext uri="{FF2B5EF4-FFF2-40B4-BE49-F238E27FC236}">
                    <a16:creationId xmlns:a16="http://schemas.microsoft.com/office/drawing/2014/main" id="{D8338092-ABC8-6317-CCFC-BB15BEEB8D23}"/>
                  </a:ext>
                </a:extLst>
              </p:cNvPr>
              <p:cNvSpPr/>
              <p:nvPr/>
            </p:nvSpPr>
            <p:spPr>
              <a:xfrm>
                <a:off x="3912672" y="5075397"/>
                <a:ext cx="130112" cy="280832"/>
              </a:xfrm>
              <a:custGeom>
                <a:avLst/>
                <a:gdLst>
                  <a:gd name="connsiteX0" fmla="*/ 8096 w 130112"/>
                  <a:gd name="connsiteY0" fmla="*/ 280833 h 280832"/>
                  <a:gd name="connsiteX1" fmla="*/ 4976 w 130112"/>
                  <a:gd name="connsiteY1" fmla="*/ 279793 h 280832"/>
                  <a:gd name="connsiteX2" fmla="*/ 816 w 130112"/>
                  <a:gd name="connsiteY2" fmla="*/ 269133 h 280832"/>
                  <a:gd name="connsiteX3" fmla="*/ 114435 w 130112"/>
                  <a:gd name="connsiteY3" fmla="*/ 4976 h 280832"/>
                  <a:gd name="connsiteX4" fmla="*/ 125095 w 130112"/>
                  <a:gd name="connsiteY4" fmla="*/ 816 h 280832"/>
                  <a:gd name="connsiteX5" fmla="*/ 129255 w 130112"/>
                  <a:gd name="connsiteY5" fmla="*/ 11476 h 280832"/>
                  <a:gd name="connsiteX6" fmla="*/ 15636 w 130112"/>
                  <a:gd name="connsiteY6" fmla="*/ 275633 h 280832"/>
                  <a:gd name="connsiteX7" fmla="*/ 8096 w 130112"/>
                  <a:gd name="connsiteY7" fmla="*/ 280833 h 280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112" h="280832">
                    <a:moveTo>
                      <a:pt x="8096" y="280833"/>
                    </a:moveTo>
                    <a:cubicBezTo>
                      <a:pt x="7056" y="280833"/>
                      <a:pt x="6016" y="280833"/>
                      <a:pt x="4976" y="279793"/>
                    </a:cubicBezTo>
                    <a:cubicBezTo>
                      <a:pt x="816" y="277713"/>
                      <a:pt x="-1264" y="273553"/>
                      <a:pt x="816" y="269133"/>
                    </a:cubicBezTo>
                    <a:lnTo>
                      <a:pt x="114435" y="4976"/>
                    </a:lnTo>
                    <a:cubicBezTo>
                      <a:pt x="116515" y="816"/>
                      <a:pt x="120675" y="-1264"/>
                      <a:pt x="125095" y="816"/>
                    </a:cubicBezTo>
                    <a:cubicBezTo>
                      <a:pt x="129515" y="2896"/>
                      <a:pt x="131334" y="7056"/>
                      <a:pt x="129255" y="11476"/>
                    </a:cubicBezTo>
                    <a:lnTo>
                      <a:pt x="15636" y="275633"/>
                    </a:lnTo>
                    <a:cubicBezTo>
                      <a:pt x="14596" y="279793"/>
                      <a:pt x="11216" y="280833"/>
                      <a:pt x="8096" y="280833"/>
                    </a:cubicBezTo>
                    <a:close/>
                  </a:path>
                </a:pathLst>
              </a:custGeom>
              <a:solidFill>
                <a:srgbClr val="00005A"/>
              </a:solidFill>
              <a:ln w="2597" cap="flat">
                <a:noFill/>
                <a:prstDash val="solid"/>
                <a:miter/>
              </a:ln>
            </p:spPr>
            <p:txBody>
              <a:bodyPr rtlCol="0" anchor="ctr"/>
              <a:lstStyle/>
              <a:p>
                <a:endParaRPr lang="en-GB"/>
              </a:p>
            </p:txBody>
          </p:sp>
          <p:sp>
            <p:nvSpPr>
              <p:cNvPr id="588" name="Freeform: Shape 587">
                <a:extLst>
                  <a:ext uri="{FF2B5EF4-FFF2-40B4-BE49-F238E27FC236}">
                    <a16:creationId xmlns:a16="http://schemas.microsoft.com/office/drawing/2014/main" id="{0D3728EA-7CFB-3574-33CB-58AAB682D2B7}"/>
                  </a:ext>
                </a:extLst>
              </p:cNvPr>
              <p:cNvSpPr/>
              <p:nvPr/>
            </p:nvSpPr>
            <p:spPr>
              <a:xfrm>
                <a:off x="3788654" y="5076437"/>
                <a:ext cx="130070" cy="285252"/>
              </a:xfrm>
              <a:custGeom>
                <a:avLst/>
                <a:gdLst>
                  <a:gd name="connsiteX0" fmla="*/ 8096 w 130070"/>
                  <a:gd name="connsiteY0" fmla="*/ 285253 h 285252"/>
                  <a:gd name="connsiteX1" fmla="*/ 4976 w 130070"/>
                  <a:gd name="connsiteY1" fmla="*/ 284213 h 285252"/>
                  <a:gd name="connsiteX2" fmla="*/ 816 w 130070"/>
                  <a:gd name="connsiteY2" fmla="*/ 273553 h 285252"/>
                  <a:gd name="connsiteX3" fmla="*/ 114435 w 130070"/>
                  <a:gd name="connsiteY3" fmla="*/ 4976 h 285252"/>
                  <a:gd name="connsiteX4" fmla="*/ 125094 w 130070"/>
                  <a:gd name="connsiteY4" fmla="*/ 816 h 285252"/>
                  <a:gd name="connsiteX5" fmla="*/ 129254 w 130070"/>
                  <a:gd name="connsiteY5" fmla="*/ 11476 h 285252"/>
                  <a:gd name="connsiteX6" fmla="*/ 15636 w 130070"/>
                  <a:gd name="connsiteY6" fmla="*/ 280053 h 285252"/>
                  <a:gd name="connsiteX7" fmla="*/ 8096 w 130070"/>
                  <a:gd name="connsiteY7" fmla="*/ 285253 h 28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070" h="285252">
                    <a:moveTo>
                      <a:pt x="8096" y="285253"/>
                    </a:moveTo>
                    <a:cubicBezTo>
                      <a:pt x="7056" y="285253"/>
                      <a:pt x="6016" y="285253"/>
                      <a:pt x="4976" y="284213"/>
                    </a:cubicBezTo>
                    <a:cubicBezTo>
                      <a:pt x="816" y="282133"/>
                      <a:pt x="-1264" y="277973"/>
                      <a:pt x="816" y="273553"/>
                    </a:cubicBezTo>
                    <a:lnTo>
                      <a:pt x="114435" y="4976"/>
                    </a:lnTo>
                    <a:cubicBezTo>
                      <a:pt x="116515" y="816"/>
                      <a:pt x="120675" y="-1264"/>
                      <a:pt x="125094" y="816"/>
                    </a:cubicBezTo>
                    <a:cubicBezTo>
                      <a:pt x="129254" y="2896"/>
                      <a:pt x="131334" y="7056"/>
                      <a:pt x="129254" y="11476"/>
                    </a:cubicBezTo>
                    <a:lnTo>
                      <a:pt x="15636" y="280053"/>
                    </a:lnTo>
                    <a:cubicBezTo>
                      <a:pt x="14336" y="283173"/>
                      <a:pt x="11216" y="285253"/>
                      <a:pt x="8096" y="285253"/>
                    </a:cubicBezTo>
                    <a:close/>
                  </a:path>
                </a:pathLst>
              </a:custGeom>
              <a:solidFill>
                <a:srgbClr val="00005A"/>
              </a:solidFill>
              <a:ln w="2597" cap="flat">
                <a:noFill/>
                <a:prstDash val="solid"/>
                <a:miter/>
              </a:ln>
            </p:spPr>
            <p:txBody>
              <a:bodyPr rtlCol="0" anchor="ctr"/>
              <a:lstStyle/>
              <a:p>
                <a:endParaRPr lang="en-GB"/>
              </a:p>
            </p:txBody>
          </p:sp>
          <p:sp>
            <p:nvSpPr>
              <p:cNvPr id="589" name="Freeform: Shape 588">
                <a:extLst>
                  <a:ext uri="{FF2B5EF4-FFF2-40B4-BE49-F238E27FC236}">
                    <a16:creationId xmlns:a16="http://schemas.microsoft.com/office/drawing/2014/main" id="{D73B5A4C-29FD-6B5B-160A-BFE9CF44A84B}"/>
                  </a:ext>
                </a:extLst>
              </p:cNvPr>
              <p:cNvSpPr/>
              <p:nvPr/>
            </p:nvSpPr>
            <p:spPr>
              <a:xfrm>
                <a:off x="4022131" y="5076437"/>
                <a:ext cx="131110" cy="285252"/>
              </a:xfrm>
              <a:custGeom>
                <a:avLst/>
                <a:gdLst>
                  <a:gd name="connsiteX0" fmla="*/ 8096 w 131110"/>
                  <a:gd name="connsiteY0" fmla="*/ 285253 h 285252"/>
                  <a:gd name="connsiteX1" fmla="*/ 4976 w 131110"/>
                  <a:gd name="connsiteY1" fmla="*/ 284213 h 285252"/>
                  <a:gd name="connsiteX2" fmla="*/ 816 w 131110"/>
                  <a:gd name="connsiteY2" fmla="*/ 273553 h 285252"/>
                  <a:gd name="connsiteX3" fmla="*/ 115475 w 131110"/>
                  <a:gd name="connsiteY3" fmla="*/ 4976 h 285252"/>
                  <a:gd name="connsiteX4" fmla="*/ 126135 w 131110"/>
                  <a:gd name="connsiteY4" fmla="*/ 816 h 285252"/>
                  <a:gd name="connsiteX5" fmla="*/ 130295 w 131110"/>
                  <a:gd name="connsiteY5" fmla="*/ 11476 h 285252"/>
                  <a:gd name="connsiteX6" fmla="*/ 15636 w 131110"/>
                  <a:gd name="connsiteY6" fmla="*/ 280053 h 285252"/>
                  <a:gd name="connsiteX7" fmla="*/ 8096 w 131110"/>
                  <a:gd name="connsiteY7" fmla="*/ 285253 h 28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110" h="285252">
                    <a:moveTo>
                      <a:pt x="8096" y="285253"/>
                    </a:moveTo>
                    <a:cubicBezTo>
                      <a:pt x="7056" y="285253"/>
                      <a:pt x="6016" y="285253"/>
                      <a:pt x="4976" y="284213"/>
                    </a:cubicBezTo>
                    <a:cubicBezTo>
                      <a:pt x="816" y="282133"/>
                      <a:pt x="-1264" y="277973"/>
                      <a:pt x="816" y="273553"/>
                    </a:cubicBezTo>
                    <a:lnTo>
                      <a:pt x="115475" y="4976"/>
                    </a:lnTo>
                    <a:cubicBezTo>
                      <a:pt x="117555" y="816"/>
                      <a:pt x="121715" y="-1264"/>
                      <a:pt x="126135" y="816"/>
                    </a:cubicBezTo>
                    <a:cubicBezTo>
                      <a:pt x="130295" y="2896"/>
                      <a:pt x="132374" y="7056"/>
                      <a:pt x="130295" y="11476"/>
                    </a:cubicBezTo>
                    <a:lnTo>
                      <a:pt x="15636" y="280053"/>
                    </a:lnTo>
                    <a:cubicBezTo>
                      <a:pt x="14336" y="283173"/>
                      <a:pt x="11216" y="285253"/>
                      <a:pt x="8096" y="285253"/>
                    </a:cubicBezTo>
                    <a:close/>
                  </a:path>
                </a:pathLst>
              </a:custGeom>
              <a:solidFill>
                <a:srgbClr val="00005A"/>
              </a:solidFill>
              <a:ln w="2597" cap="flat">
                <a:noFill/>
                <a:prstDash val="solid"/>
                <a:miter/>
              </a:ln>
            </p:spPr>
            <p:txBody>
              <a:bodyPr rtlCol="0" anchor="ctr"/>
              <a:lstStyle/>
              <a:p>
                <a:endParaRPr lang="en-GB"/>
              </a:p>
            </p:txBody>
          </p:sp>
          <p:sp>
            <p:nvSpPr>
              <p:cNvPr id="590" name="Freeform: Shape 589">
                <a:extLst>
                  <a:ext uri="{FF2B5EF4-FFF2-40B4-BE49-F238E27FC236}">
                    <a16:creationId xmlns:a16="http://schemas.microsoft.com/office/drawing/2014/main" id="{79C6AE4F-5DC6-CD21-0178-7ED7BA3C7732}"/>
                  </a:ext>
                </a:extLst>
              </p:cNvPr>
              <p:cNvSpPr/>
              <p:nvPr/>
            </p:nvSpPr>
            <p:spPr>
              <a:xfrm>
                <a:off x="4161525" y="5072573"/>
                <a:ext cx="105298" cy="229577"/>
              </a:xfrm>
              <a:custGeom>
                <a:avLst/>
                <a:gdLst>
                  <a:gd name="connsiteX0" fmla="*/ 95679 w 105298"/>
                  <a:gd name="connsiteY0" fmla="*/ 229577 h 229577"/>
                  <a:gd name="connsiteX1" fmla="*/ 8580 w 105298"/>
                  <a:gd name="connsiteY1" fmla="*/ 229577 h 229577"/>
                  <a:gd name="connsiteX2" fmla="*/ 0 w 105298"/>
                  <a:gd name="connsiteY2" fmla="*/ 220997 h 229577"/>
                  <a:gd name="connsiteX3" fmla="*/ 8580 w 105298"/>
                  <a:gd name="connsiteY3" fmla="*/ 212418 h 229577"/>
                  <a:gd name="connsiteX4" fmla="*/ 88139 w 105298"/>
                  <a:gd name="connsiteY4" fmla="*/ 212418 h 229577"/>
                  <a:gd name="connsiteX5" fmla="*/ 88139 w 105298"/>
                  <a:gd name="connsiteY5" fmla="*/ 8580 h 229577"/>
                  <a:gd name="connsiteX6" fmla="*/ 96719 w 105298"/>
                  <a:gd name="connsiteY6" fmla="*/ 0 h 229577"/>
                  <a:gd name="connsiteX7" fmla="*/ 105299 w 105298"/>
                  <a:gd name="connsiteY7" fmla="*/ 8580 h 229577"/>
                  <a:gd name="connsiteX8" fmla="*/ 105299 w 105298"/>
                  <a:gd name="connsiteY8" fmla="*/ 219697 h 229577"/>
                  <a:gd name="connsiteX9" fmla="*/ 95679 w 105298"/>
                  <a:gd name="connsiteY9" fmla="*/ 229577 h 229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298" h="229577">
                    <a:moveTo>
                      <a:pt x="95679" y="229577"/>
                    </a:moveTo>
                    <a:lnTo>
                      <a:pt x="8580" y="229577"/>
                    </a:lnTo>
                    <a:cubicBezTo>
                      <a:pt x="4420" y="229577"/>
                      <a:pt x="0" y="226457"/>
                      <a:pt x="0" y="220997"/>
                    </a:cubicBezTo>
                    <a:cubicBezTo>
                      <a:pt x="0" y="215538"/>
                      <a:pt x="3120" y="212418"/>
                      <a:pt x="8580" y="212418"/>
                    </a:cubicBezTo>
                    <a:lnTo>
                      <a:pt x="88139" y="212418"/>
                    </a:lnTo>
                    <a:lnTo>
                      <a:pt x="88139" y="8580"/>
                    </a:lnTo>
                    <a:cubicBezTo>
                      <a:pt x="88139" y="4420"/>
                      <a:pt x="91259" y="0"/>
                      <a:pt x="96719" y="0"/>
                    </a:cubicBezTo>
                    <a:cubicBezTo>
                      <a:pt x="102179" y="0"/>
                      <a:pt x="105299" y="3120"/>
                      <a:pt x="105299" y="8580"/>
                    </a:cubicBezTo>
                    <a:lnTo>
                      <a:pt x="105299" y="219697"/>
                    </a:lnTo>
                    <a:cubicBezTo>
                      <a:pt x="104259" y="225418"/>
                      <a:pt x="100099" y="229577"/>
                      <a:pt x="95679" y="229577"/>
                    </a:cubicBezTo>
                    <a:close/>
                  </a:path>
                </a:pathLst>
              </a:custGeom>
              <a:solidFill>
                <a:srgbClr val="00005A"/>
              </a:solidFill>
              <a:ln w="2597" cap="flat">
                <a:noFill/>
                <a:prstDash val="solid"/>
                <a:miter/>
              </a:ln>
            </p:spPr>
            <p:txBody>
              <a:bodyPr rtlCol="0" anchor="ctr"/>
              <a:lstStyle/>
              <a:p>
                <a:endParaRPr lang="en-GB"/>
              </a:p>
            </p:txBody>
          </p:sp>
        </p:grpSp>
      </p:grpSp>
      <p:sp>
        <p:nvSpPr>
          <p:cNvPr id="527" name="TextBox 526">
            <a:extLst>
              <a:ext uri="{FF2B5EF4-FFF2-40B4-BE49-F238E27FC236}">
                <a16:creationId xmlns:a16="http://schemas.microsoft.com/office/drawing/2014/main" id="{7FC115E1-3812-65D5-496A-3E34567DB80E}"/>
              </a:ext>
            </a:extLst>
          </p:cNvPr>
          <p:cNvSpPr txBox="1"/>
          <p:nvPr/>
        </p:nvSpPr>
        <p:spPr>
          <a:xfrm>
            <a:off x="8421079" y="3549574"/>
            <a:ext cx="821362" cy="153888"/>
          </a:xfrm>
          <a:prstGeom prst="rect">
            <a:avLst/>
          </a:prstGeom>
          <a:noFill/>
        </p:spPr>
        <p:txBody>
          <a:bodyPr wrap="square" lIns="0" tIns="0" rIns="0" bIns="0" rtlCol="0" anchor="t">
            <a:spAutoFit/>
          </a:bodyPr>
          <a:lstStyle/>
          <a:p>
            <a:pPr algn="l"/>
            <a:r>
              <a:rPr lang="en-GB" sz="1000" spc="0" baseline="0">
                <a:ln/>
                <a:cs typeface="Arial"/>
                <a:sym typeface="Arial"/>
                <a:rtl val="0"/>
              </a:rPr>
              <a:t>Wärmepumpe</a:t>
            </a:r>
          </a:p>
        </p:txBody>
      </p:sp>
      <p:sp>
        <p:nvSpPr>
          <p:cNvPr id="528" name="Freeform: Shape 527">
            <a:extLst>
              <a:ext uri="{FF2B5EF4-FFF2-40B4-BE49-F238E27FC236}">
                <a16:creationId xmlns:a16="http://schemas.microsoft.com/office/drawing/2014/main" id="{B5DD111A-6660-BFF5-9E5C-549AAE99DC1B}"/>
              </a:ext>
            </a:extLst>
          </p:cNvPr>
          <p:cNvSpPr/>
          <p:nvPr/>
        </p:nvSpPr>
        <p:spPr>
          <a:xfrm>
            <a:off x="6540409" y="3846674"/>
            <a:ext cx="452033" cy="92558"/>
          </a:xfrm>
          <a:custGeom>
            <a:avLst/>
            <a:gdLst>
              <a:gd name="connsiteX0" fmla="*/ 0 w 906609"/>
              <a:gd name="connsiteY0" fmla="*/ 0 h 185637"/>
              <a:gd name="connsiteX1" fmla="*/ 906609 w 906609"/>
              <a:gd name="connsiteY1" fmla="*/ 0 h 185637"/>
              <a:gd name="connsiteX2" fmla="*/ 906609 w 906609"/>
              <a:gd name="connsiteY2" fmla="*/ 185638 h 185637"/>
              <a:gd name="connsiteX3" fmla="*/ 0 w 906609"/>
              <a:gd name="connsiteY3" fmla="*/ 185638 h 185637"/>
            </a:gdLst>
            <a:ahLst/>
            <a:cxnLst>
              <a:cxn ang="0">
                <a:pos x="connsiteX0" y="connsiteY0"/>
              </a:cxn>
              <a:cxn ang="0">
                <a:pos x="connsiteX1" y="connsiteY1"/>
              </a:cxn>
              <a:cxn ang="0">
                <a:pos x="connsiteX2" y="connsiteY2"/>
              </a:cxn>
              <a:cxn ang="0">
                <a:pos x="connsiteX3" y="connsiteY3"/>
              </a:cxn>
            </a:cxnLst>
            <a:rect l="l" t="t" r="r" b="b"/>
            <a:pathLst>
              <a:path w="906609" h="185637">
                <a:moveTo>
                  <a:pt x="0" y="0"/>
                </a:moveTo>
                <a:lnTo>
                  <a:pt x="906609" y="0"/>
                </a:lnTo>
                <a:lnTo>
                  <a:pt x="906609" y="185638"/>
                </a:lnTo>
                <a:lnTo>
                  <a:pt x="0" y="185638"/>
                </a:lnTo>
                <a:close/>
              </a:path>
            </a:pathLst>
          </a:custGeom>
          <a:noFill/>
          <a:ln w="2597" cap="flat">
            <a:noFill/>
            <a:prstDash val="solid"/>
            <a:miter/>
          </a:ln>
        </p:spPr>
        <p:txBody>
          <a:bodyPr rtlCol="0" anchor="ctr"/>
          <a:lstStyle/>
          <a:p>
            <a:endParaRPr lang="en-GB"/>
          </a:p>
        </p:txBody>
      </p:sp>
      <p:sp>
        <p:nvSpPr>
          <p:cNvPr id="529" name="TextBox 528">
            <a:extLst>
              <a:ext uri="{FF2B5EF4-FFF2-40B4-BE49-F238E27FC236}">
                <a16:creationId xmlns:a16="http://schemas.microsoft.com/office/drawing/2014/main" id="{43309AAA-7477-CB3F-4BF7-BA80565E0275}"/>
              </a:ext>
            </a:extLst>
          </p:cNvPr>
          <p:cNvSpPr txBox="1"/>
          <p:nvPr/>
        </p:nvSpPr>
        <p:spPr>
          <a:xfrm>
            <a:off x="5683726" y="4509790"/>
            <a:ext cx="451746" cy="153888"/>
          </a:xfrm>
          <a:prstGeom prst="rect">
            <a:avLst/>
          </a:prstGeom>
          <a:noFill/>
        </p:spPr>
        <p:txBody>
          <a:bodyPr wrap="square" lIns="0" tIns="0" rIns="0" bIns="0" rtlCol="0" anchor="t">
            <a:spAutoFit/>
          </a:bodyPr>
          <a:lstStyle/>
          <a:p>
            <a:pPr algn="l"/>
            <a:r>
              <a:rPr lang="en-GB" sz="1000" spc="0" baseline="0">
                <a:ln/>
                <a:cs typeface="Arial"/>
                <a:sym typeface="Arial"/>
                <a:rtl val="0"/>
              </a:rPr>
              <a:t>Hybrid</a:t>
            </a:r>
          </a:p>
        </p:txBody>
      </p:sp>
      <p:sp>
        <p:nvSpPr>
          <p:cNvPr id="530" name="TextBox 529">
            <a:extLst>
              <a:ext uri="{FF2B5EF4-FFF2-40B4-BE49-F238E27FC236}">
                <a16:creationId xmlns:a16="http://schemas.microsoft.com/office/drawing/2014/main" id="{FC1FDCE6-9CAB-5548-4121-C0B5DA534F88}"/>
              </a:ext>
            </a:extLst>
          </p:cNvPr>
          <p:cNvSpPr txBox="1"/>
          <p:nvPr/>
        </p:nvSpPr>
        <p:spPr>
          <a:xfrm>
            <a:off x="6372552" y="4097744"/>
            <a:ext cx="737758" cy="153888"/>
          </a:xfrm>
          <a:prstGeom prst="rect">
            <a:avLst/>
          </a:prstGeom>
          <a:noFill/>
        </p:spPr>
        <p:txBody>
          <a:bodyPr wrap="square" lIns="0" tIns="0" rIns="0" bIns="0" rtlCol="0" anchor="t">
            <a:spAutoFit/>
          </a:bodyPr>
          <a:lstStyle/>
          <a:p>
            <a:pPr algn="l"/>
            <a:r>
              <a:rPr lang="en-GB" sz="1000" spc="0" baseline="0" err="1">
                <a:ln/>
                <a:cs typeface="Arial"/>
                <a:sym typeface="Arial"/>
                <a:rtl val="0"/>
              </a:rPr>
              <a:t>Solarthermie</a:t>
            </a:r>
            <a:endParaRPr lang="en-GB" sz="1000" spc="0" baseline="0">
              <a:ln/>
              <a:cs typeface="Arial"/>
              <a:sym typeface="Arial"/>
              <a:rtl val="0"/>
            </a:endParaRPr>
          </a:p>
        </p:txBody>
      </p:sp>
      <p:sp>
        <p:nvSpPr>
          <p:cNvPr id="531" name="Freeform: Shape 530">
            <a:extLst>
              <a:ext uri="{FF2B5EF4-FFF2-40B4-BE49-F238E27FC236}">
                <a16:creationId xmlns:a16="http://schemas.microsoft.com/office/drawing/2014/main" id="{EB88A2CD-0490-8B8D-F960-EF5C8AD889CF}"/>
              </a:ext>
            </a:extLst>
          </p:cNvPr>
          <p:cNvSpPr/>
          <p:nvPr/>
        </p:nvSpPr>
        <p:spPr>
          <a:xfrm>
            <a:off x="6113782" y="3601763"/>
            <a:ext cx="551332" cy="92558"/>
          </a:xfrm>
          <a:custGeom>
            <a:avLst/>
            <a:gdLst>
              <a:gd name="connsiteX0" fmla="*/ 0 w 1105767"/>
              <a:gd name="connsiteY0" fmla="*/ 0 h 185637"/>
              <a:gd name="connsiteX1" fmla="*/ 1105767 w 1105767"/>
              <a:gd name="connsiteY1" fmla="*/ 0 h 185637"/>
              <a:gd name="connsiteX2" fmla="*/ 1105767 w 1105767"/>
              <a:gd name="connsiteY2" fmla="*/ 185638 h 185637"/>
              <a:gd name="connsiteX3" fmla="*/ 0 w 1105767"/>
              <a:gd name="connsiteY3" fmla="*/ 185638 h 185637"/>
            </a:gdLst>
            <a:ahLst/>
            <a:cxnLst>
              <a:cxn ang="0">
                <a:pos x="connsiteX0" y="connsiteY0"/>
              </a:cxn>
              <a:cxn ang="0">
                <a:pos x="connsiteX1" y="connsiteY1"/>
              </a:cxn>
              <a:cxn ang="0">
                <a:pos x="connsiteX2" y="connsiteY2"/>
              </a:cxn>
              <a:cxn ang="0">
                <a:pos x="connsiteX3" y="connsiteY3"/>
              </a:cxn>
            </a:cxnLst>
            <a:rect l="l" t="t" r="r" b="b"/>
            <a:pathLst>
              <a:path w="1105767" h="185637">
                <a:moveTo>
                  <a:pt x="0" y="0"/>
                </a:moveTo>
                <a:lnTo>
                  <a:pt x="1105767" y="0"/>
                </a:lnTo>
                <a:lnTo>
                  <a:pt x="1105767" y="185638"/>
                </a:lnTo>
                <a:lnTo>
                  <a:pt x="0" y="185638"/>
                </a:lnTo>
                <a:close/>
              </a:path>
            </a:pathLst>
          </a:custGeom>
          <a:noFill/>
          <a:ln w="2597" cap="flat">
            <a:noFill/>
            <a:prstDash val="solid"/>
            <a:miter/>
          </a:ln>
        </p:spPr>
        <p:txBody>
          <a:bodyPr rtlCol="0" anchor="ctr"/>
          <a:lstStyle/>
          <a:p>
            <a:endParaRPr lang="en-GB"/>
          </a:p>
        </p:txBody>
      </p:sp>
      <p:sp>
        <p:nvSpPr>
          <p:cNvPr id="532" name="TextBox 531">
            <a:extLst>
              <a:ext uri="{FF2B5EF4-FFF2-40B4-BE49-F238E27FC236}">
                <a16:creationId xmlns:a16="http://schemas.microsoft.com/office/drawing/2014/main" id="{E575CDEB-4034-1B95-31D8-8F173D9998CF}"/>
              </a:ext>
            </a:extLst>
          </p:cNvPr>
          <p:cNvSpPr txBox="1"/>
          <p:nvPr/>
        </p:nvSpPr>
        <p:spPr>
          <a:xfrm>
            <a:off x="5410359" y="3639756"/>
            <a:ext cx="1191016" cy="153888"/>
          </a:xfrm>
          <a:prstGeom prst="rect">
            <a:avLst/>
          </a:prstGeom>
          <a:noFill/>
        </p:spPr>
        <p:txBody>
          <a:bodyPr wrap="square" lIns="0" tIns="0" rIns="0" bIns="0" rtlCol="0" anchor="t">
            <a:spAutoFit/>
          </a:bodyPr>
          <a:lstStyle/>
          <a:p>
            <a:pPr algn="l"/>
            <a:r>
              <a:rPr lang="en-GB" sz="1000" spc="0" baseline="0">
                <a:ln/>
                <a:cs typeface="Arial"/>
                <a:sym typeface="Arial"/>
                <a:rtl val="0"/>
              </a:rPr>
              <a:t>Stromdirektheizung</a:t>
            </a:r>
          </a:p>
        </p:txBody>
      </p:sp>
      <p:sp>
        <p:nvSpPr>
          <p:cNvPr id="533" name="Freeform: Shape 532">
            <a:extLst>
              <a:ext uri="{FF2B5EF4-FFF2-40B4-BE49-F238E27FC236}">
                <a16:creationId xmlns:a16="http://schemas.microsoft.com/office/drawing/2014/main" id="{3BAEAFE7-15C4-0778-1D0E-471D2C68DDF7}"/>
              </a:ext>
            </a:extLst>
          </p:cNvPr>
          <p:cNvSpPr/>
          <p:nvPr/>
        </p:nvSpPr>
        <p:spPr>
          <a:xfrm>
            <a:off x="7344347" y="4681010"/>
            <a:ext cx="492737" cy="92558"/>
          </a:xfrm>
          <a:custGeom>
            <a:avLst/>
            <a:gdLst>
              <a:gd name="connsiteX0" fmla="*/ 0 w 988248"/>
              <a:gd name="connsiteY0" fmla="*/ 0 h 185637"/>
              <a:gd name="connsiteX1" fmla="*/ 988249 w 988248"/>
              <a:gd name="connsiteY1" fmla="*/ 0 h 185637"/>
              <a:gd name="connsiteX2" fmla="*/ 988249 w 988248"/>
              <a:gd name="connsiteY2" fmla="*/ 185638 h 185637"/>
              <a:gd name="connsiteX3" fmla="*/ 0 w 988248"/>
              <a:gd name="connsiteY3" fmla="*/ 185638 h 185637"/>
            </a:gdLst>
            <a:ahLst/>
            <a:cxnLst>
              <a:cxn ang="0">
                <a:pos x="connsiteX0" y="connsiteY0"/>
              </a:cxn>
              <a:cxn ang="0">
                <a:pos x="connsiteX1" y="connsiteY1"/>
              </a:cxn>
              <a:cxn ang="0">
                <a:pos x="connsiteX2" y="connsiteY2"/>
              </a:cxn>
              <a:cxn ang="0">
                <a:pos x="connsiteX3" y="connsiteY3"/>
              </a:cxn>
            </a:cxnLst>
            <a:rect l="l" t="t" r="r" b="b"/>
            <a:pathLst>
              <a:path w="988248" h="185637">
                <a:moveTo>
                  <a:pt x="0" y="0"/>
                </a:moveTo>
                <a:lnTo>
                  <a:pt x="988249" y="0"/>
                </a:lnTo>
                <a:lnTo>
                  <a:pt x="988249" y="185638"/>
                </a:lnTo>
                <a:lnTo>
                  <a:pt x="0" y="185638"/>
                </a:lnTo>
                <a:close/>
              </a:path>
            </a:pathLst>
          </a:custGeom>
          <a:noFill/>
          <a:ln w="2597" cap="flat">
            <a:noFill/>
            <a:prstDash val="solid"/>
            <a:miter/>
          </a:ln>
        </p:spPr>
        <p:txBody>
          <a:bodyPr rtlCol="0" anchor="ctr"/>
          <a:lstStyle/>
          <a:p>
            <a:endParaRPr lang="en-GB"/>
          </a:p>
        </p:txBody>
      </p:sp>
      <p:sp>
        <p:nvSpPr>
          <p:cNvPr id="534" name="TextBox 533">
            <a:extLst>
              <a:ext uri="{FF2B5EF4-FFF2-40B4-BE49-F238E27FC236}">
                <a16:creationId xmlns:a16="http://schemas.microsoft.com/office/drawing/2014/main" id="{0AE8923E-57EC-DC93-1F39-7A8444DF5E7A}"/>
              </a:ext>
            </a:extLst>
          </p:cNvPr>
          <p:cNvSpPr txBox="1"/>
          <p:nvPr/>
        </p:nvSpPr>
        <p:spPr>
          <a:xfrm>
            <a:off x="8205785" y="4832278"/>
            <a:ext cx="626882" cy="153888"/>
          </a:xfrm>
          <a:prstGeom prst="rect">
            <a:avLst/>
          </a:prstGeom>
          <a:noFill/>
        </p:spPr>
        <p:txBody>
          <a:bodyPr wrap="square" lIns="0" tIns="0" rIns="0" bIns="0" rtlCol="0" anchor="t">
            <a:spAutoFit/>
          </a:bodyPr>
          <a:lstStyle/>
          <a:p>
            <a:pPr algn="l"/>
            <a:r>
              <a:rPr lang="en-GB" sz="1000" spc="0" baseline="0" err="1">
                <a:ln/>
                <a:cs typeface="Arial"/>
                <a:sym typeface="Arial"/>
                <a:rtl val="0"/>
              </a:rPr>
              <a:t>Biomasse</a:t>
            </a:r>
            <a:endParaRPr lang="en-GB" sz="1000" spc="0" baseline="0">
              <a:ln/>
              <a:cs typeface="Arial"/>
              <a:sym typeface="Arial"/>
              <a:rtl val="0"/>
            </a:endParaRPr>
          </a:p>
        </p:txBody>
      </p:sp>
      <p:sp>
        <p:nvSpPr>
          <p:cNvPr id="535" name="TextBox 534">
            <a:extLst>
              <a:ext uri="{FF2B5EF4-FFF2-40B4-BE49-F238E27FC236}">
                <a16:creationId xmlns:a16="http://schemas.microsoft.com/office/drawing/2014/main" id="{3E523689-3113-41B0-B660-49F47E0DF5F3}"/>
              </a:ext>
            </a:extLst>
          </p:cNvPr>
          <p:cNvSpPr txBox="1"/>
          <p:nvPr/>
        </p:nvSpPr>
        <p:spPr>
          <a:xfrm>
            <a:off x="7141159" y="3601763"/>
            <a:ext cx="943991" cy="307777"/>
          </a:xfrm>
          <a:prstGeom prst="rect">
            <a:avLst/>
          </a:prstGeom>
          <a:noFill/>
        </p:spPr>
        <p:txBody>
          <a:bodyPr wrap="square" lIns="0" tIns="0" rIns="0" bIns="0" rtlCol="0" anchor="t">
            <a:spAutoFit/>
          </a:bodyPr>
          <a:lstStyle/>
          <a:p>
            <a:pPr algn="l"/>
            <a:r>
              <a:rPr lang="en-GB" sz="1000" spc="0" baseline="0" err="1">
                <a:ln/>
                <a:cs typeface="Arial"/>
                <a:sym typeface="Arial"/>
                <a:rtl val="0"/>
              </a:rPr>
              <a:t>Solarthermie</a:t>
            </a:r>
            <a:r>
              <a:rPr lang="en-GB" sz="1000" spc="0" baseline="0">
                <a:ln/>
                <a:cs typeface="Arial"/>
                <a:sym typeface="Arial"/>
                <a:rtl val="0"/>
              </a:rPr>
              <a:t>-Hybrid</a:t>
            </a:r>
          </a:p>
        </p:txBody>
      </p:sp>
      <p:grpSp>
        <p:nvGrpSpPr>
          <p:cNvPr id="564" name="Graphic 6">
            <a:extLst>
              <a:ext uri="{FF2B5EF4-FFF2-40B4-BE49-F238E27FC236}">
                <a16:creationId xmlns:a16="http://schemas.microsoft.com/office/drawing/2014/main" id="{A9CB4E13-32A3-D53D-BD34-0720CDCAABE7}"/>
              </a:ext>
            </a:extLst>
          </p:cNvPr>
          <p:cNvGrpSpPr/>
          <p:nvPr/>
        </p:nvGrpSpPr>
        <p:grpSpPr>
          <a:xfrm>
            <a:off x="8112955" y="4195478"/>
            <a:ext cx="211940" cy="366607"/>
            <a:chOff x="3578850" y="4708578"/>
            <a:chExt cx="278219" cy="481254"/>
          </a:xfrm>
        </p:grpSpPr>
        <p:grpSp>
          <p:nvGrpSpPr>
            <p:cNvPr id="570" name="Graphic 6">
              <a:extLst>
                <a:ext uri="{FF2B5EF4-FFF2-40B4-BE49-F238E27FC236}">
                  <a16:creationId xmlns:a16="http://schemas.microsoft.com/office/drawing/2014/main" id="{247E8FB7-D360-7B83-78A7-D2DB5BA8E4B5}"/>
                </a:ext>
              </a:extLst>
            </p:cNvPr>
            <p:cNvGrpSpPr/>
            <p:nvPr/>
          </p:nvGrpSpPr>
          <p:grpSpPr>
            <a:xfrm>
              <a:off x="3610072" y="4772082"/>
              <a:ext cx="246997" cy="377190"/>
              <a:chOff x="3610072" y="4772082"/>
              <a:chExt cx="246997" cy="377190"/>
            </a:xfrm>
            <a:solidFill>
              <a:srgbClr val="0069FF"/>
            </a:solidFill>
          </p:grpSpPr>
          <p:sp>
            <p:nvSpPr>
              <p:cNvPr id="579" name="Freeform: Shape 578">
                <a:extLst>
                  <a:ext uri="{FF2B5EF4-FFF2-40B4-BE49-F238E27FC236}">
                    <a16:creationId xmlns:a16="http://schemas.microsoft.com/office/drawing/2014/main" id="{8BC26A4D-A7F4-2ADA-78F4-8B7FB1722AA1}"/>
                  </a:ext>
                </a:extLst>
              </p:cNvPr>
              <p:cNvSpPr/>
              <p:nvPr/>
            </p:nvSpPr>
            <p:spPr>
              <a:xfrm>
                <a:off x="3615272" y="4777270"/>
                <a:ext cx="236597" cy="366802"/>
              </a:xfrm>
              <a:custGeom>
                <a:avLst/>
                <a:gdLst>
                  <a:gd name="connsiteX0" fmla="*/ 236597 w 236597"/>
                  <a:gd name="connsiteY0" fmla="*/ 366802 h 366802"/>
                  <a:gd name="connsiteX1" fmla="*/ 0 w 236597"/>
                  <a:gd name="connsiteY1" fmla="*/ 366802 h 366802"/>
                  <a:gd name="connsiteX2" fmla="*/ 0 w 236597"/>
                  <a:gd name="connsiteY2" fmla="*/ 13466 h 366802"/>
                  <a:gd name="connsiteX3" fmla="*/ 236597 w 236597"/>
                  <a:gd name="connsiteY3" fmla="*/ 13466 h 366802"/>
                  <a:gd name="connsiteX4" fmla="*/ 236597 w 236597"/>
                  <a:gd name="connsiteY4" fmla="*/ 366802 h 366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97" h="366802">
                    <a:moveTo>
                      <a:pt x="236597" y="366802"/>
                    </a:moveTo>
                    <a:lnTo>
                      <a:pt x="0" y="366802"/>
                    </a:lnTo>
                    <a:lnTo>
                      <a:pt x="0" y="13466"/>
                    </a:lnTo>
                    <a:cubicBezTo>
                      <a:pt x="72279" y="-5514"/>
                      <a:pt x="151838" y="-3434"/>
                      <a:pt x="236597" y="13466"/>
                    </a:cubicBezTo>
                    <a:lnTo>
                      <a:pt x="236597" y="366802"/>
                    </a:lnTo>
                    <a:close/>
                  </a:path>
                </a:pathLst>
              </a:custGeom>
              <a:solidFill>
                <a:srgbClr val="0069FF"/>
              </a:solidFill>
              <a:ln w="2597" cap="flat">
                <a:noFill/>
                <a:prstDash val="solid"/>
                <a:miter/>
              </a:ln>
            </p:spPr>
            <p:txBody>
              <a:bodyPr rtlCol="0" anchor="ctr"/>
              <a:lstStyle/>
              <a:p>
                <a:endParaRPr lang="en-GB"/>
              </a:p>
            </p:txBody>
          </p:sp>
          <p:sp>
            <p:nvSpPr>
              <p:cNvPr id="580" name="Freeform: Shape 579">
                <a:extLst>
                  <a:ext uri="{FF2B5EF4-FFF2-40B4-BE49-F238E27FC236}">
                    <a16:creationId xmlns:a16="http://schemas.microsoft.com/office/drawing/2014/main" id="{F399B258-A29E-1C89-E39A-7BC952A3F1E5}"/>
                  </a:ext>
                </a:extLst>
              </p:cNvPr>
              <p:cNvSpPr/>
              <p:nvPr/>
            </p:nvSpPr>
            <p:spPr>
              <a:xfrm>
                <a:off x="3610072" y="4772082"/>
                <a:ext cx="246997" cy="377190"/>
              </a:xfrm>
              <a:custGeom>
                <a:avLst/>
                <a:gdLst>
                  <a:gd name="connsiteX0" fmla="*/ 241797 w 246997"/>
                  <a:gd name="connsiteY0" fmla="*/ 377191 h 377190"/>
                  <a:gd name="connsiteX1" fmla="*/ 5200 w 246997"/>
                  <a:gd name="connsiteY1" fmla="*/ 377191 h 377190"/>
                  <a:gd name="connsiteX2" fmla="*/ 0 w 246997"/>
                  <a:gd name="connsiteY2" fmla="*/ 371991 h 377190"/>
                  <a:gd name="connsiteX3" fmla="*/ 0 w 246997"/>
                  <a:gd name="connsiteY3" fmla="*/ 18655 h 377190"/>
                  <a:gd name="connsiteX4" fmla="*/ 4160 w 246997"/>
                  <a:gd name="connsiteY4" fmla="*/ 13455 h 377190"/>
                  <a:gd name="connsiteX5" fmla="*/ 242837 w 246997"/>
                  <a:gd name="connsiteY5" fmla="*/ 13455 h 377190"/>
                  <a:gd name="connsiteX6" fmla="*/ 246997 w 246997"/>
                  <a:gd name="connsiteY6" fmla="*/ 18655 h 377190"/>
                  <a:gd name="connsiteX7" fmla="*/ 246997 w 246997"/>
                  <a:gd name="connsiteY7" fmla="*/ 371991 h 377190"/>
                  <a:gd name="connsiteX8" fmla="*/ 241797 w 246997"/>
                  <a:gd name="connsiteY8" fmla="*/ 377191 h 377190"/>
                  <a:gd name="connsiteX9" fmla="*/ 10400 w 246997"/>
                  <a:gd name="connsiteY9" fmla="*/ 366791 h 377190"/>
                  <a:gd name="connsiteX10" fmla="*/ 236337 w 246997"/>
                  <a:gd name="connsiteY10" fmla="*/ 366791 h 377190"/>
                  <a:gd name="connsiteX11" fmla="*/ 236337 w 246997"/>
                  <a:gd name="connsiteY11" fmla="*/ 22815 h 377190"/>
                  <a:gd name="connsiteX12" fmla="*/ 10400 w 246997"/>
                  <a:gd name="connsiteY12" fmla="*/ 22815 h 377190"/>
                  <a:gd name="connsiteX13" fmla="*/ 10400 w 246997"/>
                  <a:gd name="connsiteY13" fmla="*/ 366791 h 3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6997" h="377190">
                    <a:moveTo>
                      <a:pt x="241797" y="377191"/>
                    </a:moveTo>
                    <a:lnTo>
                      <a:pt x="5200" y="377191"/>
                    </a:lnTo>
                    <a:cubicBezTo>
                      <a:pt x="2080" y="377191"/>
                      <a:pt x="0" y="375111"/>
                      <a:pt x="0" y="371991"/>
                    </a:cubicBezTo>
                    <a:lnTo>
                      <a:pt x="0" y="18655"/>
                    </a:lnTo>
                    <a:cubicBezTo>
                      <a:pt x="0" y="16575"/>
                      <a:pt x="2080" y="14495"/>
                      <a:pt x="4160" y="13455"/>
                    </a:cubicBezTo>
                    <a:cubicBezTo>
                      <a:pt x="73059" y="-4485"/>
                      <a:pt x="151578" y="-4485"/>
                      <a:pt x="242837" y="13455"/>
                    </a:cubicBezTo>
                    <a:cubicBezTo>
                      <a:pt x="244917" y="13455"/>
                      <a:pt x="246997" y="16575"/>
                      <a:pt x="246997" y="18655"/>
                    </a:cubicBezTo>
                    <a:lnTo>
                      <a:pt x="246997" y="371991"/>
                    </a:lnTo>
                    <a:cubicBezTo>
                      <a:pt x="246997" y="375111"/>
                      <a:pt x="244917" y="377191"/>
                      <a:pt x="241797" y="377191"/>
                    </a:cubicBezTo>
                    <a:close/>
                    <a:moveTo>
                      <a:pt x="10400" y="366791"/>
                    </a:moveTo>
                    <a:lnTo>
                      <a:pt x="236337" y="366791"/>
                    </a:lnTo>
                    <a:lnTo>
                      <a:pt x="236337" y="22815"/>
                    </a:lnTo>
                    <a:cubicBezTo>
                      <a:pt x="150278" y="5915"/>
                      <a:pt x="76179" y="5915"/>
                      <a:pt x="10400" y="22815"/>
                    </a:cubicBezTo>
                    <a:cubicBezTo>
                      <a:pt x="10400" y="22815"/>
                      <a:pt x="10400" y="366791"/>
                      <a:pt x="10400" y="366791"/>
                    </a:cubicBezTo>
                    <a:close/>
                  </a:path>
                </a:pathLst>
              </a:custGeom>
              <a:solidFill>
                <a:srgbClr val="0069FF"/>
              </a:solidFill>
              <a:ln w="2597" cap="flat">
                <a:noFill/>
                <a:prstDash val="solid"/>
                <a:miter/>
              </a:ln>
            </p:spPr>
            <p:txBody>
              <a:bodyPr rtlCol="0" anchor="ctr"/>
              <a:lstStyle/>
              <a:p>
                <a:endParaRPr lang="en-GB"/>
              </a:p>
            </p:txBody>
          </p:sp>
        </p:grpSp>
        <p:sp>
          <p:nvSpPr>
            <p:cNvPr id="571" name="Freeform: Shape 570">
              <a:extLst>
                <a:ext uri="{FF2B5EF4-FFF2-40B4-BE49-F238E27FC236}">
                  <a16:creationId xmlns:a16="http://schemas.microsoft.com/office/drawing/2014/main" id="{2127DCD9-B1EE-7837-F9C0-226BDCBB9496}"/>
                </a:ext>
              </a:extLst>
            </p:cNvPr>
            <p:cNvSpPr/>
            <p:nvPr/>
          </p:nvSpPr>
          <p:spPr>
            <a:xfrm>
              <a:off x="3579132" y="4742182"/>
              <a:ext cx="252457" cy="382910"/>
            </a:xfrm>
            <a:custGeom>
              <a:avLst/>
              <a:gdLst>
                <a:gd name="connsiteX0" fmla="*/ 245177 w 252457"/>
                <a:gd name="connsiteY0" fmla="*/ 382911 h 382910"/>
                <a:gd name="connsiteX1" fmla="*/ 8580 w 252457"/>
                <a:gd name="connsiteY1" fmla="*/ 382911 h 382910"/>
                <a:gd name="connsiteX2" fmla="*/ 0 w 252457"/>
                <a:gd name="connsiteY2" fmla="*/ 374331 h 382910"/>
                <a:gd name="connsiteX3" fmla="*/ 0 w 252457"/>
                <a:gd name="connsiteY3" fmla="*/ 20995 h 382910"/>
                <a:gd name="connsiteX4" fmla="*/ 6240 w 252457"/>
                <a:gd name="connsiteY4" fmla="*/ 13455 h 382910"/>
                <a:gd name="connsiteX5" fmla="*/ 246217 w 252457"/>
                <a:gd name="connsiteY5" fmla="*/ 13455 h 382910"/>
                <a:gd name="connsiteX6" fmla="*/ 252457 w 252457"/>
                <a:gd name="connsiteY6" fmla="*/ 20995 h 382910"/>
                <a:gd name="connsiteX7" fmla="*/ 252457 w 252457"/>
                <a:gd name="connsiteY7" fmla="*/ 374331 h 382910"/>
                <a:gd name="connsiteX8" fmla="*/ 245177 w 252457"/>
                <a:gd name="connsiteY8" fmla="*/ 382911 h 382910"/>
                <a:gd name="connsiteX9" fmla="*/ 15860 w 252457"/>
                <a:gd name="connsiteY9" fmla="*/ 366791 h 382910"/>
                <a:gd name="connsiteX10" fmla="*/ 236597 w 252457"/>
                <a:gd name="connsiteY10" fmla="*/ 366791 h 382910"/>
                <a:gd name="connsiteX11" fmla="*/ 236597 w 252457"/>
                <a:gd name="connsiteY11" fmla="*/ 28275 h 382910"/>
                <a:gd name="connsiteX12" fmla="*/ 15860 w 252457"/>
                <a:gd name="connsiteY12" fmla="*/ 28275 h 382910"/>
                <a:gd name="connsiteX13" fmla="*/ 15860 w 252457"/>
                <a:gd name="connsiteY13" fmla="*/ 366791 h 382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2457" h="382910">
                  <a:moveTo>
                    <a:pt x="245177" y="382911"/>
                  </a:moveTo>
                  <a:lnTo>
                    <a:pt x="8580" y="382911"/>
                  </a:lnTo>
                  <a:cubicBezTo>
                    <a:pt x="4420" y="382911"/>
                    <a:pt x="0" y="379791"/>
                    <a:pt x="0" y="374331"/>
                  </a:cubicBezTo>
                  <a:lnTo>
                    <a:pt x="0" y="20995"/>
                  </a:lnTo>
                  <a:cubicBezTo>
                    <a:pt x="0" y="17875"/>
                    <a:pt x="2080" y="14755"/>
                    <a:pt x="6240" y="13455"/>
                  </a:cubicBezTo>
                  <a:cubicBezTo>
                    <a:pt x="76179" y="-4485"/>
                    <a:pt x="154698" y="-4485"/>
                    <a:pt x="246217" y="13455"/>
                  </a:cubicBezTo>
                  <a:cubicBezTo>
                    <a:pt x="250377" y="14495"/>
                    <a:pt x="252457" y="17615"/>
                    <a:pt x="252457" y="20995"/>
                  </a:cubicBezTo>
                  <a:lnTo>
                    <a:pt x="252457" y="374331"/>
                  </a:lnTo>
                  <a:cubicBezTo>
                    <a:pt x="252457" y="379531"/>
                    <a:pt x="249337" y="382911"/>
                    <a:pt x="245177" y="382911"/>
                  </a:cubicBezTo>
                  <a:close/>
                  <a:moveTo>
                    <a:pt x="15860" y="366791"/>
                  </a:moveTo>
                  <a:lnTo>
                    <a:pt x="236597" y="366791"/>
                  </a:lnTo>
                  <a:lnTo>
                    <a:pt x="236597" y="28275"/>
                  </a:lnTo>
                  <a:cubicBezTo>
                    <a:pt x="152878" y="12415"/>
                    <a:pt x="80599" y="12415"/>
                    <a:pt x="15860" y="28275"/>
                  </a:cubicBezTo>
                  <a:lnTo>
                    <a:pt x="15860" y="366791"/>
                  </a:lnTo>
                  <a:close/>
                </a:path>
              </a:pathLst>
            </a:custGeom>
            <a:solidFill>
              <a:srgbClr val="00005A"/>
            </a:solidFill>
            <a:ln w="2597" cap="flat">
              <a:noFill/>
              <a:prstDash val="solid"/>
              <a:miter/>
            </a:ln>
          </p:spPr>
          <p:txBody>
            <a:bodyPr rtlCol="0" anchor="ctr"/>
            <a:lstStyle/>
            <a:p>
              <a:endParaRPr lang="en-GB"/>
            </a:p>
          </p:txBody>
        </p:sp>
        <p:sp>
          <p:nvSpPr>
            <p:cNvPr id="572" name="Freeform: Shape 571">
              <a:extLst>
                <a:ext uri="{FF2B5EF4-FFF2-40B4-BE49-F238E27FC236}">
                  <a16:creationId xmlns:a16="http://schemas.microsoft.com/office/drawing/2014/main" id="{F0E3E8BC-9641-58BB-9D7C-84DE803CD0FD}"/>
                </a:ext>
              </a:extLst>
            </p:cNvPr>
            <p:cNvSpPr/>
            <p:nvPr/>
          </p:nvSpPr>
          <p:spPr>
            <a:xfrm>
              <a:off x="3657651" y="4708578"/>
              <a:ext cx="96719" cy="50179"/>
            </a:xfrm>
            <a:custGeom>
              <a:avLst/>
              <a:gdLst>
                <a:gd name="connsiteX0" fmla="*/ 88139 w 96719"/>
                <a:gd name="connsiteY0" fmla="*/ 50180 h 50179"/>
                <a:gd name="connsiteX1" fmla="*/ 8580 w 96719"/>
                <a:gd name="connsiteY1" fmla="*/ 50180 h 50179"/>
                <a:gd name="connsiteX2" fmla="*/ 0 w 96719"/>
                <a:gd name="connsiteY2" fmla="*/ 41600 h 50179"/>
                <a:gd name="connsiteX3" fmla="*/ 0 w 96719"/>
                <a:gd name="connsiteY3" fmla="*/ 8580 h 50179"/>
                <a:gd name="connsiteX4" fmla="*/ 8580 w 96719"/>
                <a:gd name="connsiteY4" fmla="*/ 0 h 50179"/>
                <a:gd name="connsiteX5" fmla="*/ 88139 w 96719"/>
                <a:gd name="connsiteY5" fmla="*/ 0 h 50179"/>
                <a:gd name="connsiteX6" fmla="*/ 96719 w 96719"/>
                <a:gd name="connsiteY6" fmla="*/ 8580 h 50179"/>
                <a:gd name="connsiteX7" fmla="*/ 96719 w 96719"/>
                <a:gd name="connsiteY7" fmla="*/ 41600 h 50179"/>
                <a:gd name="connsiteX8" fmla="*/ 88139 w 96719"/>
                <a:gd name="connsiteY8" fmla="*/ 50180 h 50179"/>
                <a:gd name="connsiteX9" fmla="*/ 15860 w 96719"/>
                <a:gd name="connsiteY9" fmla="*/ 34320 h 50179"/>
                <a:gd name="connsiteX10" fmla="*/ 79559 w 96719"/>
                <a:gd name="connsiteY10" fmla="*/ 34320 h 50179"/>
                <a:gd name="connsiteX11" fmla="*/ 79559 w 96719"/>
                <a:gd name="connsiteY11" fmla="*/ 17420 h 50179"/>
                <a:gd name="connsiteX12" fmla="*/ 15860 w 96719"/>
                <a:gd name="connsiteY12" fmla="*/ 17420 h 50179"/>
                <a:gd name="connsiteX13" fmla="*/ 15860 w 96719"/>
                <a:gd name="connsiteY13" fmla="*/ 34320 h 50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719" h="50179">
                  <a:moveTo>
                    <a:pt x="88139" y="50180"/>
                  </a:moveTo>
                  <a:lnTo>
                    <a:pt x="8580" y="50180"/>
                  </a:lnTo>
                  <a:cubicBezTo>
                    <a:pt x="4420" y="50180"/>
                    <a:pt x="0" y="47059"/>
                    <a:pt x="0" y="41600"/>
                  </a:cubicBezTo>
                  <a:lnTo>
                    <a:pt x="0" y="8580"/>
                  </a:lnTo>
                  <a:cubicBezTo>
                    <a:pt x="0" y="4420"/>
                    <a:pt x="3120" y="0"/>
                    <a:pt x="8580" y="0"/>
                  </a:cubicBezTo>
                  <a:lnTo>
                    <a:pt x="88139" y="0"/>
                  </a:lnTo>
                  <a:cubicBezTo>
                    <a:pt x="92299" y="0"/>
                    <a:pt x="96719" y="3120"/>
                    <a:pt x="96719" y="8580"/>
                  </a:cubicBezTo>
                  <a:lnTo>
                    <a:pt x="96719" y="41600"/>
                  </a:lnTo>
                  <a:cubicBezTo>
                    <a:pt x="95419" y="46020"/>
                    <a:pt x="92299" y="50180"/>
                    <a:pt x="88139" y="50180"/>
                  </a:cubicBezTo>
                  <a:close/>
                  <a:moveTo>
                    <a:pt x="15860" y="34320"/>
                  </a:moveTo>
                  <a:lnTo>
                    <a:pt x="79559" y="34320"/>
                  </a:lnTo>
                  <a:lnTo>
                    <a:pt x="79559" y="17420"/>
                  </a:lnTo>
                  <a:lnTo>
                    <a:pt x="15860" y="17420"/>
                  </a:lnTo>
                  <a:lnTo>
                    <a:pt x="15860" y="34320"/>
                  </a:lnTo>
                  <a:close/>
                </a:path>
              </a:pathLst>
            </a:custGeom>
            <a:solidFill>
              <a:srgbClr val="00005A"/>
            </a:solidFill>
            <a:ln w="2597" cap="flat">
              <a:noFill/>
              <a:prstDash val="solid"/>
              <a:miter/>
            </a:ln>
          </p:spPr>
          <p:txBody>
            <a:bodyPr rtlCol="0" anchor="ctr"/>
            <a:lstStyle/>
            <a:p>
              <a:endParaRPr lang="en-GB"/>
            </a:p>
          </p:txBody>
        </p:sp>
        <p:sp>
          <p:nvSpPr>
            <p:cNvPr id="573" name="Freeform: Shape 572">
              <a:extLst>
                <a:ext uri="{FF2B5EF4-FFF2-40B4-BE49-F238E27FC236}">
                  <a16:creationId xmlns:a16="http://schemas.microsoft.com/office/drawing/2014/main" id="{5AE1CAAB-705C-2AEB-87A3-C1BA83754600}"/>
                </a:ext>
              </a:extLst>
            </p:cNvPr>
            <p:cNvSpPr/>
            <p:nvPr/>
          </p:nvSpPr>
          <p:spPr>
            <a:xfrm>
              <a:off x="3578850" y="5017417"/>
              <a:ext cx="253200" cy="28897"/>
            </a:xfrm>
            <a:custGeom>
              <a:avLst/>
              <a:gdLst>
                <a:gd name="connsiteX0" fmla="*/ 122221 w 253200"/>
                <a:gd name="connsiteY0" fmla="*/ 28897 h 28897"/>
                <a:gd name="connsiteX1" fmla="*/ 6522 w 253200"/>
                <a:gd name="connsiteY1" fmla="*/ 16157 h 28897"/>
                <a:gd name="connsiteX2" fmla="*/ 282 w 253200"/>
                <a:gd name="connsiteY2" fmla="*/ 6538 h 28897"/>
                <a:gd name="connsiteX3" fmla="*/ 9902 w 253200"/>
                <a:gd name="connsiteY3" fmla="*/ 298 h 28897"/>
                <a:gd name="connsiteX4" fmla="*/ 243380 w 253200"/>
                <a:gd name="connsiteY4" fmla="*/ 298 h 28897"/>
                <a:gd name="connsiteX5" fmla="*/ 252999 w 253200"/>
                <a:gd name="connsiteY5" fmla="*/ 6538 h 28897"/>
                <a:gd name="connsiteX6" fmla="*/ 246759 w 253200"/>
                <a:gd name="connsiteY6" fmla="*/ 16157 h 28897"/>
                <a:gd name="connsiteX7" fmla="*/ 122221 w 253200"/>
                <a:gd name="connsiteY7" fmla="*/ 28897 h 28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3200" h="28897">
                  <a:moveTo>
                    <a:pt x="122221" y="28897"/>
                  </a:moveTo>
                  <a:cubicBezTo>
                    <a:pt x="81921" y="28897"/>
                    <a:pt x="43702" y="24737"/>
                    <a:pt x="6522" y="16157"/>
                  </a:cubicBezTo>
                  <a:cubicBezTo>
                    <a:pt x="2362" y="15117"/>
                    <a:pt x="-1018" y="10957"/>
                    <a:pt x="282" y="6538"/>
                  </a:cubicBezTo>
                  <a:cubicBezTo>
                    <a:pt x="1582" y="2117"/>
                    <a:pt x="5482" y="-1002"/>
                    <a:pt x="9902" y="298"/>
                  </a:cubicBezTo>
                  <a:cubicBezTo>
                    <a:pt x="82181" y="16157"/>
                    <a:pt x="158360" y="16157"/>
                    <a:pt x="243380" y="298"/>
                  </a:cubicBezTo>
                  <a:cubicBezTo>
                    <a:pt x="247539" y="-742"/>
                    <a:pt x="251959" y="2378"/>
                    <a:pt x="252999" y="6538"/>
                  </a:cubicBezTo>
                  <a:cubicBezTo>
                    <a:pt x="254039" y="10697"/>
                    <a:pt x="250919" y="15117"/>
                    <a:pt x="246759" y="16157"/>
                  </a:cubicBezTo>
                  <a:cubicBezTo>
                    <a:pt x="203080" y="24737"/>
                    <a:pt x="162521" y="28897"/>
                    <a:pt x="122221" y="28897"/>
                  </a:cubicBezTo>
                  <a:close/>
                </a:path>
              </a:pathLst>
            </a:custGeom>
            <a:solidFill>
              <a:srgbClr val="00005A"/>
            </a:solidFill>
            <a:ln w="2597" cap="flat">
              <a:noFill/>
              <a:prstDash val="solid"/>
              <a:miter/>
            </a:ln>
          </p:spPr>
          <p:txBody>
            <a:bodyPr rtlCol="0" anchor="ctr"/>
            <a:lstStyle/>
            <a:p>
              <a:endParaRPr lang="en-GB"/>
            </a:p>
          </p:txBody>
        </p:sp>
        <p:sp>
          <p:nvSpPr>
            <p:cNvPr id="574" name="Freeform: Shape 573">
              <a:extLst>
                <a:ext uri="{FF2B5EF4-FFF2-40B4-BE49-F238E27FC236}">
                  <a16:creationId xmlns:a16="http://schemas.microsoft.com/office/drawing/2014/main" id="{BDEE550D-41BC-35AE-B1A1-ED9F64F210E0}"/>
                </a:ext>
              </a:extLst>
            </p:cNvPr>
            <p:cNvSpPr/>
            <p:nvPr/>
          </p:nvSpPr>
          <p:spPr>
            <a:xfrm>
              <a:off x="3626971" y="5061394"/>
              <a:ext cx="30679" cy="31719"/>
            </a:xfrm>
            <a:custGeom>
              <a:avLst/>
              <a:gdLst>
                <a:gd name="connsiteX0" fmla="*/ 15860 w 30679"/>
                <a:gd name="connsiteY0" fmla="*/ 31720 h 31719"/>
                <a:gd name="connsiteX1" fmla="*/ 0 w 30679"/>
                <a:gd name="connsiteY1" fmla="*/ 15860 h 31719"/>
                <a:gd name="connsiteX2" fmla="*/ 15860 w 30679"/>
                <a:gd name="connsiteY2" fmla="*/ 0 h 31719"/>
                <a:gd name="connsiteX3" fmla="*/ 30679 w 30679"/>
                <a:gd name="connsiteY3" fmla="*/ 15860 h 31719"/>
                <a:gd name="connsiteX4" fmla="*/ 15860 w 30679"/>
                <a:gd name="connsiteY4" fmla="*/ 31720 h 31719"/>
                <a:gd name="connsiteX5" fmla="*/ 14820 w 30679"/>
                <a:gd name="connsiteY5" fmla="*/ 15860 h 31719"/>
                <a:gd name="connsiteX6" fmla="*/ 14820 w 30679"/>
                <a:gd name="connsiteY6" fmla="*/ 15860 h 31719"/>
                <a:gd name="connsiteX7" fmla="*/ 15860 w 30679"/>
                <a:gd name="connsiteY7" fmla="*/ 15860 h 31719"/>
                <a:gd name="connsiteX8" fmla="*/ 14820 w 30679"/>
                <a:gd name="connsiteY8" fmla="*/ 15860 h 3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79" h="31719">
                  <a:moveTo>
                    <a:pt x="15860" y="31720"/>
                  </a:moveTo>
                  <a:cubicBezTo>
                    <a:pt x="7280" y="31720"/>
                    <a:pt x="0" y="24180"/>
                    <a:pt x="0" y="15860"/>
                  </a:cubicBezTo>
                  <a:cubicBezTo>
                    <a:pt x="0" y="7280"/>
                    <a:pt x="7540" y="0"/>
                    <a:pt x="15860" y="0"/>
                  </a:cubicBezTo>
                  <a:cubicBezTo>
                    <a:pt x="24180" y="0"/>
                    <a:pt x="30679" y="7540"/>
                    <a:pt x="30679" y="15860"/>
                  </a:cubicBezTo>
                  <a:cubicBezTo>
                    <a:pt x="30679" y="24180"/>
                    <a:pt x="24180" y="31720"/>
                    <a:pt x="15860" y="31720"/>
                  </a:cubicBezTo>
                  <a:close/>
                  <a:moveTo>
                    <a:pt x="14820" y="15860"/>
                  </a:moveTo>
                  <a:lnTo>
                    <a:pt x="14820" y="15860"/>
                  </a:lnTo>
                  <a:cubicBezTo>
                    <a:pt x="15860" y="15860"/>
                    <a:pt x="15860" y="15860"/>
                    <a:pt x="15860" y="15860"/>
                  </a:cubicBezTo>
                  <a:lnTo>
                    <a:pt x="14820" y="15860"/>
                  </a:lnTo>
                  <a:close/>
                </a:path>
              </a:pathLst>
            </a:custGeom>
            <a:solidFill>
              <a:srgbClr val="FFFFFF"/>
            </a:solidFill>
            <a:ln w="2597" cap="flat">
              <a:noFill/>
              <a:prstDash val="solid"/>
              <a:miter/>
            </a:ln>
          </p:spPr>
          <p:txBody>
            <a:bodyPr rtlCol="0" anchor="ctr"/>
            <a:lstStyle/>
            <a:p>
              <a:endParaRPr lang="en-GB"/>
            </a:p>
          </p:txBody>
        </p:sp>
        <p:sp>
          <p:nvSpPr>
            <p:cNvPr id="575" name="Freeform: Shape 574">
              <a:extLst>
                <a:ext uri="{FF2B5EF4-FFF2-40B4-BE49-F238E27FC236}">
                  <a16:creationId xmlns:a16="http://schemas.microsoft.com/office/drawing/2014/main" id="{FC920181-2FD1-83F9-3CF2-DB2514DE5ACD}"/>
                </a:ext>
              </a:extLst>
            </p:cNvPr>
            <p:cNvSpPr/>
            <p:nvPr/>
          </p:nvSpPr>
          <p:spPr>
            <a:xfrm>
              <a:off x="3664931" y="5109233"/>
              <a:ext cx="40559" cy="80599"/>
            </a:xfrm>
            <a:custGeom>
              <a:avLst/>
              <a:gdLst>
                <a:gd name="connsiteX0" fmla="*/ 20280 w 40559"/>
                <a:gd name="connsiteY0" fmla="*/ 80599 h 80599"/>
                <a:gd name="connsiteX1" fmla="*/ 0 w 40559"/>
                <a:gd name="connsiteY1" fmla="*/ 62660 h 80599"/>
                <a:gd name="connsiteX2" fmla="*/ 0 w 40559"/>
                <a:gd name="connsiteY2" fmla="*/ 8580 h 80599"/>
                <a:gd name="connsiteX3" fmla="*/ 8580 w 40559"/>
                <a:gd name="connsiteY3" fmla="*/ 0 h 80599"/>
                <a:gd name="connsiteX4" fmla="*/ 31979 w 40559"/>
                <a:gd name="connsiteY4" fmla="*/ 0 h 80599"/>
                <a:gd name="connsiteX5" fmla="*/ 40559 w 40559"/>
                <a:gd name="connsiteY5" fmla="*/ 8580 h 80599"/>
                <a:gd name="connsiteX6" fmla="*/ 40559 w 40559"/>
                <a:gd name="connsiteY6" fmla="*/ 62660 h 80599"/>
                <a:gd name="connsiteX7" fmla="*/ 20280 w 40559"/>
                <a:gd name="connsiteY7" fmla="*/ 80599 h 80599"/>
                <a:gd name="connsiteX8" fmla="*/ 17160 w 40559"/>
                <a:gd name="connsiteY8" fmla="*/ 15860 h 80599"/>
                <a:gd name="connsiteX9" fmla="*/ 17160 w 40559"/>
                <a:gd name="connsiteY9" fmla="*/ 62660 h 80599"/>
                <a:gd name="connsiteX10" fmla="*/ 21320 w 40559"/>
                <a:gd name="connsiteY10" fmla="*/ 64739 h 80599"/>
                <a:gd name="connsiteX11" fmla="*/ 24440 w 40559"/>
                <a:gd name="connsiteY11" fmla="*/ 62660 h 80599"/>
                <a:gd name="connsiteX12" fmla="*/ 24440 w 40559"/>
                <a:gd name="connsiteY12" fmla="*/ 15860 h 80599"/>
                <a:gd name="connsiteX13" fmla="*/ 17160 w 40559"/>
                <a:gd name="connsiteY13" fmla="*/ 15860 h 8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559" h="80599">
                  <a:moveTo>
                    <a:pt x="20280" y="80599"/>
                  </a:moveTo>
                  <a:cubicBezTo>
                    <a:pt x="8580" y="80599"/>
                    <a:pt x="0" y="73059"/>
                    <a:pt x="0" y="62660"/>
                  </a:cubicBezTo>
                  <a:lnTo>
                    <a:pt x="0" y="8580"/>
                  </a:lnTo>
                  <a:cubicBezTo>
                    <a:pt x="0" y="4420"/>
                    <a:pt x="3120" y="0"/>
                    <a:pt x="8580" y="0"/>
                  </a:cubicBezTo>
                  <a:lnTo>
                    <a:pt x="31979" y="0"/>
                  </a:lnTo>
                  <a:cubicBezTo>
                    <a:pt x="36140" y="0"/>
                    <a:pt x="40559" y="3120"/>
                    <a:pt x="40559" y="8580"/>
                  </a:cubicBezTo>
                  <a:lnTo>
                    <a:pt x="40559" y="62660"/>
                  </a:lnTo>
                  <a:cubicBezTo>
                    <a:pt x="39519" y="73059"/>
                    <a:pt x="31979" y="80599"/>
                    <a:pt x="20280" y="80599"/>
                  </a:cubicBezTo>
                  <a:close/>
                  <a:moveTo>
                    <a:pt x="17160" y="15860"/>
                  </a:moveTo>
                  <a:lnTo>
                    <a:pt x="17160" y="62660"/>
                  </a:lnTo>
                  <a:cubicBezTo>
                    <a:pt x="17160" y="64739"/>
                    <a:pt x="20280" y="64739"/>
                    <a:pt x="21320" y="64739"/>
                  </a:cubicBezTo>
                  <a:cubicBezTo>
                    <a:pt x="22360" y="64739"/>
                    <a:pt x="24440" y="64739"/>
                    <a:pt x="24440" y="62660"/>
                  </a:cubicBezTo>
                  <a:lnTo>
                    <a:pt x="24440" y="15860"/>
                  </a:lnTo>
                  <a:lnTo>
                    <a:pt x="17160" y="15860"/>
                  </a:lnTo>
                  <a:close/>
                </a:path>
              </a:pathLst>
            </a:custGeom>
            <a:solidFill>
              <a:srgbClr val="00005A"/>
            </a:solidFill>
            <a:ln w="2597" cap="flat">
              <a:noFill/>
              <a:prstDash val="solid"/>
              <a:miter/>
            </a:ln>
          </p:spPr>
          <p:txBody>
            <a:bodyPr rtlCol="0" anchor="ctr"/>
            <a:lstStyle/>
            <a:p>
              <a:endParaRPr lang="en-GB"/>
            </a:p>
          </p:txBody>
        </p:sp>
        <p:sp>
          <p:nvSpPr>
            <p:cNvPr id="576" name="Freeform: Shape 575">
              <a:extLst>
                <a:ext uri="{FF2B5EF4-FFF2-40B4-BE49-F238E27FC236}">
                  <a16:creationId xmlns:a16="http://schemas.microsoft.com/office/drawing/2014/main" id="{39CF4613-3611-C91F-2250-5BB0FD849972}"/>
                </a:ext>
              </a:extLst>
            </p:cNvPr>
            <p:cNvSpPr/>
            <p:nvPr/>
          </p:nvSpPr>
          <p:spPr>
            <a:xfrm>
              <a:off x="3707310" y="5109233"/>
              <a:ext cx="40559" cy="80599"/>
            </a:xfrm>
            <a:custGeom>
              <a:avLst/>
              <a:gdLst>
                <a:gd name="connsiteX0" fmla="*/ 20280 w 40559"/>
                <a:gd name="connsiteY0" fmla="*/ 80599 h 80599"/>
                <a:gd name="connsiteX1" fmla="*/ 0 w 40559"/>
                <a:gd name="connsiteY1" fmla="*/ 62660 h 80599"/>
                <a:gd name="connsiteX2" fmla="*/ 0 w 40559"/>
                <a:gd name="connsiteY2" fmla="*/ 8580 h 80599"/>
                <a:gd name="connsiteX3" fmla="*/ 8580 w 40559"/>
                <a:gd name="connsiteY3" fmla="*/ 0 h 80599"/>
                <a:gd name="connsiteX4" fmla="*/ 31980 w 40559"/>
                <a:gd name="connsiteY4" fmla="*/ 0 h 80599"/>
                <a:gd name="connsiteX5" fmla="*/ 40560 w 40559"/>
                <a:gd name="connsiteY5" fmla="*/ 8580 h 80599"/>
                <a:gd name="connsiteX6" fmla="*/ 40560 w 40559"/>
                <a:gd name="connsiteY6" fmla="*/ 62660 h 80599"/>
                <a:gd name="connsiteX7" fmla="*/ 20280 w 40559"/>
                <a:gd name="connsiteY7" fmla="*/ 80599 h 80599"/>
                <a:gd name="connsiteX8" fmla="*/ 17160 w 40559"/>
                <a:gd name="connsiteY8" fmla="*/ 15860 h 80599"/>
                <a:gd name="connsiteX9" fmla="*/ 17160 w 40559"/>
                <a:gd name="connsiteY9" fmla="*/ 62660 h 80599"/>
                <a:gd name="connsiteX10" fmla="*/ 21320 w 40559"/>
                <a:gd name="connsiteY10" fmla="*/ 64739 h 80599"/>
                <a:gd name="connsiteX11" fmla="*/ 24440 w 40559"/>
                <a:gd name="connsiteY11" fmla="*/ 62660 h 80599"/>
                <a:gd name="connsiteX12" fmla="*/ 24440 w 40559"/>
                <a:gd name="connsiteY12" fmla="*/ 15860 h 80599"/>
                <a:gd name="connsiteX13" fmla="*/ 17160 w 40559"/>
                <a:gd name="connsiteY13" fmla="*/ 15860 h 8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559" h="80599">
                  <a:moveTo>
                    <a:pt x="20280" y="80599"/>
                  </a:moveTo>
                  <a:cubicBezTo>
                    <a:pt x="8580" y="80599"/>
                    <a:pt x="0" y="73059"/>
                    <a:pt x="0" y="62660"/>
                  </a:cubicBezTo>
                  <a:lnTo>
                    <a:pt x="0" y="8580"/>
                  </a:lnTo>
                  <a:cubicBezTo>
                    <a:pt x="0" y="4420"/>
                    <a:pt x="3120" y="0"/>
                    <a:pt x="8580" y="0"/>
                  </a:cubicBezTo>
                  <a:lnTo>
                    <a:pt x="31980" y="0"/>
                  </a:lnTo>
                  <a:cubicBezTo>
                    <a:pt x="36140" y="0"/>
                    <a:pt x="40560" y="3120"/>
                    <a:pt x="40560" y="8580"/>
                  </a:cubicBezTo>
                  <a:lnTo>
                    <a:pt x="40560" y="62660"/>
                  </a:lnTo>
                  <a:cubicBezTo>
                    <a:pt x="39520" y="73059"/>
                    <a:pt x="31980" y="80599"/>
                    <a:pt x="20280" y="80599"/>
                  </a:cubicBezTo>
                  <a:close/>
                  <a:moveTo>
                    <a:pt x="17160" y="15860"/>
                  </a:moveTo>
                  <a:lnTo>
                    <a:pt x="17160" y="62660"/>
                  </a:lnTo>
                  <a:cubicBezTo>
                    <a:pt x="17160" y="64739"/>
                    <a:pt x="20280" y="64739"/>
                    <a:pt x="21320" y="64739"/>
                  </a:cubicBezTo>
                  <a:cubicBezTo>
                    <a:pt x="22360" y="64739"/>
                    <a:pt x="24440" y="64739"/>
                    <a:pt x="24440" y="62660"/>
                  </a:cubicBezTo>
                  <a:lnTo>
                    <a:pt x="24440" y="15860"/>
                  </a:lnTo>
                  <a:lnTo>
                    <a:pt x="17160" y="15860"/>
                  </a:lnTo>
                  <a:close/>
                </a:path>
              </a:pathLst>
            </a:custGeom>
            <a:solidFill>
              <a:srgbClr val="00005A"/>
            </a:solidFill>
            <a:ln w="2597" cap="flat">
              <a:noFill/>
              <a:prstDash val="solid"/>
              <a:miter/>
            </a:ln>
          </p:spPr>
          <p:txBody>
            <a:bodyPr rtlCol="0" anchor="ctr"/>
            <a:lstStyle/>
            <a:p>
              <a:endParaRPr lang="en-GB"/>
            </a:p>
          </p:txBody>
        </p:sp>
        <p:sp>
          <p:nvSpPr>
            <p:cNvPr id="577" name="Freeform: Shape 576">
              <a:extLst>
                <a:ext uri="{FF2B5EF4-FFF2-40B4-BE49-F238E27FC236}">
                  <a16:creationId xmlns:a16="http://schemas.microsoft.com/office/drawing/2014/main" id="{33CCAF3D-268B-D913-2790-234E5B7E2723}"/>
                </a:ext>
              </a:extLst>
            </p:cNvPr>
            <p:cNvSpPr/>
            <p:nvPr/>
          </p:nvSpPr>
          <p:spPr>
            <a:xfrm>
              <a:off x="3644911" y="5152393"/>
              <a:ext cx="33019" cy="17159"/>
            </a:xfrm>
            <a:custGeom>
              <a:avLst/>
              <a:gdLst>
                <a:gd name="connsiteX0" fmla="*/ 24440 w 33019"/>
                <a:gd name="connsiteY0" fmla="*/ 17160 h 17159"/>
                <a:gd name="connsiteX1" fmla="*/ 8580 w 33019"/>
                <a:gd name="connsiteY1" fmla="*/ 17160 h 17159"/>
                <a:gd name="connsiteX2" fmla="*/ 0 w 33019"/>
                <a:gd name="connsiteY2" fmla="*/ 8580 h 17159"/>
                <a:gd name="connsiteX3" fmla="*/ 8580 w 33019"/>
                <a:gd name="connsiteY3" fmla="*/ 0 h 17159"/>
                <a:gd name="connsiteX4" fmla="*/ 24440 w 33019"/>
                <a:gd name="connsiteY4" fmla="*/ 0 h 17159"/>
                <a:gd name="connsiteX5" fmla="*/ 33020 w 33019"/>
                <a:gd name="connsiteY5" fmla="*/ 8580 h 17159"/>
                <a:gd name="connsiteX6" fmla="*/ 24440 w 33019"/>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019" h="17159">
                  <a:moveTo>
                    <a:pt x="24440" y="17160"/>
                  </a:moveTo>
                  <a:lnTo>
                    <a:pt x="8580" y="17160"/>
                  </a:lnTo>
                  <a:cubicBezTo>
                    <a:pt x="4420" y="17160"/>
                    <a:pt x="0" y="14040"/>
                    <a:pt x="0" y="8580"/>
                  </a:cubicBezTo>
                  <a:cubicBezTo>
                    <a:pt x="0" y="3380"/>
                    <a:pt x="3120" y="0"/>
                    <a:pt x="8580" y="0"/>
                  </a:cubicBezTo>
                  <a:lnTo>
                    <a:pt x="24440" y="0"/>
                  </a:lnTo>
                  <a:cubicBezTo>
                    <a:pt x="28600" y="0"/>
                    <a:pt x="33020" y="3120"/>
                    <a:pt x="33020" y="8580"/>
                  </a:cubicBezTo>
                  <a:cubicBezTo>
                    <a:pt x="32760" y="14040"/>
                    <a:pt x="28600" y="17160"/>
                    <a:pt x="24440" y="17160"/>
                  </a:cubicBezTo>
                  <a:close/>
                </a:path>
              </a:pathLst>
            </a:custGeom>
            <a:solidFill>
              <a:srgbClr val="00005A"/>
            </a:solidFill>
            <a:ln w="2597" cap="flat">
              <a:noFill/>
              <a:prstDash val="solid"/>
              <a:miter/>
            </a:ln>
          </p:spPr>
          <p:txBody>
            <a:bodyPr rtlCol="0" anchor="ctr"/>
            <a:lstStyle/>
            <a:p>
              <a:endParaRPr lang="en-GB"/>
            </a:p>
          </p:txBody>
        </p:sp>
        <p:sp>
          <p:nvSpPr>
            <p:cNvPr id="578" name="Freeform: Shape 577">
              <a:extLst>
                <a:ext uri="{FF2B5EF4-FFF2-40B4-BE49-F238E27FC236}">
                  <a16:creationId xmlns:a16="http://schemas.microsoft.com/office/drawing/2014/main" id="{B0B20621-C371-3925-7D46-92F665FDB6C7}"/>
                </a:ext>
              </a:extLst>
            </p:cNvPr>
            <p:cNvSpPr/>
            <p:nvPr/>
          </p:nvSpPr>
          <p:spPr>
            <a:xfrm>
              <a:off x="3641531" y="5132113"/>
              <a:ext cx="17159" cy="54339"/>
            </a:xfrm>
            <a:custGeom>
              <a:avLst/>
              <a:gdLst>
                <a:gd name="connsiteX0" fmla="*/ 8580 w 17159"/>
                <a:gd name="connsiteY0" fmla="*/ 54339 h 54339"/>
                <a:gd name="connsiteX1" fmla="*/ 0 w 17159"/>
                <a:gd name="connsiteY1" fmla="*/ 45759 h 54339"/>
                <a:gd name="connsiteX2" fmla="*/ 0 w 17159"/>
                <a:gd name="connsiteY2" fmla="*/ 8580 h 54339"/>
                <a:gd name="connsiteX3" fmla="*/ 8580 w 17159"/>
                <a:gd name="connsiteY3" fmla="*/ 0 h 54339"/>
                <a:gd name="connsiteX4" fmla="*/ 17160 w 17159"/>
                <a:gd name="connsiteY4" fmla="*/ 8580 h 54339"/>
                <a:gd name="connsiteX5" fmla="*/ 17160 w 17159"/>
                <a:gd name="connsiteY5" fmla="*/ 45759 h 54339"/>
                <a:gd name="connsiteX6" fmla="*/ 8580 w 17159"/>
                <a:gd name="connsiteY6" fmla="*/ 54339 h 54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59" h="54339">
                  <a:moveTo>
                    <a:pt x="8580" y="54339"/>
                  </a:moveTo>
                  <a:cubicBezTo>
                    <a:pt x="4420" y="54339"/>
                    <a:pt x="0" y="51219"/>
                    <a:pt x="0" y="45759"/>
                  </a:cubicBezTo>
                  <a:lnTo>
                    <a:pt x="0" y="8580"/>
                  </a:lnTo>
                  <a:cubicBezTo>
                    <a:pt x="0" y="4420"/>
                    <a:pt x="3120" y="0"/>
                    <a:pt x="8580" y="0"/>
                  </a:cubicBezTo>
                  <a:cubicBezTo>
                    <a:pt x="14040" y="0"/>
                    <a:pt x="17160" y="3120"/>
                    <a:pt x="17160" y="8580"/>
                  </a:cubicBezTo>
                  <a:lnTo>
                    <a:pt x="17160" y="45759"/>
                  </a:lnTo>
                  <a:cubicBezTo>
                    <a:pt x="16120" y="51219"/>
                    <a:pt x="13000" y="54339"/>
                    <a:pt x="8580" y="54339"/>
                  </a:cubicBezTo>
                  <a:close/>
                </a:path>
              </a:pathLst>
            </a:custGeom>
            <a:solidFill>
              <a:srgbClr val="00005A"/>
            </a:solidFill>
            <a:ln w="2597" cap="flat">
              <a:noFill/>
              <a:prstDash val="solid"/>
              <a:miter/>
            </a:ln>
          </p:spPr>
          <p:txBody>
            <a:bodyPr rtlCol="0" anchor="ctr"/>
            <a:lstStyle/>
            <a:p>
              <a:endParaRPr lang="en-GB"/>
            </a:p>
          </p:txBody>
        </p:sp>
      </p:grpSp>
      <p:grpSp>
        <p:nvGrpSpPr>
          <p:cNvPr id="565" name="Group 564">
            <a:extLst>
              <a:ext uri="{FF2B5EF4-FFF2-40B4-BE49-F238E27FC236}">
                <a16:creationId xmlns:a16="http://schemas.microsoft.com/office/drawing/2014/main" id="{D8483B02-B2C3-BDD6-69D3-81D3EF04A28E}"/>
              </a:ext>
            </a:extLst>
          </p:cNvPr>
          <p:cNvGrpSpPr/>
          <p:nvPr/>
        </p:nvGrpSpPr>
        <p:grpSpPr>
          <a:xfrm>
            <a:off x="7945546" y="4200561"/>
            <a:ext cx="239095" cy="238239"/>
            <a:chOff x="1470838" y="4914849"/>
            <a:chExt cx="290676" cy="289636"/>
          </a:xfrm>
        </p:grpSpPr>
        <p:grpSp>
          <p:nvGrpSpPr>
            <p:cNvPr id="566" name="Graphic 6">
              <a:extLst>
                <a:ext uri="{FF2B5EF4-FFF2-40B4-BE49-F238E27FC236}">
                  <a16:creationId xmlns:a16="http://schemas.microsoft.com/office/drawing/2014/main" id="{D473A224-9A14-3D4D-D626-BC223667C2C5}"/>
                </a:ext>
              </a:extLst>
            </p:cNvPr>
            <p:cNvGrpSpPr/>
            <p:nvPr/>
          </p:nvGrpSpPr>
          <p:grpSpPr>
            <a:xfrm>
              <a:off x="1470838" y="4914849"/>
              <a:ext cx="290676" cy="289636"/>
              <a:chOff x="5400411" y="3583051"/>
              <a:chExt cx="290676" cy="289636"/>
            </a:xfrm>
          </p:grpSpPr>
          <p:sp>
            <p:nvSpPr>
              <p:cNvPr id="568" name="Freeform: Shape 567">
                <a:extLst>
                  <a:ext uri="{FF2B5EF4-FFF2-40B4-BE49-F238E27FC236}">
                    <a16:creationId xmlns:a16="http://schemas.microsoft.com/office/drawing/2014/main" id="{5D4FD891-1CAE-69BA-58D3-AFDD90B2CEFF}"/>
                  </a:ext>
                </a:extLst>
              </p:cNvPr>
              <p:cNvSpPr/>
              <p:nvPr/>
            </p:nvSpPr>
            <p:spPr>
              <a:xfrm>
                <a:off x="5408731" y="3590330"/>
                <a:ext cx="274036" cy="274036"/>
              </a:xfrm>
              <a:custGeom>
                <a:avLst/>
                <a:gdLst>
                  <a:gd name="connsiteX0" fmla="*/ 274037 w 274036"/>
                  <a:gd name="connsiteY0" fmla="*/ 137018 h 274036"/>
                  <a:gd name="connsiteX1" fmla="*/ 137019 w 274036"/>
                  <a:gd name="connsiteY1" fmla="*/ 274037 h 274036"/>
                  <a:gd name="connsiteX2" fmla="*/ 0 w 274036"/>
                  <a:gd name="connsiteY2" fmla="*/ 137018 h 274036"/>
                  <a:gd name="connsiteX3" fmla="*/ 137019 w 274036"/>
                  <a:gd name="connsiteY3" fmla="*/ 0 h 274036"/>
                  <a:gd name="connsiteX4" fmla="*/ 274037 w 274036"/>
                  <a:gd name="connsiteY4" fmla="*/ 137018 h 274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036" h="274036">
                    <a:moveTo>
                      <a:pt x="274037" y="137018"/>
                    </a:moveTo>
                    <a:cubicBezTo>
                      <a:pt x="274037" y="212691"/>
                      <a:pt x="212692" y="274037"/>
                      <a:pt x="137019" y="274037"/>
                    </a:cubicBezTo>
                    <a:cubicBezTo>
                      <a:pt x="61346" y="274037"/>
                      <a:pt x="0" y="212691"/>
                      <a:pt x="0" y="137018"/>
                    </a:cubicBezTo>
                    <a:cubicBezTo>
                      <a:pt x="0" y="61345"/>
                      <a:pt x="61346" y="0"/>
                      <a:pt x="137019" y="0"/>
                    </a:cubicBezTo>
                    <a:cubicBezTo>
                      <a:pt x="212692" y="0"/>
                      <a:pt x="274037" y="61345"/>
                      <a:pt x="274037" y="137018"/>
                    </a:cubicBezTo>
                    <a:close/>
                  </a:path>
                </a:pathLst>
              </a:custGeom>
              <a:solidFill>
                <a:srgbClr val="00B050"/>
              </a:solidFill>
              <a:ln w="2597" cap="flat">
                <a:noFill/>
                <a:prstDash val="solid"/>
                <a:miter/>
              </a:ln>
            </p:spPr>
            <p:txBody>
              <a:bodyPr rtlCol="0" anchor="ctr"/>
              <a:lstStyle/>
              <a:p>
                <a:endParaRPr lang="en-GB"/>
              </a:p>
            </p:txBody>
          </p:sp>
          <p:sp>
            <p:nvSpPr>
              <p:cNvPr id="569" name="Freeform: Shape 568">
                <a:extLst>
                  <a:ext uri="{FF2B5EF4-FFF2-40B4-BE49-F238E27FC236}">
                    <a16:creationId xmlns:a16="http://schemas.microsoft.com/office/drawing/2014/main" id="{1F9F0B25-CA4E-C286-EB3A-A079329AAFF2}"/>
                  </a:ext>
                </a:extLst>
              </p:cNvPr>
              <p:cNvSpPr/>
              <p:nvPr/>
            </p:nvSpPr>
            <p:spPr>
              <a:xfrm>
                <a:off x="5400411" y="3583051"/>
                <a:ext cx="290676" cy="289636"/>
              </a:xfrm>
              <a:custGeom>
                <a:avLst/>
                <a:gdLst>
                  <a:gd name="connsiteX0" fmla="*/ 145338 w 290676"/>
                  <a:gd name="connsiteY0" fmla="*/ 289637 h 289636"/>
                  <a:gd name="connsiteX1" fmla="*/ 0 w 290676"/>
                  <a:gd name="connsiteY1" fmla="*/ 144298 h 289636"/>
                  <a:gd name="connsiteX2" fmla="*/ 145338 w 290676"/>
                  <a:gd name="connsiteY2" fmla="*/ 0 h 289636"/>
                  <a:gd name="connsiteX3" fmla="*/ 290676 w 290676"/>
                  <a:gd name="connsiteY3" fmla="*/ 144298 h 289636"/>
                  <a:gd name="connsiteX4" fmla="*/ 145338 w 290676"/>
                  <a:gd name="connsiteY4" fmla="*/ 289637 h 289636"/>
                  <a:gd name="connsiteX5" fmla="*/ 145338 w 290676"/>
                  <a:gd name="connsiteY5" fmla="*/ 14820 h 289636"/>
                  <a:gd name="connsiteX6" fmla="*/ 15860 w 290676"/>
                  <a:gd name="connsiteY6" fmla="*/ 143258 h 289636"/>
                  <a:gd name="connsiteX7" fmla="*/ 145338 w 290676"/>
                  <a:gd name="connsiteY7" fmla="*/ 272737 h 289636"/>
                  <a:gd name="connsiteX8" fmla="*/ 274817 w 290676"/>
                  <a:gd name="connsiteY8" fmla="*/ 143258 h 289636"/>
                  <a:gd name="connsiteX9" fmla="*/ 145338 w 290676"/>
                  <a:gd name="connsiteY9" fmla="*/ 14820 h 289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676" h="289636">
                    <a:moveTo>
                      <a:pt x="145338" y="289637"/>
                    </a:moveTo>
                    <a:cubicBezTo>
                      <a:pt x="65779" y="289637"/>
                      <a:pt x="0" y="224897"/>
                      <a:pt x="0" y="144298"/>
                    </a:cubicBezTo>
                    <a:cubicBezTo>
                      <a:pt x="0" y="63699"/>
                      <a:pt x="64739" y="0"/>
                      <a:pt x="145338" y="0"/>
                    </a:cubicBezTo>
                    <a:cubicBezTo>
                      <a:pt x="225937" y="0"/>
                      <a:pt x="290676" y="64739"/>
                      <a:pt x="290676" y="144298"/>
                    </a:cubicBezTo>
                    <a:cubicBezTo>
                      <a:pt x="290676" y="223858"/>
                      <a:pt x="224897" y="289637"/>
                      <a:pt x="145338" y="289637"/>
                    </a:cubicBezTo>
                    <a:close/>
                    <a:moveTo>
                      <a:pt x="145338" y="14820"/>
                    </a:moveTo>
                    <a:cubicBezTo>
                      <a:pt x="74359" y="14820"/>
                      <a:pt x="15860" y="73319"/>
                      <a:pt x="15860" y="143258"/>
                    </a:cubicBezTo>
                    <a:cubicBezTo>
                      <a:pt x="15860" y="214237"/>
                      <a:pt x="74359" y="272737"/>
                      <a:pt x="145338" y="272737"/>
                    </a:cubicBezTo>
                    <a:cubicBezTo>
                      <a:pt x="216317" y="272737"/>
                      <a:pt x="274817" y="214237"/>
                      <a:pt x="274817" y="143258"/>
                    </a:cubicBezTo>
                    <a:cubicBezTo>
                      <a:pt x="274817" y="73059"/>
                      <a:pt x="216317" y="14820"/>
                      <a:pt x="145338" y="14820"/>
                    </a:cubicBezTo>
                    <a:close/>
                  </a:path>
                </a:pathLst>
              </a:custGeom>
              <a:solidFill>
                <a:srgbClr val="FFFFFF"/>
              </a:solidFill>
              <a:ln w="2597" cap="flat">
                <a:noFill/>
                <a:prstDash val="solid"/>
                <a:miter/>
              </a:ln>
            </p:spPr>
            <p:txBody>
              <a:bodyPr rtlCol="0" anchor="ctr"/>
              <a:lstStyle/>
              <a:p>
                <a:endParaRPr lang="en-GB"/>
              </a:p>
            </p:txBody>
          </p:sp>
        </p:grpSp>
        <p:sp>
          <p:nvSpPr>
            <p:cNvPr id="567" name="Freeform: Shape 566">
              <a:extLst>
                <a:ext uri="{FF2B5EF4-FFF2-40B4-BE49-F238E27FC236}">
                  <a16:creationId xmlns:a16="http://schemas.microsoft.com/office/drawing/2014/main" id="{1801AE1B-B0FC-04DC-D23E-4658A9B356AF}"/>
                </a:ext>
              </a:extLst>
            </p:cNvPr>
            <p:cNvSpPr/>
            <p:nvPr/>
          </p:nvSpPr>
          <p:spPr>
            <a:xfrm>
              <a:off x="1555116" y="4957600"/>
              <a:ext cx="120339" cy="175645"/>
            </a:xfrm>
            <a:custGeom>
              <a:avLst/>
              <a:gdLst>
                <a:gd name="connsiteX0" fmla="*/ 61060 w 120339"/>
                <a:gd name="connsiteY0" fmla="*/ 175646 h 175645"/>
                <a:gd name="connsiteX1" fmla="*/ 37660 w 120339"/>
                <a:gd name="connsiteY1" fmla="*/ 172526 h 175645"/>
                <a:gd name="connsiteX2" fmla="*/ 17380 w 120339"/>
                <a:gd name="connsiteY2" fmla="*/ 159786 h 175645"/>
                <a:gd name="connsiteX3" fmla="*/ 4641 w 120339"/>
                <a:gd name="connsiteY3" fmla="*/ 139507 h 175645"/>
                <a:gd name="connsiteX4" fmla="*/ 14261 w 120339"/>
                <a:gd name="connsiteY4" fmla="*/ 63067 h 175645"/>
                <a:gd name="connsiteX5" fmla="*/ 15300 w 120339"/>
                <a:gd name="connsiteY5" fmla="*/ 60987 h 175645"/>
                <a:gd name="connsiteX6" fmla="*/ 22840 w 120339"/>
                <a:gd name="connsiteY6" fmla="*/ 57867 h 175645"/>
                <a:gd name="connsiteX7" fmla="*/ 31420 w 120339"/>
                <a:gd name="connsiteY7" fmla="*/ 63067 h 175645"/>
                <a:gd name="connsiteX8" fmla="*/ 71720 w 120339"/>
                <a:gd name="connsiteY8" fmla="*/ 1448 h 175645"/>
                <a:gd name="connsiteX9" fmla="*/ 72760 w 120339"/>
                <a:gd name="connsiteY9" fmla="*/ 408 h 175645"/>
                <a:gd name="connsiteX10" fmla="*/ 74840 w 120339"/>
                <a:gd name="connsiteY10" fmla="*/ 408 h 175645"/>
                <a:gd name="connsiteX11" fmla="*/ 83420 w 120339"/>
                <a:gd name="connsiteY11" fmla="*/ 2488 h 175645"/>
                <a:gd name="connsiteX12" fmla="*/ 86540 w 120339"/>
                <a:gd name="connsiteY12" fmla="*/ 18348 h 175645"/>
                <a:gd name="connsiteX13" fmla="*/ 104479 w 120339"/>
                <a:gd name="connsiteY13" fmla="*/ 71387 h 175645"/>
                <a:gd name="connsiteX14" fmla="*/ 117219 w 120339"/>
                <a:gd name="connsiteY14" fmla="*/ 91667 h 175645"/>
                <a:gd name="connsiteX15" fmla="*/ 120339 w 120339"/>
                <a:gd name="connsiteY15" fmla="*/ 115067 h 175645"/>
                <a:gd name="connsiteX16" fmla="*/ 117219 w 120339"/>
                <a:gd name="connsiteY16" fmla="*/ 138466 h 175645"/>
                <a:gd name="connsiteX17" fmla="*/ 104479 w 120339"/>
                <a:gd name="connsiteY17" fmla="*/ 158746 h 175645"/>
                <a:gd name="connsiteX18" fmla="*/ 84200 w 120339"/>
                <a:gd name="connsiteY18" fmla="*/ 171486 h 175645"/>
                <a:gd name="connsiteX19" fmla="*/ 61060 w 120339"/>
                <a:gd name="connsiteY19" fmla="*/ 175646 h 175645"/>
                <a:gd name="connsiteX20" fmla="*/ 23880 w 120339"/>
                <a:gd name="connsiteY20" fmla="*/ 79187 h 175645"/>
                <a:gd name="connsiteX21" fmla="*/ 19721 w 120339"/>
                <a:gd name="connsiteY21" fmla="*/ 133267 h 175645"/>
                <a:gd name="connsiteX22" fmla="*/ 28300 w 120339"/>
                <a:gd name="connsiteY22" fmla="*/ 148086 h 175645"/>
                <a:gd name="connsiteX23" fmla="*/ 42080 w 120339"/>
                <a:gd name="connsiteY23" fmla="*/ 156666 h 175645"/>
                <a:gd name="connsiteX24" fmla="*/ 79260 w 120339"/>
                <a:gd name="connsiteY24" fmla="*/ 156666 h 175645"/>
                <a:gd name="connsiteX25" fmla="*/ 93040 w 120339"/>
                <a:gd name="connsiteY25" fmla="*/ 148086 h 175645"/>
                <a:gd name="connsiteX26" fmla="*/ 101620 w 120339"/>
                <a:gd name="connsiteY26" fmla="*/ 134307 h 175645"/>
                <a:gd name="connsiteX27" fmla="*/ 104739 w 120339"/>
                <a:gd name="connsiteY27" fmla="*/ 115327 h 175645"/>
                <a:gd name="connsiteX28" fmla="*/ 101620 w 120339"/>
                <a:gd name="connsiteY28" fmla="*/ 96347 h 175645"/>
                <a:gd name="connsiteX29" fmla="*/ 93040 w 120339"/>
                <a:gd name="connsiteY29" fmla="*/ 82567 h 175645"/>
                <a:gd name="connsiteX30" fmla="*/ 70680 w 120339"/>
                <a:gd name="connsiteY30" fmla="*/ 23028 h 175645"/>
                <a:gd name="connsiteX31" fmla="*/ 54820 w 120339"/>
                <a:gd name="connsiteY31" fmla="*/ 94007 h 175645"/>
                <a:gd name="connsiteX32" fmla="*/ 54820 w 120339"/>
                <a:gd name="connsiteY32" fmla="*/ 108827 h 175645"/>
                <a:gd name="connsiteX33" fmla="*/ 53780 w 120339"/>
                <a:gd name="connsiteY33" fmla="*/ 109867 h 175645"/>
                <a:gd name="connsiteX34" fmla="*/ 51700 w 120339"/>
                <a:gd name="connsiteY34" fmla="*/ 110907 h 175645"/>
                <a:gd name="connsiteX35" fmla="*/ 32720 w 120339"/>
                <a:gd name="connsiteY35" fmla="*/ 92967 h 175645"/>
                <a:gd name="connsiteX36" fmla="*/ 23880 w 120339"/>
                <a:gd name="connsiteY36" fmla="*/ 79187 h 175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0339" h="175645">
                  <a:moveTo>
                    <a:pt x="61060" y="175646"/>
                  </a:moveTo>
                  <a:cubicBezTo>
                    <a:pt x="52480" y="175646"/>
                    <a:pt x="44160" y="174606"/>
                    <a:pt x="37660" y="172526"/>
                  </a:cubicBezTo>
                  <a:cubicBezTo>
                    <a:pt x="30120" y="170446"/>
                    <a:pt x="22840" y="164986"/>
                    <a:pt x="17380" y="159786"/>
                  </a:cubicBezTo>
                  <a:cubicBezTo>
                    <a:pt x="12181" y="154586"/>
                    <a:pt x="6721" y="147046"/>
                    <a:pt x="4641" y="139507"/>
                  </a:cubicBezTo>
                  <a:cubicBezTo>
                    <a:pt x="-3939" y="114027"/>
                    <a:pt x="-559" y="88547"/>
                    <a:pt x="14261" y="63067"/>
                  </a:cubicBezTo>
                  <a:lnTo>
                    <a:pt x="15300" y="60987"/>
                  </a:lnTo>
                  <a:cubicBezTo>
                    <a:pt x="17380" y="58907"/>
                    <a:pt x="20500" y="57867"/>
                    <a:pt x="22840" y="57867"/>
                  </a:cubicBezTo>
                  <a:cubicBezTo>
                    <a:pt x="25960" y="57867"/>
                    <a:pt x="28040" y="59947"/>
                    <a:pt x="31420" y="63067"/>
                  </a:cubicBezTo>
                  <a:cubicBezTo>
                    <a:pt x="33500" y="46168"/>
                    <a:pt x="43120" y="23808"/>
                    <a:pt x="71720" y="1448"/>
                  </a:cubicBezTo>
                  <a:lnTo>
                    <a:pt x="72760" y="408"/>
                  </a:lnTo>
                  <a:lnTo>
                    <a:pt x="74840" y="408"/>
                  </a:lnTo>
                  <a:cubicBezTo>
                    <a:pt x="77960" y="-632"/>
                    <a:pt x="81080" y="408"/>
                    <a:pt x="83420" y="2488"/>
                  </a:cubicBezTo>
                  <a:cubicBezTo>
                    <a:pt x="87580" y="5608"/>
                    <a:pt x="87580" y="11068"/>
                    <a:pt x="86540" y="18348"/>
                  </a:cubicBezTo>
                  <a:cubicBezTo>
                    <a:pt x="85500" y="31088"/>
                    <a:pt x="84460" y="53447"/>
                    <a:pt x="104479" y="71387"/>
                  </a:cubicBezTo>
                  <a:cubicBezTo>
                    <a:pt x="110719" y="77627"/>
                    <a:pt x="115139" y="84127"/>
                    <a:pt x="117219" y="91667"/>
                  </a:cubicBezTo>
                  <a:cubicBezTo>
                    <a:pt x="119299" y="99207"/>
                    <a:pt x="120339" y="106487"/>
                    <a:pt x="120339" y="115067"/>
                  </a:cubicBezTo>
                  <a:cubicBezTo>
                    <a:pt x="120339" y="123646"/>
                    <a:pt x="119299" y="131967"/>
                    <a:pt x="117219" y="138466"/>
                  </a:cubicBezTo>
                  <a:cubicBezTo>
                    <a:pt x="115139" y="146006"/>
                    <a:pt x="109679" y="153286"/>
                    <a:pt x="104479" y="158746"/>
                  </a:cubicBezTo>
                  <a:cubicBezTo>
                    <a:pt x="99280" y="164206"/>
                    <a:pt x="91740" y="169406"/>
                    <a:pt x="84200" y="171486"/>
                  </a:cubicBezTo>
                  <a:cubicBezTo>
                    <a:pt x="77960" y="174606"/>
                    <a:pt x="69380" y="175646"/>
                    <a:pt x="61060" y="175646"/>
                  </a:cubicBezTo>
                  <a:close/>
                  <a:moveTo>
                    <a:pt x="23880" y="79187"/>
                  </a:moveTo>
                  <a:cubicBezTo>
                    <a:pt x="11140" y="106747"/>
                    <a:pt x="17640" y="127027"/>
                    <a:pt x="19721" y="133267"/>
                  </a:cubicBezTo>
                  <a:cubicBezTo>
                    <a:pt x="21800" y="138466"/>
                    <a:pt x="24920" y="144966"/>
                    <a:pt x="28300" y="148086"/>
                  </a:cubicBezTo>
                  <a:cubicBezTo>
                    <a:pt x="31420" y="151206"/>
                    <a:pt x="37920" y="155626"/>
                    <a:pt x="42080" y="156666"/>
                  </a:cubicBezTo>
                  <a:cubicBezTo>
                    <a:pt x="52740" y="159786"/>
                    <a:pt x="68600" y="159786"/>
                    <a:pt x="79260" y="156666"/>
                  </a:cubicBezTo>
                  <a:cubicBezTo>
                    <a:pt x="83420" y="155626"/>
                    <a:pt x="89920" y="151466"/>
                    <a:pt x="93040" y="148086"/>
                  </a:cubicBezTo>
                  <a:cubicBezTo>
                    <a:pt x="97199" y="144966"/>
                    <a:pt x="100580" y="138466"/>
                    <a:pt x="101620" y="134307"/>
                  </a:cubicBezTo>
                  <a:cubicBezTo>
                    <a:pt x="103699" y="129107"/>
                    <a:pt x="104739" y="122607"/>
                    <a:pt x="104739" y="115327"/>
                  </a:cubicBezTo>
                  <a:cubicBezTo>
                    <a:pt x="104739" y="109087"/>
                    <a:pt x="103699" y="101547"/>
                    <a:pt x="101620" y="96347"/>
                  </a:cubicBezTo>
                  <a:cubicBezTo>
                    <a:pt x="99539" y="91147"/>
                    <a:pt x="97460" y="86727"/>
                    <a:pt x="93040" y="82567"/>
                  </a:cubicBezTo>
                  <a:cubicBezTo>
                    <a:pt x="71720" y="62287"/>
                    <a:pt x="69640" y="39147"/>
                    <a:pt x="70680" y="23028"/>
                  </a:cubicBezTo>
                  <a:cubicBezTo>
                    <a:pt x="35580" y="57087"/>
                    <a:pt x="48320" y="82567"/>
                    <a:pt x="54820" y="94007"/>
                  </a:cubicBezTo>
                  <a:cubicBezTo>
                    <a:pt x="56900" y="98167"/>
                    <a:pt x="60020" y="103627"/>
                    <a:pt x="54820" y="108827"/>
                  </a:cubicBezTo>
                  <a:lnTo>
                    <a:pt x="53780" y="109867"/>
                  </a:lnTo>
                  <a:lnTo>
                    <a:pt x="51700" y="110907"/>
                  </a:lnTo>
                  <a:cubicBezTo>
                    <a:pt x="44160" y="112987"/>
                    <a:pt x="41040" y="107787"/>
                    <a:pt x="32720" y="92967"/>
                  </a:cubicBezTo>
                  <a:cubicBezTo>
                    <a:pt x="30120" y="90887"/>
                    <a:pt x="25960" y="84387"/>
                    <a:pt x="23880" y="79187"/>
                  </a:cubicBezTo>
                  <a:close/>
                </a:path>
              </a:pathLst>
            </a:custGeom>
            <a:solidFill>
              <a:srgbClr val="FFFFFF"/>
            </a:solidFill>
            <a:ln w="2597" cap="flat">
              <a:noFill/>
              <a:prstDash val="solid"/>
              <a:miter/>
            </a:ln>
          </p:spPr>
          <p:txBody>
            <a:bodyPr rtlCol="0" anchor="ctr"/>
            <a:lstStyle/>
            <a:p>
              <a:endParaRPr lang="en-GB"/>
            </a:p>
          </p:txBody>
        </p:sp>
      </p:grpSp>
      <p:grpSp>
        <p:nvGrpSpPr>
          <p:cNvPr id="540" name="Graphic 6">
            <a:extLst>
              <a:ext uri="{FF2B5EF4-FFF2-40B4-BE49-F238E27FC236}">
                <a16:creationId xmlns:a16="http://schemas.microsoft.com/office/drawing/2014/main" id="{7A4AA2EF-26D5-0A40-3DAC-424FC047F97A}"/>
              </a:ext>
            </a:extLst>
          </p:cNvPr>
          <p:cNvGrpSpPr/>
          <p:nvPr/>
        </p:nvGrpSpPr>
        <p:grpSpPr>
          <a:xfrm>
            <a:off x="6550301" y="5005140"/>
            <a:ext cx="200827" cy="347384"/>
            <a:chOff x="3578850" y="4708578"/>
            <a:chExt cx="278219" cy="481254"/>
          </a:xfrm>
        </p:grpSpPr>
        <p:grpSp>
          <p:nvGrpSpPr>
            <p:cNvPr id="553" name="Graphic 6">
              <a:extLst>
                <a:ext uri="{FF2B5EF4-FFF2-40B4-BE49-F238E27FC236}">
                  <a16:creationId xmlns:a16="http://schemas.microsoft.com/office/drawing/2014/main" id="{AA6C8D10-D90D-40E6-2B54-100AFFC24D2E}"/>
                </a:ext>
              </a:extLst>
            </p:cNvPr>
            <p:cNvGrpSpPr/>
            <p:nvPr/>
          </p:nvGrpSpPr>
          <p:grpSpPr>
            <a:xfrm>
              <a:off x="3610072" y="4772082"/>
              <a:ext cx="246997" cy="377190"/>
              <a:chOff x="3610072" y="4772082"/>
              <a:chExt cx="246997" cy="377190"/>
            </a:xfrm>
            <a:solidFill>
              <a:srgbClr val="0069FF"/>
            </a:solidFill>
          </p:grpSpPr>
          <p:sp>
            <p:nvSpPr>
              <p:cNvPr id="562" name="Freeform: Shape 561">
                <a:extLst>
                  <a:ext uri="{FF2B5EF4-FFF2-40B4-BE49-F238E27FC236}">
                    <a16:creationId xmlns:a16="http://schemas.microsoft.com/office/drawing/2014/main" id="{BC5F35BB-F7DC-DCEC-5D45-C8096D3BAEF2}"/>
                  </a:ext>
                </a:extLst>
              </p:cNvPr>
              <p:cNvSpPr/>
              <p:nvPr/>
            </p:nvSpPr>
            <p:spPr>
              <a:xfrm>
                <a:off x="3615272" y="4777270"/>
                <a:ext cx="236597" cy="366802"/>
              </a:xfrm>
              <a:custGeom>
                <a:avLst/>
                <a:gdLst>
                  <a:gd name="connsiteX0" fmla="*/ 236597 w 236597"/>
                  <a:gd name="connsiteY0" fmla="*/ 366802 h 366802"/>
                  <a:gd name="connsiteX1" fmla="*/ 0 w 236597"/>
                  <a:gd name="connsiteY1" fmla="*/ 366802 h 366802"/>
                  <a:gd name="connsiteX2" fmla="*/ 0 w 236597"/>
                  <a:gd name="connsiteY2" fmla="*/ 13466 h 366802"/>
                  <a:gd name="connsiteX3" fmla="*/ 236597 w 236597"/>
                  <a:gd name="connsiteY3" fmla="*/ 13466 h 366802"/>
                  <a:gd name="connsiteX4" fmla="*/ 236597 w 236597"/>
                  <a:gd name="connsiteY4" fmla="*/ 366802 h 366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97" h="366802">
                    <a:moveTo>
                      <a:pt x="236597" y="366802"/>
                    </a:moveTo>
                    <a:lnTo>
                      <a:pt x="0" y="366802"/>
                    </a:lnTo>
                    <a:lnTo>
                      <a:pt x="0" y="13466"/>
                    </a:lnTo>
                    <a:cubicBezTo>
                      <a:pt x="72279" y="-5514"/>
                      <a:pt x="151838" y="-3434"/>
                      <a:pt x="236597" y="13466"/>
                    </a:cubicBezTo>
                    <a:lnTo>
                      <a:pt x="236597" y="366802"/>
                    </a:lnTo>
                    <a:close/>
                  </a:path>
                </a:pathLst>
              </a:custGeom>
              <a:solidFill>
                <a:srgbClr val="0069FF"/>
              </a:solidFill>
              <a:ln w="2597" cap="flat">
                <a:noFill/>
                <a:prstDash val="solid"/>
                <a:miter/>
              </a:ln>
            </p:spPr>
            <p:txBody>
              <a:bodyPr rtlCol="0" anchor="ctr"/>
              <a:lstStyle/>
              <a:p>
                <a:endParaRPr lang="en-GB"/>
              </a:p>
            </p:txBody>
          </p:sp>
          <p:sp>
            <p:nvSpPr>
              <p:cNvPr id="563" name="Freeform: Shape 562">
                <a:extLst>
                  <a:ext uri="{FF2B5EF4-FFF2-40B4-BE49-F238E27FC236}">
                    <a16:creationId xmlns:a16="http://schemas.microsoft.com/office/drawing/2014/main" id="{18555C7C-592A-CCC9-42A8-674DDDD15B4A}"/>
                  </a:ext>
                </a:extLst>
              </p:cNvPr>
              <p:cNvSpPr/>
              <p:nvPr/>
            </p:nvSpPr>
            <p:spPr>
              <a:xfrm>
                <a:off x="3610072" y="4772082"/>
                <a:ext cx="246997" cy="377190"/>
              </a:xfrm>
              <a:custGeom>
                <a:avLst/>
                <a:gdLst>
                  <a:gd name="connsiteX0" fmla="*/ 241797 w 246997"/>
                  <a:gd name="connsiteY0" fmla="*/ 377191 h 377190"/>
                  <a:gd name="connsiteX1" fmla="*/ 5200 w 246997"/>
                  <a:gd name="connsiteY1" fmla="*/ 377191 h 377190"/>
                  <a:gd name="connsiteX2" fmla="*/ 0 w 246997"/>
                  <a:gd name="connsiteY2" fmla="*/ 371991 h 377190"/>
                  <a:gd name="connsiteX3" fmla="*/ 0 w 246997"/>
                  <a:gd name="connsiteY3" fmla="*/ 18655 h 377190"/>
                  <a:gd name="connsiteX4" fmla="*/ 4160 w 246997"/>
                  <a:gd name="connsiteY4" fmla="*/ 13455 h 377190"/>
                  <a:gd name="connsiteX5" fmla="*/ 242837 w 246997"/>
                  <a:gd name="connsiteY5" fmla="*/ 13455 h 377190"/>
                  <a:gd name="connsiteX6" fmla="*/ 246997 w 246997"/>
                  <a:gd name="connsiteY6" fmla="*/ 18655 h 377190"/>
                  <a:gd name="connsiteX7" fmla="*/ 246997 w 246997"/>
                  <a:gd name="connsiteY7" fmla="*/ 371991 h 377190"/>
                  <a:gd name="connsiteX8" fmla="*/ 241797 w 246997"/>
                  <a:gd name="connsiteY8" fmla="*/ 377191 h 377190"/>
                  <a:gd name="connsiteX9" fmla="*/ 10400 w 246997"/>
                  <a:gd name="connsiteY9" fmla="*/ 366791 h 377190"/>
                  <a:gd name="connsiteX10" fmla="*/ 236337 w 246997"/>
                  <a:gd name="connsiteY10" fmla="*/ 366791 h 377190"/>
                  <a:gd name="connsiteX11" fmla="*/ 236337 w 246997"/>
                  <a:gd name="connsiteY11" fmla="*/ 22815 h 377190"/>
                  <a:gd name="connsiteX12" fmla="*/ 10400 w 246997"/>
                  <a:gd name="connsiteY12" fmla="*/ 22815 h 377190"/>
                  <a:gd name="connsiteX13" fmla="*/ 10400 w 246997"/>
                  <a:gd name="connsiteY13" fmla="*/ 366791 h 3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6997" h="377190">
                    <a:moveTo>
                      <a:pt x="241797" y="377191"/>
                    </a:moveTo>
                    <a:lnTo>
                      <a:pt x="5200" y="377191"/>
                    </a:lnTo>
                    <a:cubicBezTo>
                      <a:pt x="2080" y="377191"/>
                      <a:pt x="0" y="375111"/>
                      <a:pt x="0" y="371991"/>
                    </a:cubicBezTo>
                    <a:lnTo>
                      <a:pt x="0" y="18655"/>
                    </a:lnTo>
                    <a:cubicBezTo>
                      <a:pt x="0" y="16575"/>
                      <a:pt x="2080" y="14495"/>
                      <a:pt x="4160" y="13455"/>
                    </a:cubicBezTo>
                    <a:cubicBezTo>
                      <a:pt x="73059" y="-4485"/>
                      <a:pt x="151578" y="-4485"/>
                      <a:pt x="242837" y="13455"/>
                    </a:cubicBezTo>
                    <a:cubicBezTo>
                      <a:pt x="244917" y="13455"/>
                      <a:pt x="246997" y="16575"/>
                      <a:pt x="246997" y="18655"/>
                    </a:cubicBezTo>
                    <a:lnTo>
                      <a:pt x="246997" y="371991"/>
                    </a:lnTo>
                    <a:cubicBezTo>
                      <a:pt x="246997" y="375111"/>
                      <a:pt x="244917" y="377191"/>
                      <a:pt x="241797" y="377191"/>
                    </a:cubicBezTo>
                    <a:close/>
                    <a:moveTo>
                      <a:pt x="10400" y="366791"/>
                    </a:moveTo>
                    <a:lnTo>
                      <a:pt x="236337" y="366791"/>
                    </a:lnTo>
                    <a:lnTo>
                      <a:pt x="236337" y="22815"/>
                    </a:lnTo>
                    <a:cubicBezTo>
                      <a:pt x="150278" y="5915"/>
                      <a:pt x="76179" y="5915"/>
                      <a:pt x="10400" y="22815"/>
                    </a:cubicBezTo>
                    <a:cubicBezTo>
                      <a:pt x="10400" y="22815"/>
                      <a:pt x="10400" y="366791"/>
                      <a:pt x="10400" y="366791"/>
                    </a:cubicBezTo>
                    <a:close/>
                  </a:path>
                </a:pathLst>
              </a:custGeom>
              <a:solidFill>
                <a:srgbClr val="0069FF"/>
              </a:solidFill>
              <a:ln w="2597" cap="flat">
                <a:noFill/>
                <a:prstDash val="solid"/>
                <a:miter/>
              </a:ln>
            </p:spPr>
            <p:txBody>
              <a:bodyPr rtlCol="0" anchor="ctr"/>
              <a:lstStyle/>
              <a:p>
                <a:endParaRPr lang="en-GB"/>
              </a:p>
            </p:txBody>
          </p:sp>
        </p:grpSp>
        <p:sp>
          <p:nvSpPr>
            <p:cNvPr id="554" name="Freeform: Shape 553">
              <a:extLst>
                <a:ext uri="{FF2B5EF4-FFF2-40B4-BE49-F238E27FC236}">
                  <a16:creationId xmlns:a16="http://schemas.microsoft.com/office/drawing/2014/main" id="{7F07DB26-B2DF-1E4E-3A5C-2A3464ED0303}"/>
                </a:ext>
              </a:extLst>
            </p:cNvPr>
            <p:cNvSpPr/>
            <p:nvPr/>
          </p:nvSpPr>
          <p:spPr>
            <a:xfrm>
              <a:off x="3579132" y="4742182"/>
              <a:ext cx="252457" cy="382910"/>
            </a:xfrm>
            <a:custGeom>
              <a:avLst/>
              <a:gdLst>
                <a:gd name="connsiteX0" fmla="*/ 245177 w 252457"/>
                <a:gd name="connsiteY0" fmla="*/ 382911 h 382910"/>
                <a:gd name="connsiteX1" fmla="*/ 8580 w 252457"/>
                <a:gd name="connsiteY1" fmla="*/ 382911 h 382910"/>
                <a:gd name="connsiteX2" fmla="*/ 0 w 252457"/>
                <a:gd name="connsiteY2" fmla="*/ 374331 h 382910"/>
                <a:gd name="connsiteX3" fmla="*/ 0 w 252457"/>
                <a:gd name="connsiteY3" fmla="*/ 20995 h 382910"/>
                <a:gd name="connsiteX4" fmla="*/ 6240 w 252457"/>
                <a:gd name="connsiteY4" fmla="*/ 13455 h 382910"/>
                <a:gd name="connsiteX5" fmla="*/ 246217 w 252457"/>
                <a:gd name="connsiteY5" fmla="*/ 13455 h 382910"/>
                <a:gd name="connsiteX6" fmla="*/ 252457 w 252457"/>
                <a:gd name="connsiteY6" fmla="*/ 20995 h 382910"/>
                <a:gd name="connsiteX7" fmla="*/ 252457 w 252457"/>
                <a:gd name="connsiteY7" fmla="*/ 374331 h 382910"/>
                <a:gd name="connsiteX8" fmla="*/ 245177 w 252457"/>
                <a:gd name="connsiteY8" fmla="*/ 382911 h 382910"/>
                <a:gd name="connsiteX9" fmla="*/ 15860 w 252457"/>
                <a:gd name="connsiteY9" fmla="*/ 366791 h 382910"/>
                <a:gd name="connsiteX10" fmla="*/ 236597 w 252457"/>
                <a:gd name="connsiteY10" fmla="*/ 366791 h 382910"/>
                <a:gd name="connsiteX11" fmla="*/ 236597 w 252457"/>
                <a:gd name="connsiteY11" fmla="*/ 28275 h 382910"/>
                <a:gd name="connsiteX12" fmla="*/ 15860 w 252457"/>
                <a:gd name="connsiteY12" fmla="*/ 28275 h 382910"/>
                <a:gd name="connsiteX13" fmla="*/ 15860 w 252457"/>
                <a:gd name="connsiteY13" fmla="*/ 366791 h 382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2457" h="382910">
                  <a:moveTo>
                    <a:pt x="245177" y="382911"/>
                  </a:moveTo>
                  <a:lnTo>
                    <a:pt x="8580" y="382911"/>
                  </a:lnTo>
                  <a:cubicBezTo>
                    <a:pt x="4420" y="382911"/>
                    <a:pt x="0" y="379791"/>
                    <a:pt x="0" y="374331"/>
                  </a:cubicBezTo>
                  <a:lnTo>
                    <a:pt x="0" y="20995"/>
                  </a:lnTo>
                  <a:cubicBezTo>
                    <a:pt x="0" y="17875"/>
                    <a:pt x="2080" y="14755"/>
                    <a:pt x="6240" y="13455"/>
                  </a:cubicBezTo>
                  <a:cubicBezTo>
                    <a:pt x="76179" y="-4485"/>
                    <a:pt x="154698" y="-4485"/>
                    <a:pt x="246217" y="13455"/>
                  </a:cubicBezTo>
                  <a:cubicBezTo>
                    <a:pt x="250377" y="14495"/>
                    <a:pt x="252457" y="17615"/>
                    <a:pt x="252457" y="20995"/>
                  </a:cubicBezTo>
                  <a:lnTo>
                    <a:pt x="252457" y="374331"/>
                  </a:lnTo>
                  <a:cubicBezTo>
                    <a:pt x="252457" y="379531"/>
                    <a:pt x="249337" y="382911"/>
                    <a:pt x="245177" y="382911"/>
                  </a:cubicBezTo>
                  <a:close/>
                  <a:moveTo>
                    <a:pt x="15860" y="366791"/>
                  </a:moveTo>
                  <a:lnTo>
                    <a:pt x="236597" y="366791"/>
                  </a:lnTo>
                  <a:lnTo>
                    <a:pt x="236597" y="28275"/>
                  </a:lnTo>
                  <a:cubicBezTo>
                    <a:pt x="152878" y="12415"/>
                    <a:pt x="80599" y="12415"/>
                    <a:pt x="15860" y="28275"/>
                  </a:cubicBezTo>
                  <a:lnTo>
                    <a:pt x="15860" y="366791"/>
                  </a:lnTo>
                  <a:close/>
                </a:path>
              </a:pathLst>
            </a:custGeom>
            <a:solidFill>
              <a:srgbClr val="00005A"/>
            </a:solidFill>
            <a:ln w="2597" cap="flat">
              <a:noFill/>
              <a:prstDash val="solid"/>
              <a:miter/>
            </a:ln>
          </p:spPr>
          <p:txBody>
            <a:bodyPr rtlCol="0" anchor="ctr"/>
            <a:lstStyle/>
            <a:p>
              <a:endParaRPr lang="en-GB"/>
            </a:p>
          </p:txBody>
        </p:sp>
        <p:sp>
          <p:nvSpPr>
            <p:cNvPr id="555" name="Freeform: Shape 554">
              <a:extLst>
                <a:ext uri="{FF2B5EF4-FFF2-40B4-BE49-F238E27FC236}">
                  <a16:creationId xmlns:a16="http://schemas.microsoft.com/office/drawing/2014/main" id="{050E1D99-CD9B-98A3-2FAC-F8F1DACFC326}"/>
                </a:ext>
              </a:extLst>
            </p:cNvPr>
            <p:cNvSpPr/>
            <p:nvPr/>
          </p:nvSpPr>
          <p:spPr>
            <a:xfrm>
              <a:off x="3657651" y="4708578"/>
              <a:ext cx="96719" cy="50179"/>
            </a:xfrm>
            <a:custGeom>
              <a:avLst/>
              <a:gdLst>
                <a:gd name="connsiteX0" fmla="*/ 88139 w 96719"/>
                <a:gd name="connsiteY0" fmla="*/ 50180 h 50179"/>
                <a:gd name="connsiteX1" fmla="*/ 8580 w 96719"/>
                <a:gd name="connsiteY1" fmla="*/ 50180 h 50179"/>
                <a:gd name="connsiteX2" fmla="*/ 0 w 96719"/>
                <a:gd name="connsiteY2" fmla="*/ 41600 h 50179"/>
                <a:gd name="connsiteX3" fmla="*/ 0 w 96719"/>
                <a:gd name="connsiteY3" fmla="*/ 8580 h 50179"/>
                <a:gd name="connsiteX4" fmla="*/ 8580 w 96719"/>
                <a:gd name="connsiteY4" fmla="*/ 0 h 50179"/>
                <a:gd name="connsiteX5" fmla="*/ 88139 w 96719"/>
                <a:gd name="connsiteY5" fmla="*/ 0 h 50179"/>
                <a:gd name="connsiteX6" fmla="*/ 96719 w 96719"/>
                <a:gd name="connsiteY6" fmla="*/ 8580 h 50179"/>
                <a:gd name="connsiteX7" fmla="*/ 96719 w 96719"/>
                <a:gd name="connsiteY7" fmla="*/ 41600 h 50179"/>
                <a:gd name="connsiteX8" fmla="*/ 88139 w 96719"/>
                <a:gd name="connsiteY8" fmla="*/ 50180 h 50179"/>
                <a:gd name="connsiteX9" fmla="*/ 15860 w 96719"/>
                <a:gd name="connsiteY9" fmla="*/ 34320 h 50179"/>
                <a:gd name="connsiteX10" fmla="*/ 79559 w 96719"/>
                <a:gd name="connsiteY10" fmla="*/ 34320 h 50179"/>
                <a:gd name="connsiteX11" fmla="*/ 79559 w 96719"/>
                <a:gd name="connsiteY11" fmla="*/ 17420 h 50179"/>
                <a:gd name="connsiteX12" fmla="*/ 15860 w 96719"/>
                <a:gd name="connsiteY12" fmla="*/ 17420 h 50179"/>
                <a:gd name="connsiteX13" fmla="*/ 15860 w 96719"/>
                <a:gd name="connsiteY13" fmla="*/ 34320 h 50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719" h="50179">
                  <a:moveTo>
                    <a:pt x="88139" y="50180"/>
                  </a:moveTo>
                  <a:lnTo>
                    <a:pt x="8580" y="50180"/>
                  </a:lnTo>
                  <a:cubicBezTo>
                    <a:pt x="4420" y="50180"/>
                    <a:pt x="0" y="47059"/>
                    <a:pt x="0" y="41600"/>
                  </a:cubicBezTo>
                  <a:lnTo>
                    <a:pt x="0" y="8580"/>
                  </a:lnTo>
                  <a:cubicBezTo>
                    <a:pt x="0" y="4420"/>
                    <a:pt x="3120" y="0"/>
                    <a:pt x="8580" y="0"/>
                  </a:cubicBezTo>
                  <a:lnTo>
                    <a:pt x="88139" y="0"/>
                  </a:lnTo>
                  <a:cubicBezTo>
                    <a:pt x="92299" y="0"/>
                    <a:pt x="96719" y="3120"/>
                    <a:pt x="96719" y="8580"/>
                  </a:cubicBezTo>
                  <a:lnTo>
                    <a:pt x="96719" y="41600"/>
                  </a:lnTo>
                  <a:cubicBezTo>
                    <a:pt x="95419" y="46020"/>
                    <a:pt x="92299" y="50180"/>
                    <a:pt x="88139" y="50180"/>
                  </a:cubicBezTo>
                  <a:close/>
                  <a:moveTo>
                    <a:pt x="15860" y="34320"/>
                  </a:moveTo>
                  <a:lnTo>
                    <a:pt x="79559" y="34320"/>
                  </a:lnTo>
                  <a:lnTo>
                    <a:pt x="79559" y="17420"/>
                  </a:lnTo>
                  <a:lnTo>
                    <a:pt x="15860" y="17420"/>
                  </a:lnTo>
                  <a:lnTo>
                    <a:pt x="15860" y="34320"/>
                  </a:lnTo>
                  <a:close/>
                </a:path>
              </a:pathLst>
            </a:custGeom>
            <a:solidFill>
              <a:srgbClr val="00005A"/>
            </a:solidFill>
            <a:ln w="2597" cap="flat">
              <a:noFill/>
              <a:prstDash val="solid"/>
              <a:miter/>
            </a:ln>
          </p:spPr>
          <p:txBody>
            <a:bodyPr rtlCol="0" anchor="ctr"/>
            <a:lstStyle/>
            <a:p>
              <a:endParaRPr lang="en-GB"/>
            </a:p>
          </p:txBody>
        </p:sp>
        <p:sp>
          <p:nvSpPr>
            <p:cNvPr id="556" name="Freeform: Shape 555">
              <a:extLst>
                <a:ext uri="{FF2B5EF4-FFF2-40B4-BE49-F238E27FC236}">
                  <a16:creationId xmlns:a16="http://schemas.microsoft.com/office/drawing/2014/main" id="{03CEBAB4-7B29-81B1-04BB-A1245B15839E}"/>
                </a:ext>
              </a:extLst>
            </p:cNvPr>
            <p:cNvSpPr/>
            <p:nvPr/>
          </p:nvSpPr>
          <p:spPr>
            <a:xfrm>
              <a:off x="3578850" y="5017417"/>
              <a:ext cx="253200" cy="28897"/>
            </a:xfrm>
            <a:custGeom>
              <a:avLst/>
              <a:gdLst>
                <a:gd name="connsiteX0" fmla="*/ 122221 w 253200"/>
                <a:gd name="connsiteY0" fmla="*/ 28897 h 28897"/>
                <a:gd name="connsiteX1" fmla="*/ 6522 w 253200"/>
                <a:gd name="connsiteY1" fmla="*/ 16157 h 28897"/>
                <a:gd name="connsiteX2" fmla="*/ 282 w 253200"/>
                <a:gd name="connsiteY2" fmla="*/ 6538 h 28897"/>
                <a:gd name="connsiteX3" fmla="*/ 9902 w 253200"/>
                <a:gd name="connsiteY3" fmla="*/ 298 h 28897"/>
                <a:gd name="connsiteX4" fmla="*/ 243380 w 253200"/>
                <a:gd name="connsiteY4" fmla="*/ 298 h 28897"/>
                <a:gd name="connsiteX5" fmla="*/ 252999 w 253200"/>
                <a:gd name="connsiteY5" fmla="*/ 6538 h 28897"/>
                <a:gd name="connsiteX6" fmla="*/ 246759 w 253200"/>
                <a:gd name="connsiteY6" fmla="*/ 16157 h 28897"/>
                <a:gd name="connsiteX7" fmla="*/ 122221 w 253200"/>
                <a:gd name="connsiteY7" fmla="*/ 28897 h 28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3200" h="28897">
                  <a:moveTo>
                    <a:pt x="122221" y="28897"/>
                  </a:moveTo>
                  <a:cubicBezTo>
                    <a:pt x="81921" y="28897"/>
                    <a:pt x="43702" y="24737"/>
                    <a:pt x="6522" y="16157"/>
                  </a:cubicBezTo>
                  <a:cubicBezTo>
                    <a:pt x="2362" y="15117"/>
                    <a:pt x="-1018" y="10957"/>
                    <a:pt x="282" y="6538"/>
                  </a:cubicBezTo>
                  <a:cubicBezTo>
                    <a:pt x="1582" y="2117"/>
                    <a:pt x="5482" y="-1002"/>
                    <a:pt x="9902" y="298"/>
                  </a:cubicBezTo>
                  <a:cubicBezTo>
                    <a:pt x="82181" y="16157"/>
                    <a:pt x="158360" y="16157"/>
                    <a:pt x="243380" y="298"/>
                  </a:cubicBezTo>
                  <a:cubicBezTo>
                    <a:pt x="247539" y="-742"/>
                    <a:pt x="251959" y="2378"/>
                    <a:pt x="252999" y="6538"/>
                  </a:cubicBezTo>
                  <a:cubicBezTo>
                    <a:pt x="254039" y="10697"/>
                    <a:pt x="250919" y="15117"/>
                    <a:pt x="246759" y="16157"/>
                  </a:cubicBezTo>
                  <a:cubicBezTo>
                    <a:pt x="203080" y="24737"/>
                    <a:pt x="162521" y="28897"/>
                    <a:pt x="122221" y="28897"/>
                  </a:cubicBezTo>
                  <a:close/>
                </a:path>
              </a:pathLst>
            </a:custGeom>
            <a:solidFill>
              <a:srgbClr val="00005A"/>
            </a:solidFill>
            <a:ln w="2597" cap="flat">
              <a:noFill/>
              <a:prstDash val="solid"/>
              <a:miter/>
            </a:ln>
          </p:spPr>
          <p:txBody>
            <a:bodyPr rtlCol="0" anchor="ctr"/>
            <a:lstStyle/>
            <a:p>
              <a:endParaRPr lang="en-GB"/>
            </a:p>
          </p:txBody>
        </p:sp>
        <p:sp>
          <p:nvSpPr>
            <p:cNvPr id="557" name="Freeform: Shape 556">
              <a:extLst>
                <a:ext uri="{FF2B5EF4-FFF2-40B4-BE49-F238E27FC236}">
                  <a16:creationId xmlns:a16="http://schemas.microsoft.com/office/drawing/2014/main" id="{D0F12870-F896-84B5-98B0-B96E337F35ED}"/>
                </a:ext>
              </a:extLst>
            </p:cNvPr>
            <p:cNvSpPr/>
            <p:nvPr/>
          </p:nvSpPr>
          <p:spPr>
            <a:xfrm>
              <a:off x="3626971" y="5061394"/>
              <a:ext cx="30679" cy="31719"/>
            </a:xfrm>
            <a:custGeom>
              <a:avLst/>
              <a:gdLst>
                <a:gd name="connsiteX0" fmla="*/ 15860 w 30679"/>
                <a:gd name="connsiteY0" fmla="*/ 31720 h 31719"/>
                <a:gd name="connsiteX1" fmla="*/ 0 w 30679"/>
                <a:gd name="connsiteY1" fmla="*/ 15860 h 31719"/>
                <a:gd name="connsiteX2" fmla="*/ 15860 w 30679"/>
                <a:gd name="connsiteY2" fmla="*/ 0 h 31719"/>
                <a:gd name="connsiteX3" fmla="*/ 30679 w 30679"/>
                <a:gd name="connsiteY3" fmla="*/ 15860 h 31719"/>
                <a:gd name="connsiteX4" fmla="*/ 15860 w 30679"/>
                <a:gd name="connsiteY4" fmla="*/ 31720 h 31719"/>
                <a:gd name="connsiteX5" fmla="*/ 14820 w 30679"/>
                <a:gd name="connsiteY5" fmla="*/ 15860 h 31719"/>
                <a:gd name="connsiteX6" fmla="*/ 14820 w 30679"/>
                <a:gd name="connsiteY6" fmla="*/ 15860 h 31719"/>
                <a:gd name="connsiteX7" fmla="*/ 15860 w 30679"/>
                <a:gd name="connsiteY7" fmla="*/ 15860 h 31719"/>
                <a:gd name="connsiteX8" fmla="*/ 14820 w 30679"/>
                <a:gd name="connsiteY8" fmla="*/ 15860 h 3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79" h="31719">
                  <a:moveTo>
                    <a:pt x="15860" y="31720"/>
                  </a:moveTo>
                  <a:cubicBezTo>
                    <a:pt x="7280" y="31720"/>
                    <a:pt x="0" y="24180"/>
                    <a:pt x="0" y="15860"/>
                  </a:cubicBezTo>
                  <a:cubicBezTo>
                    <a:pt x="0" y="7280"/>
                    <a:pt x="7540" y="0"/>
                    <a:pt x="15860" y="0"/>
                  </a:cubicBezTo>
                  <a:cubicBezTo>
                    <a:pt x="24180" y="0"/>
                    <a:pt x="30679" y="7540"/>
                    <a:pt x="30679" y="15860"/>
                  </a:cubicBezTo>
                  <a:cubicBezTo>
                    <a:pt x="30679" y="24180"/>
                    <a:pt x="24180" y="31720"/>
                    <a:pt x="15860" y="31720"/>
                  </a:cubicBezTo>
                  <a:close/>
                  <a:moveTo>
                    <a:pt x="14820" y="15860"/>
                  </a:moveTo>
                  <a:lnTo>
                    <a:pt x="14820" y="15860"/>
                  </a:lnTo>
                  <a:cubicBezTo>
                    <a:pt x="15860" y="15860"/>
                    <a:pt x="15860" y="15860"/>
                    <a:pt x="15860" y="15860"/>
                  </a:cubicBezTo>
                  <a:lnTo>
                    <a:pt x="14820" y="15860"/>
                  </a:lnTo>
                  <a:close/>
                </a:path>
              </a:pathLst>
            </a:custGeom>
            <a:solidFill>
              <a:srgbClr val="FFFFFF"/>
            </a:solidFill>
            <a:ln w="2597" cap="flat">
              <a:noFill/>
              <a:prstDash val="solid"/>
              <a:miter/>
            </a:ln>
          </p:spPr>
          <p:txBody>
            <a:bodyPr rtlCol="0" anchor="ctr"/>
            <a:lstStyle/>
            <a:p>
              <a:endParaRPr lang="en-GB"/>
            </a:p>
          </p:txBody>
        </p:sp>
        <p:sp>
          <p:nvSpPr>
            <p:cNvPr id="558" name="Freeform: Shape 557">
              <a:extLst>
                <a:ext uri="{FF2B5EF4-FFF2-40B4-BE49-F238E27FC236}">
                  <a16:creationId xmlns:a16="http://schemas.microsoft.com/office/drawing/2014/main" id="{772208FC-C28A-0C3B-5271-D8CD74CBD6D7}"/>
                </a:ext>
              </a:extLst>
            </p:cNvPr>
            <p:cNvSpPr/>
            <p:nvPr/>
          </p:nvSpPr>
          <p:spPr>
            <a:xfrm>
              <a:off x="3664931" y="5109233"/>
              <a:ext cx="40559" cy="80599"/>
            </a:xfrm>
            <a:custGeom>
              <a:avLst/>
              <a:gdLst>
                <a:gd name="connsiteX0" fmla="*/ 20280 w 40559"/>
                <a:gd name="connsiteY0" fmla="*/ 80599 h 80599"/>
                <a:gd name="connsiteX1" fmla="*/ 0 w 40559"/>
                <a:gd name="connsiteY1" fmla="*/ 62660 h 80599"/>
                <a:gd name="connsiteX2" fmla="*/ 0 w 40559"/>
                <a:gd name="connsiteY2" fmla="*/ 8580 h 80599"/>
                <a:gd name="connsiteX3" fmla="*/ 8580 w 40559"/>
                <a:gd name="connsiteY3" fmla="*/ 0 h 80599"/>
                <a:gd name="connsiteX4" fmla="*/ 31979 w 40559"/>
                <a:gd name="connsiteY4" fmla="*/ 0 h 80599"/>
                <a:gd name="connsiteX5" fmla="*/ 40559 w 40559"/>
                <a:gd name="connsiteY5" fmla="*/ 8580 h 80599"/>
                <a:gd name="connsiteX6" fmla="*/ 40559 w 40559"/>
                <a:gd name="connsiteY6" fmla="*/ 62660 h 80599"/>
                <a:gd name="connsiteX7" fmla="*/ 20280 w 40559"/>
                <a:gd name="connsiteY7" fmla="*/ 80599 h 80599"/>
                <a:gd name="connsiteX8" fmla="*/ 17160 w 40559"/>
                <a:gd name="connsiteY8" fmla="*/ 15860 h 80599"/>
                <a:gd name="connsiteX9" fmla="*/ 17160 w 40559"/>
                <a:gd name="connsiteY9" fmla="*/ 62660 h 80599"/>
                <a:gd name="connsiteX10" fmla="*/ 21320 w 40559"/>
                <a:gd name="connsiteY10" fmla="*/ 64739 h 80599"/>
                <a:gd name="connsiteX11" fmla="*/ 24440 w 40559"/>
                <a:gd name="connsiteY11" fmla="*/ 62660 h 80599"/>
                <a:gd name="connsiteX12" fmla="*/ 24440 w 40559"/>
                <a:gd name="connsiteY12" fmla="*/ 15860 h 80599"/>
                <a:gd name="connsiteX13" fmla="*/ 17160 w 40559"/>
                <a:gd name="connsiteY13" fmla="*/ 15860 h 8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559" h="80599">
                  <a:moveTo>
                    <a:pt x="20280" y="80599"/>
                  </a:moveTo>
                  <a:cubicBezTo>
                    <a:pt x="8580" y="80599"/>
                    <a:pt x="0" y="73059"/>
                    <a:pt x="0" y="62660"/>
                  </a:cubicBezTo>
                  <a:lnTo>
                    <a:pt x="0" y="8580"/>
                  </a:lnTo>
                  <a:cubicBezTo>
                    <a:pt x="0" y="4420"/>
                    <a:pt x="3120" y="0"/>
                    <a:pt x="8580" y="0"/>
                  </a:cubicBezTo>
                  <a:lnTo>
                    <a:pt x="31979" y="0"/>
                  </a:lnTo>
                  <a:cubicBezTo>
                    <a:pt x="36140" y="0"/>
                    <a:pt x="40559" y="3120"/>
                    <a:pt x="40559" y="8580"/>
                  </a:cubicBezTo>
                  <a:lnTo>
                    <a:pt x="40559" y="62660"/>
                  </a:lnTo>
                  <a:cubicBezTo>
                    <a:pt x="39519" y="73059"/>
                    <a:pt x="31979" y="80599"/>
                    <a:pt x="20280" y="80599"/>
                  </a:cubicBezTo>
                  <a:close/>
                  <a:moveTo>
                    <a:pt x="17160" y="15860"/>
                  </a:moveTo>
                  <a:lnTo>
                    <a:pt x="17160" y="62660"/>
                  </a:lnTo>
                  <a:cubicBezTo>
                    <a:pt x="17160" y="64739"/>
                    <a:pt x="20280" y="64739"/>
                    <a:pt x="21320" y="64739"/>
                  </a:cubicBezTo>
                  <a:cubicBezTo>
                    <a:pt x="22360" y="64739"/>
                    <a:pt x="24440" y="64739"/>
                    <a:pt x="24440" y="62660"/>
                  </a:cubicBezTo>
                  <a:lnTo>
                    <a:pt x="24440" y="15860"/>
                  </a:lnTo>
                  <a:lnTo>
                    <a:pt x="17160" y="15860"/>
                  </a:lnTo>
                  <a:close/>
                </a:path>
              </a:pathLst>
            </a:custGeom>
            <a:solidFill>
              <a:srgbClr val="00005A"/>
            </a:solidFill>
            <a:ln w="2597" cap="flat">
              <a:noFill/>
              <a:prstDash val="solid"/>
              <a:miter/>
            </a:ln>
          </p:spPr>
          <p:txBody>
            <a:bodyPr rtlCol="0" anchor="ctr"/>
            <a:lstStyle/>
            <a:p>
              <a:endParaRPr lang="en-GB"/>
            </a:p>
          </p:txBody>
        </p:sp>
        <p:sp>
          <p:nvSpPr>
            <p:cNvPr id="559" name="Freeform: Shape 558">
              <a:extLst>
                <a:ext uri="{FF2B5EF4-FFF2-40B4-BE49-F238E27FC236}">
                  <a16:creationId xmlns:a16="http://schemas.microsoft.com/office/drawing/2014/main" id="{CAFF9F43-C9E0-DE89-908C-B08DA337C20A}"/>
                </a:ext>
              </a:extLst>
            </p:cNvPr>
            <p:cNvSpPr/>
            <p:nvPr/>
          </p:nvSpPr>
          <p:spPr>
            <a:xfrm>
              <a:off x="3707310" y="5109233"/>
              <a:ext cx="40559" cy="80599"/>
            </a:xfrm>
            <a:custGeom>
              <a:avLst/>
              <a:gdLst>
                <a:gd name="connsiteX0" fmla="*/ 20280 w 40559"/>
                <a:gd name="connsiteY0" fmla="*/ 80599 h 80599"/>
                <a:gd name="connsiteX1" fmla="*/ 0 w 40559"/>
                <a:gd name="connsiteY1" fmla="*/ 62660 h 80599"/>
                <a:gd name="connsiteX2" fmla="*/ 0 w 40559"/>
                <a:gd name="connsiteY2" fmla="*/ 8580 h 80599"/>
                <a:gd name="connsiteX3" fmla="*/ 8580 w 40559"/>
                <a:gd name="connsiteY3" fmla="*/ 0 h 80599"/>
                <a:gd name="connsiteX4" fmla="*/ 31980 w 40559"/>
                <a:gd name="connsiteY4" fmla="*/ 0 h 80599"/>
                <a:gd name="connsiteX5" fmla="*/ 40560 w 40559"/>
                <a:gd name="connsiteY5" fmla="*/ 8580 h 80599"/>
                <a:gd name="connsiteX6" fmla="*/ 40560 w 40559"/>
                <a:gd name="connsiteY6" fmla="*/ 62660 h 80599"/>
                <a:gd name="connsiteX7" fmla="*/ 20280 w 40559"/>
                <a:gd name="connsiteY7" fmla="*/ 80599 h 80599"/>
                <a:gd name="connsiteX8" fmla="*/ 17160 w 40559"/>
                <a:gd name="connsiteY8" fmla="*/ 15860 h 80599"/>
                <a:gd name="connsiteX9" fmla="*/ 17160 w 40559"/>
                <a:gd name="connsiteY9" fmla="*/ 62660 h 80599"/>
                <a:gd name="connsiteX10" fmla="*/ 21320 w 40559"/>
                <a:gd name="connsiteY10" fmla="*/ 64739 h 80599"/>
                <a:gd name="connsiteX11" fmla="*/ 24440 w 40559"/>
                <a:gd name="connsiteY11" fmla="*/ 62660 h 80599"/>
                <a:gd name="connsiteX12" fmla="*/ 24440 w 40559"/>
                <a:gd name="connsiteY12" fmla="*/ 15860 h 80599"/>
                <a:gd name="connsiteX13" fmla="*/ 17160 w 40559"/>
                <a:gd name="connsiteY13" fmla="*/ 15860 h 8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559" h="80599">
                  <a:moveTo>
                    <a:pt x="20280" y="80599"/>
                  </a:moveTo>
                  <a:cubicBezTo>
                    <a:pt x="8580" y="80599"/>
                    <a:pt x="0" y="73059"/>
                    <a:pt x="0" y="62660"/>
                  </a:cubicBezTo>
                  <a:lnTo>
                    <a:pt x="0" y="8580"/>
                  </a:lnTo>
                  <a:cubicBezTo>
                    <a:pt x="0" y="4420"/>
                    <a:pt x="3120" y="0"/>
                    <a:pt x="8580" y="0"/>
                  </a:cubicBezTo>
                  <a:lnTo>
                    <a:pt x="31980" y="0"/>
                  </a:lnTo>
                  <a:cubicBezTo>
                    <a:pt x="36140" y="0"/>
                    <a:pt x="40560" y="3120"/>
                    <a:pt x="40560" y="8580"/>
                  </a:cubicBezTo>
                  <a:lnTo>
                    <a:pt x="40560" y="62660"/>
                  </a:lnTo>
                  <a:cubicBezTo>
                    <a:pt x="39520" y="73059"/>
                    <a:pt x="31980" y="80599"/>
                    <a:pt x="20280" y="80599"/>
                  </a:cubicBezTo>
                  <a:close/>
                  <a:moveTo>
                    <a:pt x="17160" y="15860"/>
                  </a:moveTo>
                  <a:lnTo>
                    <a:pt x="17160" y="62660"/>
                  </a:lnTo>
                  <a:cubicBezTo>
                    <a:pt x="17160" y="64739"/>
                    <a:pt x="20280" y="64739"/>
                    <a:pt x="21320" y="64739"/>
                  </a:cubicBezTo>
                  <a:cubicBezTo>
                    <a:pt x="22360" y="64739"/>
                    <a:pt x="24440" y="64739"/>
                    <a:pt x="24440" y="62660"/>
                  </a:cubicBezTo>
                  <a:lnTo>
                    <a:pt x="24440" y="15860"/>
                  </a:lnTo>
                  <a:lnTo>
                    <a:pt x="17160" y="15860"/>
                  </a:lnTo>
                  <a:close/>
                </a:path>
              </a:pathLst>
            </a:custGeom>
            <a:solidFill>
              <a:srgbClr val="00005A"/>
            </a:solidFill>
            <a:ln w="2597" cap="flat">
              <a:noFill/>
              <a:prstDash val="solid"/>
              <a:miter/>
            </a:ln>
          </p:spPr>
          <p:txBody>
            <a:bodyPr rtlCol="0" anchor="ctr"/>
            <a:lstStyle/>
            <a:p>
              <a:endParaRPr lang="en-GB"/>
            </a:p>
          </p:txBody>
        </p:sp>
        <p:sp>
          <p:nvSpPr>
            <p:cNvPr id="560" name="Freeform: Shape 559">
              <a:extLst>
                <a:ext uri="{FF2B5EF4-FFF2-40B4-BE49-F238E27FC236}">
                  <a16:creationId xmlns:a16="http://schemas.microsoft.com/office/drawing/2014/main" id="{FB0C7777-1E2B-4840-C415-5BD8A74F8675}"/>
                </a:ext>
              </a:extLst>
            </p:cNvPr>
            <p:cNvSpPr/>
            <p:nvPr/>
          </p:nvSpPr>
          <p:spPr>
            <a:xfrm>
              <a:off x="3644911" y="5152393"/>
              <a:ext cx="33019" cy="17159"/>
            </a:xfrm>
            <a:custGeom>
              <a:avLst/>
              <a:gdLst>
                <a:gd name="connsiteX0" fmla="*/ 24440 w 33019"/>
                <a:gd name="connsiteY0" fmla="*/ 17160 h 17159"/>
                <a:gd name="connsiteX1" fmla="*/ 8580 w 33019"/>
                <a:gd name="connsiteY1" fmla="*/ 17160 h 17159"/>
                <a:gd name="connsiteX2" fmla="*/ 0 w 33019"/>
                <a:gd name="connsiteY2" fmla="*/ 8580 h 17159"/>
                <a:gd name="connsiteX3" fmla="*/ 8580 w 33019"/>
                <a:gd name="connsiteY3" fmla="*/ 0 h 17159"/>
                <a:gd name="connsiteX4" fmla="*/ 24440 w 33019"/>
                <a:gd name="connsiteY4" fmla="*/ 0 h 17159"/>
                <a:gd name="connsiteX5" fmla="*/ 33020 w 33019"/>
                <a:gd name="connsiteY5" fmla="*/ 8580 h 17159"/>
                <a:gd name="connsiteX6" fmla="*/ 24440 w 33019"/>
                <a:gd name="connsiteY6" fmla="*/ 17160 h 1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019" h="17159">
                  <a:moveTo>
                    <a:pt x="24440" y="17160"/>
                  </a:moveTo>
                  <a:lnTo>
                    <a:pt x="8580" y="17160"/>
                  </a:lnTo>
                  <a:cubicBezTo>
                    <a:pt x="4420" y="17160"/>
                    <a:pt x="0" y="14040"/>
                    <a:pt x="0" y="8580"/>
                  </a:cubicBezTo>
                  <a:cubicBezTo>
                    <a:pt x="0" y="3380"/>
                    <a:pt x="3120" y="0"/>
                    <a:pt x="8580" y="0"/>
                  </a:cubicBezTo>
                  <a:lnTo>
                    <a:pt x="24440" y="0"/>
                  </a:lnTo>
                  <a:cubicBezTo>
                    <a:pt x="28600" y="0"/>
                    <a:pt x="33020" y="3120"/>
                    <a:pt x="33020" y="8580"/>
                  </a:cubicBezTo>
                  <a:cubicBezTo>
                    <a:pt x="32760" y="14040"/>
                    <a:pt x="28600" y="17160"/>
                    <a:pt x="24440" y="17160"/>
                  </a:cubicBezTo>
                  <a:close/>
                </a:path>
              </a:pathLst>
            </a:custGeom>
            <a:solidFill>
              <a:srgbClr val="00005A"/>
            </a:solidFill>
            <a:ln w="2597" cap="flat">
              <a:noFill/>
              <a:prstDash val="solid"/>
              <a:miter/>
            </a:ln>
          </p:spPr>
          <p:txBody>
            <a:bodyPr rtlCol="0" anchor="ctr"/>
            <a:lstStyle/>
            <a:p>
              <a:endParaRPr lang="en-GB"/>
            </a:p>
          </p:txBody>
        </p:sp>
        <p:sp>
          <p:nvSpPr>
            <p:cNvPr id="561" name="Freeform: Shape 560">
              <a:extLst>
                <a:ext uri="{FF2B5EF4-FFF2-40B4-BE49-F238E27FC236}">
                  <a16:creationId xmlns:a16="http://schemas.microsoft.com/office/drawing/2014/main" id="{692D5686-5E4D-F376-30E4-D62EE5D7EE55}"/>
                </a:ext>
              </a:extLst>
            </p:cNvPr>
            <p:cNvSpPr/>
            <p:nvPr/>
          </p:nvSpPr>
          <p:spPr>
            <a:xfrm>
              <a:off x="3641531" y="5132113"/>
              <a:ext cx="17159" cy="54339"/>
            </a:xfrm>
            <a:custGeom>
              <a:avLst/>
              <a:gdLst>
                <a:gd name="connsiteX0" fmla="*/ 8580 w 17159"/>
                <a:gd name="connsiteY0" fmla="*/ 54339 h 54339"/>
                <a:gd name="connsiteX1" fmla="*/ 0 w 17159"/>
                <a:gd name="connsiteY1" fmla="*/ 45759 h 54339"/>
                <a:gd name="connsiteX2" fmla="*/ 0 w 17159"/>
                <a:gd name="connsiteY2" fmla="*/ 8580 h 54339"/>
                <a:gd name="connsiteX3" fmla="*/ 8580 w 17159"/>
                <a:gd name="connsiteY3" fmla="*/ 0 h 54339"/>
                <a:gd name="connsiteX4" fmla="*/ 17160 w 17159"/>
                <a:gd name="connsiteY4" fmla="*/ 8580 h 54339"/>
                <a:gd name="connsiteX5" fmla="*/ 17160 w 17159"/>
                <a:gd name="connsiteY5" fmla="*/ 45759 h 54339"/>
                <a:gd name="connsiteX6" fmla="*/ 8580 w 17159"/>
                <a:gd name="connsiteY6" fmla="*/ 54339 h 54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59" h="54339">
                  <a:moveTo>
                    <a:pt x="8580" y="54339"/>
                  </a:moveTo>
                  <a:cubicBezTo>
                    <a:pt x="4420" y="54339"/>
                    <a:pt x="0" y="51219"/>
                    <a:pt x="0" y="45759"/>
                  </a:cubicBezTo>
                  <a:lnTo>
                    <a:pt x="0" y="8580"/>
                  </a:lnTo>
                  <a:cubicBezTo>
                    <a:pt x="0" y="4420"/>
                    <a:pt x="3120" y="0"/>
                    <a:pt x="8580" y="0"/>
                  </a:cubicBezTo>
                  <a:cubicBezTo>
                    <a:pt x="14040" y="0"/>
                    <a:pt x="17160" y="3120"/>
                    <a:pt x="17160" y="8580"/>
                  </a:cubicBezTo>
                  <a:lnTo>
                    <a:pt x="17160" y="45759"/>
                  </a:lnTo>
                  <a:cubicBezTo>
                    <a:pt x="16120" y="51219"/>
                    <a:pt x="13000" y="54339"/>
                    <a:pt x="8580" y="54339"/>
                  </a:cubicBezTo>
                  <a:close/>
                </a:path>
              </a:pathLst>
            </a:custGeom>
            <a:solidFill>
              <a:srgbClr val="00005A"/>
            </a:solidFill>
            <a:ln w="2597" cap="flat">
              <a:noFill/>
              <a:prstDash val="solid"/>
              <a:miter/>
            </a:ln>
          </p:spPr>
          <p:txBody>
            <a:bodyPr rtlCol="0" anchor="ctr"/>
            <a:lstStyle/>
            <a:p>
              <a:endParaRPr lang="en-GB"/>
            </a:p>
          </p:txBody>
        </p:sp>
      </p:grpSp>
      <p:sp>
        <p:nvSpPr>
          <p:cNvPr id="541" name="Freeform: Shape 540">
            <a:extLst>
              <a:ext uri="{FF2B5EF4-FFF2-40B4-BE49-F238E27FC236}">
                <a16:creationId xmlns:a16="http://schemas.microsoft.com/office/drawing/2014/main" id="{08D35D87-A43B-396C-313F-87124ED46FB8}"/>
              </a:ext>
            </a:extLst>
          </p:cNvPr>
          <p:cNvSpPr/>
          <p:nvPr/>
        </p:nvSpPr>
        <p:spPr>
          <a:xfrm>
            <a:off x="6736027" y="5229934"/>
            <a:ext cx="61997" cy="954"/>
          </a:xfrm>
          <a:custGeom>
            <a:avLst/>
            <a:gdLst>
              <a:gd name="connsiteX0" fmla="*/ 0 w 125326"/>
              <a:gd name="connsiteY0" fmla="*/ 0 h 1928"/>
              <a:gd name="connsiteX1" fmla="*/ 125326 w 125326"/>
              <a:gd name="connsiteY1" fmla="*/ 0 h 1928"/>
            </a:gdLst>
            <a:ahLst/>
            <a:cxnLst>
              <a:cxn ang="0">
                <a:pos x="connsiteX0" y="connsiteY0"/>
              </a:cxn>
              <a:cxn ang="0">
                <a:pos x="connsiteX1" y="connsiteY1"/>
              </a:cxn>
            </a:cxnLst>
            <a:rect l="l" t="t" r="r" b="b"/>
            <a:pathLst>
              <a:path w="125326" h="1928">
                <a:moveTo>
                  <a:pt x="0" y="0"/>
                </a:moveTo>
                <a:lnTo>
                  <a:pt x="125326" y="0"/>
                </a:lnTo>
              </a:path>
            </a:pathLst>
          </a:custGeom>
          <a:noFill/>
          <a:ln w="15359" cap="rnd">
            <a:solidFill>
              <a:srgbClr val="06136E"/>
            </a:solidFill>
            <a:prstDash val="solid"/>
            <a:round/>
          </a:ln>
        </p:spPr>
        <p:txBody>
          <a:bodyPr rtlCol="0" anchor="ctr"/>
          <a:lstStyle/>
          <a:p>
            <a:endParaRPr lang="en-GB"/>
          </a:p>
        </p:txBody>
      </p:sp>
      <p:sp>
        <p:nvSpPr>
          <p:cNvPr id="542" name="Freeform: Shape 541">
            <a:extLst>
              <a:ext uri="{FF2B5EF4-FFF2-40B4-BE49-F238E27FC236}">
                <a16:creationId xmlns:a16="http://schemas.microsoft.com/office/drawing/2014/main" id="{13EA994F-2A9B-25CE-B7D4-3E0ABFDA095D}"/>
              </a:ext>
            </a:extLst>
          </p:cNvPr>
          <p:cNvSpPr/>
          <p:nvPr/>
        </p:nvSpPr>
        <p:spPr>
          <a:xfrm>
            <a:off x="6736027" y="5250918"/>
            <a:ext cx="61997" cy="954"/>
          </a:xfrm>
          <a:custGeom>
            <a:avLst/>
            <a:gdLst>
              <a:gd name="connsiteX0" fmla="*/ 0 w 125326"/>
              <a:gd name="connsiteY0" fmla="*/ 0 h 1928"/>
              <a:gd name="connsiteX1" fmla="*/ 125326 w 125326"/>
              <a:gd name="connsiteY1" fmla="*/ 0 h 1928"/>
            </a:gdLst>
            <a:ahLst/>
            <a:cxnLst>
              <a:cxn ang="0">
                <a:pos x="connsiteX0" y="connsiteY0"/>
              </a:cxn>
              <a:cxn ang="0">
                <a:pos x="connsiteX1" y="connsiteY1"/>
              </a:cxn>
            </a:cxnLst>
            <a:rect l="l" t="t" r="r" b="b"/>
            <a:pathLst>
              <a:path w="125326" h="1928">
                <a:moveTo>
                  <a:pt x="0" y="0"/>
                </a:moveTo>
                <a:lnTo>
                  <a:pt x="125326" y="0"/>
                </a:lnTo>
              </a:path>
            </a:pathLst>
          </a:custGeom>
          <a:noFill/>
          <a:ln w="15359" cap="rnd">
            <a:solidFill>
              <a:srgbClr val="06136E"/>
            </a:solidFill>
            <a:prstDash val="solid"/>
            <a:round/>
          </a:ln>
        </p:spPr>
        <p:txBody>
          <a:bodyPr rtlCol="0" anchor="ctr"/>
          <a:lstStyle/>
          <a:p>
            <a:endParaRPr lang="en-GB"/>
          </a:p>
        </p:txBody>
      </p:sp>
      <p:sp>
        <p:nvSpPr>
          <p:cNvPr id="543" name="Freeform: Shape 542">
            <a:extLst>
              <a:ext uri="{FF2B5EF4-FFF2-40B4-BE49-F238E27FC236}">
                <a16:creationId xmlns:a16="http://schemas.microsoft.com/office/drawing/2014/main" id="{70809485-CA91-E05D-AE30-F84C6AB13835}"/>
              </a:ext>
            </a:extLst>
          </p:cNvPr>
          <p:cNvSpPr/>
          <p:nvPr/>
        </p:nvSpPr>
        <p:spPr>
          <a:xfrm>
            <a:off x="6810422" y="5127878"/>
            <a:ext cx="125902" cy="181221"/>
          </a:xfrm>
          <a:custGeom>
            <a:avLst/>
            <a:gdLst>
              <a:gd name="connsiteX0" fmla="*/ 188966 w 254508"/>
              <a:gd name="connsiteY0" fmla="*/ 13 h 366337"/>
              <a:gd name="connsiteX1" fmla="*/ 254521 w 254508"/>
              <a:gd name="connsiteY1" fmla="*/ 13 h 366337"/>
              <a:gd name="connsiteX2" fmla="*/ 254521 w 254508"/>
              <a:gd name="connsiteY2" fmla="*/ 366351 h 366337"/>
              <a:gd name="connsiteX3" fmla="*/ 188966 w 254508"/>
              <a:gd name="connsiteY3" fmla="*/ 366351 h 366337"/>
              <a:gd name="connsiteX4" fmla="*/ 65568 w 254508"/>
              <a:gd name="connsiteY4" fmla="*/ 366351 h 366337"/>
              <a:gd name="connsiteX5" fmla="*/ 13 w 254508"/>
              <a:gd name="connsiteY5" fmla="*/ 366351 h 366337"/>
              <a:gd name="connsiteX6" fmla="*/ 13 w 254508"/>
              <a:gd name="connsiteY6" fmla="*/ 13 h 366337"/>
              <a:gd name="connsiteX7" fmla="*/ 65568 w 254508"/>
              <a:gd name="connsiteY7" fmla="*/ 13 h 36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508" h="366337">
                <a:moveTo>
                  <a:pt x="188966" y="13"/>
                </a:moveTo>
                <a:cubicBezTo>
                  <a:pt x="225171" y="13"/>
                  <a:pt x="254521" y="13"/>
                  <a:pt x="254521" y="13"/>
                </a:cubicBezTo>
                <a:lnTo>
                  <a:pt x="254521" y="366351"/>
                </a:lnTo>
                <a:cubicBezTo>
                  <a:pt x="254521" y="366351"/>
                  <a:pt x="225171" y="366351"/>
                  <a:pt x="188966" y="366351"/>
                </a:cubicBezTo>
                <a:lnTo>
                  <a:pt x="65568" y="366351"/>
                </a:lnTo>
                <a:cubicBezTo>
                  <a:pt x="29363" y="366351"/>
                  <a:pt x="13" y="366351"/>
                  <a:pt x="13" y="366351"/>
                </a:cubicBezTo>
                <a:lnTo>
                  <a:pt x="13" y="13"/>
                </a:lnTo>
                <a:cubicBezTo>
                  <a:pt x="13" y="13"/>
                  <a:pt x="29363" y="13"/>
                  <a:pt x="65568" y="13"/>
                </a:cubicBezTo>
                <a:close/>
              </a:path>
            </a:pathLst>
          </a:custGeom>
          <a:solidFill>
            <a:srgbClr val="0069FF"/>
          </a:solidFill>
          <a:ln w="1920" cap="flat">
            <a:noFill/>
            <a:prstDash val="solid"/>
            <a:miter/>
          </a:ln>
        </p:spPr>
        <p:txBody>
          <a:bodyPr rtlCol="0" anchor="ctr"/>
          <a:lstStyle/>
          <a:p>
            <a:endParaRPr lang="en-GB"/>
          </a:p>
        </p:txBody>
      </p:sp>
      <p:sp>
        <p:nvSpPr>
          <p:cNvPr id="544" name="Freeform: Shape 543">
            <a:extLst>
              <a:ext uri="{FF2B5EF4-FFF2-40B4-BE49-F238E27FC236}">
                <a16:creationId xmlns:a16="http://schemas.microsoft.com/office/drawing/2014/main" id="{FC926323-8314-C6DA-3F60-C0508661DD08}"/>
              </a:ext>
            </a:extLst>
          </p:cNvPr>
          <p:cNvSpPr/>
          <p:nvPr/>
        </p:nvSpPr>
        <p:spPr>
          <a:xfrm>
            <a:off x="6798024" y="5115478"/>
            <a:ext cx="125902" cy="181222"/>
          </a:xfrm>
          <a:custGeom>
            <a:avLst/>
            <a:gdLst>
              <a:gd name="connsiteX0" fmla="*/ 188953 w 254508"/>
              <a:gd name="connsiteY0" fmla="*/ 0 h 366337"/>
              <a:gd name="connsiteX1" fmla="*/ 254508 w 254508"/>
              <a:gd name="connsiteY1" fmla="*/ 0 h 366337"/>
              <a:gd name="connsiteX2" fmla="*/ 254508 w 254508"/>
              <a:gd name="connsiteY2" fmla="*/ 366338 h 366337"/>
              <a:gd name="connsiteX3" fmla="*/ 188953 w 254508"/>
              <a:gd name="connsiteY3" fmla="*/ 366338 h 366337"/>
              <a:gd name="connsiteX4" fmla="*/ 65555 w 254508"/>
              <a:gd name="connsiteY4" fmla="*/ 366338 h 366337"/>
              <a:gd name="connsiteX5" fmla="*/ 0 w 254508"/>
              <a:gd name="connsiteY5" fmla="*/ 366338 h 366337"/>
              <a:gd name="connsiteX6" fmla="*/ 0 w 254508"/>
              <a:gd name="connsiteY6" fmla="*/ 0 h 366337"/>
              <a:gd name="connsiteX7" fmla="*/ 65555 w 254508"/>
              <a:gd name="connsiteY7" fmla="*/ 0 h 36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508" h="366337">
                <a:moveTo>
                  <a:pt x="188953" y="0"/>
                </a:moveTo>
                <a:cubicBezTo>
                  <a:pt x="225158" y="0"/>
                  <a:pt x="254508" y="0"/>
                  <a:pt x="254508" y="0"/>
                </a:cubicBezTo>
                <a:lnTo>
                  <a:pt x="254508" y="366338"/>
                </a:lnTo>
                <a:cubicBezTo>
                  <a:pt x="254508" y="366338"/>
                  <a:pt x="225158" y="366338"/>
                  <a:pt x="188953" y="366338"/>
                </a:cubicBezTo>
                <a:lnTo>
                  <a:pt x="65555" y="366338"/>
                </a:lnTo>
                <a:cubicBezTo>
                  <a:pt x="29350" y="366338"/>
                  <a:pt x="0" y="366338"/>
                  <a:pt x="0" y="366338"/>
                </a:cubicBezTo>
                <a:lnTo>
                  <a:pt x="0" y="0"/>
                </a:lnTo>
                <a:cubicBezTo>
                  <a:pt x="0" y="0"/>
                  <a:pt x="29350" y="0"/>
                  <a:pt x="65555" y="0"/>
                </a:cubicBezTo>
                <a:close/>
              </a:path>
            </a:pathLst>
          </a:custGeom>
          <a:noFill/>
          <a:ln w="15359" cap="rnd">
            <a:solidFill>
              <a:srgbClr val="06136E"/>
            </a:solidFill>
            <a:prstDash val="solid"/>
            <a:round/>
          </a:ln>
        </p:spPr>
        <p:txBody>
          <a:bodyPr rtlCol="0" anchor="ctr"/>
          <a:lstStyle/>
          <a:p>
            <a:endParaRPr lang="en-GB"/>
          </a:p>
        </p:txBody>
      </p:sp>
      <p:sp>
        <p:nvSpPr>
          <p:cNvPr id="545" name="Freeform: Shape 544">
            <a:extLst>
              <a:ext uri="{FF2B5EF4-FFF2-40B4-BE49-F238E27FC236}">
                <a16:creationId xmlns:a16="http://schemas.microsoft.com/office/drawing/2014/main" id="{4377D26C-3685-9D51-7974-8C6CE5F25A87}"/>
              </a:ext>
            </a:extLst>
          </p:cNvPr>
          <p:cNvSpPr/>
          <p:nvPr/>
        </p:nvSpPr>
        <p:spPr>
          <a:xfrm>
            <a:off x="6798024" y="5172706"/>
            <a:ext cx="125902" cy="954"/>
          </a:xfrm>
          <a:custGeom>
            <a:avLst/>
            <a:gdLst>
              <a:gd name="connsiteX0" fmla="*/ 0 w 254508"/>
              <a:gd name="connsiteY0" fmla="*/ 0 h 1928"/>
              <a:gd name="connsiteX1" fmla="*/ 254508 w 254508"/>
              <a:gd name="connsiteY1" fmla="*/ 0 h 1928"/>
            </a:gdLst>
            <a:ahLst/>
            <a:cxnLst>
              <a:cxn ang="0">
                <a:pos x="connsiteX0" y="connsiteY0"/>
              </a:cxn>
              <a:cxn ang="0">
                <a:pos x="connsiteX1" y="connsiteY1"/>
              </a:cxn>
            </a:cxnLst>
            <a:rect l="l" t="t" r="r" b="b"/>
            <a:pathLst>
              <a:path w="254508" h="1928">
                <a:moveTo>
                  <a:pt x="0" y="0"/>
                </a:moveTo>
                <a:lnTo>
                  <a:pt x="254508" y="0"/>
                </a:lnTo>
              </a:path>
            </a:pathLst>
          </a:custGeom>
          <a:noFill/>
          <a:ln w="15359" cap="rnd">
            <a:solidFill>
              <a:srgbClr val="06136E"/>
            </a:solidFill>
            <a:prstDash val="solid"/>
            <a:round/>
          </a:ln>
        </p:spPr>
        <p:txBody>
          <a:bodyPr rtlCol="0" anchor="ctr"/>
          <a:lstStyle/>
          <a:p>
            <a:endParaRPr lang="en-GB"/>
          </a:p>
        </p:txBody>
      </p:sp>
      <p:sp>
        <p:nvSpPr>
          <p:cNvPr id="546" name="Freeform: Shape 545">
            <a:extLst>
              <a:ext uri="{FF2B5EF4-FFF2-40B4-BE49-F238E27FC236}">
                <a16:creationId xmlns:a16="http://schemas.microsoft.com/office/drawing/2014/main" id="{44F93550-ACF9-058B-B62D-798A08A37769}"/>
              </a:ext>
            </a:extLst>
          </p:cNvPr>
          <p:cNvSpPr/>
          <p:nvPr/>
        </p:nvSpPr>
        <p:spPr>
          <a:xfrm>
            <a:off x="6798024" y="5239472"/>
            <a:ext cx="125902" cy="954"/>
          </a:xfrm>
          <a:custGeom>
            <a:avLst/>
            <a:gdLst>
              <a:gd name="connsiteX0" fmla="*/ 0 w 254508"/>
              <a:gd name="connsiteY0" fmla="*/ 0 h 1928"/>
              <a:gd name="connsiteX1" fmla="*/ 254508 w 254508"/>
              <a:gd name="connsiteY1" fmla="*/ 0 h 1928"/>
            </a:gdLst>
            <a:ahLst/>
            <a:cxnLst>
              <a:cxn ang="0">
                <a:pos x="connsiteX0" y="connsiteY0"/>
              </a:cxn>
              <a:cxn ang="0">
                <a:pos x="connsiteX1" y="connsiteY1"/>
              </a:cxn>
            </a:cxnLst>
            <a:rect l="l" t="t" r="r" b="b"/>
            <a:pathLst>
              <a:path w="254508" h="1928">
                <a:moveTo>
                  <a:pt x="0" y="0"/>
                </a:moveTo>
                <a:lnTo>
                  <a:pt x="254508" y="0"/>
                </a:lnTo>
              </a:path>
            </a:pathLst>
          </a:custGeom>
          <a:noFill/>
          <a:ln w="15359" cap="rnd">
            <a:solidFill>
              <a:srgbClr val="06136E"/>
            </a:solidFill>
            <a:prstDash val="solid"/>
            <a:round/>
          </a:ln>
        </p:spPr>
        <p:txBody>
          <a:bodyPr rtlCol="0" anchor="ctr"/>
          <a:lstStyle/>
          <a:p>
            <a:endParaRPr lang="en-GB"/>
          </a:p>
        </p:txBody>
      </p:sp>
      <p:sp>
        <p:nvSpPr>
          <p:cNvPr id="547" name="Freeform: Shape 546">
            <a:extLst>
              <a:ext uri="{FF2B5EF4-FFF2-40B4-BE49-F238E27FC236}">
                <a16:creationId xmlns:a16="http://schemas.microsoft.com/office/drawing/2014/main" id="{A51A23DB-1350-083B-C19C-9559B5C50F77}"/>
              </a:ext>
            </a:extLst>
          </p:cNvPr>
          <p:cNvSpPr/>
          <p:nvPr/>
        </p:nvSpPr>
        <p:spPr>
          <a:xfrm>
            <a:off x="6836175" y="5094495"/>
            <a:ext cx="49597" cy="24798"/>
          </a:xfrm>
          <a:custGeom>
            <a:avLst/>
            <a:gdLst>
              <a:gd name="connsiteX0" fmla="*/ 94477 w 100260"/>
              <a:gd name="connsiteY0" fmla="*/ 0 h 50130"/>
              <a:gd name="connsiteX1" fmla="*/ 100261 w 100260"/>
              <a:gd name="connsiteY1" fmla="*/ 0 h 50130"/>
              <a:gd name="connsiteX2" fmla="*/ 100261 w 100260"/>
              <a:gd name="connsiteY2" fmla="*/ 50130 h 50130"/>
              <a:gd name="connsiteX3" fmla="*/ 94477 w 100260"/>
              <a:gd name="connsiteY3" fmla="*/ 50130 h 50130"/>
              <a:gd name="connsiteX4" fmla="*/ 5784 w 100260"/>
              <a:gd name="connsiteY4" fmla="*/ 50130 h 50130"/>
              <a:gd name="connsiteX5" fmla="*/ 0 w 100260"/>
              <a:gd name="connsiteY5" fmla="*/ 50130 h 50130"/>
              <a:gd name="connsiteX6" fmla="*/ 0 w 100260"/>
              <a:gd name="connsiteY6" fmla="*/ 0 h 50130"/>
              <a:gd name="connsiteX7" fmla="*/ 5784 w 100260"/>
              <a:gd name="connsiteY7" fmla="*/ 0 h 5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260" h="50130">
                <a:moveTo>
                  <a:pt x="94477" y="0"/>
                </a:moveTo>
                <a:cubicBezTo>
                  <a:pt x="97671" y="0"/>
                  <a:pt x="100261" y="0"/>
                  <a:pt x="100261" y="0"/>
                </a:cubicBezTo>
                <a:lnTo>
                  <a:pt x="100261" y="50130"/>
                </a:lnTo>
                <a:cubicBezTo>
                  <a:pt x="100261" y="50130"/>
                  <a:pt x="97671" y="50130"/>
                  <a:pt x="94477" y="50130"/>
                </a:cubicBezTo>
                <a:lnTo>
                  <a:pt x="5784" y="50130"/>
                </a:lnTo>
                <a:cubicBezTo>
                  <a:pt x="2590" y="50130"/>
                  <a:pt x="0" y="50130"/>
                  <a:pt x="0" y="50130"/>
                </a:cubicBezTo>
                <a:lnTo>
                  <a:pt x="0" y="0"/>
                </a:lnTo>
                <a:cubicBezTo>
                  <a:pt x="0" y="0"/>
                  <a:pt x="2590" y="0"/>
                  <a:pt x="5784" y="0"/>
                </a:cubicBezTo>
                <a:close/>
              </a:path>
            </a:pathLst>
          </a:custGeom>
          <a:solidFill>
            <a:srgbClr val="FFFFFF"/>
          </a:solidFill>
          <a:ln w="15359" cap="flat">
            <a:solidFill>
              <a:srgbClr val="06136E"/>
            </a:solidFill>
            <a:prstDash val="solid"/>
            <a:miter/>
          </a:ln>
        </p:spPr>
        <p:txBody>
          <a:bodyPr rtlCol="0" anchor="ctr"/>
          <a:lstStyle/>
          <a:p>
            <a:endParaRPr lang="en-GB"/>
          </a:p>
        </p:txBody>
      </p:sp>
      <p:grpSp>
        <p:nvGrpSpPr>
          <p:cNvPr id="548" name="Group 547">
            <a:extLst>
              <a:ext uri="{FF2B5EF4-FFF2-40B4-BE49-F238E27FC236}">
                <a16:creationId xmlns:a16="http://schemas.microsoft.com/office/drawing/2014/main" id="{363CF495-49D0-C695-74D8-6FC469FF40A6}"/>
              </a:ext>
            </a:extLst>
          </p:cNvPr>
          <p:cNvGrpSpPr/>
          <p:nvPr/>
        </p:nvGrpSpPr>
        <p:grpSpPr>
          <a:xfrm>
            <a:off x="6346040" y="4966840"/>
            <a:ext cx="280657" cy="279652"/>
            <a:chOff x="1460033" y="2957447"/>
            <a:chExt cx="295325" cy="295325"/>
          </a:xfrm>
        </p:grpSpPr>
        <p:grpSp>
          <p:nvGrpSpPr>
            <p:cNvPr id="549" name="Graphic 6">
              <a:extLst>
                <a:ext uri="{FF2B5EF4-FFF2-40B4-BE49-F238E27FC236}">
                  <a16:creationId xmlns:a16="http://schemas.microsoft.com/office/drawing/2014/main" id="{7BCACE37-861F-2478-15DE-75965F07688E}"/>
                </a:ext>
              </a:extLst>
            </p:cNvPr>
            <p:cNvGrpSpPr/>
            <p:nvPr/>
          </p:nvGrpSpPr>
          <p:grpSpPr>
            <a:xfrm>
              <a:off x="1460033" y="2957447"/>
              <a:ext cx="295325" cy="295325"/>
              <a:chOff x="6204526" y="2995615"/>
              <a:chExt cx="295325" cy="295325"/>
            </a:xfrm>
          </p:grpSpPr>
          <p:sp>
            <p:nvSpPr>
              <p:cNvPr id="551" name="Freeform: Shape 550">
                <a:extLst>
                  <a:ext uri="{FF2B5EF4-FFF2-40B4-BE49-F238E27FC236}">
                    <a16:creationId xmlns:a16="http://schemas.microsoft.com/office/drawing/2014/main" id="{102C50DA-C6B9-2051-01C5-5E741F15C57A}"/>
                  </a:ext>
                </a:extLst>
              </p:cNvPr>
              <p:cNvSpPr/>
              <p:nvPr/>
            </p:nvSpPr>
            <p:spPr>
              <a:xfrm rot="-4294012">
                <a:off x="6235449" y="3026538"/>
                <a:ext cx="233478" cy="233478"/>
              </a:xfrm>
              <a:custGeom>
                <a:avLst/>
                <a:gdLst>
                  <a:gd name="connsiteX0" fmla="*/ 233479 w 233478"/>
                  <a:gd name="connsiteY0" fmla="*/ 116739 h 233478"/>
                  <a:gd name="connsiteX1" fmla="*/ 116739 w 233478"/>
                  <a:gd name="connsiteY1" fmla="*/ 233479 h 233478"/>
                  <a:gd name="connsiteX2" fmla="*/ 0 w 233478"/>
                  <a:gd name="connsiteY2" fmla="*/ 116739 h 233478"/>
                  <a:gd name="connsiteX3" fmla="*/ 116739 w 233478"/>
                  <a:gd name="connsiteY3" fmla="*/ 0 h 233478"/>
                  <a:gd name="connsiteX4" fmla="*/ 233479 w 233478"/>
                  <a:gd name="connsiteY4" fmla="*/ 116739 h 233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478" h="233478">
                    <a:moveTo>
                      <a:pt x="233479" y="116739"/>
                    </a:moveTo>
                    <a:cubicBezTo>
                      <a:pt x="233479" y="181213"/>
                      <a:pt x="181213" y="233479"/>
                      <a:pt x="116739" y="233479"/>
                    </a:cubicBezTo>
                    <a:cubicBezTo>
                      <a:pt x="52266" y="233479"/>
                      <a:pt x="0" y="181213"/>
                      <a:pt x="0" y="116739"/>
                    </a:cubicBezTo>
                    <a:cubicBezTo>
                      <a:pt x="0" y="52266"/>
                      <a:pt x="52266" y="0"/>
                      <a:pt x="116739" y="0"/>
                    </a:cubicBezTo>
                    <a:cubicBezTo>
                      <a:pt x="181213" y="0"/>
                      <a:pt x="233479" y="52266"/>
                      <a:pt x="233479" y="116739"/>
                    </a:cubicBezTo>
                    <a:close/>
                  </a:path>
                </a:pathLst>
              </a:custGeom>
              <a:solidFill>
                <a:srgbClr val="00B050"/>
              </a:solidFill>
              <a:ln w="2597" cap="flat">
                <a:noFill/>
                <a:prstDash val="solid"/>
                <a:miter/>
              </a:ln>
            </p:spPr>
            <p:txBody>
              <a:bodyPr rtlCol="0" anchor="ctr"/>
              <a:lstStyle/>
              <a:p>
                <a:endParaRPr lang="en-GB"/>
              </a:p>
            </p:txBody>
          </p:sp>
          <p:sp>
            <p:nvSpPr>
              <p:cNvPr id="552" name="Freeform: Shape 551">
                <a:extLst>
                  <a:ext uri="{FF2B5EF4-FFF2-40B4-BE49-F238E27FC236}">
                    <a16:creationId xmlns:a16="http://schemas.microsoft.com/office/drawing/2014/main" id="{FB0857EB-4657-4680-26F0-113B7D619CAB}"/>
                  </a:ext>
                </a:extLst>
              </p:cNvPr>
              <p:cNvSpPr/>
              <p:nvPr/>
            </p:nvSpPr>
            <p:spPr>
              <a:xfrm>
                <a:off x="6226941" y="3018077"/>
                <a:ext cx="250636" cy="249597"/>
              </a:xfrm>
              <a:custGeom>
                <a:avLst/>
                <a:gdLst>
                  <a:gd name="connsiteX0" fmla="*/ 125318 w 250636"/>
                  <a:gd name="connsiteY0" fmla="*/ 249597 h 249597"/>
                  <a:gd name="connsiteX1" fmla="*/ 0 w 250636"/>
                  <a:gd name="connsiteY1" fmla="*/ 124279 h 249597"/>
                  <a:gd name="connsiteX2" fmla="*/ 125318 w 250636"/>
                  <a:gd name="connsiteY2" fmla="*/ 0 h 249597"/>
                  <a:gd name="connsiteX3" fmla="*/ 250637 w 250636"/>
                  <a:gd name="connsiteY3" fmla="*/ 125318 h 249597"/>
                  <a:gd name="connsiteX4" fmla="*/ 125318 w 250636"/>
                  <a:gd name="connsiteY4" fmla="*/ 249597 h 249597"/>
                  <a:gd name="connsiteX5" fmla="*/ 125318 w 250636"/>
                  <a:gd name="connsiteY5" fmla="*/ 16120 h 249597"/>
                  <a:gd name="connsiteX6" fmla="*/ 17160 w 250636"/>
                  <a:gd name="connsiteY6" fmla="*/ 124279 h 249597"/>
                  <a:gd name="connsiteX7" fmla="*/ 125318 w 250636"/>
                  <a:gd name="connsiteY7" fmla="*/ 233477 h 249597"/>
                  <a:gd name="connsiteX8" fmla="*/ 233477 w 250636"/>
                  <a:gd name="connsiteY8" fmla="*/ 125318 h 249597"/>
                  <a:gd name="connsiteX9" fmla="*/ 125318 w 250636"/>
                  <a:gd name="connsiteY9" fmla="*/ 16120 h 249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0636" h="249597">
                    <a:moveTo>
                      <a:pt x="125318" y="249597"/>
                    </a:moveTo>
                    <a:cubicBezTo>
                      <a:pt x="56419" y="249597"/>
                      <a:pt x="0" y="193438"/>
                      <a:pt x="0" y="124279"/>
                    </a:cubicBezTo>
                    <a:cubicBezTo>
                      <a:pt x="0" y="55379"/>
                      <a:pt x="56159" y="0"/>
                      <a:pt x="125318" y="0"/>
                    </a:cubicBezTo>
                    <a:cubicBezTo>
                      <a:pt x="194478" y="0"/>
                      <a:pt x="250637" y="56159"/>
                      <a:pt x="250637" y="125318"/>
                    </a:cubicBezTo>
                    <a:cubicBezTo>
                      <a:pt x="250637" y="194478"/>
                      <a:pt x="194218" y="249597"/>
                      <a:pt x="125318" y="249597"/>
                    </a:cubicBezTo>
                    <a:close/>
                    <a:moveTo>
                      <a:pt x="125318" y="16120"/>
                    </a:moveTo>
                    <a:cubicBezTo>
                      <a:pt x="64739" y="16120"/>
                      <a:pt x="17160" y="64999"/>
                      <a:pt x="17160" y="124279"/>
                    </a:cubicBezTo>
                    <a:cubicBezTo>
                      <a:pt x="17160" y="183818"/>
                      <a:pt x="64999" y="233477"/>
                      <a:pt x="125318" y="233477"/>
                    </a:cubicBezTo>
                    <a:cubicBezTo>
                      <a:pt x="185638" y="233477"/>
                      <a:pt x="233477" y="184598"/>
                      <a:pt x="233477" y="125318"/>
                    </a:cubicBezTo>
                    <a:cubicBezTo>
                      <a:pt x="233477" y="66039"/>
                      <a:pt x="185898" y="16120"/>
                      <a:pt x="125318" y="16120"/>
                    </a:cubicBezTo>
                    <a:close/>
                  </a:path>
                </a:pathLst>
              </a:custGeom>
              <a:solidFill>
                <a:srgbClr val="FFFFFF"/>
              </a:solidFill>
              <a:ln w="2597" cap="flat">
                <a:noFill/>
                <a:prstDash val="solid"/>
                <a:miter/>
              </a:ln>
            </p:spPr>
            <p:txBody>
              <a:bodyPr rtlCol="0" anchor="ctr"/>
              <a:lstStyle/>
              <a:p>
                <a:endParaRPr lang="en-GB"/>
              </a:p>
            </p:txBody>
          </p:sp>
        </p:grpSp>
        <p:sp>
          <p:nvSpPr>
            <p:cNvPr id="550" name="Freeform: Shape 549">
              <a:extLst>
                <a:ext uri="{FF2B5EF4-FFF2-40B4-BE49-F238E27FC236}">
                  <a16:creationId xmlns:a16="http://schemas.microsoft.com/office/drawing/2014/main" id="{7DDA7734-C6C4-D22D-0109-1C7F20A58899}"/>
                </a:ext>
              </a:extLst>
            </p:cNvPr>
            <p:cNvSpPr/>
            <p:nvPr/>
          </p:nvSpPr>
          <p:spPr>
            <a:xfrm>
              <a:off x="1568507" y="3044128"/>
              <a:ext cx="77286" cy="116478"/>
            </a:xfrm>
            <a:custGeom>
              <a:avLst/>
              <a:gdLst>
                <a:gd name="connsiteX0" fmla="*/ 39260 w 77286"/>
                <a:gd name="connsiteY0" fmla="*/ 116479 h 116478"/>
                <a:gd name="connsiteX1" fmla="*/ 0 w 77286"/>
                <a:gd name="connsiteY1" fmla="*/ 77219 h 116478"/>
                <a:gd name="connsiteX2" fmla="*/ 31720 w 77286"/>
                <a:gd name="connsiteY2" fmla="*/ 3900 h 116478"/>
                <a:gd name="connsiteX3" fmla="*/ 45499 w 77286"/>
                <a:gd name="connsiteY3" fmla="*/ 3900 h 116478"/>
                <a:gd name="connsiteX4" fmla="*/ 77220 w 77286"/>
                <a:gd name="connsiteY4" fmla="*/ 77219 h 116478"/>
                <a:gd name="connsiteX5" fmla="*/ 39260 w 77286"/>
                <a:gd name="connsiteY5" fmla="*/ 116479 h 116478"/>
                <a:gd name="connsiteX6" fmla="*/ 39260 w 77286"/>
                <a:gd name="connsiteY6" fmla="*/ 24180 h 116478"/>
                <a:gd name="connsiteX7" fmla="*/ 15860 w 77286"/>
                <a:gd name="connsiteY7" fmla="*/ 77219 h 116478"/>
                <a:gd name="connsiteX8" fmla="*/ 39260 w 77286"/>
                <a:gd name="connsiteY8" fmla="*/ 100619 h 116478"/>
                <a:gd name="connsiteX9" fmla="*/ 62660 w 77286"/>
                <a:gd name="connsiteY9" fmla="*/ 77219 h 116478"/>
                <a:gd name="connsiteX10" fmla="*/ 39260 w 77286"/>
                <a:gd name="connsiteY10" fmla="*/ 24180 h 116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286" h="116478">
                  <a:moveTo>
                    <a:pt x="39260" y="116479"/>
                  </a:moveTo>
                  <a:cubicBezTo>
                    <a:pt x="17940" y="116479"/>
                    <a:pt x="0" y="99579"/>
                    <a:pt x="0" y="77219"/>
                  </a:cubicBezTo>
                  <a:cubicBezTo>
                    <a:pt x="0" y="59279"/>
                    <a:pt x="26520" y="13520"/>
                    <a:pt x="31720" y="3900"/>
                  </a:cubicBezTo>
                  <a:cubicBezTo>
                    <a:pt x="34840" y="-1300"/>
                    <a:pt x="42380" y="-1300"/>
                    <a:pt x="45499" y="3900"/>
                  </a:cubicBezTo>
                  <a:cubicBezTo>
                    <a:pt x="50699" y="12480"/>
                    <a:pt x="77220" y="59019"/>
                    <a:pt x="77220" y="77219"/>
                  </a:cubicBezTo>
                  <a:cubicBezTo>
                    <a:pt x="78520" y="98279"/>
                    <a:pt x="60579" y="116479"/>
                    <a:pt x="39260" y="116479"/>
                  </a:cubicBezTo>
                  <a:close/>
                  <a:moveTo>
                    <a:pt x="39260" y="24180"/>
                  </a:moveTo>
                  <a:cubicBezTo>
                    <a:pt x="28600" y="44460"/>
                    <a:pt x="15860" y="68639"/>
                    <a:pt x="15860" y="77219"/>
                  </a:cubicBezTo>
                  <a:cubicBezTo>
                    <a:pt x="15860" y="89959"/>
                    <a:pt x="26520" y="100619"/>
                    <a:pt x="39260" y="100619"/>
                  </a:cubicBezTo>
                  <a:cubicBezTo>
                    <a:pt x="51999" y="100619"/>
                    <a:pt x="62660" y="89959"/>
                    <a:pt x="62660" y="77219"/>
                  </a:cubicBezTo>
                  <a:cubicBezTo>
                    <a:pt x="62660" y="68639"/>
                    <a:pt x="49920" y="44199"/>
                    <a:pt x="39260" y="24180"/>
                  </a:cubicBezTo>
                  <a:close/>
                </a:path>
              </a:pathLst>
            </a:custGeom>
            <a:solidFill>
              <a:srgbClr val="FFFFFF"/>
            </a:solidFill>
            <a:ln w="2597" cap="flat">
              <a:noFill/>
              <a:prstDash val="solid"/>
              <a:miter/>
            </a:ln>
          </p:spPr>
          <p:txBody>
            <a:bodyPr rtlCol="0" anchor="ctr"/>
            <a:lstStyle/>
            <a:p>
              <a:endParaRPr lang="en-GB"/>
            </a:p>
          </p:txBody>
        </p:sp>
      </p:grpSp>
      <p:sp>
        <p:nvSpPr>
          <p:cNvPr id="538" name="TextBox 537">
            <a:extLst>
              <a:ext uri="{FF2B5EF4-FFF2-40B4-BE49-F238E27FC236}">
                <a16:creationId xmlns:a16="http://schemas.microsoft.com/office/drawing/2014/main" id="{2518DD86-BBFE-3A6F-C5C9-54E2DA007D63}"/>
              </a:ext>
            </a:extLst>
          </p:cNvPr>
          <p:cNvSpPr txBox="1"/>
          <p:nvPr/>
        </p:nvSpPr>
        <p:spPr>
          <a:xfrm>
            <a:off x="6678534" y="4815670"/>
            <a:ext cx="451746" cy="153888"/>
          </a:xfrm>
          <a:prstGeom prst="rect">
            <a:avLst/>
          </a:prstGeom>
          <a:noFill/>
        </p:spPr>
        <p:txBody>
          <a:bodyPr wrap="square" lIns="0" tIns="0" rIns="0" bIns="0" rtlCol="0" anchor="t">
            <a:spAutoFit/>
          </a:bodyPr>
          <a:lstStyle/>
          <a:p>
            <a:pPr algn="l"/>
            <a:r>
              <a:rPr lang="en-GB" sz="1000" spc="0" baseline="0" err="1">
                <a:ln/>
                <a:cs typeface="Arial"/>
                <a:sym typeface="Arial"/>
                <a:rtl val="0"/>
              </a:rPr>
              <a:t>Öl</a:t>
            </a:r>
            <a:endParaRPr lang="en-GB" sz="1000" spc="0" baseline="0">
              <a:ln/>
              <a:cs typeface="Arial"/>
              <a:sym typeface="Arial"/>
              <a:rtl val="0"/>
            </a:endParaRPr>
          </a:p>
        </p:txBody>
      </p:sp>
      <p:sp>
        <p:nvSpPr>
          <p:cNvPr id="539" name="TextBox 538">
            <a:extLst>
              <a:ext uri="{FF2B5EF4-FFF2-40B4-BE49-F238E27FC236}">
                <a16:creationId xmlns:a16="http://schemas.microsoft.com/office/drawing/2014/main" id="{91A866B0-4298-35B3-BFB4-77F73F5938B7}"/>
              </a:ext>
            </a:extLst>
          </p:cNvPr>
          <p:cNvSpPr txBox="1"/>
          <p:nvPr/>
        </p:nvSpPr>
        <p:spPr>
          <a:xfrm>
            <a:off x="8099968" y="4016698"/>
            <a:ext cx="451746" cy="153888"/>
          </a:xfrm>
          <a:prstGeom prst="rect">
            <a:avLst/>
          </a:prstGeom>
          <a:noFill/>
        </p:spPr>
        <p:txBody>
          <a:bodyPr wrap="square" lIns="0" tIns="0" rIns="0" bIns="0" rtlCol="0" anchor="t">
            <a:spAutoFit/>
          </a:bodyPr>
          <a:lstStyle/>
          <a:p>
            <a:pPr algn="l"/>
            <a:r>
              <a:rPr lang="en-GB" sz="1000" spc="0" baseline="0">
                <a:ln/>
                <a:cs typeface="Arial"/>
                <a:sym typeface="Arial"/>
                <a:rtl val="0"/>
              </a:rPr>
              <a:t>Gas</a:t>
            </a:r>
          </a:p>
        </p:txBody>
      </p:sp>
      <p:sp>
        <p:nvSpPr>
          <p:cNvPr id="866" name="TextBox 865">
            <a:extLst>
              <a:ext uri="{FF2B5EF4-FFF2-40B4-BE49-F238E27FC236}">
                <a16:creationId xmlns:a16="http://schemas.microsoft.com/office/drawing/2014/main" id="{37982BE6-5CB6-7E25-66F6-1E081E893EAB}"/>
              </a:ext>
            </a:extLst>
          </p:cNvPr>
          <p:cNvSpPr txBox="1"/>
          <p:nvPr/>
        </p:nvSpPr>
        <p:spPr>
          <a:xfrm>
            <a:off x="208026" y="6106491"/>
            <a:ext cx="914400" cy="205410"/>
          </a:xfrm>
          <a:prstGeom prst="rect">
            <a:avLst/>
          </a:prstGeom>
          <a:noFill/>
        </p:spPr>
        <p:txBody>
          <a:bodyPr wrap="none" lIns="0" tIns="0" rIns="0" bIns="0" rtlCol="0" anchor="t">
            <a:noAutofit/>
          </a:bodyPr>
          <a:lstStyle/>
          <a:p>
            <a:r>
              <a:rPr lang="de-DE" sz="800"/>
              <a:t>[1] Quelle: https://www.wuerzburg.de/themen/umwelt-klima/klimaundenergie/gebaeude-energie-und-effizienz/den-heizungstausch-rechtzeitig-planen/welche-heizungen-sind-zukunftsfaehig</a:t>
            </a:r>
            <a:endParaRPr lang="en-GB" sz="800"/>
          </a:p>
        </p:txBody>
      </p:sp>
      <p:sp>
        <p:nvSpPr>
          <p:cNvPr id="867" name="TextBox 866">
            <a:extLst>
              <a:ext uri="{FF2B5EF4-FFF2-40B4-BE49-F238E27FC236}">
                <a16:creationId xmlns:a16="http://schemas.microsoft.com/office/drawing/2014/main" id="{8E68CA05-9479-B2FC-DAE4-8C04E542A907}"/>
              </a:ext>
            </a:extLst>
          </p:cNvPr>
          <p:cNvSpPr txBox="1"/>
          <p:nvPr/>
        </p:nvSpPr>
        <p:spPr>
          <a:xfrm>
            <a:off x="3979114" y="5058083"/>
            <a:ext cx="914400" cy="914400"/>
          </a:xfrm>
          <a:prstGeom prst="rect">
            <a:avLst/>
          </a:prstGeom>
          <a:noFill/>
        </p:spPr>
        <p:txBody>
          <a:bodyPr wrap="none" lIns="0" tIns="0" rIns="0" bIns="0" rtlCol="0" anchor="t">
            <a:noAutofit/>
          </a:bodyPr>
          <a:lstStyle/>
          <a:p>
            <a:r>
              <a:rPr lang="de-DE" sz="1000"/>
              <a:t>[1]</a:t>
            </a:r>
            <a:endParaRPr lang="en-GB" sz="1000"/>
          </a:p>
        </p:txBody>
      </p:sp>
      <p:grpSp>
        <p:nvGrpSpPr>
          <p:cNvPr id="869" name="Group 868">
            <a:extLst>
              <a:ext uri="{FF2B5EF4-FFF2-40B4-BE49-F238E27FC236}">
                <a16:creationId xmlns:a16="http://schemas.microsoft.com/office/drawing/2014/main" id="{ACB0011E-2038-69CD-A6FC-0BD541DA971D}"/>
              </a:ext>
            </a:extLst>
          </p:cNvPr>
          <p:cNvGrpSpPr/>
          <p:nvPr/>
        </p:nvGrpSpPr>
        <p:grpSpPr>
          <a:xfrm>
            <a:off x="6478652" y="2826291"/>
            <a:ext cx="239095" cy="238239"/>
            <a:chOff x="1470838" y="4914849"/>
            <a:chExt cx="290676" cy="289636"/>
          </a:xfrm>
        </p:grpSpPr>
        <p:grpSp>
          <p:nvGrpSpPr>
            <p:cNvPr id="870" name="Graphic 6">
              <a:extLst>
                <a:ext uri="{FF2B5EF4-FFF2-40B4-BE49-F238E27FC236}">
                  <a16:creationId xmlns:a16="http://schemas.microsoft.com/office/drawing/2014/main" id="{48B9240F-543B-A291-A4F0-792BBB85B569}"/>
                </a:ext>
              </a:extLst>
            </p:cNvPr>
            <p:cNvGrpSpPr/>
            <p:nvPr/>
          </p:nvGrpSpPr>
          <p:grpSpPr>
            <a:xfrm>
              <a:off x="1470838" y="4914849"/>
              <a:ext cx="290676" cy="289636"/>
              <a:chOff x="5400411" y="3583051"/>
              <a:chExt cx="290676" cy="289636"/>
            </a:xfrm>
          </p:grpSpPr>
          <p:sp>
            <p:nvSpPr>
              <p:cNvPr id="872" name="Freeform: Shape 871">
                <a:extLst>
                  <a:ext uri="{FF2B5EF4-FFF2-40B4-BE49-F238E27FC236}">
                    <a16:creationId xmlns:a16="http://schemas.microsoft.com/office/drawing/2014/main" id="{7D89069A-F6E3-9FA8-5909-AA2A57344C6B}"/>
                  </a:ext>
                </a:extLst>
              </p:cNvPr>
              <p:cNvSpPr/>
              <p:nvPr/>
            </p:nvSpPr>
            <p:spPr>
              <a:xfrm>
                <a:off x="5408731" y="3590330"/>
                <a:ext cx="274036" cy="274036"/>
              </a:xfrm>
              <a:custGeom>
                <a:avLst/>
                <a:gdLst>
                  <a:gd name="connsiteX0" fmla="*/ 274037 w 274036"/>
                  <a:gd name="connsiteY0" fmla="*/ 137018 h 274036"/>
                  <a:gd name="connsiteX1" fmla="*/ 137019 w 274036"/>
                  <a:gd name="connsiteY1" fmla="*/ 274037 h 274036"/>
                  <a:gd name="connsiteX2" fmla="*/ 0 w 274036"/>
                  <a:gd name="connsiteY2" fmla="*/ 137018 h 274036"/>
                  <a:gd name="connsiteX3" fmla="*/ 137019 w 274036"/>
                  <a:gd name="connsiteY3" fmla="*/ 0 h 274036"/>
                  <a:gd name="connsiteX4" fmla="*/ 274037 w 274036"/>
                  <a:gd name="connsiteY4" fmla="*/ 137018 h 274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036" h="274036">
                    <a:moveTo>
                      <a:pt x="274037" y="137018"/>
                    </a:moveTo>
                    <a:cubicBezTo>
                      <a:pt x="274037" y="212691"/>
                      <a:pt x="212692" y="274037"/>
                      <a:pt x="137019" y="274037"/>
                    </a:cubicBezTo>
                    <a:cubicBezTo>
                      <a:pt x="61346" y="274037"/>
                      <a:pt x="0" y="212691"/>
                      <a:pt x="0" y="137018"/>
                    </a:cubicBezTo>
                    <a:cubicBezTo>
                      <a:pt x="0" y="61345"/>
                      <a:pt x="61346" y="0"/>
                      <a:pt x="137019" y="0"/>
                    </a:cubicBezTo>
                    <a:cubicBezTo>
                      <a:pt x="212692" y="0"/>
                      <a:pt x="274037" y="61345"/>
                      <a:pt x="274037" y="137018"/>
                    </a:cubicBezTo>
                    <a:close/>
                  </a:path>
                </a:pathLst>
              </a:custGeom>
              <a:solidFill>
                <a:srgbClr val="00B050"/>
              </a:solidFill>
              <a:ln w="2597" cap="flat">
                <a:noFill/>
                <a:prstDash val="solid"/>
                <a:miter/>
              </a:ln>
            </p:spPr>
            <p:txBody>
              <a:bodyPr rtlCol="0" anchor="ctr"/>
              <a:lstStyle/>
              <a:p>
                <a:endParaRPr lang="en-GB"/>
              </a:p>
            </p:txBody>
          </p:sp>
          <p:sp>
            <p:nvSpPr>
              <p:cNvPr id="873" name="Freeform: Shape 872">
                <a:extLst>
                  <a:ext uri="{FF2B5EF4-FFF2-40B4-BE49-F238E27FC236}">
                    <a16:creationId xmlns:a16="http://schemas.microsoft.com/office/drawing/2014/main" id="{8B48DAE6-4A54-EA8E-07FE-D17E767FBD8B}"/>
                  </a:ext>
                </a:extLst>
              </p:cNvPr>
              <p:cNvSpPr/>
              <p:nvPr/>
            </p:nvSpPr>
            <p:spPr>
              <a:xfrm>
                <a:off x="5400411" y="3583051"/>
                <a:ext cx="290676" cy="289636"/>
              </a:xfrm>
              <a:custGeom>
                <a:avLst/>
                <a:gdLst>
                  <a:gd name="connsiteX0" fmla="*/ 145338 w 290676"/>
                  <a:gd name="connsiteY0" fmla="*/ 289637 h 289636"/>
                  <a:gd name="connsiteX1" fmla="*/ 0 w 290676"/>
                  <a:gd name="connsiteY1" fmla="*/ 144298 h 289636"/>
                  <a:gd name="connsiteX2" fmla="*/ 145338 w 290676"/>
                  <a:gd name="connsiteY2" fmla="*/ 0 h 289636"/>
                  <a:gd name="connsiteX3" fmla="*/ 290676 w 290676"/>
                  <a:gd name="connsiteY3" fmla="*/ 144298 h 289636"/>
                  <a:gd name="connsiteX4" fmla="*/ 145338 w 290676"/>
                  <a:gd name="connsiteY4" fmla="*/ 289637 h 289636"/>
                  <a:gd name="connsiteX5" fmla="*/ 145338 w 290676"/>
                  <a:gd name="connsiteY5" fmla="*/ 14820 h 289636"/>
                  <a:gd name="connsiteX6" fmla="*/ 15860 w 290676"/>
                  <a:gd name="connsiteY6" fmla="*/ 143258 h 289636"/>
                  <a:gd name="connsiteX7" fmla="*/ 145338 w 290676"/>
                  <a:gd name="connsiteY7" fmla="*/ 272737 h 289636"/>
                  <a:gd name="connsiteX8" fmla="*/ 274817 w 290676"/>
                  <a:gd name="connsiteY8" fmla="*/ 143258 h 289636"/>
                  <a:gd name="connsiteX9" fmla="*/ 145338 w 290676"/>
                  <a:gd name="connsiteY9" fmla="*/ 14820 h 289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676" h="289636">
                    <a:moveTo>
                      <a:pt x="145338" y="289637"/>
                    </a:moveTo>
                    <a:cubicBezTo>
                      <a:pt x="65779" y="289637"/>
                      <a:pt x="0" y="224897"/>
                      <a:pt x="0" y="144298"/>
                    </a:cubicBezTo>
                    <a:cubicBezTo>
                      <a:pt x="0" y="63699"/>
                      <a:pt x="64739" y="0"/>
                      <a:pt x="145338" y="0"/>
                    </a:cubicBezTo>
                    <a:cubicBezTo>
                      <a:pt x="225937" y="0"/>
                      <a:pt x="290676" y="64739"/>
                      <a:pt x="290676" y="144298"/>
                    </a:cubicBezTo>
                    <a:cubicBezTo>
                      <a:pt x="290676" y="223858"/>
                      <a:pt x="224897" y="289637"/>
                      <a:pt x="145338" y="289637"/>
                    </a:cubicBezTo>
                    <a:close/>
                    <a:moveTo>
                      <a:pt x="145338" y="14820"/>
                    </a:moveTo>
                    <a:cubicBezTo>
                      <a:pt x="74359" y="14820"/>
                      <a:pt x="15860" y="73319"/>
                      <a:pt x="15860" y="143258"/>
                    </a:cubicBezTo>
                    <a:cubicBezTo>
                      <a:pt x="15860" y="214237"/>
                      <a:pt x="74359" y="272737"/>
                      <a:pt x="145338" y="272737"/>
                    </a:cubicBezTo>
                    <a:cubicBezTo>
                      <a:pt x="216317" y="272737"/>
                      <a:pt x="274817" y="214237"/>
                      <a:pt x="274817" y="143258"/>
                    </a:cubicBezTo>
                    <a:cubicBezTo>
                      <a:pt x="274817" y="73059"/>
                      <a:pt x="216317" y="14820"/>
                      <a:pt x="145338" y="14820"/>
                    </a:cubicBezTo>
                    <a:close/>
                  </a:path>
                </a:pathLst>
              </a:custGeom>
              <a:solidFill>
                <a:srgbClr val="FFFFFF"/>
              </a:solidFill>
              <a:ln w="2597" cap="flat">
                <a:noFill/>
                <a:prstDash val="solid"/>
                <a:miter/>
              </a:ln>
            </p:spPr>
            <p:txBody>
              <a:bodyPr rtlCol="0" anchor="ctr"/>
              <a:lstStyle/>
              <a:p>
                <a:endParaRPr lang="en-GB"/>
              </a:p>
            </p:txBody>
          </p:sp>
        </p:grpSp>
        <p:sp>
          <p:nvSpPr>
            <p:cNvPr id="871" name="Freeform: Shape 870">
              <a:extLst>
                <a:ext uri="{FF2B5EF4-FFF2-40B4-BE49-F238E27FC236}">
                  <a16:creationId xmlns:a16="http://schemas.microsoft.com/office/drawing/2014/main" id="{90BF317F-C29D-1F7D-E0AD-0DF8A829CA3F}"/>
                </a:ext>
              </a:extLst>
            </p:cNvPr>
            <p:cNvSpPr/>
            <p:nvPr/>
          </p:nvSpPr>
          <p:spPr>
            <a:xfrm>
              <a:off x="1555116" y="4957600"/>
              <a:ext cx="120339" cy="175645"/>
            </a:xfrm>
            <a:custGeom>
              <a:avLst/>
              <a:gdLst>
                <a:gd name="connsiteX0" fmla="*/ 61060 w 120339"/>
                <a:gd name="connsiteY0" fmla="*/ 175646 h 175645"/>
                <a:gd name="connsiteX1" fmla="*/ 37660 w 120339"/>
                <a:gd name="connsiteY1" fmla="*/ 172526 h 175645"/>
                <a:gd name="connsiteX2" fmla="*/ 17380 w 120339"/>
                <a:gd name="connsiteY2" fmla="*/ 159786 h 175645"/>
                <a:gd name="connsiteX3" fmla="*/ 4641 w 120339"/>
                <a:gd name="connsiteY3" fmla="*/ 139507 h 175645"/>
                <a:gd name="connsiteX4" fmla="*/ 14261 w 120339"/>
                <a:gd name="connsiteY4" fmla="*/ 63067 h 175645"/>
                <a:gd name="connsiteX5" fmla="*/ 15300 w 120339"/>
                <a:gd name="connsiteY5" fmla="*/ 60987 h 175645"/>
                <a:gd name="connsiteX6" fmla="*/ 22840 w 120339"/>
                <a:gd name="connsiteY6" fmla="*/ 57867 h 175645"/>
                <a:gd name="connsiteX7" fmla="*/ 31420 w 120339"/>
                <a:gd name="connsiteY7" fmla="*/ 63067 h 175645"/>
                <a:gd name="connsiteX8" fmla="*/ 71720 w 120339"/>
                <a:gd name="connsiteY8" fmla="*/ 1448 h 175645"/>
                <a:gd name="connsiteX9" fmla="*/ 72760 w 120339"/>
                <a:gd name="connsiteY9" fmla="*/ 408 h 175645"/>
                <a:gd name="connsiteX10" fmla="*/ 74840 w 120339"/>
                <a:gd name="connsiteY10" fmla="*/ 408 h 175645"/>
                <a:gd name="connsiteX11" fmla="*/ 83420 w 120339"/>
                <a:gd name="connsiteY11" fmla="*/ 2488 h 175645"/>
                <a:gd name="connsiteX12" fmla="*/ 86540 w 120339"/>
                <a:gd name="connsiteY12" fmla="*/ 18348 h 175645"/>
                <a:gd name="connsiteX13" fmla="*/ 104479 w 120339"/>
                <a:gd name="connsiteY13" fmla="*/ 71387 h 175645"/>
                <a:gd name="connsiteX14" fmla="*/ 117219 w 120339"/>
                <a:gd name="connsiteY14" fmla="*/ 91667 h 175645"/>
                <a:gd name="connsiteX15" fmla="*/ 120339 w 120339"/>
                <a:gd name="connsiteY15" fmla="*/ 115067 h 175645"/>
                <a:gd name="connsiteX16" fmla="*/ 117219 w 120339"/>
                <a:gd name="connsiteY16" fmla="*/ 138466 h 175645"/>
                <a:gd name="connsiteX17" fmla="*/ 104479 w 120339"/>
                <a:gd name="connsiteY17" fmla="*/ 158746 h 175645"/>
                <a:gd name="connsiteX18" fmla="*/ 84200 w 120339"/>
                <a:gd name="connsiteY18" fmla="*/ 171486 h 175645"/>
                <a:gd name="connsiteX19" fmla="*/ 61060 w 120339"/>
                <a:gd name="connsiteY19" fmla="*/ 175646 h 175645"/>
                <a:gd name="connsiteX20" fmla="*/ 23880 w 120339"/>
                <a:gd name="connsiteY20" fmla="*/ 79187 h 175645"/>
                <a:gd name="connsiteX21" fmla="*/ 19721 w 120339"/>
                <a:gd name="connsiteY21" fmla="*/ 133267 h 175645"/>
                <a:gd name="connsiteX22" fmla="*/ 28300 w 120339"/>
                <a:gd name="connsiteY22" fmla="*/ 148086 h 175645"/>
                <a:gd name="connsiteX23" fmla="*/ 42080 w 120339"/>
                <a:gd name="connsiteY23" fmla="*/ 156666 h 175645"/>
                <a:gd name="connsiteX24" fmla="*/ 79260 w 120339"/>
                <a:gd name="connsiteY24" fmla="*/ 156666 h 175645"/>
                <a:gd name="connsiteX25" fmla="*/ 93040 w 120339"/>
                <a:gd name="connsiteY25" fmla="*/ 148086 h 175645"/>
                <a:gd name="connsiteX26" fmla="*/ 101620 w 120339"/>
                <a:gd name="connsiteY26" fmla="*/ 134307 h 175645"/>
                <a:gd name="connsiteX27" fmla="*/ 104739 w 120339"/>
                <a:gd name="connsiteY27" fmla="*/ 115327 h 175645"/>
                <a:gd name="connsiteX28" fmla="*/ 101620 w 120339"/>
                <a:gd name="connsiteY28" fmla="*/ 96347 h 175645"/>
                <a:gd name="connsiteX29" fmla="*/ 93040 w 120339"/>
                <a:gd name="connsiteY29" fmla="*/ 82567 h 175645"/>
                <a:gd name="connsiteX30" fmla="*/ 70680 w 120339"/>
                <a:gd name="connsiteY30" fmla="*/ 23028 h 175645"/>
                <a:gd name="connsiteX31" fmla="*/ 54820 w 120339"/>
                <a:gd name="connsiteY31" fmla="*/ 94007 h 175645"/>
                <a:gd name="connsiteX32" fmla="*/ 54820 w 120339"/>
                <a:gd name="connsiteY32" fmla="*/ 108827 h 175645"/>
                <a:gd name="connsiteX33" fmla="*/ 53780 w 120339"/>
                <a:gd name="connsiteY33" fmla="*/ 109867 h 175645"/>
                <a:gd name="connsiteX34" fmla="*/ 51700 w 120339"/>
                <a:gd name="connsiteY34" fmla="*/ 110907 h 175645"/>
                <a:gd name="connsiteX35" fmla="*/ 32720 w 120339"/>
                <a:gd name="connsiteY35" fmla="*/ 92967 h 175645"/>
                <a:gd name="connsiteX36" fmla="*/ 23880 w 120339"/>
                <a:gd name="connsiteY36" fmla="*/ 79187 h 175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0339" h="175645">
                  <a:moveTo>
                    <a:pt x="61060" y="175646"/>
                  </a:moveTo>
                  <a:cubicBezTo>
                    <a:pt x="52480" y="175646"/>
                    <a:pt x="44160" y="174606"/>
                    <a:pt x="37660" y="172526"/>
                  </a:cubicBezTo>
                  <a:cubicBezTo>
                    <a:pt x="30120" y="170446"/>
                    <a:pt x="22840" y="164986"/>
                    <a:pt x="17380" y="159786"/>
                  </a:cubicBezTo>
                  <a:cubicBezTo>
                    <a:pt x="12181" y="154586"/>
                    <a:pt x="6721" y="147046"/>
                    <a:pt x="4641" y="139507"/>
                  </a:cubicBezTo>
                  <a:cubicBezTo>
                    <a:pt x="-3939" y="114027"/>
                    <a:pt x="-559" y="88547"/>
                    <a:pt x="14261" y="63067"/>
                  </a:cubicBezTo>
                  <a:lnTo>
                    <a:pt x="15300" y="60987"/>
                  </a:lnTo>
                  <a:cubicBezTo>
                    <a:pt x="17380" y="58907"/>
                    <a:pt x="20500" y="57867"/>
                    <a:pt x="22840" y="57867"/>
                  </a:cubicBezTo>
                  <a:cubicBezTo>
                    <a:pt x="25960" y="57867"/>
                    <a:pt x="28040" y="59947"/>
                    <a:pt x="31420" y="63067"/>
                  </a:cubicBezTo>
                  <a:cubicBezTo>
                    <a:pt x="33500" y="46168"/>
                    <a:pt x="43120" y="23808"/>
                    <a:pt x="71720" y="1448"/>
                  </a:cubicBezTo>
                  <a:lnTo>
                    <a:pt x="72760" y="408"/>
                  </a:lnTo>
                  <a:lnTo>
                    <a:pt x="74840" y="408"/>
                  </a:lnTo>
                  <a:cubicBezTo>
                    <a:pt x="77960" y="-632"/>
                    <a:pt x="81080" y="408"/>
                    <a:pt x="83420" y="2488"/>
                  </a:cubicBezTo>
                  <a:cubicBezTo>
                    <a:pt x="87580" y="5608"/>
                    <a:pt x="87580" y="11068"/>
                    <a:pt x="86540" y="18348"/>
                  </a:cubicBezTo>
                  <a:cubicBezTo>
                    <a:pt x="85500" y="31088"/>
                    <a:pt x="84460" y="53447"/>
                    <a:pt x="104479" y="71387"/>
                  </a:cubicBezTo>
                  <a:cubicBezTo>
                    <a:pt x="110719" y="77627"/>
                    <a:pt x="115139" y="84127"/>
                    <a:pt x="117219" y="91667"/>
                  </a:cubicBezTo>
                  <a:cubicBezTo>
                    <a:pt x="119299" y="99207"/>
                    <a:pt x="120339" y="106487"/>
                    <a:pt x="120339" y="115067"/>
                  </a:cubicBezTo>
                  <a:cubicBezTo>
                    <a:pt x="120339" y="123646"/>
                    <a:pt x="119299" y="131967"/>
                    <a:pt x="117219" y="138466"/>
                  </a:cubicBezTo>
                  <a:cubicBezTo>
                    <a:pt x="115139" y="146006"/>
                    <a:pt x="109679" y="153286"/>
                    <a:pt x="104479" y="158746"/>
                  </a:cubicBezTo>
                  <a:cubicBezTo>
                    <a:pt x="99280" y="164206"/>
                    <a:pt x="91740" y="169406"/>
                    <a:pt x="84200" y="171486"/>
                  </a:cubicBezTo>
                  <a:cubicBezTo>
                    <a:pt x="77960" y="174606"/>
                    <a:pt x="69380" y="175646"/>
                    <a:pt x="61060" y="175646"/>
                  </a:cubicBezTo>
                  <a:close/>
                  <a:moveTo>
                    <a:pt x="23880" y="79187"/>
                  </a:moveTo>
                  <a:cubicBezTo>
                    <a:pt x="11140" y="106747"/>
                    <a:pt x="17640" y="127027"/>
                    <a:pt x="19721" y="133267"/>
                  </a:cubicBezTo>
                  <a:cubicBezTo>
                    <a:pt x="21800" y="138466"/>
                    <a:pt x="24920" y="144966"/>
                    <a:pt x="28300" y="148086"/>
                  </a:cubicBezTo>
                  <a:cubicBezTo>
                    <a:pt x="31420" y="151206"/>
                    <a:pt x="37920" y="155626"/>
                    <a:pt x="42080" y="156666"/>
                  </a:cubicBezTo>
                  <a:cubicBezTo>
                    <a:pt x="52740" y="159786"/>
                    <a:pt x="68600" y="159786"/>
                    <a:pt x="79260" y="156666"/>
                  </a:cubicBezTo>
                  <a:cubicBezTo>
                    <a:pt x="83420" y="155626"/>
                    <a:pt x="89920" y="151466"/>
                    <a:pt x="93040" y="148086"/>
                  </a:cubicBezTo>
                  <a:cubicBezTo>
                    <a:pt x="97199" y="144966"/>
                    <a:pt x="100580" y="138466"/>
                    <a:pt x="101620" y="134307"/>
                  </a:cubicBezTo>
                  <a:cubicBezTo>
                    <a:pt x="103699" y="129107"/>
                    <a:pt x="104739" y="122607"/>
                    <a:pt x="104739" y="115327"/>
                  </a:cubicBezTo>
                  <a:cubicBezTo>
                    <a:pt x="104739" y="109087"/>
                    <a:pt x="103699" y="101547"/>
                    <a:pt x="101620" y="96347"/>
                  </a:cubicBezTo>
                  <a:cubicBezTo>
                    <a:pt x="99539" y="91147"/>
                    <a:pt x="97460" y="86727"/>
                    <a:pt x="93040" y="82567"/>
                  </a:cubicBezTo>
                  <a:cubicBezTo>
                    <a:pt x="71720" y="62287"/>
                    <a:pt x="69640" y="39147"/>
                    <a:pt x="70680" y="23028"/>
                  </a:cubicBezTo>
                  <a:cubicBezTo>
                    <a:pt x="35580" y="57087"/>
                    <a:pt x="48320" y="82567"/>
                    <a:pt x="54820" y="94007"/>
                  </a:cubicBezTo>
                  <a:cubicBezTo>
                    <a:pt x="56900" y="98167"/>
                    <a:pt x="60020" y="103627"/>
                    <a:pt x="54820" y="108827"/>
                  </a:cubicBezTo>
                  <a:lnTo>
                    <a:pt x="53780" y="109867"/>
                  </a:lnTo>
                  <a:lnTo>
                    <a:pt x="51700" y="110907"/>
                  </a:lnTo>
                  <a:cubicBezTo>
                    <a:pt x="44160" y="112987"/>
                    <a:pt x="41040" y="107787"/>
                    <a:pt x="32720" y="92967"/>
                  </a:cubicBezTo>
                  <a:cubicBezTo>
                    <a:pt x="30120" y="90887"/>
                    <a:pt x="25960" y="84387"/>
                    <a:pt x="23880" y="79187"/>
                  </a:cubicBezTo>
                  <a:close/>
                </a:path>
              </a:pathLst>
            </a:custGeom>
            <a:solidFill>
              <a:srgbClr val="FFFFFF"/>
            </a:solidFill>
            <a:ln w="2597" cap="flat">
              <a:noFill/>
              <a:prstDash val="solid"/>
              <a:miter/>
            </a:ln>
          </p:spPr>
          <p:txBody>
            <a:bodyPr rtlCol="0" anchor="ctr"/>
            <a:lstStyle/>
            <a:p>
              <a:endParaRPr lang="en-GB"/>
            </a:p>
          </p:txBody>
        </p:sp>
      </p:grpSp>
      <p:grpSp>
        <p:nvGrpSpPr>
          <p:cNvPr id="874" name="Group 873">
            <a:extLst>
              <a:ext uri="{FF2B5EF4-FFF2-40B4-BE49-F238E27FC236}">
                <a16:creationId xmlns:a16="http://schemas.microsoft.com/office/drawing/2014/main" id="{1A8CC008-7D49-8184-C5AE-655B7FED0718}"/>
              </a:ext>
            </a:extLst>
          </p:cNvPr>
          <p:cNvGrpSpPr/>
          <p:nvPr/>
        </p:nvGrpSpPr>
        <p:grpSpPr>
          <a:xfrm>
            <a:off x="5427724" y="4736305"/>
            <a:ext cx="239095" cy="238239"/>
            <a:chOff x="1470838" y="4914849"/>
            <a:chExt cx="290676" cy="289636"/>
          </a:xfrm>
        </p:grpSpPr>
        <p:grpSp>
          <p:nvGrpSpPr>
            <p:cNvPr id="875" name="Graphic 6">
              <a:extLst>
                <a:ext uri="{FF2B5EF4-FFF2-40B4-BE49-F238E27FC236}">
                  <a16:creationId xmlns:a16="http://schemas.microsoft.com/office/drawing/2014/main" id="{1D30994D-CF69-927D-E914-3F4A46E2FC7A}"/>
                </a:ext>
              </a:extLst>
            </p:cNvPr>
            <p:cNvGrpSpPr/>
            <p:nvPr/>
          </p:nvGrpSpPr>
          <p:grpSpPr>
            <a:xfrm>
              <a:off x="1470838" y="4914849"/>
              <a:ext cx="290676" cy="289636"/>
              <a:chOff x="5400411" y="3583051"/>
              <a:chExt cx="290676" cy="289636"/>
            </a:xfrm>
          </p:grpSpPr>
          <p:sp>
            <p:nvSpPr>
              <p:cNvPr id="877" name="Freeform: Shape 876">
                <a:extLst>
                  <a:ext uri="{FF2B5EF4-FFF2-40B4-BE49-F238E27FC236}">
                    <a16:creationId xmlns:a16="http://schemas.microsoft.com/office/drawing/2014/main" id="{F666E0BF-A014-3D6B-EC5D-DEDA7036CC7D}"/>
                  </a:ext>
                </a:extLst>
              </p:cNvPr>
              <p:cNvSpPr/>
              <p:nvPr/>
            </p:nvSpPr>
            <p:spPr>
              <a:xfrm>
                <a:off x="5408731" y="3590330"/>
                <a:ext cx="274036" cy="274036"/>
              </a:xfrm>
              <a:custGeom>
                <a:avLst/>
                <a:gdLst>
                  <a:gd name="connsiteX0" fmla="*/ 274037 w 274036"/>
                  <a:gd name="connsiteY0" fmla="*/ 137018 h 274036"/>
                  <a:gd name="connsiteX1" fmla="*/ 137019 w 274036"/>
                  <a:gd name="connsiteY1" fmla="*/ 274037 h 274036"/>
                  <a:gd name="connsiteX2" fmla="*/ 0 w 274036"/>
                  <a:gd name="connsiteY2" fmla="*/ 137018 h 274036"/>
                  <a:gd name="connsiteX3" fmla="*/ 137019 w 274036"/>
                  <a:gd name="connsiteY3" fmla="*/ 0 h 274036"/>
                  <a:gd name="connsiteX4" fmla="*/ 274037 w 274036"/>
                  <a:gd name="connsiteY4" fmla="*/ 137018 h 274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036" h="274036">
                    <a:moveTo>
                      <a:pt x="274037" y="137018"/>
                    </a:moveTo>
                    <a:cubicBezTo>
                      <a:pt x="274037" y="212691"/>
                      <a:pt x="212692" y="274037"/>
                      <a:pt x="137019" y="274037"/>
                    </a:cubicBezTo>
                    <a:cubicBezTo>
                      <a:pt x="61346" y="274037"/>
                      <a:pt x="0" y="212691"/>
                      <a:pt x="0" y="137018"/>
                    </a:cubicBezTo>
                    <a:cubicBezTo>
                      <a:pt x="0" y="61345"/>
                      <a:pt x="61346" y="0"/>
                      <a:pt x="137019" y="0"/>
                    </a:cubicBezTo>
                    <a:cubicBezTo>
                      <a:pt x="212692" y="0"/>
                      <a:pt x="274037" y="61345"/>
                      <a:pt x="274037" y="137018"/>
                    </a:cubicBezTo>
                    <a:close/>
                  </a:path>
                </a:pathLst>
              </a:custGeom>
              <a:solidFill>
                <a:srgbClr val="00B050"/>
              </a:solidFill>
              <a:ln w="2597" cap="flat">
                <a:noFill/>
                <a:prstDash val="solid"/>
                <a:miter/>
              </a:ln>
            </p:spPr>
            <p:txBody>
              <a:bodyPr rtlCol="0" anchor="ctr"/>
              <a:lstStyle/>
              <a:p>
                <a:endParaRPr lang="en-GB"/>
              </a:p>
            </p:txBody>
          </p:sp>
          <p:sp>
            <p:nvSpPr>
              <p:cNvPr id="878" name="Freeform: Shape 877">
                <a:extLst>
                  <a:ext uri="{FF2B5EF4-FFF2-40B4-BE49-F238E27FC236}">
                    <a16:creationId xmlns:a16="http://schemas.microsoft.com/office/drawing/2014/main" id="{DCF55DF2-2F56-A981-3CF8-6D5027CEC08D}"/>
                  </a:ext>
                </a:extLst>
              </p:cNvPr>
              <p:cNvSpPr/>
              <p:nvPr/>
            </p:nvSpPr>
            <p:spPr>
              <a:xfrm>
                <a:off x="5400411" y="3583051"/>
                <a:ext cx="290676" cy="289636"/>
              </a:xfrm>
              <a:custGeom>
                <a:avLst/>
                <a:gdLst>
                  <a:gd name="connsiteX0" fmla="*/ 145338 w 290676"/>
                  <a:gd name="connsiteY0" fmla="*/ 289637 h 289636"/>
                  <a:gd name="connsiteX1" fmla="*/ 0 w 290676"/>
                  <a:gd name="connsiteY1" fmla="*/ 144298 h 289636"/>
                  <a:gd name="connsiteX2" fmla="*/ 145338 w 290676"/>
                  <a:gd name="connsiteY2" fmla="*/ 0 h 289636"/>
                  <a:gd name="connsiteX3" fmla="*/ 290676 w 290676"/>
                  <a:gd name="connsiteY3" fmla="*/ 144298 h 289636"/>
                  <a:gd name="connsiteX4" fmla="*/ 145338 w 290676"/>
                  <a:gd name="connsiteY4" fmla="*/ 289637 h 289636"/>
                  <a:gd name="connsiteX5" fmla="*/ 145338 w 290676"/>
                  <a:gd name="connsiteY5" fmla="*/ 14820 h 289636"/>
                  <a:gd name="connsiteX6" fmla="*/ 15860 w 290676"/>
                  <a:gd name="connsiteY6" fmla="*/ 143258 h 289636"/>
                  <a:gd name="connsiteX7" fmla="*/ 145338 w 290676"/>
                  <a:gd name="connsiteY7" fmla="*/ 272737 h 289636"/>
                  <a:gd name="connsiteX8" fmla="*/ 274817 w 290676"/>
                  <a:gd name="connsiteY8" fmla="*/ 143258 h 289636"/>
                  <a:gd name="connsiteX9" fmla="*/ 145338 w 290676"/>
                  <a:gd name="connsiteY9" fmla="*/ 14820 h 289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676" h="289636">
                    <a:moveTo>
                      <a:pt x="145338" y="289637"/>
                    </a:moveTo>
                    <a:cubicBezTo>
                      <a:pt x="65779" y="289637"/>
                      <a:pt x="0" y="224897"/>
                      <a:pt x="0" y="144298"/>
                    </a:cubicBezTo>
                    <a:cubicBezTo>
                      <a:pt x="0" y="63699"/>
                      <a:pt x="64739" y="0"/>
                      <a:pt x="145338" y="0"/>
                    </a:cubicBezTo>
                    <a:cubicBezTo>
                      <a:pt x="225937" y="0"/>
                      <a:pt x="290676" y="64739"/>
                      <a:pt x="290676" y="144298"/>
                    </a:cubicBezTo>
                    <a:cubicBezTo>
                      <a:pt x="290676" y="223858"/>
                      <a:pt x="224897" y="289637"/>
                      <a:pt x="145338" y="289637"/>
                    </a:cubicBezTo>
                    <a:close/>
                    <a:moveTo>
                      <a:pt x="145338" y="14820"/>
                    </a:moveTo>
                    <a:cubicBezTo>
                      <a:pt x="74359" y="14820"/>
                      <a:pt x="15860" y="73319"/>
                      <a:pt x="15860" y="143258"/>
                    </a:cubicBezTo>
                    <a:cubicBezTo>
                      <a:pt x="15860" y="214237"/>
                      <a:pt x="74359" y="272737"/>
                      <a:pt x="145338" y="272737"/>
                    </a:cubicBezTo>
                    <a:cubicBezTo>
                      <a:pt x="216317" y="272737"/>
                      <a:pt x="274817" y="214237"/>
                      <a:pt x="274817" y="143258"/>
                    </a:cubicBezTo>
                    <a:cubicBezTo>
                      <a:pt x="274817" y="73059"/>
                      <a:pt x="216317" y="14820"/>
                      <a:pt x="145338" y="14820"/>
                    </a:cubicBezTo>
                    <a:close/>
                  </a:path>
                </a:pathLst>
              </a:custGeom>
              <a:solidFill>
                <a:srgbClr val="FFFFFF"/>
              </a:solidFill>
              <a:ln w="2597" cap="flat">
                <a:noFill/>
                <a:prstDash val="solid"/>
                <a:miter/>
              </a:ln>
            </p:spPr>
            <p:txBody>
              <a:bodyPr rtlCol="0" anchor="ctr"/>
              <a:lstStyle/>
              <a:p>
                <a:endParaRPr lang="en-GB"/>
              </a:p>
            </p:txBody>
          </p:sp>
        </p:grpSp>
        <p:sp>
          <p:nvSpPr>
            <p:cNvPr id="876" name="Freeform: Shape 875">
              <a:extLst>
                <a:ext uri="{FF2B5EF4-FFF2-40B4-BE49-F238E27FC236}">
                  <a16:creationId xmlns:a16="http://schemas.microsoft.com/office/drawing/2014/main" id="{1DD6B259-9A50-B0FB-E1A8-AF8B7981B9B0}"/>
                </a:ext>
              </a:extLst>
            </p:cNvPr>
            <p:cNvSpPr/>
            <p:nvPr/>
          </p:nvSpPr>
          <p:spPr>
            <a:xfrm>
              <a:off x="1555116" y="4957600"/>
              <a:ext cx="120339" cy="175645"/>
            </a:xfrm>
            <a:custGeom>
              <a:avLst/>
              <a:gdLst>
                <a:gd name="connsiteX0" fmla="*/ 61060 w 120339"/>
                <a:gd name="connsiteY0" fmla="*/ 175646 h 175645"/>
                <a:gd name="connsiteX1" fmla="*/ 37660 w 120339"/>
                <a:gd name="connsiteY1" fmla="*/ 172526 h 175645"/>
                <a:gd name="connsiteX2" fmla="*/ 17380 w 120339"/>
                <a:gd name="connsiteY2" fmla="*/ 159786 h 175645"/>
                <a:gd name="connsiteX3" fmla="*/ 4641 w 120339"/>
                <a:gd name="connsiteY3" fmla="*/ 139507 h 175645"/>
                <a:gd name="connsiteX4" fmla="*/ 14261 w 120339"/>
                <a:gd name="connsiteY4" fmla="*/ 63067 h 175645"/>
                <a:gd name="connsiteX5" fmla="*/ 15300 w 120339"/>
                <a:gd name="connsiteY5" fmla="*/ 60987 h 175645"/>
                <a:gd name="connsiteX6" fmla="*/ 22840 w 120339"/>
                <a:gd name="connsiteY6" fmla="*/ 57867 h 175645"/>
                <a:gd name="connsiteX7" fmla="*/ 31420 w 120339"/>
                <a:gd name="connsiteY7" fmla="*/ 63067 h 175645"/>
                <a:gd name="connsiteX8" fmla="*/ 71720 w 120339"/>
                <a:gd name="connsiteY8" fmla="*/ 1448 h 175645"/>
                <a:gd name="connsiteX9" fmla="*/ 72760 w 120339"/>
                <a:gd name="connsiteY9" fmla="*/ 408 h 175645"/>
                <a:gd name="connsiteX10" fmla="*/ 74840 w 120339"/>
                <a:gd name="connsiteY10" fmla="*/ 408 h 175645"/>
                <a:gd name="connsiteX11" fmla="*/ 83420 w 120339"/>
                <a:gd name="connsiteY11" fmla="*/ 2488 h 175645"/>
                <a:gd name="connsiteX12" fmla="*/ 86540 w 120339"/>
                <a:gd name="connsiteY12" fmla="*/ 18348 h 175645"/>
                <a:gd name="connsiteX13" fmla="*/ 104479 w 120339"/>
                <a:gd name="connsiteY13" fmla="*/ 71387 h 175645"/>
                <a:gd name="connsiteX14" fmla="*/ 117219 w 120339"/>
                <a:gd name="connsiteY14" fmla="*/ 91667 h 175645"/>
                <a:gd name="connsiteX15" fmla="*/ 120339 w 120339"/>
                <a:gd name="connsiteY15" fmla="*/ 115067 h 175645"/>
                <a:gd name="connsiteX16" fmla="*/ 117219 w 120339"/>
                <a:gd name="connsiteY16" fmla="*/ 138466 h 175645"/>
                <a:gd name="connsiteX17" fmla="*/ 104479 w 120339"/>
                <a:gd name="connsiteY17" fmla="*/ 158746 h 175645"/>
                <a:gd name="connsiteX18" fmla="*/ 84200 w 120339"/>
                <a:gd name="connsiteY18" fmla="*/ 171486 h 175645"/>
                <a:gd name="connsiteX19" fmla="*/ 61060 w 120339"/>
                <a:gd name="connsiteY19" fmla="*/ 175646 h 175645"/>
                <a:gd name="connsiteX20" fmla="*/ 23880 w 120339"/>
                <a:gd name="connsiteY20" fmla="*/ 79187 h 175645"/>
                <a:gd name="connsiteX21" fmla="*/ 19721 w 120339"/>
                <a:gd name="connsiteY21" fmla="*/ 133267 h 175645"/>
                <a:gd name="connsiteX22" fmla="*/ 28300 w 120339"/>
                <a:gd name="connsiteY22" fmla="*/ 148086 h 175645"/>
                <a:gd name="connsiteX23" fmla="*/ 42080 w 120339"/>
                <a:gd name="connsiteY23" fmla="*/ 156666 h 175645"/>
                <a:gd name="connsiteX24" fmla="*/ 79260 w 120339"/>
                <a:gd name="connsiteY24" fmla="*/ 156666 h 175645"/>
                <a:gd name="connsiteX25" fmla="*/ 93040 w 120339"/>
                <a:gd name="connsiteY25" fmla="*/ 148086 h 175645"/>
                <a:gd name="connsiteX26" fmla="*/ 101620 w 120339"/>
                <a:gd name="connsiteY26" fmla="*/ 134307 h 175645"/>
                <a:gd name="connsiteX27" fmla="*/ 104739 w 120339"/>
                <a:gd name="connsiteY27" fmla="*/ 115327 h 175645"/>
                <a:gd name="connsiteX28" fmla="*/ 101620 w 120339"/>
                <a:gd name="connsiteY28" fmla="*/ 96347 h 175645"/>
                <a:gd name="connsiteX29" fmla="*/ 93040 w 120339"/>
                <a:gd name="connsiteY29" fmla="*/ 82567 h 175645"/>
                <a:gd name="connsiteX30" fmla="*/ 70680 w 120339"/>
                <a:gd name="connsiteY30" fmla="*/ 23028 h 175645"/>
                <a:gd name="connsiteX31" fmla="*/ 54820 w 120339"/>
                <a:gd name="connsiteY31" fmla="*/ 94007 h 175645"/>
                <a:gd name="connsiteX32" fmla="*/ 54820 w 120339"/>
                <a:gd name="connsiteY32" fmla="*/ 108827 h 175645"/>
                <a:gd name="connsiteX33" fmla="*/ 53780 w 120339"/>
                <a:gd name="connsiteY33" fmla="*/ 109867 h 175645"/>
                <a:gd name="connsiteX34" fmla="*/ 51700 w 120339"/>
                <a:gd name="connsiteY34" fmla="*/ 110907 h 175645"/>
                <a:gd name="connsiteX35" fmla="*/ 32720 w 120339"/>
                <a:gd name="connsiteY35" fmla="*/ 92967 h 175645"/>
                <a:gd name="connsiteX36" fmla="*/ 23880 w 120339"/>
                <a:gd name="connsiteY36" fmla="*/ 79187 h 175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0339" h="175645">
                  <a:moveTo>
                    <a:pt x="61060" y="175646"/>
                  </a:moveTo>
                  <a:cubicBezTo>
                    <a:pt x="52480" y="175646"/>
                    <a:pt x="44160" y="174606"/>
                    <a:pt x="37660" y="172526"/>
                  </a:cubicBezTo>
                  <a:cubicBezTo>
                    <a:pt x="30120" y="170446"/>
                    <a:pt x="22840" y="164986"/>
                    <a:pt x="17380" y="159786"/>
                  </a:cubicBezTo>
                  <a:cubicBezTo>
                    <a:pt x="12181" y="154586"/>
                    <a:pt x="6721" y="147046"/>
                    <a:pt x="4641" y="139507"/>
                  </a:cubicBezTo>
                  <a:cubicBezTo>
                    <a:pt x="-3939" y="114027"/>
                    <a:pt x="-559" y="88547"/>
                    <a:pt x="14261" y="63067"/>
                  </a:cubicBezTo>
                  <a:lnTo>
                    <a:pt x="15300" y="60987"/>
                  </a:lnTo>
                  <a:cubicBezTo>
                    <a:pt x="17380" y="58907"/>
                    <a:pt x="20500" y="57867"/>
                    <a:pt x="22840" y="57867"/>
                  </a:cubicBezTo>
                  <a:cubicBezTo>
                    <a:pt x="25960" y="57867"/>
                    <a:pt x="28040" y="59947"/>
                    <a:pt x="31420" y="63067"/>
                  </a:cubicBezTo>
                  <a:cubicBezTo>
                    <a:pt x="33500" y="46168"/>
                    <a:pt x="43120" y="23808"/>
                    <a:pt x="71720" y="1448"/>
                  </a:cubicBezTo>
                  <a:lnTo>
                    <a:pt x="72760" y="408"/>
                  </a:lnTo>
                  <a:lnTo>
                    <a:pt x="74840" y="408"/>
                  </a:lnTo>
                  <a:cubicBezTo>
                    <a:pt x="77960" y="-632"/>
                    <a:pt x="81080" y="408"/>
                    <a:pt x="83420" y="2488"/>
                  </a:cubicBezTo>
                  <a:cubicBezTo>
                    <a:pt x="87580" y="5608"/>
                    <a:pt x="87580" y="11068"/>
                    <a:pt x="86540" y="18348"/>
                  </a:cubicBezTo>
                  <a:cubicBezTo>
                    <a:pt x="85500" y="31088"/>
                    <a:pt x="84460" y="53447"/>
                    <a:pt x="104479" y="71387"/>
                  </a:cubicBezTo>
                  <a:cubicBezTo>
                    <a:pt x="110719" y="77627"/>
                    <a:pt x="115139" y="84127"/>
                    <a:pt x="117219" y="91667"/>
                  </a:cubicBezTo>
                  <a:cubicBezTo>
                    <a:pt x="119299" y="99207"/>
                    <a:pt x="120339" y="106487"/>
                    <a:pt x="120339" y="115067"/>
                  </a:cubicBezTo>
                  <a:cubicBezTo>
                    <a:pt x="120339" y="123646"/>
                    <a:pt x="119299" y="131967"/>
                    <a:pt x="117219" y="138466"/>
                  </a:cubicBezTo>
                  <a:cubicBezTo>
                    <a:pt x="115139" y="146006"/>
                    <a:pt x="109679" y="153286"/>
                    <a:pt x="104479" y="158746"/>
                  </a:cubicBezTo>
                  <a:cubicBezTo>
                    <a:pt x="99280" y="164206"/>
                    <a:pt x="91740" y="169406"/>
                    <a:pt x="84200" y="171486"/>
                  </a:cubicBezTo>
                  <a:cubicBezTo>
                    <a:pt x="77960" y="174606"/>
                    <a:pt x="69380" y="175646"/>
                    <a:pt x="61060" y="175646"/>
                  </a:cubicBezTo>
                  <a:close/>
                  <a:moveTo>
                    <a:pt x="23880" y="79187"/>
                  </a:moveTo>
                  <a:cubicBezTo>
                    <a:pt x="11140" y="106747"/>
                    <a:pt x="17640" y="127027"/>
                    <a:pt x="19721" y="133267"/>
                  </a:cubicBezTo>
                  <a:cubicBezTo>
                    <a:pt x="21800" y="138466"/>
                    <a:pt x="24920" y="144966"/>
                    <a:pt x="28300" y="148086"/>
                  </a:cubicBezTo>
                  <a:cubicBezTo>
                    <a:pt x="31420" y="151206"/>
                    <a:pt x="37920" y="155626"/>
                    <a:pt x="42080" y="156666"/>
                  </a:cubicBezTo>
                  <a:cubicBezTo>
                    <a:pt x="52740" y="159786"/>
                    <a:pt x="68600" y="159786"/>
                    <a:pt x="79260" y="156666"/>
                  </a:cubicBezTo>
                  <a:cubicBezTo>
                    <a:pt x="83420" y="155626"/>
                    <a:pt x="89920" y="151466"/>
                    <a:pt x="93040" y="148086"/>
                  </a:cubicBezTo>
                  <a:cubicBezTo>
                    <a:pt x="97199" y="144966"/>
                    <a:pt x="100580" y="138466"/>
                    <a:pt x="101620" y="134307"/>
                  </a:cubicBezTo>
                  <a:cubicBezTo>
                    <a:pt x="103699" y="129107"/>
                    <a:pt x="104739" y="122607"/>
                    <a:pt x="104739" y="115327"/>
                  </a:cubicBezTo>
                  <a:cubicBezTo>
                    <a:pt x="104739" y="109087"/>
                    <a:pt x="103699" y="101547"/>
                    <a:pt x="101620" y="96347"/>
                  </a:cubicBezTo>
                  <a:cubicBezTo>
                    <a:pt x="99539" y="91147"/>
                    <a:pt x="97460" y="86727"/>
                    <a:pt x="93040" y="82567"/>
                  </a:cubicBezTo>
                  <a:cubicBezTo>
                    <a:pt x="71720" y="62287"/>
                    <a:pt x="69640" y="39147"/>
                    <a:pt x="70680" y="23028"/>
                  </a:cubicBezTo>
                  <a:cubicBezTo>
                    <a:pt x="35580" y="57087"/>
                    <a:pt x="48320" y="82567"/>
                    <a:pt x="54820" y="94007"/>
                  </a:cubicBezTo>
                  <a:cubicBezTo>
                    <a:pt x="56900" y="98167"/>
                    <a:pt x="60020" y="103627"/>
                    <a:pt x="54820" y="108827"/>
                  </a:cubicBezTo>
                  <a:lnTo>
                    <a:pt x="53780" y="109867"/>
                  </a:lnTo>
                  <a:lnTo>
                    <a:pt x="51700" y="110907"/>
                  </a:lnTo>
                  <a:cubicBezTo>
                    <a:pt x="44160" y="112987"/>
                    <a:pt x="41040" y="107787"/>
                    <a:pt x="32720" y="92967"/>
                  </a:cubicBezTo>
                  <a:cubicBezTo>
                    <a:pt x="30120" y="90887"/>
                    <a:pt x="25960" y="84387"/>
                    <a:pt x="23880" y="79187"/>
                  </a:cubicBezTo>
                  <a:close/>
                </a:path>
              </a:pathLst>
            </a:custGeom>
            <a:solidFill>
              <a:srgbClr val="FFFFFF"/>
            </a:solidFill>
            <a:ln w="2597" cap="flat">
              <a:noFill/>
              <a:prstDash val="solid"/>
              <a:miter/>
            </a:ln>
          </p:spPr>
          <p:txBody>
            <a:bodyPr rtlCol="0" anchor="ctr"/>
            <a:lstStyle/>
            <a:p>
              <a:endParaRPr lang="en-GB"/>
            </a:p>
          </p:txBody>
        </p:sp>
      </p:grpSp>
      <p:grpSp>
        <p:nvGrpSpPr>
          <p:cNvPr id="945" name="Group 944">
            <a:extLst>
              <a:ext uri="{FF2B5EF4-FFF2-40B4-BE49-F238E27FC236}">
                <a16:creationId xmlns:a16="http://schemas.microsoft.com/office/drawing/2014/main" id="{D3DF48B9-2792-88B2-53A8-48E285889570}"/>
              </a:ext>
            </a:extLst>
          </p:cNvPr>
          <p:cNvGrpSpPr/>
          <p:nvPr/>
        </p:nvGrpSpPr>
        <p:grpSpPr>
          <a:xfrm>
            <a:off x="683644" y="4396927"/>
            <a:ext cx="360846" cy="414492"/>
            <a:chOff x="683644" y="4396927"/>
            <a:chExt cx="360846" cy="414492"/>
          </a:xfrm>
        </p:grpSpPr>
        <p:sp>
          <p:nvSpPr>
            <p:cNvPr id="882" name="Freeform: Shape 881">
              <a:extLst>
                <a:ext uri="{FF2B5EF4-FFF2-40B4-BE49-F238E27FC236}">
                  <a16:creationId xmlns:a16="http://schemas.microsoft.com/office/drawing/2014/main" id="{426C843E-784C-C1AA-23C8-D88488719B4B}"/>
                </a:ext>
              </a:extLst>
            </p:cNvPr>
            <p:cNvSpPr/>
            <p:nvPr/>
          </p:nvSpPr>
          <p:spPr>
            <a:xfrm>
              <a:off x="711001" y="4502303"/>
              <a:ext cx="180356" cy="287760"/>
            </a:xfrm>
            <a:custGeom>
              <a:avLst/>
              <a:gdLst>
                <a:gd name="connsiteX0" fmla="*/ 335944 w 343652"/>
                <a:gd name="connsiteY0" fmla="*/ 14 h 548299"/>
                <a:gd name="connsiteX1" fmla="*/ 343666 w 343652"/>
                <a:gd name="connsiteY1" fmla="*/ 14 h 548299"/>
                <a:gd name="connsiteX2" fmla="*/ 343666 w 343652"/>
                <a:gd name="connsiteY2" fmla="*/ 548313 h 548299"/>
                <a:gd name="connsiteX3" fmla="*/ 335944 w 343652"/>
                <a:gd name="connsiteY3" fmla="*/ 548313 h 548299"/>
                <a:gd name="connsiteX4" fmla="*/ 7737 w 343652"/>
                <a:gd name="connsiteY4" fmla="*/ 548313 h 548299"/>
                <a:gd name="connsiteX5" fmla="*/ 14 w 343652"/>
                <a:gd name="connsiteY5" fmla="*/ 548313 h 548299"/>
                <a:gd name="connsiteX6" fmla="*/ 14 w 343652"/>
                <a:gd name="connsiteY6" fmla="*/ 14 h 548299"/>
                <a:gd name="connsiteX7" fmla="*/ 7737 w 343652"/>
                <a:gd name="connsiteY7" fmla="*/ 14 h 54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652" h="548299">
                  <a:moveTo>
                    <a:pt x="335944" y="14"/>
                  </a:moveTo>
                  <a:cubicBezTo>
                    <a:pt x="340209" y="14"/>
                    <a:pt x="343666" y="14"/>
                    <a:pt x="343666" y="14"/>
                  </a:cubicBezTo>
                  <a:lnTo>
                    <a:pt x="343666" y="548313"/>
                  </a:lnTo>
                  <a:cubicBezTo>
                    <a:pt x="343666" y="548313"/>
                    <a:pt x="340209" y="548313"/>
                    <a:pt x="335944" y="548313"/>
                  </a:cubicBezTo>
                  <a:lnTo>
                    <a:pt x="7737" y="548313"/>
                  </a:lnTo>
                  <a:cubicBezTo>
                    <a:pt x="3471" y="548313"/>
                    <a:pt x="14" y="548313"/>
                    <a:pt x="14" y="548313"/>
                  </a:cubicBezTo>
                  <a:lnTo>
                    <a:pt x="14" y="14"/>
                  </a:lnTo>
                  <a:cubicBezTo>
                    <a:pt x="14" y="14"/>
                    <a:pt x="3471" y="14"/>
                    <a:pt x="7737" y="14"/>
                  </a:cubicBezTo>
                  <a:close/>
                </a:path>
              </a:pathLst>
            </a:custGeom>
            <a:solidFill>
              <a:srgbClr val="0D73FF">
                <a:alpha val="95000"/>
              </a:srgbClr>
            </a:solidFill>
            <a:ln w="1916" cap="flat">
              <a:noFill/>
              <a:prstDash val="solid"/>
              <a:miter/>
            </a:ln>
          </p:spPr>
          <p:txBody>
            <a:bodyPr rtlCol="0" anchor="ctr"/>
            <a:lstStyle/>
            <a:p>
              <a:endParaRPr lang="en-GB"/>
            </a:p>
          </p:txBody>
        </p:sp>
        <p:sp>
          <p:nvSpPr>
            <p:cNvPr id="883" name="Freeform: Shape 882">
              <a:extLst>
                <a:ext uri="{FF2B5EF4-FFF2-40B4-BE49-F238E27FC236}">
                  <a16:creationId xmlns:a16="http://schemas.microsoft.com/office/drawing/2014/main" id="{0FD4EE95-25F1-8377-41EB-50BFCA71769E}"/>
                </a:ext>
              </a:extLst>
            </p:cNvPr>
            <p:cNvSpPr/>
            <p:nvPr/>
          </p:nvSpPr>
          <p:spPr>
            <a:xfrm>
              <a:off x="683644" y="4477986"/>
              <a:ext cx="180356" cy="25331"/>
            </a:xfrm>
            <a:custGeom>
              <a:avLst/>
              <a:gdLst>
                <a:gd name="connsiteX0" fmla="*/ 0 w 343652"/>
                <a:gd name="connsiteY0" fmla="*/ 0 h 48265"/>
                <a:gd name="connsiteX1" fmla="*/ 343652 w 343652"/>
                <a:gd name="connsiteY1" fmla="*/ 0 h 48265"/>
                <a:gd name="connsiteX2" fmla="*/ 343652 w 343652"/>
                <a:gd name="connsiteY2" fmla="*/ 48266 h 48265"/>
                <a:gd name="connsiteX3" fmla="*/ 0 w 343652"/>
                <a:gd name="connsiteY3" fmla="*/ 48266 h 48265"/>
              </a:gdLst>
              <a:ahLst/>
              <a:cxnLst>
                <a:cxn ang="0">
                  <a:pos x="connsiteX0" y="connsiteY0"/>
                </a:cxn>
                <a:cxn ang="0">
                  <a:pos x="connsiteX1" y="connsiteY1"/>
                </a:cxn>
                <a:cxn ang="0">
                  <a:pos x="connsiteX2" y="connsiteY2"/>
                </a:cxn>
                <a:cxn ang="0">
                  <a:pos x="connsiteX3" y="connsiteY3"/>
                </a:cxn>
              </a:cxnLst>
              <a:rect l="l" t="t" r="r" b="b"/>
              <a:pathLst>
                <a:path w="343652" h="48265">
                  <a:moveTo>
                    <a:pt x="0" y="0"/>
                  </a:moveTo>
                  <a:lnTo>
                    <a:pt x="343652" y="0"/>
                  </a:lnTo>
                  <a:lnTo>
                    <a:pt x="343652" y="48266"/>
                  </a:lnTo>
                  <a:lnTo>
                    <a:pt x="0" y="48266"/>
                  </a:lnTo>
                  <a:close/>
                </a:path>
              </a:pathLst>
            </a:custGeom>
            <a:solidFill>
              <a:srgbClr val="FFFFFF"/>
            </a:solidFill>
            <a:ln w="1916" cap="flat">
              <a:noFill/>
              <a:prstDash val="solid"/>
              <a:miter/>
            </a:ln>
          </p:spPr>
          <p:txBody>
            <a:bodyPr rtlCol="0" anchor="ctr"/>
            <a:lstStyle/>
            <a:p>
              <a:endParaRPr lang="en-GB"/>
            </a:p>
          </p:txBody>
        </p:sp>
        <p:sp>
          <p:nvSpPr>
            <p:cNvPr id="884" name="Freeform: Shape 883">
              <a:extLst>
                <a:ext uri="{FF2B5EF4-FFF2-40B4-BE49-F238E27FC236}">
                  <a16:creationId xmlns:a16="http://schemas.microsoft.com/office/drawing/2014/main" id="{EDEEFCBE-1135-432E-206D-956620BE9D72}"/>
                </a:ext>
              </a:extLst>
            </p:cNvPr>
            <p:cNvSpPr/>
            <p:nvPr/>
          </p:nvSpPr>
          <p:spPr>
            <a:xfrm>
              <a:off x="683644" y="4477986"/>
              <a:ext cx="180356" cy="287760"/>
            </a:xfrm>
            <a:custGeom>
              <a:avLst/>
              <a:gdLst>
                <a:gd name="connsiteX0" fmla="*/ 335930 w 343652"/>
                <a:gd name="connsiteY0" fmla="*/ 0 h 548299"/>
                <a:gd name="connsiteX1" fmla="*/ 343652 w 343652"/>
                <a:gd name="connsiteY1" fmla="*/ 0 h 548299"/>
                <a:gd name="connsiteX2" fmla="*/ 343652 w 343652"/>
                <a:gd name="connsiteY2" fmla="*/ 548299 h 548299"/>
                <a:gd name="connsiteX3" fmla="*/ 335930 w 343652"/>
                <a:gd name="connsiteY3" fmla="*/ 548299 h 548299"/>
                <a:gd name="connsiteX4" fmla="*/ 7723 w 343652"/>
                <a:gd name="connsiteY4" fmla="*/ 548299 h 548299"/>
                <a:gd name="connsiteX5" fmla="*/ 0 w 343652"/>
                <a:gd name="connsiteY5" fmla="*/ 548299 h 548299"/>
                <a:gd name="connsiteX6" fmla="*/ 0 w 343652"/>
                <a:gd name="connsiteY6" fmla="*/ 0 h 548299"/>
                <a:gd name="connsiteX7" fmla="*/ 7723 w 343652"/>
                <a:gd name="connsiteY7" fmla="*/ 0 h 54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652" h="548299">
                  <a:moveTo>
                    <a:pt x="335930" y="0"/>
                  </a:moveTo>
                  <a:cubicBezTo>
                    <a:pt x="340195" y="0"/>
                    <a:pt x="343652" y="0"/>
                    <a:pt x="343652" y="0"/>
                  </a:cubicBezTo>
                  <a:lnTo>
                    <a:pt x="343652" y="548299"/>
                  </a:lnTo>
                  <a:cubicBezTo>
                    <a:pt x="343652" y="548299"/>
                    <a:pt x="340195" y="548299"/>
                    <a:pt x="335930" y="548299"/>
                  </a:cubicBezTo>
                  <a:lnTo>
                    <a:pt x="7723" y="548299"/>
                  </a:lnTo>
                  <a:cubicBezTo>
                    <a:pt x="3457" y="548299"/>
                    <a:pt x="0" y="548299"/>
                    <a:pt x="0" y="548299"/>
                  </a:cubicBezTo>
                  <a:lnTo>
                    <a:pt x="0" y="0"/>
                  </a:lnTo>
                  <a:cubicBezTo>
                    <a:pt x="0" y="0"/>
                    <a:pt x="3457" y="0"/>
                    <a:pt x="7723" y="0"/>
                  </a:cubicBezTo>
                  <a:close/>
                </a:path>
              </a:pathLst>
            </a:custGeom>
            <a:noFill/>
            <a:ln w="15329" cap="rnd">
              <a:solidFill>
                <a:srgbClr val="06146B"/>
              </a:solidFill>
              <a:prstDash val="solid"/>
              <a:round/>
            </a:ln>
          </p:spPr>
          <p:txBody>
            <a:bodyPr rtlCol="0" anchor="ctr"/>
            <a:lstStyle/>
            <a:p>
              <a:endParaRPr lang="en-GB"/>
            </a:p>
          </p:txBody>
        </p:sp>
        <p:sp>
          <p:nvSpPr>
            <p:cNvPr id="885" name="Freeform: Shape 884">
              <a:extLst>
                <a:ext uri="{FF2B5EF4-FFF2-40B4-BE49-F238E27FC236}">
                  <a16:creationId xmlns:a16="http://schemas.microsoft.com/office/drawing/2014/main" id="{F9BB64B6-F3BD-0B5A-37CB-C1BC42ADD344}"/>
                </a:ext>
              </a:extLst>
            </p:cNvPr>
            <p:cNvSpPr/>
            <p:nvPr/>
          </p:nvSpPr>
          <p:spPr>
            <a:xfrm>
              <a:off x="749505" y="4396927"/>
              <a:ext cx="86125" cy="81059"/>
            </a:xfrm>
            <a:custGeom>
              <a:avLst/>
              <a:gdLst>
                <a:gd name="connsiteX0" fmla="*/ 0 w 164103"/>
                <a:gd name="connsiteY0" fmla="*/ 154450 h 154450"/>
                <a:gd name="connsiteX1" fmla="*/ 0 w 164103"/>
                <a:gd name="connsiteY1" fmla="*/ 57919 h 154450"/>
                <a:gd name="connsiteX2" fmla="*/ 61780 w 164103"/>
                <a:gd name="connsiteY2" fmla="*/ 0 h 154450"/>
                <a:gd name="connsiteX3" fmla="*/ 164104 w 164103"/>
                <a:gd name="connsiteY3" fmla="*/ 0 h 154450"/>
                <a:gd name="connsiteX4" fmla="*/ 164104 w 164103"/>
                <a:gd name="connsiteY4" fmla="*/ 77225 h 154450"/>
                <a:gd name="connsiteX5" fmla="*/ 96532 w 164103"/>
                <a:gd name="connsiteY5" fmla="*/ 77225 h 154450"/>
                <a:gd name="connsiteX6" fmla="*/ 96532 w 164103"/>
                <a:gd name="connsiteY6" fmla="*/ 154450 h 15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03" h="154450">
                  <a:moveTo>
                    <a:pt x="0" y="154450"/>
                  </a:moveTo>
                  <a:lnTo>
                    <a:pt x="0" y="57919"/>
                  </a:lnTo>
                  <a:cubicBezTo>
                    <a:pt x="0" y="19306"/>
                    <a:pt x="20594" y="0"/>
                    <a:pt x="61780" y="0"/>
                  </a:cubicBezTo>
                  <a:lnTo>
                    <a:pt x="164104" y="0"/>
                  </a:lnTo>
                  <a:lnTo>
                    <a:pt x="164104" y="77225"/>
                  </a:lnTo>
                  <a:lnTo>
                    <a:pt x="96532" y="77225"/>
                  </a:lnTo>
                  <a:lnTo>
                    <a:pt x="96532" y="154450"/>
                  </a:lnTo>
                </a:path>
              </a:pathLst>
            </a:custGeom>
            <a:noFill/>
            <a:ln w="15329" cap="rnd">
              <a:solidFill>
                <a:srgbClr val="06146B"/>
              </a:solidFill>
              <a:prstDash val="solid"/>
              <a:round/>
            </a:ln>
          </p:spPr>
          <p:txBody>
            <a:bodyPr rtlCol="0" anchor="ctr"/>
            <a:lstStyle/>
            <a:p>
              <a:endParaRPr lang="en-GB"/>
            </a:p>
          </p:txBody>
        </p:sp>
        <p:sp>
          <p:nvSpPr>
            <p:cNvPr id="886" name="Freeform: Shape 885">
              <a:extLst>
                <a:ext uri="{FF2B5EF4-FFF2-40B4-BE49-F238E27FC236}">
                  <a16:creationId xmlns:a16="http://schemas.microsoft.com/office/drawing/2014/main" id="{39A1E87D-E30F-0791-8996-15B4C87A33CC}"/>
                </a:ext>
              </a:extLst>
            </p:cNvPr>
            <p:cNvSpPr/>
            <p:nvPr/>
          </p:nvSpPr>
          <p:spPr>
            <a:xfrm>
              <a:off x="737345" y="4525608"/>
              <a:ext cx="70927" cy="34450"/>
            </a:xfrm>
            <a:custGeom>
              <a:avLst/>
              <a:gdLst>
                <a:gd name="connsiteX0" fmla="*/ 0 w 135144"/>
                <a:gd name="connsiteY0" fmla="*/ 0 h 65641"/>
                <a:gd name="connsiteX1" fmla="*/ 135144 w 135144"/>
                <a:gd name="connsiteY1" fmla="*/ 0 h 65641"/>
                <a:gd name="connsiteX2" fmla="*/ 135144 w 135144"/>
                <a:gd name="connsiteY2" fmla="*/ 65641 h 65641"/>
                <a:gd name="connsiteX3" fmla="*/ 0 w 135144"/>
                <a:gd name="connsiteY3" fmla="*/ 65641 h 65641"/>
              </a:gdLst>
              <a:ahLst/>
              <a:cxnLst>
                <a:cxn ang="0">
                  <a:pos x="connsiteX0" y="connsiteY0"/>
                </a:cxn>
                <a:cxn ang="0">
                  <a:pos x="connsiteX1" y="connsiteY1"/>
                </a:cxn>
                <a:cxn ang="0">
                  <a:pos x="connsiteX2" y="connsiteY2"/>
                </a:cxn>
                <a:cxn ang="0">
                  <a:pos x="connsiteX3" y="connsiteY3"/>
                </a:cxn>
              </a:cxnLst>
              <a:rect l="l" t="t" r="r" b="b"/>
              <a:pathLst>
                <a:path w="135144" h="65641">
                  <a:moveTo>
                    <a:pt x="0" y="0"/>
                  </a:moveTo>
                  <a:lnTo>
                    <a:pt x="135144" y="0"/>
                  </a:lnTo>
                  <a:lnTo>
                    <a:pt x="135144" y="65641"/>
                  </a:lnTo>
                  <a:lnTo>
                    <a:pt x="0" y="65641"/>
                  </a:lnTo>
                  <a:close/>
                </a:path>
              </a:pathLst>
            </a:custGeom>
            <a:solidFill>
              <a:srgbClr val="FFFFFF"/>
            </a:solidFill>
            <a:ln w="1916" cap="flat">
              <a:noFill/>
              <a:prstDash val="solid"/>
              <a:miter/>
            </a:ln>
          </p:spPr>
          <p:txBody>
            <a:bodyPr rtlCol="0" anchor="ctr"/>
            <a:lstStyle/>
            <a:p>
              <a:endParaRPr lang="en-GB"/>
            </a:p>
          </p:txBody>
        </p:sp>
        <p:sp>
          <p:nvSpPr>
            <p:cNvPr id="887" name="Freeform: Shape 886">
              <a:extLst>
                <a:ext uri="{FF2B5EF4-FFF2-40B4-BE49-F238E27FC236}">
                  <a16:creationId xmlns:a16="http://schemas.microsoft.com/office/drawing/2014/main" id="{40B780F3-316E-626F-812D-6DAC96D4DD62}"/>
                </a:ext>
              </a:extLst>
            </p:cNvPr>
            <p:cNvSpPr/>
            <p:nvPr/>
          </p:nvSpPr>
          <p:spPr>
            <a:xfrm>
              <a:off x="737345" y="4525608"/>
              <a:ext cx="70927" cy="34450"/>
            </a:xfrm>
            <a:custGeom>
              <a:avLst/>
              <a:gdLst>
                <a:gd name="connsiteX0" fmla="*/ 0 w 135144"/>
                <a:gd name="connsiteY0" fmla="*/ 0 h 65641"/>
                <a:gd name="connsiteX1" fmla="*/ 135144 w 135144"/>
                <a:gd name="connsiteY1" fmla="*/ 0 h 65641"/>
                <a:gd name="connsiteX2" fmla="*/ 135144 w 135144"/>
                <a:gd name="connsiteY2" fmla="*/ 65641 h 65641"/>
                <a:gd name="connsiteX3" fmla="*/ 0 w 135144"/>
                <a:gd name="connsiteY3" fmla="*/ 65641 h 65641"/>
              </a:gdLst>
              <a:ahLst/>
              <a:cxnLst>
                <a:cxn ang="0">
                  <a:pos x="connsiteX0" y="connsiteY0"/>
                </a:cxn>
                <a:cxn ang="0">
                  <a:pos x="connsiteX1" y="connsiteY1"/>
                </a:cxn>
                <a:cxn ang="0">
                  <a:pos x="connsiteX2" y="connsiteY2"/>
                </a:cxn>
                <a:cxn ang="0">
                  <a:pos x="connsiteX3" y="connsiteY3"/>
                </a:cxn>
              </a:cxnLst>
              <a:rect l="l" t="t" r="r" b="b"/>
              <a:pathLst>
                <a:path w="135144" h="65641">
                  <a:moveTo>
                    <a:pt x="0" y="0"/>
                  </a:moveTo>
                  <a:lnTo>
                    <a:pt x="135144" y="0"/>
                  </a:lnTo>
                  <a:lnTo>
                    <a:pt x="135144" y="65641"/>
                  </a:lnTo>
                  <a:lnTo>
                    <a:pt x="0" y="65641"/>
                  </a:lnTo>
                  <a:close/>
                </a:path>
              </a:pathLst>
            </a:custGeom>
            <a:noFill/>
            <a:ln w="15329" cap="rnd">
              <a:solidFill>
                <a:srgbClr val="06146B"/>
              </a:solidFill>
              <a:prstDash val="solid"/>
              <a:round/>
            </a:ln>
          </p:spPr>
          <p:txBody>
            <a:bodyPr rtlCol="0" anchor="ctr"/>
            <a:lstStyle/>
            <a:p>
              <a:endParaRPr lang="en-GB"/>
            </a:p>
          </p:txBody>
        </p:sp>
        <p:sp>
          <p:nvSpPr>
            <p:cNvPr id="888" name="Freeform: Shape 887">
              <a:extLst>
                <a:ext uri="{FF2B5EF4-FFF2-40B4-BE49-F238E27FC236}">
                  <a16:creationId xmlns:a16="http://schemas.microsoft.com/office/drawing/2014/main" id="{BE60E831-FAB6-07D7-242E-BE6440EEA2C8}"/>
                </a:ext>
              </a:extLst>
            </p:cNvPr>
            <p:cNvSpPr/>
            <p:nvPr/>
          </p:nvSpPr>
          <p:spPr>
            <a:xfrm>
              <a:off x="751531" y="4571204"/>
              <a:ext cx="44582" cy="44582"/>
            </a:xfrm>
            <a:custGeom>
              <a:avLst/>
              <a:gdLst>
                <a:gd name="connsiteX0" fmla="*/ 84948 w 84947"/>
                <a:gd name="connsiteY0" fmla="*/ 42474 h 84947"/>
                <a:gd name="connsiteX1" fmla="*/ 42474 w 84947"/>
                <a:gd name="connsiteY1" fmla="*/ 84948 h 84947"/>
                <a:gd name="connsiteX2" fmla="*/ 0 w 84947"/>
                <a:gd name="connsiteY2" fmla="*/ 42474 h 84947"/>
                <a:gd name="connsiteX3" fmla="*/ 42474 w 84947"/>
                <a:gd name="connsiteY3" fmla="*/ 0 h 84947"/>
                <a:gd name="connsiteX4" fmla="*/ 84948 w 84947"/>
                <a:gd name="connsiteY4" fmla="*/ 42474 h 84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47" h="84947">
                  <a:moveTo>
                    <a:pt x="84948" y="42474"/>
                  </a:moveTo>
                  <a:cubicBezTo>
                    <a:pt x="84948" y="65932"/>
                    <a:pt x="65932" y="84948"/>
                    <a:pt x="42474" y="84948"/>
                  </a:cubicBezTo>
                  <a:cubicBezTo>
                    <a:pt x="19016" y="84948"/>
                    <a:pt x="0" y="65932"/>
                    <a:pt x="0" y="42474"/>
                  </a:cubicBezTo>
                  <a:cubicBezTo>
                    <a:pt x="0" y="19016"/>
                    <a:pt x="19016" y="0"/>
                    <a:pt x="42474" y="0"/>
                  </a:cubicBezTo>
                  <a:cubicBezTo>
                    <a:pt x="65932" y="0"/>
                    <a:pt x="84948" y="19016"/>
                    <a:pt x="84948" y="42474"/>
                  </a:cubicBezTo>
                  <a:close/>
                </a:path>
              </a:pathLst>
            </a:custGeom>
            <a:solidFill>
              <a:srgbClr val="FFFFFF"/>
            </a:solidFill>
            <a:ln w="1916" cap="flat">
              <a:noFill/>
              <a:prstDash val="solid"/>
              <a:miter/>
            </a:ln>
          </p:spPr>
          <p:txBody>
            <a:bodyPr rtlCol="0" anchor="ctr"/>
            <a:lstStyle/>
            <a:p>
              <a:endParaRPr lang="en-GB"/>
            </a:p>
          </p:txBody>
        </p:sp>
        <p:sp>
          <p:nvSpPr>
            <p:cNvPr id="889" name="Freeform: Shape 888">
              <a:extLst>
                <a:ext uri="{FF2B5EF4-FFF2-40B4-BE49-F238E27FC236}">
                  <a16:creationId xmlns:a16="http://schemas.microsoft.com/office/drawing/2014/main" id="{035A709F-4910-D8C2-6725-BF844C15AB61}"/>
                </a:ext>
              </a:extLst>
            </p:cNvPr>
            <p:cNvSpPr/>
            <p:nvPr/>
          </p:nvSpPr>
          <p:spPr>
            <a:xfrm>
              <a:off x="751531" y="4571204"/>
              <a:ext cx="44582" cy="44582"/>
            </a:xfrm>
            <a:custGeom>
              <a:avLst/>
              <a:gdLst>
                <a:gd name="connsiteX0" fmla="*/ 84948 w 84947"/>
                <a:gd name="connsiteY0" fmla="*/ 42474 h 84947"/>
                <a:gd name="connsiteX1" fmla="*/ 42474 w 84947"/>
                <a:gd name="connsiteY1" fmla="*/ 84948 h 84947"/>
                <a:gd name="connsiteX2" fmla="*/ 0 w 84947"/>
                <a:gd name="connsiteY2" fmla="*/ 42474 h 84947"/>
                <a:gd name="connsiteX3" fmla="*/ 42474 w 84947"/>
                <a:gd name="connsiteY3" fmla="*/ 0 h 84947"/>
                <a:gd name="connsiteX4" fmla="*/ 84948 w 84947"/>
                <a:gd name="connsiteY4" fmla="*/ 42474 h 84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47" h="84947">
                  <a:moveTo>
                    <a:pt x="84948" y="42474"/>
                  </a:moveTo>
                  <a:cubicBezTo>
                    <a:pt x="84948" y="65932"/>
                    <a:pt x="65932" y="84948"/>
                    <a:pt x="42474" y="84948"/>
                  </a:cubicBezTo>
                  <a:cubicBezTo>
                    <a:pt x="19016" y="84948"/>
                    <a:pt x="0" y="65932"/>
                    <a:pt x="0" y="42474"/>
                  </a:cubicBezTo>
                  <a:cubicBezTo>
                    <a:pt x="0" y="19016"/>
                    <a:pt x="19016" y="0"/>
                    <a:pt x="42474" y="0"/>
                  </a:cubicBezTo>
                  <a:cubicBezTo>
                    <a:pt x="65932" y="0"/>
                    <a:pt x="84948" y="19016"/>
                    <a:pt x="84948" y="42474"/>
                  </a:cubicBezTo>
                  <a:close/>
                </a:path>
              </a:pathLst>
            </a:custGeom>
            <a:noFill/>
            <a:ln w="15329" cap="rnd">
              <a:solidFill>
                <a:srgbClr val="06146B"/>
              </a:solidFill>
              <a:prstDash val="solid"/>
              <a:round/>
            </a:ln>
          </p:spPr>
          <p:txBody>
            <a:bodyPr rtlCol="0" anchor="ctr"/>
            <a:lstStyle/>
            <a:p>
              <a:endParaRPr lang="en-GB"/>
            </a:p>
          </p:txBody>
        </p:sp>
        <p:sp>
          <p:nvSpPr>
            <p:cNvPr id="890" name="Freeform: Shape 889">
              <a:extLst>
                <a:ext uri="{FF2B5EF4-FFF2-40B4-BE49-F238E27FC236}">
                  <a16:creationId xmlns:a16="http://schemas.microsoft.com/office/drawing/2014/main" id="{1C24A44B-51CB-1361-A7A8-CF9CAA45DE95}"/>
                </a:ext>
              </a:extLst>
            </p:cNvPr>
            <p:cNvSpPr/>
            <p:nvPr/>
          </p:nvSpPr>
          <p:spPr>
            <a:xfrm>
              <a:off x="703908" y="4765746"/>
              <a:ext cx="121588" cy="18238"/>
            </a:xfrm>
            <a:custGeom>
              <a:avLst/>
              <a:gdLst>
                <a:gd name="connsiteX0" fmla="*/ 0 w 231675"/>
                <a:gd name="connsiteY0" fmla="*/ 0 h 34751"/>
                <a:gd name="connsiteX1" fmla="*/ 231676 w 231675"/>
                <a:gd name="connsiteY1" fmla="*/ 0 h 34751"/>
                <a:gd name="connsiteX2" fmla="*/ 231676 w 231675"/>
                <a:gd name="connsiteY2" fmla="*/ 34751 h 34751"/>
                <a:gd name="connsiteX3" fmla="*/ 0 w 231675"/>
                <a:gd name="connsiteY3" fmla="*/ 34751 h 34751"/>
              </a:gdLst>
              <a:ahLst/>
              <a:cxnLst>
                <a:cxn ang="0">
                  <a:pos x="connsiteX0" y="connsiteY0"/>
                </a:cxn>
                <a:cxn ang="0">
                  <a:pos x="connsiteX1" y="connsiteY1"/>
                </a:cxn>
                <a:cxn ang="0">
                  <a:pos x="connsiteX2" y="connsiteY2"/>
                </a:cxn>
                <a:cxn ang="0">
                  <a:pos x="connsiteX3" y="connsiteY3"/>
                </a:cxn>
              </a:cxnLst>
              <a:rect l="l" t="t" r="r" b="b"/>
              <a:pathLst>
                <a:path w="231675" h="34751">
                  <a:moveTo>
                    <a:pt x="0" y="0"/>
                  </a:moveTo>
                  <a:lnTo>
                    <a:pt x="231676" y="0"/>
                  </a:lnTo>
                  <a:lnTo>
                    <a:pt x="231676" y="34751"/>
                  </a:lnTo>
                  <a:lnTo>
                    <a:pt x="0" y="34751"/>
                  </a:lnTo>
                  <a:close/>
                </a:path>
              </a:pathLst>
            </a:custGeom>
            <a:solidFill>
              <a:srgbClr val="0D73FF"/>
            </a:solidFill>
            <a:ln w="1916" cap="flat">
              <a:noFill/>
              <a:prstDash val="solid"/>
              <a:miter/>
            </a:ln>
          </p:spPr>
          <p:txBody>
            <a:bodyPr rtlCol="0" anchor="ctr"/>
            <a:lstStyle/>
            <a:p>
              <a:endParaRPr lang="en-GB"/>
            </a:p>
          </p:txBody>
        </p:sp>
        <p:sp>
          <p:nvSpPr>
            <p:cNvPr id="891" name="Freeform: Shape 890">
              <a:extLst>
                <a:ext uri="{FF2B5EF4-FFF2-40B4-BE49-F238E27FC236}">
                  <a16:creationId xmlns:a16="http://schemas.microsoft.com/office/drawing/2014/main" id="{1BE9E6AA-3B55-05E7-FDE5-213F759A97B5}"/>
                </a:ext>
              </a:extLst>
            </p:cNvPr>
            <p:cNvSpPr/>
            <p:nvPr/>
          </p:nvSpPr>
          <p:spPr>
            <a:xfrm>
              <a:off x="703908" y="4765746"/>
              <a:ext cx="121588" cy="18238"/>
            </a:xfrm>
            <a:custGeom>
              <a:avLst/>
              <a:gdLst>
                <a:gd name="connsiteX0" fmla="*/ 0 w 231675"/>
                <a:gd name="connsiteY0" fmla="*/ 0 h 34751"/>
                <a:gd name="connsiteX1" fmla="*/ 231676 w 231675"/>
                <a:gd name="connsiteY1" fmla="*/ 0 h 34751"/>
                <a:gd name="connsiteX2" fmla="*/ 231676 w 231675"/>
                <a:gd name="connsiteY2" fmla="*/ 34751 h 34751"/>
                <a:gd name="connsiteX3" fmla="*/ 0 w 231675"/>
                <a:gd name="connsiteY3" fmla="*/ 34751 h 34751"/>
              </a:gdLst>
              <a:ahLst/>
              <a:cxnLst>
                <a:cxn ang="0">
                  <a:pos x="connsiteX0" y="connsiteY0"/>
                </a:cxn>
                <a:cxn ang="0">
                  <a:pos x="connsiteX1" y="connsiteY1"/>
                </a:cxn>
                <a:cxn ang="0">
                  <a:pos x="connsiteX2" y="connsiteY2"/>
                </a:cxn>
                <a:cxn ang="0">
                  <a:pos x="connsiteX3" y="connsiteY3"/>
                </a:cxn>
              </a:cxnLst>
              <a:rect l="l" t="t" r="r" b="b"/>
              <a:pathLst>
                <a:path w="231675" h="34751">
                  <a:moveTo>
                    <a:pt x="0" y="0"/>
                  </a:moveTo>
                  <a:lnTo>
                    <a:pt x="231676" y="0"/>
                  </a:lnTo>
                  <a:lnTo>
                    <a:pt x="231676" y="34751"/>
                  </a:lnTo>
                  <a:lnTo>
                    <a:pt x="0" y="34751"/>
                  </a:lnTo>
                  <a:close/>
                </a:path>
              </a:pathLst>
            </a:custGeom>
            <a:noFill/>
            <a:ln w="15329" cap="rnd">
              <a:solidFill>
                <a:srgbClr val="06146B"/>
              </a:solidFill>
              <a:prstDash val="solid"/>
              <a:round/>
            </a:ln>
          </p:spPr>
          <p:txBody>
            <a:bodyPr rtlCol="0" anchor="ctr"/>
            <a:lstStyle/>
            <a:p>
              <a:endParaRPr lang="en-GB"/>
            </a:p>
          </p:txBody>
        </p:sp>
        <p:sp>
          <p:nvSpPr>
            <p:cNvPr id="892" name="Freeform: Shape 891">
              <a:extLst>
                <a:ext uri="{FF2B5EF4-FFF2-40B4-BE49-F238E27FC236}">
                  <a16:creationId xmlns:a16="http://schemas.microsoft.com/office/drawing/2014/main" id="{95676651-BFB8-C95E-F9CF-63DDC2B8E03E}"/>
                </a:ext>
              </a:extLst>
            </p:cNvPr>
            <p:cNvSpPr/>
            <p:nvPr/>
          </p:nvSpPr>
          <p:spPr>
            <a:xfrm>
              <a:off x="864000" y="4537767"/>
              <a:ext cx="110443" cy="62821"/>
            </a:xfrm>
            <a:custGeom>
              <a:avLst/>
              <a:gdLst>
                <a:gd name="connsiteX0" fmla="*/ 0 w 210438"/>
                <a:gd name="connsiteY0" fmla="*/ 0 h 119699"/>
                <a:gd name="connsiteX1" fmla="*/ 148659 w 210438"/>
                <a:gd name="connsiteY1" fmla="*/ 0 h 119699"/>
                <a:gd name="connsiteX2" fmla="*/ 210439 w 210438"/>
                <a:gd name="connsiteY2" fmla="*/ 69503 h 119699"/>
                <a:gd name="connsiteX3" fmla="*/ 210439 w 210438"/>
                <a:gd name="connsiteY3" fmla="*/ 119699 h 119699"/>
              </a:gdLst>
              <a:ahLst/>
              <a:cxnLst>
                <a:cxn ang="0">
                  <a:pos x="connsiteX0" y="connsiteY0"/>
                </a:cxn>
                <a:cxn ang="0">
                  <a:pos x="connsiteX1" y="connsiteY1"/>
                </a:cxn>
                <a:cxn ang="0">
                  <a:pos x="connsiteX2" y="connsiteY2"/>
                </a:cxn>
                <a:cxn ang="0">
                  <a:pos x="connsiteX3" y="connsiteY3"/>
                </a:cxn>
              </a:cxnLst>
              <a:rect l="l" t="t" r="r" b="b"/>
              <a:pathLst>
                <a:path w="210438" h="119699">
                  <a:moveTo>
                    <a:pt x="0" y="0"/>
                  </a:moveTo>
                  <a:lnTo>
                    <a:pt x="148659" y="0"/>
                  </a:lnTo>
                  <a:cubicBezTo>
                    <a:pt x="189845" y="0"/>
                    <a:pt x="210439" y="23168"/>
                    <a:pt x="210439" y="69503"/>
                  </a:cubicBezTo>
                  <a:lnTo>
                    <a:pt x="210439" y="119699"/>
                  </a:lnTo>
                </a:path>
              </a:pathLst>
            </a:custGeom>
            <a:noFill/>
            <a:ln w="15329" cap="rnd">
              <a:solidFill>
                <a:srgbClr val="06146B"/>
              </a:solidFill>
              <a:prstDash val="solid"/>
              <a:round/>
            </a:ln>
          </p:spPr>
          <p:txBody>
            <a:bodyPr rtlCol="0" anchor="ctr"/>
            <a:lstStyle/>
            <a:p>
              <a:endParaRPr lang="en-GB"/>
            </a:p>
          </p:txBody>
        </p:sp>
        <p:sp>
          <p:nvSpPr>
            <p:cNvPr id="893" name="Freeform: Shape 892">
              <a:extLst>
                <a:ext uri="{FF2B5EF4-FFF2-40B4-BE49-F238E27FC236}">
                  <a16:creationId xmlns:a16="http://schemas.microsoft.com/office/drawing/2014/main" id="{99CA0040-D59C-4382-6728-8C5C0756B294}"/>
                </a:ext>
              </a:extLst>
            </p:cNvPr>
            <p:cNvSpPr/>
            <p:nvPr/>
          </p:nvSpPr>
          <p:spPr>
            <a:xfrm>
              <a:off x="864000" y="4565125"/>
              <a:ext cx="83085" cy="35463"/>
            </a:xfrm>
            <a:custGeom>
              <a:avLst/>
              <a:gdLst>
                <a:gd name="connsiteX0" fmla="*/ 0 w 158311"/>
                <a:gd name="connsiteY0" fmla="*/ 0 h 67572"/>
                <a:gd name="connsiteX1" fmla="*/ 119699 w 158311"/>
                <a:gd name="connsiteY1" fmla="*/ 0 h 67572"/>
                <a:gd name="connsiteX2" fmla="*/ 158312 w 158311"/>
                <a:gd name="connsiteY2" fmla="*/ 38613 h 67572"/>
                <a:gd name="connsiteX3" fmla="*/ 158312 w 158311"/>
                <a:gd name="connsiteY3" fmla="*/ 67572 h 67572"/>
              </a:gdLst>
              <a:ahLst/>
              <a:cxnLst>
                <a:cxn ang="0">
                  <a:pos x="connsiteX0" y="connsiteY0"/>
                </a:cxn>
                <a:cxn ang="0">
                  <a:pos x="connsiteX1" y="connsiteY1"/>
                </a:cxn>
                <a:cxn ang="0">
                  <a:pos x="connsiteX2" y="connsiteY2"/>
                </a:cxn>
                <a:cxn ang="0">
                  <a:pos x="connsiteX3" y="connsiteY3"/>
                </a:cxn>
              </a:cxnLst>
              <a:rect l="l" t="t" r="r" b="b"/>
              <a:pathLst>
                <a:path w="158311" h="67572">
                  <a:moveTo>
                    <a:pt x="0" y="0"/>
                  </a:moveTo>
                  <a:lnTo>
                    <a:pt x="119699" y="0"/>
                  </a:lnTo>
                  <a:cubicBezTo>
                    <a:pt x="145440" y="0"/>
                    <a:pt x="158312" y="12872"/>
                    <a:pt x="158312" y="38613"/>
                  </a:cubicBezTo>
                  <a:lnTo>
                    <a:pt x="158312" y="67572"/>
                  </a:lnTo>
                </a:path>
              </a:pathLst>
            </a:custGeom>
            <a:noFill/>
            <a:ln w="15329" cap="rnd">
              <a:solidFill>
                <a:srgbClr val="06146B"/>
              </a:solidFill>
              <a:prstDash val="solid"/>
              <a:round/>
            </a:ln>
          </p:spPr>
          <p:txBody>
            <a:bodyPr rtlCol="0" anchor="ctr"/>
            <a:lstStyle/>
            <a:p>
              <a:endParaRPr lang="en-GB"/>
            </a:p>
          </p:txBody>
        </p:sp>
        <p:sp>
          <p:nvSpPr>
            <p:cNvPr id="894" name="Freeform: Shape 893">
              <a:extLst>
                <a:ext uri="{FF2B5EF4-FFF2-40B4-BE49-F238E27FC236}">
                  <a16:creationId xmlns:a16="http://schemas.microsoft.com/office/drawing/2014/main" id="{DB1B2368-A4EC-707F-704D-ECF95F323880}"/>
                </a:ext>
              </a:extLst>
            </p:cNvPr>
            <p:cNvSpPr/>
            <p:nvPr/>
          </p:nvSpPr>
          <p:spPr>
            <a:xfrm>
              <a:off x="892371" y="4515476"/>
              <a:ext cx="14185" cy="14185"/>
            </a:xfrm>
            <a:custGeom>
              <a:avLst/>
              <a:gdLst>
                <a:gd name="connsiteX0" fmla="*/ 27029 w 27028"/>
                <a:gd name="connsiteY0" fmla="*/ 13514 h 27028"/>
                <a:gd name="connsiteX1" fmla="*/ 13514 w 27028"/>
                <a:gd name="connsiteY1" fmla="*/ 27029 h 27028"/>
                <a:gd name="connsiteX2" fmla="*/ 0 w 27028"/>
                <a:gd name="connsiteY2" fmla="*/ 13514 h 27028"/>
                <a:gd name="connsiteX3" fmla="*/ 13514 w 27028"/>
                <a:gd name="connsiteY3" fmla="*/ 0 h 27028"/>
                <a:gd name="connsiteX4" fmla="*/ 27029 w 27028"/>
                <a:gd name="connsiteY4" fmla="*/ 13514 h 27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28" h="27028">
                  <a:moveTo>
                    <a:pt x="27029" y="13514"/>
                  </a:moveTo>
                  <a:cubicBezTo>
                    <a:pt x="27029" y="20978"/>
                    <a:pt x="20978" y="27029"/>
                    <a:pt x="13514" y="27029"/>
                  </a:cubicBezTo>
                  <a:cubicBezTo>
                    <a:pt x="6051" y="27029"/>
                    <a:pt x="0" y="20978"/>
                    <a:pt x="0" y="13514"/>
                  </a:cubicBezTo>
                  <a:cubicBezTo>
                    <a:pt x="0" y="6051"/>
                    <a:pt x="6051" y="0"/>
                    <a:pt x="13514" y="0"/>
                  </a:cubicBezTo>
                  <a:cubicBezTo>
                    <a:pt x="20978" y="0"/>
                    <a:pt x="27029" y="6051"/>
                    <a:pt x="27029" y="13514"/>
                  </a:cubicBezTo>
                  <a:close/>
                </a:path>
              </a:pathLst>
            </a:custGeom>
            <a:solidFill>
              <a:srgbClr val="0D73FF"/>
            </a:solidFill>
            <a:ln w="1916" cap="flat">
              <a:noFill/>
              <a:prstDash val="solid"/>
              <a:miter/>
            </a:ln>
          </p:spPr>
          <p:txBody>
            <a:bodyPr rtlCol="0" anchor="ctr"/>
            <a:lstStyle/>
            <a:p>
              <a:endParaRPr lang="en-GB"/>
            </a:p>
          </p:txBody>
        </p:sp>
        <p:sp>
          <p:nvSpPr>
            <p:cNvPr id="895" name="Freeform: Shape 894">
              <a:extLst>
                <a:ext uri="{FF2B5EF4-FFF2-40B4-BE49-F238E27FC236}">
                  <a16:creationId xmlns:a16="http://schemas.microsoft.com/office/drawing/2014/main" id="{D9FA8BB4-85F3-D85C-F34A-A99525F55A21}"/>
                </a:ext>
              </a:extLst>
            </p:cNvPr>
            <p:cNvSpPr/>
            <p:nvPr/>
          </p:nvSpPr>
          <p:spPr>
            <a:xfrm>
              <a:off x="923781" y="4515476"/>
              <a:ext cx="14185" cy="14185"/>
            </a:xfrm>
            <a:custGeom>
              <a:avLst/>
              <a:gdLst>
                <a:gd name="connsiteX0" fmla="*/ 27029 w 27028"/>
                <a:gd name="connsiteY0" fmla="*/ 13514 h 27028"/>
                <a:gd name="connsiteX1" fmla="*/ 13514 w 27028"/>
                <a:gd name="connsiteY1" fmla="*/ 27029 h 27028"/>
                <a:gd name="connsiteX2" fmla="*/ 0 w 27028"/>
                <a:gd name="connsiteY2" fmla="*/ 13514 h 27028"/>
                <a:gd name="connsiteX3" fmla="*/ 13514 w 27028"/>
                <a:gd name="connsiteY3" fmla="*/ 0 h 27028"/>
                <a:gd name="connsiteX4" fmla="*/ 27029 w 27028"/>
                <a:gd name="connsiteY4" fmla="*/ 13514 h 27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28" h="27028">
                  <a:moveTo>
                    <a:pt x="27029" y="13514"/>
                  </a:moveTo>
                  <a:cubicBezTo>
                    <a:pt x="27029" y="20978"/>
                    <a:pt x="20978" y="27029"/>
                    <a:pt x="13514" y="27029"/>
                  </a:cubicBezTo>
                  <a:cubicBezTo>
                    <a:pt x="6051" y="27029"/>
                    <a:pt x="0" y="20978"/>
                    <a:pt x="0" y="13514"/>
                  </a:cubicBezTo>
                  <a:cubicBezTo>
                    <a:pt x="0" y="6051"/>
                    <a:pt x="6051" y="0"/>
                    <a:pt x="13514" y="0"/>
                  </a:cubicBezTo>
                  <a:cubicBezTo>
                    <a:pt x="20978" y="0"/>
                    <a:pt x="27029" y="6051"/>
                    <a:pt x="27029" y="13514"/>
                  </a:cubicBezTo>
                  <a:close/>
                </a:path>
              </a:pathLst>
            </a:custGeom>
            <a:solidFill>
              <a:srgbClr val="0D73FF"/>
            </a:solidFill>
            <a:ln w="1916" cap="flat">
              <a:noFill/>
              <a:prstDash val="solid"/>
              <a:miter/>
            </a:ln>
          </p:spPr>
          <p:txBody>
            <a:bodyPr rtlCol="0" anchor="ctr"/>
            <a:lstStyle/>
            <a:p>
              <a:endParaRPr lang="en-GB"/>
            </a:p>
          </p:txBody>
        </p:sp>
        <p:sp>
          <p:nvSpPr>
            <p:cNvPr id="896" name="Freeform: Shape 895">
              <a:extLst>
                <a:ext uri="{FF2B5EF4-FFF2-40B4-BE49-F238E27FC236}">
                  <a16:creationId xmlns:a16="http://schemas.microsoft.com/office/drawing/2014/main" id="{57572D6B-24EF-B99B-AC14-644AEF97F340}"/>
                </a:ext>
              </a:extLst>
            </p:cNvPr>
            <p:cNvSpPr/>
            <p:nvPr/>
          </p:nvSpPr>
          <p:spPr>
            <a:xfrm>
              <a:off x="892371" y="4563098"/>
              <a:ext cx="14185" cy="14185"/>
            </a:xfrm>
            <a:custGeom>
              <a:avLst/>
              <a:gdLst>
                <a:gd name="connsiteX0" fmla="*/ 27029 w 27028"/>
                <a:gd name="connsiteY0" fmla="*/ 13514 h 27028"/>
                <a:gd name="connsiteX1" fmla="*/ 13514 w 27028"/>
                <a:gd name="connsiteY1" fmla="*/ 27029 h 27028"/>
                <a:gd name="connsiteX2" fmla="*/ 0 w 27028"/>
                <a:gd name="connsiteY2" fmla="*/ 13514 h 27028"/>
                <a:gd name="connsiteX3" fmla="*/ 13514 w 27028"/>
                <a:gd name="connsiteY3" fmla="*/ 0 h 27028"/>
                <a:gd name="connsiteX4" fmla="*/ 27029 w 27028"/>
                <a:gd name="connsiteY4" fmla="*/ 13514 h 27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28" h="27028">
                  <a:moveTo>
                    <a:pt x="27029" y="13514"/>
                  </a:moveTo>
                  <a:cubicBezTo>
                    <a:pt x="27029" y="20978"/>
                    <a:pt x="20978" y="27029"/>
                    <a:pt x="13514" y="27029"/>
                  </a:cubicBezTo>
                  <a:cubicBezTo>
                    <a:pt x="6051" y="27029"/>
                    <a:pt x="0" y="20978"/>
                    <a:pt x="0" y="13514"/>
                  </a:cubicBezTo>
                  <a:cubicBezTo>
                    <a:pt x="0" y="6051"/>
                    <a:pt x="6051" y="0"/>
                    <a:pt x="13514" y="0"/>
                  </a:cubicBezTo>
                  <a:cubicBezTo>
                    <a:pt x="20978" y="0"/>
                    <a:pt x="27029" y="6051"/>
                    <a:pt x="27029" y="13514"/>
                  </a:cubicBezTo>
                  <a:close/>
                </a:path>
              </a:pathLst>
            </a:custGeom>
            <a:solidFill>
              <a:srgbClr val="0D73FF"/>
            </a:solidFill>
            <a:ln w="1916" cap="flat">
              <a:noFill/>
              <a:prstDash val="solid"/>
              <a:miter/>
            </a:ln>
          </p:spPr>
          <p:txBody>
            <a:bodyPr rtlCol="0" anchor="ctr"/>
            <a:lstStyle/>
            <a:p>
              <a:endParaRPr lang="en-GB"/>
            </a:p>
          </p:txBody>
        </p:sp>
        <p:sp>
          <p:nvSpPr>
            <p:cNvPr id="897" name="Freeform: Shape 896">
              <a:extLst>
                <a:ext uri="{FF2B5EF4-FFF2-40B4-BE49-F238E27FC236}">
                  <a16:creationId xmlns:a16="http://schemas.microsoft.com/office/drawing/2014/main" id="{868D5DBB-CA0E-551F-FD19-39B892E2D327}"/>
                </a:ext>
              </a:extLst>
            </p:cNvPr>
            <p:cNvSpPr/>
            <p:nvPr/>
          </p:nvSpPr>
          <p:spPr>
            <a:xfrm>
              <a:off x="988629" y="4566138"/>
              <a:ext cx="14185" cy="14185"/>
            </a:xfrm>
            <a:custGeom>
              <a:avLst/>
              <a:gdLst>
                <a:gd name="connsiteX0" fmla="*/ 27029 w 27028"/>
                <a:gd name="connsiteY0" fmla="*/ 13514 h 27028"/>
                <a:gd name="connsiteX1" fmla="*/ 13514 w 27028"/>
                <a:gd name="connsiteY1" fmla="*/ 27029 h 27028"/>
                <a:gd name="connsiteX2" fmla="*/ 0 w 27028"/>
                <a:gd name="connsiteY2" fmla="*/ 13514 h 27028"/>
                <a:gd name="connsiteX3" fmla="*/ 13514 w 27028"/>
                <a:gd name="connsiteY3" fmla="*/ 0 h 27028"/>
                <a:gd name="connsiteX4" fmla="*/ 27029 w 27028"/>
                <a:gd name="connsiteY4" fmla="*/ 13514 h 27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28" h="27028">
                  <a:moveTo>
                    <a:pt x="27029" y="13514"/>
                  </a:moveTo>
                  <a:cubicBezTo>
                    <a:pt x="27029" y="20978"/>
                    <a:pt x="20978" y="27029"/>
                    <a:pt x="13514" y="27029"/>
                  </a:cubicBezTo>
                  <a:cubicBezTo>
                    <a:pt x="6051" y="27029"/>
                    <a:pt x="0" y="20978"/>
                    <a:pt x="0" y="13514"/>
                  </a:cubicBezTo>
                  <a:cubicBezTo>
                    <a:pt x="0" y="6051"/>
                    <a:pt x="6051" y="0"/>
                    <a:pt x="13514" y="0"/>
                  </a:cubicBezTo>
                  <a:cubicBezTo>
                    <a:pt x="20978" y="0"/>
                    <a:pt x="27029" y="6051"/>
                    <a:pt x="27029" y="13514"/>
                  </a:cubicBezTo>
                  <a:close/>
                </a:path>
              </a:pathLst>
            </a:custGeom>
            <a:solidFill>
              <a:srgbClr val="0D73FF"/>
            </a:solidFill>
            <a:ln w="1916" cap="flat">
              <a:noFill/>
              <a:prstDash val="solid"/>
              <a:miter/>
            </a:ln>
          </p:spPr>
          <p:txBody>
            <a:bodyPr rtlCol="0" anchor="ctr"/>
            <a:lstStyle/>
            <a:p>
              <a:endParaRPr lang="en-GB"/>
            </a:p>
          </p:txBody>
        </p:sp>
        <p:sp>
          <p:nvSpPr>
            <p:cNvPr id="898" name="Freeform: Shape 897">
              <a:extLst>
                <a:ext uri="{FF2B5EF4-FFF2-40B4-BE49-F238E27FC236}">
                  <a16:creationId xmlns:a16="http://schemas.microsoft.com/office/drawing/2014/main" id="{98945FE0-E521-0C4A-0819-F22C52B8F78C}"/>
                </a:ext>
              </a:extLst>
            </p:cNvPr>
            <p:cNvSpPr/>
            <p:nvPr/>
          </p:nvSpPr>
          <p:spPr>
            <a:xfrm>
              <a:off x="923781" y="4596535"/>
              <a:ext cx="104363" cy="172250"/>
            </a:xfrm>
            <a:custGeom>
              <a:avLst/>
              <a:gdLst>
                <a:gd name="connsiteX0" fmla="*/ 137075 w 198854"/>
                <a:gd name="connsiteY0" fmla="*/ 0 h 328207"/>
                <a:gd name="connsiteX1" fmla="*/ 198855 w 198854"/>
                <a:gd name="connsiteY1" fmla="*/ 0 h 328207"/>
                <a:gd name="connsiteX2" fmla="*/ 198855 w 198854"/>
                <a:gd name="connsiteY2" fmla="*/ 328207 h 328207"/>
                <a:gd name="connsiteX3" fmla="*/ 137075 w 198854"/>
                <a:gd name="connsiteY3" fmla="*/ 328207 h 328207"/>
                <a:gd name="connsiteX4" fmla="*/ 61780 w 198854"/>
                <a:gd name="connsiteY4" fmla="*/ 328207 h 328207"/>
                <a:gd name="connsiteX5" fmla="*/ 0 w 198854"/>
                <a:gd name="connsiteY5" fmla="*/ 328207 h 328207"/>
                <a:gd name="connsiteX6" fmla="*/ 0 w 198854"/>
                <a:gd name="connsiteY6" fmla="*/ 0 h 328207"/>
                <a:gd name="connsiteX7" fmla="*/ 61780 w 198854"/>
                <a:gd name="connsiteY7" fmla="*/ 0 h 3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854" h="328207">
                  <a:moveTo>
                    <a:pt x="137075" y="0"/>
                  </a:moveTo>
                  <a:cubicBezTo>
                    <a:pt x="171195" y="0"/>
                    <a:pt x="198855" y="0"/>
                    <a:pt x="198855" y="0"/>
                  </a:cubicBezTo>
                  <a:lnTo>
                    <a:pt x="198855" y="328207"/>
                  </a:lnTo>
                  <a:cubicBezTo>
                    <a:pt x="198855" y="328207"/>
                    <a:pt x="171195" y="328207"/>
                    <a:pt x="137075" y="328207"/>
                  </a:cubicBezTo>
                  <a:lnTo>
                    <a:pt x="61780" y="328207"/>
                  </a:lnTo>
                  <a:cubicBezTo>
                    <a:pt x="27660" y="328207"/>
                    <a:pt x="0" y="328207"/>
                    <a:pt x="0" y="328207"/>
                  </a:cubicBezTo>
                  <a:lnTo>
                    <a:pt x="0" y="0"/>
                  </a:lnTo>
                  <a:cubicBezTo>
                    <a:pt x="0" y="0"/>
                    <a:pt x="27660" y="0"/>
                    <a:pt x="61780" y="0"/>
                  </a:cubicBezTo>
                  <a:close/>
                </a:path>
              </a:pathLst>
            </a:custGeom>
            <a:solidFill>
              <a:srgbClr val="FFFFFF"/>
            </a:solidFill>
            <a:ln w="1916" cap="flat">
              <a:noFill/>
              <a:prstDash val="solid"/>
              <a:miter/>
            </a:ln>
          </p:spPr>
          <p:txBody>
            <a:bodyPr rtlCol="0" anchor="ctr"/>
            <a:lstStyle/>
            <a:p>
              <a:endParaRPr lang="en-GB"/>
            </a:p>
          </p:txBody>
        </p:sp>
        <p:sp>
          <p:nvSpPr>
            <p:cNvPr id="899" name="Freeform: Shape 898">
              <a:extLst>
                <a:ext uri="{FF2B5EF4-FFF2-40B4-BE49-F238E27FC236}">
                  <a16:creationId xmlns:a16="http://schemas.microsoft.com/office/drawing/2014/main" id="{CF1BEDC2-B69C-3420-C3EF-59A09E02252D}"/>
                </a:ext>
              </a:extLst>
            </p:cNvPr>
            <p:cNvSpPr/>
            <p:nvPr/>
          </p:nvSpPr>
          <p:spPr>
            <a:xfrm>
              <a:off x="940127" y="4612747"/>
              <a:ext cx="104363" cy="172250"/>
            </a:xfrm>
            <a:custGeom>
              <a:avLst/>
              <a:gdLst>
                <a:gd name="connsiteX0" fmla="*/ 137085 w 198854"/>
                <a:gd name="connsiteY0" fmla="*/ 10 h 328207"/>
                <a:gd name="connsiteX1" fmla="*/ 198865 w 198854"/>
                <a:gd name="connsiteY1" fmla="*/ 10 h 328207"/>
                <a:gd name="connsiteX2" fmla="*/ 198865 w 198854"/>
                <a:gd name="connsiteY2" fmla="*/ 328217 h 328207"/>
                <a:gd name="connsiteX3" fmla="*/ 137085 w 198854"/>
                <a:gd name="connsiteY3" fmla="*/ 328217 h 328207"/>
                <a:gd name="connsiteX4" fmla="*/ 61790 w 198854"/>
                <a:gd name="connsiteY4" fmla="*/ 328217 h 328207"/>
                <a:gd name="connsiteX5" fmla="*/ 10 w 198854"/>
                <a:gd name="connsiteY5" fmla="*/ 328217 h 328207"/>
                <a:gd name="connsiteX6" fmla="*/ 10 w 198854"/>
                <a:gd name="connsiteY6" fmla="*/ 10 h 328207"/>
                <a:gd name="connsiteX7" fmla="*/ 61790 w 198854"/>
                <a:gd name="connsiteY7" fmla="*/ 10 h 3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854" h="328207">
                  <a:moveTo>
                    <a:pt x="137085" y="10"/>
                  </a:moveTo>
                  <a:cubicBezTo>
                    <a:pt x="171205" y="10"/>
                    <a:pt x="198865" y="10"/>
                    <a:pt x="198865" y="10"/>
                  </a:cubicBezTo>
                  <a:lnTo>
                    <a:pt x="198865" y="328217"/>
                  </a:lnTo>
                  <a:cubicBezTo>
                    <a:pt x="198865" y="328217"/>
                    <a:pt x="171205" y="328217"/>
                    <a:pt x="137085" y="328217"/>
                  </a:cubicBezTo>
                  <a:lnTo>
                    <a:pt x="61790" y="328217"/>
                  </a:lnTo>
                  <a:cubicBezTo>
                    <a:pt x="27670" y="328217"/>
                    <a:pt x="10" y="328217"/>
                    <a:pt x="10" y="328217"/>
                  </a:cubicBezTo>
                  <a:lnTo>
                    <a:pt x="10" y="10"/>
                  </a:lnTo>
                  <a:cubicBezTo>
                    <a:pt x="10" y="10"/>
                    <a:pt x="27670" y="10"/>
                    <a:pt x="61790" y="10"/>
                  </a:cubicBezTo>
                  <a:close/>
                </a:path>
              </a:pathLst>
            </a:custGeom>
            <a:solidFill>
              <a:srgbClr val="0D73FF">
                <a:alpha val="95000"/>
              </a:srgbClr>
            </a:solidFill>
            <a:ln w="1916" cap="flat">
              <a:noFill/>
              <a:prstDash val="solid"/>
              <a:miter/>
            </a:ln>
          </p:spPr>
          <p:txBody>
            <a:bodyPr rtlCol="0" anchor="ctr"/>
            <a:lstStyle/>
            <a:p>
              <a:endParaRPr lang="en-GB"/>
            </a:p>
          </p:txBody>
        </p:sp>
        <p:sp>
          <p:nvSpPr>
            <p:cNvPr id="900" name="Freeform: Shape 899">
              <a:extLst>
                <a:ext uri="{FF2B5EF4-FFF2-40B4-BE49-F238E27FC236}">
                  <a16:creationId xmlns:a16="http://schemas.microsoft.com/office/drawing/2014/main" id="{B8D820DF-61C4-570B-BC39-A5B0DCC05B54}"/>
                </a:ext>
              </a:extLst>
            </p:cNvPr>
            <p:cNvSpPr/>
            <p:nvPr/>
          </p:nvSpPr>
          <p:spPr>
            <a:xfrm>
              <a:off x="923781" y="4649223"/>
              <a:ext cx="104363" cy="1013"/>
            </a:xfrm>
            <a:custGeom>
              <a:avLst/>
              <a:gdLst>
                <a:gd name="connsiteX0" fmla="*/ 0 w 198854"/>
                <a:gd name="connsiteY0" fmla="*/ 0 h 1930"/>
                <a:gd name="connsiteX1" fmla="*/ 198855 w 198854"/>
                <a:gd name="connsiteY1" fmla="*/ 0 h 1930"/>
              </a:gdLst>
              <a:ahLst/>
              <a:cxnLst>
                <a:cxn ang="0">
                  <a:pos x="connsiteX0" y="connsiteY0"/>
                </a:cxn>
                <a:cxn ang="0">
                  <a:pos x="connsiteX1" y="connsiteY1"/>
                </a:cxn>
              </a:cxnLst>
              <a:rect l="l" t="t" r="r" b="b"/>
              <a:pathLst>
                <a:path w="198854" h="1930">
                  <a:moveTo>
                    <a:pt x="0" y="0"/>
                  </a:moveTo>
                  <a:lnTo>
                    <a:pt x="198855" y="0"/>
                  </a:lnTo>
                </a:path>
              </a:pathLst>
            </a:custGeom>
            <a:ln w="15329" cap="rnd">
              <a:solidFill>
                <a:srgbClr val="06146B"/>
              </a:solidFill>
              <a:prstDash val="solid"/>
              <a:round/>
            </a:ln>
          </p:spPr>
          <p:txBody>
            <a:bodyPr rtlCol="0" anchor="ctr"/>
            <a:lstStyle/>
            <a:p>
              <a:endParaRPr lang="en-GB"/>
            </a:p>
          </p:txBody>
        </p:sp>
        <p:sp>
          <p:nvSpPr>
            <p:cNvPr id="901" name="Freeform: Shape 900">
              <a:extLst>
                <a:ext uri="{FF2B5EF4-FFF2-40B4-BE49-F238E27FC236}">
                  <a16:creationId xmlns:a16="http://schemas.microsoft.com/office/drawing/2014/main" id="{1E106120-22E1-6C93-3D13-8B5551AED6B6}"/>
                </a:ext>
              </a:extLst>
            </p:cNvPr>
            <p:cNvSpPr/>
            <p:nvPr/>
          </p:nvSpPr>
          <p:spPr>
            <a:xfrm>
              <a:off x="923781" y="4596535"/>
              <a:ext cx="104363" cy="172250"/>
            </a:xfrm>
            <a:custGeom>
              <a:avLst/>
              <a:gdLst>
                <a:gd name="connsiteX0" fmla="*/ 137075 w 198854"/>
                <a:gd name="connsiteY0" fmla="*/ 0 h 328207"/>
                <a:gd name="connsiteX1" fmla="*/ 198855 w 198854"/>
                <a:gd name="connsiteY1" fmla="*/ 0 h 328207"/>
                <a:gd name="connsiteX2" fmla="*/ 198855 w 198854"/>
                <a:gd name="connsiteY2" fmla="*/ 328207 h 328207"/>
                <a:gd name="connsiteX3" fmla="*/ 137075 w 198854"/>
                <a:gd name="connsiteY3" fmla="*/ 328207 h 328207"/>
                <a:gd name="connsiteX4" fmla="*/ 61780 w 198854"/>
                <a:gd name="connsiteY4" fmla="*/ 328207 h 328207"/>
                <a:gd name="connsiteX5" fmla="*/ 0 w 198854"/>
                <a:gd name="connsiteY5" fmla="*/ 328207 h 328207"/>
                <a:gd name="connsiteX6" fmla="*/ 0 w 198854"/>
                <a:gd name="connsiteY6" fmla="*/ 0 h 328207"/>
                <a:gd name="connsiteX7" fmla="*/ 61780 w 198854"/>
                <a:gd name="connsiteY7" fmla="*/ 0 h 3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854" h="328207">
                  <a:moveTo>
                    <a:pt x="137075" y="0"/>
                  </a:moveTo>
                  <a:cubicBezTo>
                    <a:pt x="171195" y="0"/>
                    <a:pt x="198855" y="0"/>
                    <a:pt x="198855" y="0"/>
                  </a:cubicBezTo>
                  <a:lnTo>
                    <a:pt x="198855" y="328207"/>
                  </a:lnTo>
                  <a:cubicBezTo>
                    <a:pt x="198855" y="328207"/>
                    <a:pt x="171195" y="328207"/>
                    <a:pt x="137075" y="328207"/>
                  </a:cubicBezTo>
                  <a:lnTo>
                    <a:pt x="61780" y="328207"/>
                  </a:lnTo>
                  <a:cubicBezTo>
                    <a:pt x="27660" y="328207"/>
                    <a:pt x="0" y="328207"/>
                    <a:pt x="0" y="328207"/>
                  </a:cubicBezTo>
                  <a:lnTo>
                    <a:pt x="0" y="0"/>
                  </a:lnTo>
                  <a:cubicBezTo>
                    <a:pt x="0" y="0"/>
                    <a:pt x="27660" y="0"/>
                    <a:pt x="61780" y="0"/>
                  </a:cubicBezTo>
                  <a:close/>
                </a:path>
              </a:pathLst>
            </a:custGeom>
            <a:noFill/>
            <a:ln w="15329" cap="rnd">
              <a:solidFill>
                <a:srgbClr val="06146B"/>
              </a:solidFill>
              <a:prstDash val="solid"/>
              <a:round/>
            </a:ln>
          </p:spPr>
          <p:txBody>
            <a:bodyPr rtlCol="0" anchor="ctr"/>
            <a:lstStyle/>
            <a:p>
              <a:endParaRPr lang="en-GB"/>
            </a:p>
          </p:txBody>
        </p:sp>
        <p:sp>
          <p:nvSpPr>
            <p:cNvPr id="902" name="Freeform: Shape 901">
              <a:extLst>
                <a:ext uri="{FF2B5EF4-FFF2-40B4-BE49-F238E27FC236}">
                  <a16:creationId xmlns:a16="http://schemas.microsoft.com/office/drawing/2014/main" id="{BC974897-F434-7267-EFAE-C14508B2AC2A}"/>
                </a:ext>
              </a:extLst>
            </p:cNvPr>
            <p:cNvSpPr/>
            <p:nvPr/>
          </p:nvSpPr>
          <p:spPr>
            <a:xfrm>
              <a:off x="944046" y="4768785"/>
              <a:ext cx="25331" cy="24318"/>
            </a:xfrm>
            <a:custGeom>
              <a:avLst/>
              <a:gdLst>
                <a:gd name="connsiteX0" fmla="*/ 0 w 48265"/>
                <a:gd name="connsiteY0" fmla="*/ 0 h 46335"/>
                <a:gd name="connsiteX1" fmla="*/ 48266 w 48265"/>
                <a:gd name="connsiteY1" fmla="*/ 0 h 46335"/>
                <a:gd name="connsiteX2" fmla="*/ 48266 w 48265"/>
                <a:gd name="connsiteY2" fmla="*/ 46335 h 46335"/>
                <a:gd name="connsiteX3" fmla="*/ 0 w 48265"/>
                <a:gd name="connsiteY3" fmla="*/ 46335 h 46335"/>
              </a:gdLst>
              <a:ahLst/>
              <a:cxnLst>
                <a:cxn ang="0">
                  <a:pos x="connsiteX0" y="connsiteY0"/>
                </a:cxn>
                <a:cxn ang="0">
                  <a:pos x="connsiteX1" y="connsiteY1"/>
                </a:cxn>
                <a:cxn ang="0">
                  <a:pos x="connsiteX2" y="connsiteY2"/>
                </a:cxn>
                <a:cxn ang="0">
                  <a:pos x="connsiteX3" y="connsiteY3"/>
                </a:cxn>
              </a:cxnLst>
              <a:rect l="l" t="t" r="r" b="b"/>
              <a:pathLst>
                <a:path w="48265" h="46335">
                  <a:moveTo>
                    <a:pt x="0" y="0"/>
                  </a:moveTo>
                  <a:lnTo>
                    <a:pt x="48266" y="0"/>
                  </a:lnTo>
                  <a:lnTo>
                    <a:pt x="48266" y="46335"/>
                  </a:lnTo>
                  <a:lnTo>
                    <a:pt x="0" y="46335"/>
                  </a:lnTo>
                  <a:close/>
                </a:path>
              </a:pathLst>
            </a:custGeom>
            <a:solidFill>
              <a:srgbClr val="FFFFFF"/>
            </a:solidFill>
            <a:ln w="1916" cap="flat">
              <a:noFill/>
              <a:prstDash val="solid"/>
              <a:miter/>
            </a:ln>
          </p:spPr>
          <p:txBody>
            <a:bodyPr rtlCol="0" anchor="ctr"/>
            <a:lstStyle/>
            <a:p>
              <a:endParaRPr lang="en-GB"/>
            </a:p>
          </p:txBody>
        </p:sp>
        <p:sp>
          <p:nvSpPr>
            <p:cNvPr id="903" name="Freeform: Shape 902">
              <a:extLst>
                <a:ext uri="{FF2B5EF4-FFF2-40B4-BE49-F238E27FC236}">
                  <a16:creationId xmlns:a16="http://schemas.microsoft.com/office/drawing/2014/main" id="{9650E801-3B8C-36BB-328E-DD7457C27BB2}"/>
                </a:ext>
              </a:extLst>
            </p:cNvPr>
            <p:cNvSpPr/>
            <p:nvPr/>
          </p:nvSpPr>
          <p:spPr>
            <a:xfrm>
              <a:off x="999775" y="4768785"/>
              <a:ext cx="25331" cy="24318"/>
            </a:xfrm>
            <a:custGeom>
              <a:avLst/>
              <a:gdLst>
                <a:gd name="connsiteX0" fmla="*/ 0 w 48265"/>
                <a:gd name="connsiteY0" fmla="*/ 0 h 46335"/>
                <a:gd name="connsiteX1" fmla="*/ 48266 w 48265"/>
                <a:gd name="connsiteY1" fmla="*/ 0 h 46335"/>
                <a:gd name="connsiteX2" fmla="*/ 48266 w 48265"/>
                <a:gd name="connsiteY2" fmla="*/ 46335 h 46335"/>
                <a:gd name="connsiteX3" fmla="*/ 0 w 48265"/>
                <a:gd name="connsiteY3" fmla="*/ 46335 h 46335"/>
              </a:gdLst>
              <a:ahLst/>
              <a:cxnLst>
                <a:cxn ang="0">
                  <a:pos x="connsiteX0" y="connsiteY0"/>
                </a:cxn>
                <a:cxn ang="0">
                  <a:pos x="connsiteX1" y="connsiteY1"/>
                </a:cxn>
                <a:cxn ang="0">
                  <a:pos x="connsiteX2" y="connsiteY2"/>
                </a:cxn>
                <a:cxn ang="0">
                  <a:pos x="connsiteX3" y="connsiteY3"/>
                </a:cxn>
              </a:cxnLst>
              <a:rect l="l" t="t" r="r" b="b"/>
              <a:pathLst>
                <a:path w="48265" h="46335">
                  <a:moveTo>
                    <a:pt x="0" y="0"/>
                  </a:moveTo>
                  <a:lnTo>
                    <a:pt x="48266" y="0"/>
                  </a:lnTo>
                  <a:lnTo>
                    <a:pt x="48266" y="46335"/>
                  </a:lnTo>
                  <a:lnTo>
                    <a:pt x="0" y="46335"/>
                  </a:lnTo>
                  <a:close/>
                </a:path>
              </a:pathLst>
            </a:custGeom>
            <a:solidFill>
              <a:srgbClr val="FFFFFF"/>
            </a:solidFill>
            <a:ln w="1916" cap="flat">
              <a:noFill/>
              <a:prstDash val="solid"/>
              <a:miter/>
            </a:ln>
          </p:spPr>
          <p:txBody>
            <a:bodyPr rtlCol="0" anchor="ctr"/>
            <a:lstStyle/>
            <a:p>
              <a:endParaRPr lang="en-GB"/>
            </a:p>
          </p:txBody>
        </p:sp>
        <p:sp>
          <p:nvSpPr>
            <p:cNvPr id="904" name="Freeform: Shape 903">
              <a:extLst>
                <a:ext uri="{FF2B5EF4-FFF2-40B4-BE49-F238E27FC236}">
                  <a16:creationId xmlns:a16="http://schemas.microsoft.com/office/drawing/2014/main" id="{F7B15CE8-37ED-0054-0FAA-C382C2BAB58C}"/>
                </a:ext>
              </a:extLst>
            </p:cNvPr>
            <p:cNvSpPr/>
            <p:nvPr/>
          </p:nvSpPr>
          <p:spPr>
            <a:xfrm>
              <a:off x="944046" y="4768785"/>
              <a:ext cx="25331" cy="24318"/>
            </a:xfrm>
            <a:custGeom>
              <a:avLst/>
              <a:gdLst>
                <a:gd name="connsiteX0" fmla="*/ 0 w 48265"/>
                <a:gd name="connsiteY0" fmla="*/ 0 h 46335"/>
                <a:gd name="connsiteX1" fmla="*/ 0 w 48265"/>
                <a:gd name="connsiteY1" fmla="*/ 46335 h 46335"/>
                <a:gd name="connsiteX2" fmla="*/ 48266 w 48265"/>
                <a:gd name="connsiteY2" fmla="*/ 46335 h 46335"/>
                <a:gd name="connsiteX3" fmla="*/ 48266 w 48265"/>
                <a:gd name="connsiteY3" fmla="*/ 0 h 46335"/>
              </a:gdLst>
              <a:ahLst/>
              <a:cxnLst>
                <a:cxn ang="0">
                  <a:pos x="connsiteX0" y="connsiteY0"/>
                </a:cxn>
                <a:cxn ang="0">
                  <a:pos x="connsiteX1" y="connsiteY1"/>
                </a:cxn>
                <a:cxn ang="0">
                  <a:pos x="connsiteX2" y="connsiteY2"/>
                </a:cxn>
                <a:cxn ang="0">
                  <a:pos x="connsiteX3" y="connsiteY3"/>
                </a:cxn>
              </a:cxnLst>
              <a:rect l="l" t="t" r="r" b="b"/>
              <a:pathLst>
                <a:path w="48265" h="46335">
                  <a:moveTo>
                    <a:pt x="0" y="0"/>
                  </a:moveTo>
                  <a:lnTo>
                    <a:pt x="0" y="46335"/>
                  </a:lnTo>
                  <a:lnTo>
                    <a:pt x="48266" y="46335"/>
                  </a:lnTo>
                  <a:lnTo>
                    <a:pt x="48266" y="0"/>
                  </a:lnTo>
                </a:path>
              </a:pathLst>
            </a:custGeom>
            <a:noFill/>
            <a:ln w="15329" cap="rnd">
              <a:solidFill>
                <a:srgbClr val="06146B"/>
              </a:solidFill>
              <a:prstDash val="solid"/>
              <a:round/>
            </a:ln>
          </p:spPr>
          <p:txBody>
            <a:bodyPr rtlCol="0" anchor="ctr"/>
            <a:lstStyle/>
            <a:p>
              <a:endParaRPr lang="en-GB"/>
            </a:p>
          </p:txBody>
        </p:sp>
        <p:sp>
          <p:nvSpPr>
            <p:cNvPr id="905" name="Freeform: Shape 904">
              <a:extLst>
                <a:ext uri="{FF2B5EF4-FFF2-40B4-BE49-F238E27FC236}">
                  <a16:creationId xmlns:a16="http://schemas.microsoft.com/office/drawing/2014/main" id="{6EABCEE1-D873-4FED-73D0-8C45804F1D57}"/>
                </a:ext>
              </a:extLst>
            </p:cNvPr>
            <p:cNvSpPr/>
            <p:nvPr/>
          </p:nvSpPr>
          <p:spPr>
            <a:xfrm>
              <a:off x="999775" y="4768785"/>
              <a:ext cx="25331" cy="24318"/>
            </a:xfrm>
            <a:custGeom>
              <a:avLst/>
              <a:gdLst>
                <a:gd name="connsiteX0" fmla="*/ 0 w 48265"/>
                <a:gd name="connsiteY0" fmla="*/ 0 h 46335"/>
                <a:gd name="connsiteX1" fmla="*/ 0 w 48265"/>
                <a:gd name="connsiteY1" fmla="*/ 46335 h 46335"/>
                <a:gd name="connsiteX2" fmla="*/ 48266 w 48265"/>
                <a:gd name="connsiteY2" fmla="*/ 46335 h 46335"/>
                <a:gd name="connsiteX3" fmla="*/ 48266 w 48265"/>
                <a:gd name="connsiteY3" fmla="*/ 0 h 46335"/>
              </a:gdLst>
              <a:ahLst/>
              <a:cxnLst>
                <a:cxn ang="0">
                  <a:pos x="connsiteX0" y="connsiteY0"/>
                </a:cxn>
                <a:cxn ang="0">
                  <a:pos x="connsiteX1" y="connsiteY1"/>
                </a:cxn>
                <a:cxn ang="0">
                  <a:pos x="connsiteX2" y="connsiteY2"/>
                </a:cxn>
                <a:cxn ang="0">
                  <a:pos x="connsiteX3" y="connsiteY3"/>
                </a:cxn>
              </a:cxnLst>
              <a:rect l="l" t="t" r="r" b="b"/>
              <a:pathLst>
                <a:path w="48265" h="46335">
                  <a:moveTo>
                    <a:pt x="0" y="0"/>
                  </a:moveTo>
                  <a:lnTo>
                    <a:pt x="0" y="46335"/>
                  </a:lnTo>
                  <a:lnTo>
                    <a:pt x="48266" y="46335"/>
                  </a:lnTo>
                  <a:lnTo>
                    <a:pt x="48266" y="0"/>
                  </a:lnTo>
                </a:path>
              </a:pathLst>
            </a:custGeom>
            <a:noFill/>
            <a:ln w="15329" cap="rnd">
              <a:solidFill>
                <a:srgbClr val="06146B"/>
              </a:solidFill>
              <a:prstDash val="solid"/>
              <a:round/>
            </a:ln>
          </p:spPr>
          <p:txBody>
            <a:bodyPr rtlCol="0" anchor="ctr"/>
            <a:lstStyle/>
            <a:p>
              <a:endParaRPr lang="en-GB"/>
            </a:p>
          </p:txBody>
        </p:sp>
        <p:grpSp>
          <p:nvGrpSpPr>
            <p:cNvPr id="944" name="Group 943">
              <a:extLst>
                <a:ext uri="{FF2B5EF4-FFF2-40B4-BE49-F238E27FC236}">
                  <a16:creationId xmlns:a16="http://schemas.microsoft.com/office/drawing/2014/main" id="{B2795135-3C79-FC52-645E-180B56D0B66F}"/>
                </a:ext>
              </a:extLst>
            </p:cNvPr>
            <p:cNvGrpSpPr/>
            <p:nvPr/>
          </p:nvGrpSpPr>
          <p:grpSpPr>
            <a:xfrm>
              <a:off x="785604" y="4681010"/>
              <a:ext cx="130409" cy="130409"/>
              <a:chOff x="802757" y="4832348"/>
              <a:chExt cx="115509" cy="115509"/>
            </a:xfrm>
          </p:grpSpPr>
          <p:sp>
            <p:nvSpPr>
              <p:cNvPr id="906" name="Freeform: Shape 905">
                <a:extLst>
                  <a:ext uri="{FF2B5EF4-FFF2-40B4-BE49-F238E27FC236}">
                    <a16:creationId xmlns:a16="http://schemas.microsoft.com/office/drawing/2014/main" id="{4E45C9A1-4B6B-754D-99FA-D5AC08F9A971}"/>
                  </a:ext>
                </a:extLst>
              </p:cNvPr>
              <p:cNvSpPr/>
              <p:nvPr/>
            </p:nvSpPr>
            <p:spPr>
              <a:xfrm>
                <a:off x="802757" y="4832348"/>
                <a:ext cx="115509" cy="115509"/>
              </a:xfrm>
              <a:custGeom>
                <a:avLst/>
                <a:gdLst>
                  <a:gd name="connsiteX0" fmla="*/ 220092 w 220091"/>
                  <a:gd name="connsiteY0" fmla="*/ 110046 h 220091"/>
                  <a:gd name="connsiteX1" fmla="*/ 110046 w 220091"/>
                  <a:gd name="connsiteY1" fmla="*/ 220092 h 220091"/>
                  <a:gd name="connsiteX2" fmla="*/ 0 w 220091"/>
                  <a:gd name="connsiteY2" fmla="*/ 110046 h 220091"/>
                  <a:gd name="connsiteX3" fmla="*/ 110046 w 220091"/>
                  <a:gd name="connsiteY3" fmla="*/ 0 h 220091"/>
                  <a:gd name="connsiteX4" fmla="*/ 220092 w 220091"/>
                  <a:gd name="connsiteY4" fmla="*/ 110046 h 220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091" h="220091">
                    <a:moveTo>
                      <a:pt x="220092" y="110046"/>
                    </a:moveTo>
                    <a:cubicBezTo>
                      <a:pt x="220092" y="170823"/>
                      <a:pt x="170823" y="220092"/>
                      <a:pt x="110046" y="220092"/>
                    </a:cubicBezTo>
                    <a:cubicBezTo>
                      <a:pt x="49269" y="220092"/>
                      <a:pt x="0" y="170823"/>
                      <a:pt x="0" y="110046"/>
                    </a:cubicBezTo>
                    <a:cubicBezTo>
                      <a:pt x="0" y="49269"/>
                      <a:pt x="49269" y="0"/>
                      <a:pt x="110046" y="0"/>
                    </a:cubicBezTo>
                    <a:cubicBezTo>
                      <a:pt x="170823" y="0"/>
                      <a:pt x="220092" y="49269"/>
                      <a:pt x="220092" y="110046"/>
                    </a:cubicBezTo>
                    <a:close/>
                  </a:path>
                </a:pathLst>
              </a:custGeom>
              <a:solidFill>
                <a:srgbClr val="0D73FF"/>
              </a:solidFill>
              <a:ln w="1916" cap="flat">
                <a:noFill/>
                <a:prstDash val="solid"/>
                <a:miter/>
              </a:ln>
            </p:spPr>
            <p:txBody>
              <a:bodyPr rtlCol="0" anchor="ctr"/>
              <a:lstStyle/>
              <a:p>
                <a:endParaRPr lang="en-GB"/>
              </a:p>
            </p:txBody>
          </p:sp>
          <p:sp>
            <p:nvSpPr>
              <p:cNvPr id="907" name="Freeform: Shape 906">
                <a:extLst>
                  <a:ext uri="{FF2B5EF4-FFF2-40B4-BE49-F238E27FC236}">
                    <a16:creationId xmlns:a16="http://schemas.microsoft.com/office/drawing/2014/main" id="{FA4150EA-373A-D445-00F0-23BB530BF1CA}"/>
                  </a:ext>
                </a:extLst>
              </p:cNvPr>
              <p:cNvSpPr/>
              <p:nvPr/>
            </p:nvSpPr>
            <p:spPr>
              <a:xfrm>
                <a:off x="802757" y="4832348"/>
                <a:ext cx="115509" cy="115509"/>
              </a:xfrm>
              <a:custGeom>
                <a:avLst/>
                <a:gdLst>
                  <a:gd name="connsiteX0" fmla="*/ 220092 w 220091"/>
                  <a:gd name="connsiteY0" fmla="*/ 110046 h 220091"/>
                  <a:gd name="connsiteX1" fmla="*/ 110046 w 220091"/>
                  <a:gd name="connsiteY1" fmla="*/ 220092 h 220091"/>
                  <a:gd name="connsiteX2" fmla="*/ 0 w 220091"/>
                  <a:gd name="connsiteY2" fmla="*/ 110046 h 220091"/>
                  <a:gd name="connsiteX3" fmla="*/ 110046 w 220091"/>
                  <a:gd name="connsiteY3" fmla="*/ 0 h 220091"/>
                  <a:gd name="connsiteX4" fmla="*/ 220092 w 220091"/>
                  <a:gd name="connsiteY4" fmla="*/ 110046 h 220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091" h="220091">
                    <a:moveTo>
                      <a:pt x="220092" y="110046"/>
                    </a:moveTo>
                    <a:cubicBezTo>
                      <a:pt x="220092" y="170823"/>
                      <a:pt x="170823" y="220092"/>
                      <a:pt x="110046" y="220092"/>
                    </a:cubicBezTo>
                    <a:cubicBezTo>
                      <a:pt x="49269" y="220092"/>
                      <a:pt x="0" y="170823"/>
                      <a:pt x="0" y="110046"/>
                    </a:cubicBezTo>
                    <a:cubicBezTo>
                      <a:pt x="0" y="49269"/>
                      <a:pt x="49269" y="0"/>
                      <a:pt x="110046" y="0"/>
                    </a:cubicBezTo>
                    <a:cubicBezTo>
                      <a:pt x="170823" y="0"/>
                      <a:pt x="220092" y="49269"/>
                      <a:pt x="220092" y="110046"/>
                    </a:cubicBezTo>
                    <a:close/>
                  </a:path>
                </a:pathLst>
              </a:custGeom>
              <a:noFill/>
              <a:ln w="9525" cap="rnd">
                <a:solidFill>
                  <a:schemeClr val="bg1"/>
                </a:solidFill>
                <a:prstDash val="solid"/>
                <a:round/>
              </a:ln>
            </p:spPr>
            <p:txBody>
              <a:bodyPr rtlCol="0" anchor="ctr"/>
              <a:lstStyle/>
              <a:p>
                <a:endParaRPr lang="en-GB"/>
              </a:p>
            </p:txBody>
          </p:sp>
          <p:sp>
            <p:nvSpPr>
              <p:cNvPr id="908" name="TextBox 907">
                <a:extLst>
                  <a:ext uri="{FF2B5EF4-FFF2-40B4-BE49-F238E27FC236}">
                    <a16:creationId xmlns:a16="http://schemas.microsoft.com/office/drawing/2014/main" id="{3FD205D6-2DFB-AE08-F6D8-BF5115981CAF}"/>
                  </a:ext>
                </a:extLst>
              </p:cNvPr>
              <p:cNvSpPr txBox="1"/>
              <p:nvPr/>
            </p:nvSpPr>
            <p:spPr>
              <a:xfrm>
                <a:off x="828615" y="4851784"/>
                <a:ext cx="88671" cy="79033"/>
              </a:xfrm>
              <a:prstGeom prst="rect">
                <a:avLst/>
              </a:prstGeom>
              <a:noFill/>
            </p:spPr>
            <p:txBody>
              <a:bodyPr wrap="none" lIns="0" tIns="0" rIns="0" bIns="0" rtlCol="0" anchor="t">
                <a:noAutofit/>
              </a:bodyPr>
              <a:lstStyle/>
              <a:p>
                <a:r>
                  <a:rPr lang="de-DE" sz="500">
                    <a:solidFill>
                      <a:schemeClr val="bg1"/>
                    </a:solidFill>
                  </a:rPr>
                  <a:t>H</a:t>
                </a:r>
                <a:r>
                  <a:rPr lang="de-DE" sz="500" baseline="-25000">
                    <a:solidFill>
                      <a:schemeClr val="bg1"/>
                    </a:solidFill>
                  </a:rPr>
                  <a:t>2</a:t>
                </a:r>
                <a:endParaRPr lang="en-GB" sz="500" baseline="-25000">
                  <a:solidFill>
                    <a:schemeClr val="bg1"/>
                  </a:solidFill>
                </a:endParaRPr>
              </a:p>
            </p:txBody>
          </p:sp>
        </p:grpSp>
        <p:sp>
          <p:nvSpPr>
            <p:cNvPr id="909" name="TextBox 908">
              <a:extLst>
                <a:ext uri="{FF2B5EF4-FFF2-40B4-BE49-F238E27FC236}">
                  <a16:creationId xmlns:a16="http://schemas.microsoft.com/office/drawing/2014/main" id="{C38878C7-C165-BFED-BBA3-7602B88DB6CF}"/>
                </a:ext>
              </a:extLst>
            </p:cNvPr>
            <p:cNvSpPr txBox="1"/>
            <p:nvPr/>
          </p:nvSpPr>
          <p:spPr>
            <a:xfrm>
              <a:off x="948324" y="4654163"/>
              <a:ext cx="88671" cy="79033"/>
            </a:xfrm>
            <a:prstGeom prst="rect">
              <a:avLst/>
            </a:prstGeom>
            <a:noFill/>
          </p:spPr>
          <p:txBody>
            <a:bodyPr wrap="none" lIns="0" tIns="0" rIns="0" bIns="0" rtlCol="0" anchor="t">
              <a:noAutofit/>
            </a:bodyPr>
            <a:lstStyle/>
            <a:p>
              <a:endParaRPr lang="en-GB" sz="500" baseline="-25000">
                <a:solidFill>
                  <a:schemeClr val="bg1"/>
                </a:solidFill>
              </a:endParaRPr>
            </a:p>
          </p:txBody>
        </p:sp>
      </p:grpSp>
      <p:sp>
        <p:nvSpPr>
          <p:cNvPr id="913" name="TextBox 912">
            <a:extLst>
              <a:ext uri="{FF2B5EF4-FFF2-40B4-BE49-F238E27FC236}">
                <a16:creationId xmlns:a16="http://schemas.microsoft.com/office/drawing/2014/main" id="{4D4F417B-52E1-EBB4-3A49-562332B10924}"/>
              </a:ext>
            </a:extLst>
          </p:cNvPr>
          <p:cNvSpPr txBox="1"/>
          <p:nvPr/>
        </p:nvSpPr>
        <p:spPr>
          <a:xfrm>
            <a:off x="305854" y="4226085"/>
            <a:ext cx="1191016" cy="153888"/>
          </a:xfrm>
          <a:prstGeom prst="rect">
            <a:avLst/>
          </a:prstGeom>
          <a:noFill/>
        </p:spPr>
        <p:txBody>
          <a:bodyPr wrap="square" lIns="0" tIns="0" rIns="0" bIns="0" rtlCol="0" anchor="t">
            <a:spAutoFit/>
          </a:bodyPr>
          <a:lstStyle/>
          <a:p>
            <a:pPr algn="l"/>
            <a:r>
              <a:rPr lang="en-GB" sz="1000" err="1">
                <a:ln/>
                <a:cs typeface="Arial"/>
                <a:sym typeface="Arial"/>
                <a:rtl val="0"/>
              </a:rPr>
              <a:t>Wasserstoff</a:t>
            </a:r>
            <a:r>
              <a:rPr lang="en-GB" sz="1000" spc="0" baseline="0" err="1">
                <a:ln/>
                <a:cs typeface="Arial"/>
                <a:sym typeface="Arial"/>
                <a:rtl val="0"/>
              </a:rPr>
              <a:t>heizung</a:t>
            </a:r>
            <a:endParaRPr lang="en-GB" sz="1000" spc="0" baseline="0">
              <a:ln/>
              <a:cs typeface="Arial"/>
              <a:sym typeface="Arial"/>
              <a:rtl val="0"/>
            </a:endParaRPr>
          </a:p>
        </p:txBody>
      </p:sp>
      <p:sp>
        <p:nvSpPr>
          <p:cNvPr id="943" name="TextBox 942">
            <a:extLst>
              <a:ext uri="{FF2B5EF4-FFF2-40B4-BE49-F238E27FC236}">
                <a16:creationId xmlns:a16="http://schemas.microsoft.com/office/drawing/2014/main" id="{E9463345-00AE-CC60-66D4-6E7F900B9F21}"/>
              </a:ext>
            </a:extLst>
          </p:cNvPr>
          <p:cNvSpPr txBox="1"/>
          <p:nvPr/>
        </p:nvSpPr>
        <p:spPr>
          <a:xfrm>
            <a:off x="7022855" y="4648425"/>
            <a:ext cx="1191016" cy="153888"/>
          </a:xfrm>
          <a:prstGeom prst="rect">
            <a:avLst/>
          </a:prstGeom>
          <a:noFill/>
        </p:spPr>
        <p:txBody>
          <a:bodyPr wrap="square" lIns="0" tIns="0" rIns="0" bIns="0" rtlCol="0" anchor="t">
            <a:spAutoFit/>
          </a:bodyPr>
          <a:lstStyle/>
          <a:p>
            <a:pPr algn="l"/>
            <a:r>
              <a:rPr lang="en-GB" sz="1000" err="1">
                <a:ln/>
                <a:cs typeface="Arial"/>
                <a:sym typeface="Arial"/>
                <a:rtl val="0"/>
              </a:rPr>
              <a:t>Wasserstoff</a:t>
            </a:r>
            <a:r>
              <a:rPr lang="en-GB" sz="1000" spc="0" baseline="0" err="1">
                <a:ln/>
                <a:cs typeface="Arial"/>
                <a:sym typeface="Arial"/>
                <a:rtl val="0"/>
              </a:rPr>
              <a:t>heizung</a:t>
            </a:r>
            <a:endParaRPr lang="en-GB" sz="1000" spc="0" baseline="0">
              <a:ln/>
              <a:cs typeface="Arial"/>
              <a:sym typeface="Arial"/>
              <a:rtl val="0"/>
            </a:endParaRPr>
          </a:p>
        </p:txBody>
      </p:sp>
      <p:grpSp>
        <p:nvGrpSpPr>
          <p:cNvPr id="976" name="Group 975">
            <a:extLst>
              <a:ext uri="{FF2B5EF4-FFF2-40B4-BE49-F238E27FC236}">
                <a16:creationId xmlns:a16="http://schemas.microsoft.com/office/drawing/2014/main" id="{43A5BF9E-C572-B539-4CF2-ABE7D594C6CF}"/>
              </a:ext>
            </a:extLst>
          </p:cNvPr>
          <p:cNvGrpSpPr/>
          <p:nvPr/>
        </p:nvGrpSpPr>
        <p:grpSpPr>
          <a:xfrm>
            <a:off x="7432731" y="4850837"/>
            <a:ext cx="360846" cy="414492"/>
            <a:chOff x="683644" y="4396927"/>
            <a:chExt cx="360846" cy="414492"/>
          </a:xfrm>
        </p:grpSpPr>
        <p:sp>
          <p:nvSpPr>
            <p:cNvPr id="977" name="Freeform: Shape 976">
              <a:extLst>
                <a:ext uri="{FF2B5EF4-FFF2-40B4-BE49-F238E27FC236}">
                  <a16:creationId xmlns:a16="http://schemas.microsoft.com/office/drawing/2014/main" id="{10A4D979-25EC-7D7E-D48D-3B4635519C27}"/>
                </a:ext>
              </a:extLst>
            </p:cNvPr>
            <p:cNvSpPr/>
            <p:nvPr/>
          </p:nvSpPr>
          <p:spPr>
            <a:xfrm>
              <a:off x="711001" y="4502303"/>
              <a:ext cx="180356" cy="287760"/>
            </a:xfrm>
            <a:custGeom>
              <a:avLst/>
              <a:gdLst>
                <a:gd name="connsiteX0" fmla="*/ 335944 w 343652"/>
                <a:gd name="connsiteY0" fmla="*/ 14 h 548299"/>
                <a:gd name="connsiteX1" fmla="*/ 343666 w 343652"/>
                <a:gd name="connsiteY1" fmla="*/ 14 h 548299"/>
                <a:gd name="connsiteX2" fmla="*/ 343666 w 343652"/>
                <a:gd name="connsiteY2" fmla="*/ 548313 h 548299"/>
                <a:gd name="connsiteX3" fmla="*/ 335944 w 343652"/>
                <a:gd name="connsiteY3" fmla="*/ 548313 h 548299"/>
                <a:gd name="connsiteX4" fmla="*/ 7737 w 343652"/>
                <a:gd name="connsiteY4" fmla="*/ 548313 h 548299"/>
                <a:gd name="connsiteX5" fmla="*/ 14 w 343652"/>
                <a:gd name="connsiteY5" fmla="*/ 548313 h 548299"/>
                <a:gd name="connsiteX6" fmla="*/ 14 w 343652"/>
                <a:gd name="connsiteY6" fmla="*/ 14 h 548299"/>
                <a:gd name="connsiteX7" fmla="*/ 7737 w 343652"/>
                <a:gd name="connsiteY7" fmla="*/ 14 h 54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652" h="548299">
                  <a:moveTo>
                    <a:pt x="335944" y="14"/>
                  </a:moveTo>
                  <a:cubicBezTo>
                    <a:pt x="340209" y="14"/>
                    <a:pt x="343666" y="14"/>
                    <a:pt x="343666" y="14"/>
                  </a:cubicBezTo>
                  <a:lnTo>
                    <a:pt x="343666" y="548313"/>
                  </a:lnTo>
                  <a:cubicBezTo>
                    <a:pt x="343666" y="548313"/>
                    <a:pt x="340209" y="548313"/>
                    <a:pt x="335944" y="548313"/>
                  </a:cubicBezTo>
                  <a:lnTo>
                    <a:pt x="7737" y="548313"/>
                  </a:lnTo>
                  <a:cubicBezTo>
                    <a:pt x="3471" y="548313"/>
                    <a:pt x="14" y="548313"/>
                    <a:pt x="14" y="548313"/>
                  </a:cubicBezTo>
                  <a:lnTo>
                    <a:pt x="14" y="14"/>
                  </a:lnTo>
                  <a:cubicBezTo>
                    <a:pt x="14" y="14"/>
                    <a:pt x="3471" y="14"/>
                    <a:pt x="7737" y="14"/>
                  </a:cubicBezTo>
                  <a:close/>
                </a:path>
              </a:pathLst>
            </a:custGeom>
            <a:solidFill>
              <a:srgbClr val="0D73FF">
                <a:alpha val="95000"/>
              </a:srgbClr>
            </a:solidFill>
            <a:ln w="1916" cap="flat">
              <a:noFill/>
              <a:prstDash val="solid"/>
              <a:miter/>
            </a:ln>
          </p:spPr>
          <p:txBody>
            <a:bodyPr rtlCol="0" anchor="ctr"/>
            <a:lstStyle/>
            <a:p>
              <a:endParaRPr lang="en-GB"/>
            </a:p>
          </p:txBody>
        </p:sp>
        <p:sp>
          <p:nvSpPr>
            <p:cNvPr id="978" name="Freeform: Shape 977">
              <a:extLst>
                <a:ext uri="{FF2B5EF4-FFF2-40B4-BE49-F238E27FC236}">
                  <a16:creationId xmlns:a16="http://schemas.microsoft.com/office/drawing/2014/main" id="{8E663C77-10D3-1602-8E18-D5F8154824B9}"/>
                </a:ext>
              </a:extLst>
            </p:cNvPr>
            <p:cNvSpPr/>
            <p:nvPr/>
          </p:nvSpPr>
          <p:spPr>
            <a:xfrm>
              <a:off x="683644" y="4477986"/>
              <a:ext cx="180356" cy="25331"/>
            </a:xfrm>
            <a:custGeom>
              <a:avLst/>
              <a:gdLst>
                <a:gd name="connsiteX0" fmla="*/ 0 w 343652"/>
                <a:gd name="connsiteY0" fmla="*/ 0 h 48265"/>
                <a:gd name="connsiteX1" fmla="*/ 343652 w 343652"/>
                <a:gd name="connsiteY1" fmla="*/ 0 h 48265"/>
                <a:gd name="connsiteX2" fmla="*/ 343652 w 343652"/>
                <a:gd name="connsiteY2" fmla="*/ 48266 h 48265"/>
                <a:gd name="connsiteX3" fmla="*/ 0 w 343652"/>
                <a:gd name="connsiteY3" fmla="*/ 48266 h 48265"/>
              </a:gdLst>
              <a:ahLst/>
              <a:cxnLst>
                <a:cxn ang="0">
                  <a:pos x="connsiteX0" y="connsiteY0"/>
                </a:cxn>
                <a:cxn ang="0">
                  <a:pos x="connsiteX1" y="connsiteY1"/>
                </a:cxn>
                <a:cxn ang="0">
                  <a:pos x="connsiteX2" y="connsiteY2"/>
                </a:cxn>
                <a:cxn ang="0">
                  <a:pos x="connsiteX3" y="connsiteY3"/>
                </a:cxn>
              </a:cxnLst>
              <a:rect l="l" t="t" r="r" b="b"/>
              <a:pathLst>
                <a:path w="343652" h="48265">
                  <a:moveTo>
                    <a:pt x="0" y="0"/>
                  </a:moveTo>
                  <a:lnTo>
                    <a:pt x="343652" y="0"/>
                  </a:lnTo>
                  <a:lnTo>
                    <a:pt x="343652" y="48266"/>
                  </a:lnTo>
                  <a:lnTo>
                    <a:pt x="0" y="48266"/>
                  </a:lnTo>
                  <a:close/>
                </a:path>
              </a:pathLst>
            </a:custGeom>
            <a:solidFill>
              <a:srgbClr val="FFFFFF"/>
            </a:solidFill>
            <a:ln w="1916" cap="flat">
              <a:noFill/>
              <a:prstDash val="solid"/>
              <a:miter/>
            </a:ln>
          </p:spPr>
          <p:txBody>
            <a:bodyPr rtlCol="0" anchor="ctr"/>
            <a:lstStyle/>
            <a:p>
              <a:endParaRPr lang="en-GB"/>
            </a:p>
          </p:txBody>
        </p:sp>
        <p:sp>
          <p:nvSpPr>
            <p:cNvPr id="979" name="Freeform: Shape 978">
              <a:extLst>
                <a:ext uri="{FF2B5EF4-FFF2-40B4-BE49-F238E27FC236}">
                  <a16:creationId xmlns:a16="http://schemas.microsoft.com/office/drawing/2014/main" id="{3C2D455A-FA69-3123-3647-2DF914E680AA}"/>
                </a:ext>
              </a:extLst>
            </p:cNvPr>
            <p:cNvSpPr/>
            <p:nvPr/>
          </p:nvSpPr>
          <p:spPr>
            <a:xfrm>
              <a:off x="683644" y="4477986"/>
              <a:ext cx="180356" cy="287760"/>
            </a:xfrm>
            <a:custGeom>
              <a:avLst/>
              <a:gdLst>
                <a:gd name="connsiteX0" fmla="*/ 335930 w 343652"/>
                <a:gd name="connsiteY0" fmla="*/ 0 h 548299"/>
                <a:gd name="connsiteX1" fmla="*/ 343652 w 343652"/>
                <a:gd name="connsiteY1" fmla="*/ 0 h 548299"/>
                <a:gd name="connsiteX2" fmla="*/ 343652 w 343652"/>
                <a:gd name="connsiteY2" fmla="*/ 548299 h 548299"/>
                <a:gd name="connsiteX3" fmla="*/ 335930 w 343652"/>
                <a:gd name="connsiteY3" fmla="*/ 548299 h 548299"/>
                <a:gd name="connsiteX4" fmla="*/ 7723 w 343652"/>
                <a:gd name="connsiteY4" fmla="*/ 548299 h 548299"/>
                <a:gd name="connsiteX5" fmla="*/ 0 w 343652"/>
                <a:gd name="connsiteY5" fmla="*/ 548299 h 548299"/>
                <a:gd name="connsiteX6" fmla="*/ 0 w 343652"/>
                <a:gd name="connsiteY6" fmla="*/ 0 h 548299"/>
                <a:gd name="connsiteX7" fmla="*/ 7723 w 343652"/>
                <a:gd name="connsiteY7" fmla="*/ 0 h 54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652" h="548299">
                  <a:moveTo>
                    <a:pt x="335930" y="0"/>
                  </a:moveTo>
                  <a:cubicBezTo>
                    <a:pt x="340195" y="0"/>
                    <a:pt x="343652" y="0"/>
                    <a:pt x="343652" y="0"/>
                  </a:cubicBezTo>
                  <a:lnTo>
                    <a:pt x="343652" y="548299"/>
                  </a:lnTo>
                  <a:cubicBezTo>
                    <a:pt x="343652" y="548299"/>
                    <a:pt x="340195" y="548299"/>
                    <a:pt x="335930" y="548299"/>
                  </a:cubicBezTo>
                  <a:lnTo>
                    <a:pt x="7723" y="548299"/>
                  </a:lnTo>
                  <a:cubicBezTo>
                    <a:pt x="3457" y="548299"/>
                    <a:pt x="0" y="548299"/>
                    <a:pt x="0" y="548299"/>
                  </a:cubicBezTo>
                  <a:lnTo>
                    <a:pt x="0" y="0"/>
                  </a:lnTo>
                  <a:cubicBezTo>
                    <a:pt x="0" y="0"/>
                    <a:pt x="3457" y="0"/>
                    <a:pt x="7723" y="0"/>
                  </a:cubicBezTo>
                  <a:close/>
                </a:path>
              </a:pathLst>
            </a:custGeom>
            <a:noFill/>
            <a:ln w="15329" cap="rnd">
              <a:solidFill>
                <a:srgbClr val="06146B"/>
              </a:solidFill>
              <a:prstDash val="solid"/>
              <a:round/>
            </a:ln>
          </p:spPr>
          <p:txBody>
            <a:bodyPr rtlCol="0" anchor="ctr"/>
            <a:lstStyle/>
            <a:p>
              <a:endParaRPr lang="en-GB"/>
            </a:p>
          </p:txBody>
        </p:sp>
        <p:sp>
          <p:nvSpPr>
            <p:cNvPr id="980" name="Freeform: Shape 979">
              <a:extLst>
                <a:ext uri="{FF2B5EF4-FFF2-40B4-BE49-F238E27FC236}">
                  <a16:creationId xmlns:a16="http://schemas.microsoft.com/office/drawing/2014/main" id="{A4754823-7DD5-C7AF-4196-0CE9A7100D3C}"/>
                </a:ext>
              </a:extLst>
            </p:cNvPr>
            <p:cNvSpPr/>
            <p:nvPr/>
          </p:nvSpPr>
          <p:spPr>
            <a:xfrm>
              <a:off x="749505" y="4396927"/>
              <a:ext cx="86125" cy="81059"/>
            </a:xfrm>
            <a:custGeom>
              <a:avLst/>
              <a:gdLst>
                <a:gd name="connsiteX0" fmla="*/ 0 w 164103"/>
                <a:gd name="connsiteY0" fmla="*/ 154450 h 154450"/>
                <a:gd name="connsiteX1" fmla="*/ 0 w 164103"/>
                <a:gd name="connsiteY1" fmla="*/ 57919 h 154450"/>
                <a:gd name="connsiteX2" fmla="*/ 61780 w 164103"/>
                <a:gd name="connsiteY2" fmla="*/ 0 h 154450"/>
                <a:gd name="connsiteX3" fmla="*/ 164104 w 164103"/>
                <a:gd name="connsiteY3" fmla="*/ 0 h 154450"/>
                <a:gd name="connsiteX4" fmla="*/ 164104 w 164103"/>
                <a:gd name="connsiteY4" fmla="*/ 77225 h 154450"/>
                <a:gd name="connsiteX5" fmla="*/ 96532 w 164103"/>
                <a:gd name="connsiteY5" fmla="*/ 77225 h 154450"/>
                <a:gd name="connsiteX6" fmla="*/ 96532 w 164103"/>
                <a:gd name="connsiteY6" fmla="*/ 154450 h 15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03" h="154450">
                  <a:moveTo>
                    <a:pt x="0" y="154450"/>
                  </a:moveTo>
                  <a:lnTo>
                    <a:pt x="0" y="57919"/>
                  </a:lnTo>
                  <a:cubicBezTo>
                    <a:pt x="0" y="19306"/>
                    <a:pt x="20594" y="0"/>
                    <a:pt x="61780" y="0"/>
                  </a:cubicBezTo>
                  <a:lnTo>
                    <a:pt x="164104" y="0"/>
                  </a:lnTo>
                  <a:lnTo>
                    <a:pt x="164104" y="77225"/>
                  </a:lnTo>
                  <a:lnTo>
                    <a:pt x="96532" y="77225"/>
                  </a:lnTo>
                  <a:lnTo>
                    <a:pt x="96532" y="154450"/>
                  </a:lnTo>
                </a:path>
              </a:pathLst>
            </a:custGeom>
            <a:noFill/>
            <a:ln w="15329" cap="rnd">
              <a:solidFill>
                <a:srgbClr val="06146B"/>
              </a:solidFill>
              <a:prstDash val="solid"/>
              <a:round/>
            </a:ln>
          </p:spPr>
          <p:txBody>
            <a:bodyPr rtlCol="0" anchor="ctr"/>
            <a:lstStyle/>
            <a:p>
              <a:endParaRPr lang="en-GB"/>
            </a:p>
          </p:txBody>
        </p:sp>
        <p:sp>
          <p:nvSpPr>
            <p:cNvPr id="981" name="Freeform: Shape 980">
              <a:extLst>
                <a:ext uri="{FF2B5EF4-FFF2-40B4-BE49-F238E27FC236}">
                  <a16:creationId xmlns:a16="http://schemas.microsoft.com/office/drawing/2014/main" id="{5AC81C10-C28C-C706-2CA6-FDEE42CCF059}"/>
                </a:ext>
              </a:extLst>
            </p:cNvPr>
            <p:cNvSpPr/>
            <p:nvPr/>
          </p:nvSpPr>
          <p:spPr>
            <a:xfrm>
              <a:off x="737345" y="4525608"/>
              <a:ext cx="70927" cy="34450"/>
            </a:xfrm>
            <a:custGeom>
              <a:avLst/>
              <a:gdLst>
                <a:gd name="connsiteX0" fmla="*/ 0 w 135144"/>
                <a:gd name="connsiteY0" fmla="*/ 0 h 65641"/>
                <a:gd name="connsiteX1" fmla="*/ 135144 w 135144"/>
                <a:gd name="connsiteY1" fmla="*/ 0 h 65641"/>
                <a:gd name="connsiteX2" fmla="*/ 135144 w 135144"/>
                <a:gd name="connsiteY2" fmla="*/ 65641 h 65641"/>
                <a:gd name="connsiteX3" fmla="*/ 0 w 135144"/>
                <a:gd name="connsiteY3" fmla="*/ 65641 h 65641"/>
              </a:gdLst>
              <a:ahLst/>
              <a:cxnLst>
                <a:cxn ang="0">
                  <a:pos x="connsiteX0" y="connsiteY0"/>
                </a:cxn>
                <a:cxn ang="0">
                  <a:pos x="connsiteX1" y="connsiteY1"/>
                </a:cxn>
                <a:cxn ang="0">
                  <a:pos x="connsiteX2" y="connsiteY2"/>
                </a:cxn>
                <a:cxn ang="0">
                  <a:pos x="connsiteX3" y="connsiteY3"/>
                </a:cxn>
              </a:cxnLst>
              <a:rect l="l" t="t" r="r" b="b"/>
              <a:pathLst>
                <a:path w="135144" h="65641">
                  <a:moveTo>
                    <a:pt x="0" y="0"/>
                  </a:moveTo>
                  <a:lnTo>
                    <a:pt x="135144" y="0"/>
                  </a:lnTo>
                  <a:lnTo>
                    <a:pt x="135144" y="65641"/>
                  </a:lnTo>
                  <a:lnTo>
                    <a:pt x="0" y="65641"/>
                  </a:lnTo>
                  <a:close/>
                </a:path>
              </a:pathLst>
            </a:custGeom>
            <a:solidFill>
              <a:srgbClr val="FFFFFF"/>
            </a:solidFill>
            <a:ln w="1916" cap="flat">
              <a:noFill/>
              <a:prstDash val="solid"/>
              <a:miter/>
            </a:ln>
          </p:spPr>
          <p:txBody>
            <a:bodyPr rtlCol="0" anchor="ctr"/>
            <a:lstStyle/>
            <a:p>
              <a:endParaRPr lang="en-GB"/>
            </a:p>
          </p:txBody>
        </p:sp>
        <p:sp>
          <p:nvSpPr>
            <p:cNvPr id="982" name="Freeform: Shape 981">
              <a:extLst>
                <a:ext uri="{FF2B5EF4-FFF2-40B4-BE49-F238E27FC236}">
                  <a16:creationId xmlns:a16="http://schemas.microsoft.com/office/drawing/2014/main" id="{4DAAAC67-EDEC-E997-0231-2C90050C79AF}"/>
                </a:ext>
              </a:extLst>
            </p:cNvPr>
            <p:cNvSpPr/>
            <p:nvPr/>
          </p:nvSpPr>
          <p:spPr>
            <a:xfrm>
              <a:off x="737345" y="4525608"/>
              <a:ext cx="70927" cy="34450"/>
            </a:xfrm>
            <a:custGeom>
              <a:avLst/>
              <a:gdLst>
                <a:gd name="connsiteX0" fmla="*/ 0 w 135144"/>
                <a:gd name="connsiteY0" fmla="*/ 0 h 65641"/>
                <a:gd name="connsiteX1" fmla="*/ 135144 w 135144"/>
                <a:gd name="connsiteY1" fmla="*/ 0 h 65641"/>
                <a:gd name="connsiteX2" fmla="*/ 135144 w 135144"/>
                <a:gd name="connsiteY2" fmla="*/ 65641 h 65641"/>
                <a:gd name="connsiteX3" fmla="*/ 0 w 135144"/>
                <a:gd name="connsiteY3" fmla="*/ 65641 h 65641"/>
              </a:gdLst>
              <a:ahLst/>
              <a:cxnLst>
                <a:cxn ang="0">
                  <a:pos x="connsiteX0" y="connsiteY0"/>
                </a:cxn>
                <a:cxn ang="0">
                  <a:pos x="connsiteX1" y="connsiteY1"/>
                </a:cxn>
                <a:cxn ang="0">
                  <a:pos x="connsiteX2" y="connsiteY2"/>
                </a:cxn>
                <a:cxn ang="0">
                  <a:pos x="connsiteX3" y="connsiteY3"/>
                </a:cxn>
              </a:cxnLst>
              <a:rect l="l" t="t" r="r" b="b"/>
              <a:pathLst>
                <a:path w="135144" h="65641">
                  <a:moveTo>
                    <a:pt x="0" y="0"/>
                  </a:moveTo>
                  <a:lnTo>
                    <a:pt x="135144" y="0"/>
                  </a:lnTo>
                  <a:lnTo>
                    <a:pt x="135144" y="65641"/>
                  </a:lnTo>
                  <a:lnTo>
                    <a:pt x="0" y="65641"/>
                  </a:lnTo>
                  <a:close/>
                </a:path>
              </a:pathLst>
            </a:custGeom>
            <a:noFill/>
            <a:ln w="15329" cap="rnd">
              <a:solidFill>
                <a:srgbClr val="06146B"/>
              </a:solidFill>
              <a:prstDash val="solid"/>
              <a:round/>
            </a:ln>
          </p:spPr>
          <p:txBody>
            <a:bodyPr rtlCol="0" anchor="ctr"/>
            <a:lstStyle/>
            <a:p>
              <a:endParaRPr lang="en-GB"/>
            </a:p>
          </p:txBody>
        </p:sp>
        <p:sp>
          <p:nvSpPr>
            <p:cNvPr id="983" name="Freeform: Shape 982">
              <a:extLst>
                <a:ext uri="{FF2B5EF4-FFF2-40B4-BE49-F238E27FC236}">
                  <a16:creationId xmlns:a16="http://schemas.microsoft.com/office/drawing/2014/main" id="{26074C6C-5CC5-BB53-A32D-5BA1A3302BD6}"/>
                </a:ext>
              </a:extLst>
            </p:cNvPr>
            <p:cNvSpPr/>
            <p:nvPr/>
          </p:nvSpPr>
          <p:spPr>
            <a:xfrm>
              <a:off x="751531" y="4571204"/>
              <a:ext cx="44582" cy="44582"/>
            </a:xfrm>
            <a:custGeom>
              <a:avLst/>
              <a:gdLst>
                <a:gd name="connsiteX0" fmla="*/ 84948 w 84947"/>
                <a:gd name="connsiteY0" fmla="*/ 42474 h 84947"/>
                <a:gd name="connsiteX1" fmla="*/ 42474 w 84947"/>
                <a:gd name="connsiteY1" fmla="*/ 84948 h 84947"/>
                <a:gd name="connsiteX2" fmla="*/ 0 w 84947"/>
                <a:gd name="connsiteY2" fmla="*/ 42474 h 84947"/>
                <a:gd name="connsiteX3" fmla="*/ 42474 w 84947"/>
                <a:gd name="connsiteY3" fmla="*/ 0 h 84947"/>
                <a:gd name="connsiteX4" fmla="*/ 84948 w 84947"/>
                <a:gd name="connsiteY4" fmla="*/ 42474 h 84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47" h="84947">
                  <a:moveTo>
                    <a:pt x="84948" y="42474"/>
                  </a:moveTo>
                  <a:cubicBezTo>
                    <a:pt x="84948" y="65932"/>
                    <a:pt x="65932" y="84948"/>
                    <a:pt x="42474" y="84948"/>
                  </a:cubicBezTo>
                  <a:cubicBezTo>
                    <a:pt x="19016" y="84948"/>
                    <a:pt x="0" y="65932"/>
                    <a:pt x="0" y="42474"/>
                  </a:cubicBezTo>
                  <a:cubicBezTo>
                    <a:pt x="0" y="19016"/>
                    <a:pt x="19016" y="0"/>
                    <a:pt x="42474" y="0"/>
                  </a:cubicBezTo>
                  <a:cubicBezTo>
                    <a:pt x="65932" y="0"/>
                    <a:pt x="84948" y="19016"/>
                    <a:pt x="84948" y="42474"/>
                  </a:cubicBezTo>
                  <a:close/>
                </a:path>
              </a:pathLst>
            </a:custGeom>
            <a:solidFill>
              <a:srgbClr val="FFFFFF"/>
            </a:solidFill>
            <a:ln w="1916" cap="flat">
              <a:noFill/>
              <a:prstDash val="solid"/>
              <a:miter/>
            </a:ln>
          </p:spPr>
          <p:txBody>
            <a:bodyPr rtlCol="0" anchor="ctr"/>
            <a:lstStyle/>
            <a:p>
              <a:endParaRPr lang="en-GB"/>
            </a:p>
          </p:txBody>
        </p:sp>
        <p:sp>
          <p:nvSpPr>
            <p:cNvPr id="984" name="Freeform: Shape 983">
              <a:extLst>
                <a:ext uri="{FF2B5EF4-FFF2-40B4-BE49-F238E27FC236}">
                  <a16:creationId xmlns:a16="http://schemas.microsoft.com/office/drawing/2014/main" id="{75508113-B1F8-EED1-B48D-51B24232E60B}"/>
                </a:ext>
              </a:extLst>
            </p:cNvPr>
            <p:cNvSpPr/>
            <p:nvPr/>
          </p:nvSpPr>
          <p:spPr>
            <a:xfrm>
              <a:off x="751531" y="4571204"/>
              <a:ext cx="44582" cy="44582"/>
            </a:xfrm>
            <a:custGeom>
              <a:avLst/>
              <a:gdLst>
                <a:gd name="connsiteX0" fmla="*/ 84948 w 84947"/>
                <a:gd name="connsiteY0" fmla="*/ 42474 h 84947"/>
                <a:gd name="connsiteX1" fmla="*/ 42474 w 84947"/>
                <a:gd name="connsiteY1" fmla="*/ 84948 h 84947"/>
                <a:gd name="connsiteX2" fmla="*/ 0 w 84947"/>
                <a:gd name="connsiteY2" fmla="*/ 42474 h 84947"/>
                <a:gd name="connsiteX3" fmla="*/ 42474 w 84947"/>
                <a:gd name="connsiteY3" fmla="*/ 0 h 84947"/>
                <a:gd name="connsiteX4" fmla="*/ 84948 w 84947"/>
                <a:gd name="connsiteY4" fmla="*/ 42474 h 84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47" h="84947">
                  <a:moveTo>
                    <a:pt x="84948" y="42474"/>
                  </a:moveTo>
                  <a:cubicBezTo>
                    <a:pt x="84948" y="65932"/>
                    <a:pt x="65932" y="84948"/>
                    <a:pt x="42474" y="84948"/>
                  </a:cubicBezTo>
                  <a:cubicBezTo>
                    <a:pt x="19016" y="84948"/>
                    <a:pt x="0" y="65932"/>
                    <a:pt x="0" y="42474"/>
                  </a:cubicBezTo>
                  <a:cubicBezTo>
                    <a:pt x="0" y="19016"/>
                    <a:pt x="19016" y="0"/>
                    <a:pt x="42474" y="0"/>
                  </a:cubicBezTo>
                  <a:cubicBezTo>
                    <a:pt x="65932" y="0"/>
                    <a:pt x="84948" y="19016"/>
                    <a:pt x="84948" y="42474"/>
                  </a:cubicBezTo>
                  <a:close/>
                </a:path>
              </a:pathLst>
            </a:custGeom>
            <a:noFill/>
            <a:ln w="15329" cap="rnd">
              <a:solidFill>
                <a:srgbClr val="06146B"/>
              </a:solidFill>
              <a:prstDash val="solid"/>
              <a:round/>
            </a:ln>
          </p:spPr>
          <p:txBody>
            <a:bodyPr rtlCol="0" anchor="ctr"/>
            <a:lstStyle/>
            <a:p>
              <a:endParaRPr lang="en-GB"/>
            </a:p>
          </p:txBody>
        </p:sp>
        <p:sp>
          <p:nvSpPr>
            <p:cNvPr id="985" name="Freeform: Shape 984">
              <a:extLst>
                <a:ext uri="{FF2B5EF4-FFF2-40B4-BE49-F238E27FC236}">
                  <a16:creationId xmlns:a16="http://schemas.microsoft.com/office/drawing/2014/main" id="{B9AF1229-1331-BCBD-C4BA-3DBA2F4907B6}"/>
                </a:ext>
              </a:extLst>
            </p:cNvPr>
            <p:cNvSpPr/>
            <p:nvPr/>
          </p:nvSpPr>
          <p:spPr>
            <a:xfrm>
              <a:off x="703908" y="4765746"/>
              <a:ext cx="121588" cy="18238"/>
            </a:xfrm>
            <a:custGeom>
              <a:avLst/>
              <a:gdLst>
                <a:gd name="connsiteX0" fmla="*/ 0 w 231675"/>
                <a:gd name="connsiteY0" fmla="*/ 0 h 34751"/>
                <a:gd name="connsiteX1" fmla="*/ 231676 w 231675"/>
                <a:gd name="connsiteY1" fmla="*/ 0 h 34751"/>
                <a:gd name="connsiteX2" fmla="*/ 231676 w 231675"/>
                <a:gd name="connsiteY2" fmla="*/ 34751 h 34751"/>
                <a:gd name="connsiteX3" fmla="*/ 0 w 231675"/>
                <a:gd name="connsiteY3" fmla="*/ 34751 h 34751"/>
              </a:gdLst>
              <a:ahLst/>
              <a:cxnLst>
                <a:cxn ang="0">
                  <a:pos x="connsiteX0" y="connsiteY0"/>
                </a:cxn>
                <a:cxn ang="0">
                  <a:pos x="connsiteX1" y="connsiteY1"/>
                </a:cxn>
                <a:cxn ang="0">
                  <a:pos x="connsiteX2" y="connsiteY2"/>
                </a:cxn>
                <a:cxn ang="0">
                  <a:pos x="connsiteX3" y="connsiteY3"/>
                </a:cxn>
              </a:cxnLst>
              <a:rect l="l" t="t" r="r" b="b"/>
              <a:pathLst>
                <a:path w="231675" h="34751">
                  <a:moveTo>
                    <a:pt x="0" y="0"/>
                  </a:moveTo>
                  <a:lnTo>
                    <a:pt x="231676" y="0"/>
                  </a:lnTo>
                  <a:lnTo>
                    <a:pt x="231676" y="34751"/>
                  </a:lnTo>
                  <a:lnTo>
                    <a:pt x="0" y="34751"/>
                  </a:lnTo>
                  <a:close/>
                </a:path>
              </a:pathLst>
            </a:custGeom>
            <a:solidFill>
              <a:srgbClr val="0D73FF"/>
            </a:solidFill>
            <a:ln w="1916" cap="flat">
              <a:noFill/>
              <a:prstDash val="solid"/>
              <a:miter/>
            </a:ln>
          </p:spPr>
          <p:txBody>
            <a:bodyPr rtlCol="0" anchor="ctr"/>
            <a:lstStyle/>
            <a:p>
              <a:endParaRPr lang="en-GB"/>
            </a:p>
          </p:txBody>
        </p:sp>
        <p:sp>
          <p:nvSpPr>
            <p:cNvPr id="986" name="Freeform: Shape 985">
              <a:extLst>
                <a:ext uri="{FF2B5EF4-FFF2-40B4-BE49-F238E27FC236}">
                  <a16:creationId xmlns:a16="http://schemas.microsoft.com/office/drawing/2014/main" id="{715CE695-BBFE-573C-B8FA-AC32408A19C5}"/>
                </a:ext>
              </a:extLst>
            </p:cNvPr>
            <p:cNvSpPr/>
            <p:nvPr/>
          </p:nvSpPr>
          <p:spPr>
            <a:xfrm>
              <a:off x="703908" y="4765746"/>
              <a:ext cx="121588" cy="18238"/>
            </a:xfrm>
            <a:custGeom>
              <a:avLst/>
              <a:gdLst>
                <a:gd name="connsiteX0" fmla="*/ 0 w 231675"/>
                <a:gd name="connsiteY0" fmla="*/ 0 h 34751"/>
                <a:gd name="connsiteX1" fmla="*/ 231676 w 231675"/>
                <a:gd name="connsiteY1" fmla="*/ 0 h 34751"/>
                <a:gd name="connsiteX2" fmla="*/ 231676 w 231675"/>
                <a:gd name="connsiteY2" fmla="*/ 34751 h 34751"/>
                <a:gd name="connsiteX3" fmla="*/ 0 w 231675"/>
                <a:gd name="connsiteY3" fmla="*/ 34751 h 34751"/>
              </a:gdLst>
              <a:ahLst/>
              <a:cxnLst>
                <a:cxn ang="0">
                  <a:pos x="connsiteX0" y="connsiteY0"/>
                </a:cxn>
                <a:cxn ang="0">
                  <a:pos x="connsiteX1" y="connsiteY1"/>
                </a:cxn>
                <a:cxn ang="0">
                  <a:pos x="connsiteX2" y="connsiteY2"/>
                </a:cxn>
                <a:cxn ang="0">
                  <a:pos x="connsiteX3" y="connsiteY3"/>
                </a:cxn>
              </a:cxnLst>
              <a:rect l="l" t="t" r="r" b="b"/>
              <a:pathLst>
                <a:path w="231675" h="34751">
                  <a:moveTo>
                    <a:pt x="0" y="0"/>
                  </a:moveTo>
                  <a:lnTo>
                    <a:pt x="231676" y="0"/>
                  </a:lnTo>
                  <a:lnTo>
                    <a:pt x="231676" y="34751"/>
                  </a:lnTo>
                  <a:lnTo>
                    <a:pt x="0" y="34751"/>
                  </a:lnTo>
                  <a:close/>
                </a:path>
              </a:pathLst>
            </a:custGeom>
            <a:noFill/>
            <a:ln w="15329" cap="rnd">
              <a:solidFill>
                <a:srgbClr val="06146B"/>
              </a:solidFill>
              <a:prstDash val="solid"/>
              <a:round/>
            </a:ln>
          </p:spPr>
          <p:txBody>
            <a:bodyPr rtlCol="0" anchor="ctr"/>
            <a:lstStyle/>
            <a:p>
              <a:endParaRPr lang="en-GB"/>
            </a:p>
          </p:txBody>
        </p:sp>
        <p:sp>
          <p:nvSpPr>
            <p:cNvPr id="987" name="Freeform: Shape 986">
              <a:extLst>
                <a:ext uri="{FF2B5EF4-FFF2-40B4-BE49-F238E27FC236}">
                  <a16:creationId xmlns:a16="http://schemas.microsoft.com/office/drawing/2014/main" id="{F10955BD-3E7B-A2F3-B61B-651EBD0735E0}"/>
                </a:ext>
              </a:extLst>
            </p:cNvPr>
            <p:cNvSpPr/>
            <p:nvPr/>
          </p:nvSpPr>
          <p:spPr>
            <a:xfrm>
              <a:off x="864000" y="4537767"/>
              <a:ext cx="110443" cy="62821"/>
            </a:xfrm>
            <a:custGeom>
              <a:avLst/>
              <a:gdLst>
                <a:gd name="connsiteX0" fmla="*/ 0 w 210438"/>
                <a:gd name="connsiteY0" fmla="*/ 0 h 119699"/>
                <a:gd name="connsiteX1" fmla="*/ 148659 w 210438"/>
                <a:gd name="connsiteY1" fmla="*/ 0 h 119699"/>
                <a:gd name="connsiteX2" fmla="*/ 210439 w 210438"/>
                <a:gd name="connsiteY2" fmla="*/ 69503 h 119699"/>
                <a:gd name="connsiteX3" fmla="*/ 210439 w 210438"/>
                <a:gd name="connsiteY3" fmla="*/ 119699 h 119699"/>
              </a:gdLst>
              <a:ahLst/>
              <a:cxnLst>
                <a:cxn ang="0">
                  <a:pos x="connsiteX0" y="connsiteY0"/>
                </a:cxn>
                <a:cxn ang="0">
                  <a:pos x="connsiteX1" y="connsiteY1"/>
                </a:cxn>
                <a:cxn ang="0">
                  <a:pos x="connsiteX2" y="connsiteY2"/>
                </a:cxn>
                <a:cxn ang="0">
                  <a:pos x="connsiteX3" y="connsiteY3"/>
                </a:cxn>
              </a:cxnLst>
              <a:rect l="l" t="t" r="r" b="b"/>
              <a:pathLst>
                <a:path w="210438" h="119699">
                  <a:moveTo>
                    <a:pt x="0" y="0"/>
                  </a:moveTo>
                  <a:lnTo>
                    <a:pt x="148659" y="0"/>
                  </a:lnTo>
                  <a:cubicBezTo>
                    <a:pt x="189845" y="0"/>
                    <a:pt x="210439" y="23168"/>
                    <a:pt x="210439" y="69503"/>
                  </a:cubicBezTo>
                  <a:lnTo>
                    <a:pt x="210439" y="119699"/>
                  </a:lnTo>
                </a:path>
              </a:pathLst>
            </a:custGeom>
            <a:noFill/>
            <a:ln w="15329" cap="rnd">
              <a:solidFill>
                <a:srgbClr val="06146B"/>
              </a:solidFill>
              <a:prstDash val="solid"/>
              <a:round/>
            </a:ln>
          </p:spPr>
          <p:txBody>
            <a:bodyPr rtlCol="0" anchor="ctr"/>
            <a:lstStyle/>
            <a:p>
              <a:endParaRPr lang="en-GB"/>
            </a:p>
          </p:txBody>
        </p:sp>
        <p:sp>
          <p:nvSpPr>
            <p:cNvPr id="988" name="Freeform: Shape 987">
              <a:extLst>
                <a:ext uri="{FF2B5EF4-FFF2-40B4-BE49-F238E27FC236}">
                  <a16:creationId xmlns:a16="http://schemas.microsoft.com/office/drawing/2014/main" id="{1A318E56-B841-BC22-96D7-D63A97D9B280}"/>
                </a:ext>
              </a:extLst>
            </p:cNvPr>
            <p:cNvSpPr/>
            <p:nvPr/>
          </p:nvSpPr>
          <p:spPr>
            <a:xfrm>
              <a:off x="864000" y="4565125"/>
              <a:ext cx="83085" cy="35463"/>
            </a:xfrm>
            <a:custGeom>
              <a:avLst/>
              <a:gdLst>
                <a:gd name="connsiteX0" fmla="*/ 0 w 158311"/>
                <a:gd name="connsiteY0" fmla="*/ 0 h 67572"/>
                <a:gd name="connsiteX1" fmla="*/ 119699 w 158311"/>
                <a:gd name="connsiteY1" fmla="*/ 0 h 67572"/>
                <a:gd name="connsiteX2" fmla="*/ 158312 w 158311"/>
                <a:gd name="connsiteY2" fmla="*/ 38613 h 67572"/>
                <a:gd name="connsiteX3" fmla="*/ 158312 w 158311"/>
                <a:gd name="connsiteY3" fmla="*/ 67572 h 67572"/>
              </a:gdLst>
              <a:ahLst/>
              <a:cxnLst>
                <a:cxn ang="0">
                  <a:pos x="connsiteX0" y="connsiteY0"/>
                </a:cxn>
                <a:cxn ang="0">
                  <a:pos x="connsiteX1" y="connsiteY1"/>
                </a:cxn>
                <a:cxn ang="0">
                  <a:pos x="connsiteX2" y="connsiteY2"/>
                </a:cxn>
                <a:cxn ang="0">
                  <a:pos x="connsiteX3" y="connsiteY3"/>
                </a:cxn>
              </a:cxnLst>
              <a:rect l="l" t="t" r="r" b="b"/>
              <a:pathLst>
                <a:path w="158311" h="67572">
                  <a:moveTo>
                    <a:pt x="0" y="0"/>
                  </a:moveTo>
                  <a:lnTo>
                    <a:pt x="119699" y="0"/>
                  </a:lnTo>
                  <a:cubicBezTo>
                    <a:pt x="145440" y="0"/>
                    <a:pt x="158312" y="12872"/>
                    <a:pt x="158312" y="38613"/>
                  </a:cubicBezTo>
                  <a:lnTo>
                    <a:pt x="158312" y="67572"/>
                  </a:lnTo>
                </a:path>
              </a:pathLst>
            </a:custGeom>
            <a:noFill/>
            <a:ln w="15329" cap="rnd">
              <a:solidFill>
                <a:srgbClr val="06146B"/>
              </a:solidFill>
              <a:prstDash val="solid"/>
              <a:round/>
            </a:ln>
          </p:spPr>
          <p:txBody>
            <a:bodyPr rtlCol="0" anchor="ctr"/>
            <a:lstStyle/>
            <a:p>
              <a:endParaRPr lang="en-GB"/>
            </a:p>
          </p:txBody>
        </p:sp>
        <p:sp>
          <p:nvSpPr>
            <p:cNvPr id="989" name="Freeform: Shape 988">
              <a:extLst>
                <a:ext uri="{FF2B5EF4-FFF2-40B4-BE49-F238E27FC236}">
                  <a16:creationId xmlns:a16="http://schemas.microsoft.com/office/drawing/2014/main" id="{D9644EF5-2691-26A6-30A2-00D940D52963}"/>
                </a:ext>
              </a:extLst>
            </p:cNvPr>
            <p:cNvSpPr/>
            <p:nvPr/>
          </p:nvSpPr>
          <p:spPr>
            <a:xfrm>
              <a:off x="892371" y="4515476"/>
              <a:ext cx="14185" cy="14185"/>
            </a:xfrm>
            <a:custGeom>
              <a:avLst/>
              <a:gdLst>
                <a:gd name="connsiteX0" fmla="*/ 27029 w 27028"/>
                <a:gd name="connsiteY0" fmla="*/ 13514 h 27028"/>
                <a:gd name="connsiteX1" fmla="*/ 13514 w 27028"/>
                <a:gd name="connsiteY1" fmla="*/ 27029 h 27028"/>
                <a:gd name="connsiteX2" fmla="*/ 0 w 27028"/>
                <a:gd name="connsiteY2" fmla="*/ 13514 h 27028"/>
                <a:gd name="connsiteX3" fmla="*/ 13514 w 27028"/>
                <a:gd name="connsiteY3" fmla="*/ 0 h 27028"/>
                <a:gd name="connsiteX4" fmla="*/ 27029 w 27028"/>
                <a:gd name="connsiteY4" fmla="*/ 13514 h 27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28" h="27028">
                  <a:moveTo>
                    <a:pt x="27029" y="13514"/>
                  </a:moveTo>
                  <a:cubicBezTo>
                    <a:pt x="27029" y="20978"/>
                    <a:pt x="20978" y="27029"/>
                    <a:pt x="13514" y="27029"/>
                  </a:cubicBezTo>
                  <a:cubicBezTo>
                    <a:pt x="6051" y="27029"/>
                    <a:pt x="0" y="20978"/>
                    <a:pt x="0" y="13514"/>
                  </a:cubicBezTo>
                  <a:cubicBezTo>
                    <a:pt x="0" y="6051"/>
                    <a:pt x="6051" y="0"/>
                    <a:pt x="13514" y="0"/>
                  </a:cubicBezTo>
                  <a:cubicBezTo>
                    <a:pt x="20978" y="0"/>
                    <a:pt x="27029" y="6051"/>
                    <a:pt x="27029" y="13514"/>
                  </a:cubicBezTo>
                  <a:close/>
                </a:path>
              </a:pathLst>
            </a:custGeom>
            <a:solidFill>
              <a:srgbClr val="0D73FF"/>
            </a:solidFill>
            <a:ln w="1916" cap="flat">
              <a:noFill/>
              <a:prstDash val="solid"/>
              <a:miter/>
            </a:ln>
          </p:spPr>
          <p:txBody>
            <a:bodyPr rtlCol="0" anchor="ctr"/>
            <a:lstStyle/>
            <a:p>
              <a:endParaRPr lang="en-GB"/>
            </a:p>
          </p:txBody>
        </p:sp>
        <p:sp>
          <p:nvSpPr>
            <p:cNvPr id="990" name="Freeform: Shape 989">
              <a:extLst>
                <a:ext uri="{FF2B5EF4-FFF2-40B4-BE49-F238E27FC236}">
                  <a16:creationId xmlns:a16="http://schemas.microsoft.com/office/drawing/2014/main" id="{6B2A58CF-3F3B-9070-A8EE-C97822793ACC}"/>
                </a:ext>
              </a:extLst>
            </p:cNvPr>
            <p:cNvSpPr/>
            <p:nvPr/>
          </p:nvSpPr>
          <p:spPr>
            <a:xfrm>
              <a:off x="923781" y="4515476"/>
              <a:ext cx="14185" cy="14185"/>
            </a:xfrm>
            <a:custGeom>
              <a:avLst/>
              <a:gdLst>
                <a:gd name="connsiteX0" fmla="*/ 27029 w 27028"/>
                <a:gd name="connsiteY0" fmla="*/ 13514 h 27028"/>
                <a:gd name="connsiteX1" fmla="*/ 13514 w 27028"/>
                <a:gd name="connsiteY1" fmla="*/ 27029 h 27028"/>
                <a:gd name="connsiteX2" fmla="*/ 0 w 27028"/>
                <a:gd name="connsiteY2" fmla="*/ 13514 h 27028"/>
                <a:gd name="connsiteX3" fmla="*/ 13514 w 27028"/>
                <a:gd name="connsiteY3" fmla="*/ 0 h 27028"/>
                <a:gd name="connsiteX4" fmla="*/ 27029 w 27028"/>
                <a:gd name="connsiteY4" fmla="*/ 13514 h 27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28" h="27028">
                  <a:moveTo>
                    <a:pt x="27029" y="13514"/>
                  </a:moveTo>
                  <a:cubicBezTo>
                    <a:pt x="27029" y="20978"/>
                    <a:pt x="20978" y="27029"/>
                    <a:pt x="13514" y="27029"/>
                  </a:cubicBezTo>
                  <a:cubicBezTo>
                    <a:pt x="6051" y="27029"/>
                    <a:pt x="0" y="20978"/>
                    <a:pt x="0" y="13514"/>
                  </a:cubicBezTo>
                  <a:cubicBezTo>
                    <a:pt x="0" y="6051"/>
                    <a:pt x="6051" y="0"/>
                    <a:pt x="13514" y="0"/>
                  </a:cubicBezTo>
                  <a:cubicBezTo>
                    <a:pt x="20978" y="0"/>
                    <a:pt x="27029" y="6051"/>
                    <a:pt x="27029" y="13514"/>
                  </a:cubicBezTo>
                  <a:close/>
                </a:path>
              </a:pathLst>
            </a:custGeom>
            <a:solidFill>
              <a:srgbClr val="0D73FF"/>
            </a:solidFill>
            <a:ln w="1916" cap="flat">
              <a:noFill/>
              <a:prstDash val="solid"/>
              <a:miter/>
            </a:ln>
          </p:spPr>
          <p:txBody>
            <a:bodyPr rtlCol="0" anchor="ctr"/>
            <a:lstStyle/>
            <a:p>
              <a:endParaRPr lang="en-GB"/>
            </a:p>
          </p:txBody>
        </p:sp>
        <p:sp>
          <p:nvSpPr>
            <p:cNvPr id="991" name="Freeform: Shape 990">
              <a:extLst>
                <a:ext uri="{FF2B5EF4-FFF2-40B4-BE49-F238E27FC236}">
                  <a16:creationId xmlns:a16="http://schemas.microsoft.com/office/drawing/2014/main" id="{11D3058F-3863-0424-C373-59C5F6377603}"/>
                </a:ext>
              </a:extLst>
            </p:cNvPr>
            <p:cNvSpPr/>
            <p:nvPr/>
          </p:nvSpPr>
          <p:spPr>
            <a:xfrm>
              <a:off x="892371" y="4563098"/>
              <a:ext cx="14185" cy="14185"/>
            </a:xfrm>
            <a:custGeom>
              <a:avLst/>
              <a:gdLst>
                <a:gd name="connsiteX0" fmla="*/ 27029 w 27028"/>
                <a:gd name="connsiteY0" fmla="*/ 13514 h 27028"/>
                <a:gd name="connsiteX1" fmla="*/ 13514 w 27028"/>
                <a:gd name="connsiteY1" fmla="*/ 27029 h 27028"/>
                <a:gd name="connsiteX2" fmla="*/ 0 w 27028"/>
                <a:gd name="connsiteY2" fmla="*/ 13514 h 27028"/>
                <a:gd name="connsiteX3" fmla="*/ 13514 w 27028"/>
                <a:gd name="connsiteY3" fmla="*/ 0 h 27028"/>
                <a:gd name="connsiteX4" fmla="*/ 27029 w 27028"/>
                <a:gd name="connsiteY4" fmla="*/ 13514 h 27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28" h="27028">
                  <a:moveTo>
                    <a:pt x="27029" y="13514"/>
                  </a:moveTo>
                  <a:cubicBezTo>
                    <a:pt x="27029" y="20978"/>
                    <a:pt x="20978" y="27029"/>
                    <a:pt x="13514" y="27029"/>
                  </a:cubicBezTo>
                  <a:cubicBezTo>
                    <a:pt x="6051" y="27029"/>
                    <a:pt x="0" y="20978"/>
                    <a:pt x="0" y="13514"/>
                  </a:cubicBezTo>
                  <a:cubicBezTo>
                    <a:pt x="0" y="6051"/>
                    <a:pt x="6051" y="0"/>
                    <a:pt x="13514" y="0"/>
                  </a:cubicBezTo>
                  <a:cubicBezTo>
                    <a:pt x="20978" y="0"/>
                    <a:pt x="27029" y="6051"/>
                    <a:pt x="27029" y="13514"/>
                  </a:cubicBezTo>
                  <a:close/>
                </a:path>
              </a:pathLst>
            </a:custGeom>
            <a:solidFill>
              <a:srgbClr val="0D73FF"/>
            </a:solidFill>
            <a:ln w="1916" cap="flat">
              <a:noFill/>
              <a:prstDash val="solid"/>
              <a:miter/>
            </a:ln>
          </p:spPr>
          <p:txBody>
            <a:bodyPr rtlCol="0" anchor="ctr"/>
            <a:lstStyle/>
            <a:p>
              <a:endParaRPr lang="en-GB"/>
            </a:p>
          </p:txBody>
        </p:sp>
        <p:sp>
          <p:nvSpPr>
            <p:cNvPr id="992" name="Freeform: Shape 991">
              <a:extLst>
                <a:ext uri="{FF2B5EF4-FFF2-40B4-BE49-F238E27FC236}">
                  <a16:creationId xmlns:a16="http://schemas.microsoft.com/office/drawing/2014/main" id="{C082C426-89F8-4513-EE39-22E1DAE411D2}"/>
                </a:ext>
              </a:extLst>
            </p:cNvPr>
            <p:cNvSpPr/>
            <p:nvPr/>
          </p:nvSpPr>
          <p:spPr>
            <a:xfrm>
              <a:off x="988629" y="4566138"/>
              <a:ext cx="14185" cy="14185"/>
            </a:xfrm>
            <a:custGeom>
              <a:avLst/>
              <a:gdLst>
                <a:gd name="connsiteX0" fmla="*/ 27029 w 27028"/>
                <a:gd name="connsiteY0" fmla="*/ 13514 h 27028"/>
                <a:gd name="connsiteX1" fmla="*/ 13514 w 27028"/>
                <a:gd name="connsiteY1" fmla="*/ 27029 h 27028"/>
                <a:gd name="connsiteX2" fmla="*/ 0 w 27028"/>
                <a:gd name="connsiteY2" fmla="*/ 13514 h 27028"/>
                <a:gd name="connsiteX3" fmla="*/ 13514 w 27028"/>
                <a:gd name="connsiteY3" fmla="*/ 0 h 27028"/>
                <a:gd name="connsiteX4" fmla="*/ 27029 w 27028"/>
                <a:gd name="connsiteY4" fmla="*/ 13514 h 27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28" h="27028">
                  <a:moveTo>
                    <a:pt x="27029" y="13514"/>
                  </a:moveTo>
                  <a:cubicBezTo>
                    <a:pt x="27029" y="20978"/>
                    <a:pt x="20978" y="27029"/>
                    <a:pt x="13514" y="27029"/>
                  </a:cubicBezTo>
                  <a:cubicBezTo>
                    <a:pt x="6051" y="27029"/>
                    <a:pt x="0" y="20978"/>
                    <a:pt x="0" y="13514"/>
                  </a:cubicBezTo>
                  <a:cubicBezTo>
                    <a:pt x="0" y="6051"/>
                    <a:pt x="6051" y="0"/>
                    <a:pt x="13514" y="0"/>
                  </a:cubicBezTo>
                  <a:cubicBezTo>
                    <a:pt x="20978" y="0"/>
                    <a:pt x="27029" y="6051"/>
                    <a:pt x="27029" y="13514"/>
                  </a:cubicBezTo>
                  <a:close/>
                </a:path>
              </a:pathLst>
            </a:custGeom>
            <a:solidFill>
              <a:srgbClr val="0D73FF"/>
            </a:solidFill>
            <a:ln w="1916" cap="flat">
              <a:noFill/>
              <a:prstDash val="solid"/>
              <a:miter/>
            </a:ln>
          </p:spPr>
          <p:txBody>
            <a:bodyPr rtlCol="0" anchor="ctr"/>
            <a:lstStyle/>
            <a:p>
              <a:endParaRPr lang="en-GB"/>
            </a:p>
          </p:txBody>
        </p:sp>
        <p:sp>
          <p:nvSpPr>
            <p:cNvPr id="993" name="Freeform: Shape 992">
              <a:extLst>
                <a:ext uri="{FF2B5EF4-FFF2-40B4-BE49-F238E27FC236}">
                  <a16:creationId xmlns:a16="http://schemas.microsoft.com/office/drawing/2014/main" id="{83C69698-60CB-00B6-A1A0-B9B55828C453}"/>
                </a:ext>
              </a:extLst>
            </p:cNvPr>
            <p:cNvSpPr/>
            <p:nvPr/>
          </p:nvSpPr>
          <p:spPr>
            <a:xfrm>
              <a:off x="923781" y="4596535"/>
              <a:ext cx="104363" cy="172250"/>
            </a:xfrm>
            <a:custGeom>
              <a:avLst/>
              <a:gdLst>
                <a:gd name="connsiteX0" fmla="*/ 137075 w 198854"/>
                <a:gd name="connsiteY0" fmla="*/ 0 h 328207"/>
                <a:gd name="connsiteX1" fmla="*/ 198855 w 198854"/>
                <a:gd name="connsiteY1" fmla="*/ 0 h 328207"/>
                <a:gd name="connsiteX2" fmla="*/ 198855 w 198854"/>
                <a:gd name="connsiteY2" fmla="*/ 328207 h 328207"/>
                <a:gd name="connsiteX3" fmla="*/ 137075 w 198854"/>
                <a:gd name="connsiteY3" fmla="*/ 328207 h 328207"/>
                <a:gd name="connsiteX4" fmla="*/ 61780 w 198854"/>
                <a:gd name="connsiteY4" fmla="*/ 328207 h 328207"/>
                <a:gd name="connsiteX5" fmla="*/ 0 w 198854"/>
                <a:gd name="connsiteY5" fmla="*/ 328207 h 328207"/>
                <a:gd name="connsiteX6" fmla="*/ 0 w 198854"/>
                <a:gd name="connsiteY6" fmla="*/ 0 h 328207"/>
                <a:gd name="connsiteX7" fmla="*/ 61780 w 198854"/>
                <a:gd name="connsiteY7" fmla="*/ 0 h 3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854" h="328207">
                  <a:moveTo>
                    <a:pt x="137075" y="0"/>
                  </a:moveTo>
                  <a:cubicBezTo>
                    <a:pt x="171195" y="0"/>
                    <a:pt x="198855" y="0"/>
                    <a:pt x="198855" y="0"/>
                  </a:cubicBezTo>
                  <a:lnTo>
                    <a:pt x="198855" y="328207"/>
                  </a:lnTo>
                  <a:cubicBezTo>
                    <a:pt x="198855" y="328207"/>
                    <a:pt x="171195" y="328207"/>
                    <a:pt x="137075" y="328207"/>
                  </a:cubicBezTo>
                  <a:lnTo>
                    <a:pt x="61780" y="328207"/>
                  </a:lnTo>
                  <a:cubicBezTo>
                    <a:pt x="27660" y="328207"/>
                    <a:pt x="0" y="328207"/>
                    <a:pt x="0" y="328207"/>
                  </a:cubicBezTo>
                  <a:lnTo>
                    <a:pt x="0" y="0"/>
                  </a:lnTo>
                  <a:cubicBezTo>
                    <a:pt x="0" y="0"/>
                    <a:pt x="27660" y="0"/>
                    <a:pt x="61780" y="0"/>
                  </a:cubicBezTo>
                  <a:close/>
                </a:path>
              </a:pathLst>
            </a:custGeom>
            <a:solidFill>
              <a:srgbClr val="FFFFFF"/>
            </a:solidFill>
            <a:ln w="1916" cap="flat">
              <a:noFill/>
              <a:prstDash val="solid"/>
              <a:miter/>
            </a:ln>
          </p:spPr>
          <p:txBody>
            <a:bodyPr rtlCol="0" anchor="ctr"/>
            <a:lstStyle/>
            <a:p>
              <a:endParaRPr lang="en-GB"/>
            </a:p>
          </p:txBody>
        </p:sp>
        <p:sp>
          <p:nvSpPr>
            <p:cNvPr id="994" name="Freeform: Shape 993">
              <a:extLst>
                <a:ext uri="{FF2B5EF4-FFF2-40B4-BE49-F238E27FC236}">
                  <a16:creationId xmlns:a16="http://schemas.microsoft.com/office/drawing/2014/main" id="{836C8517-D445-887C-5158-B3F4591BDE0C}"/>
                </a:ext>
              </a:extLst>
            </p:cNvPr>
            <p:cNvSpPr/>
            <p:nvPr/>
          </p:nvSpPr>
          <p:spPr>
            <a:xfrm>
              <a:off x="940127" y="4612747"/>
              <a:ext cx="104363" cy="172250"/>
            </a:xfrm>
            <a:custGeom>
              <a:avLst/>
              <a:gdLst>
                <a:gd name="connsiteX0" fmla="*/ 137085 w 198854"/>
                <a:gd name="connsiteY0" fmla="*/ 10 h 328207"/>
                <a:gd name="connsiteX1" fmla="*/ 198865 w 198854"/>
                <a:gd name="connsiteY1" fmla="*/ 10 h 328207"/>
                <a:gd name="connsiteX2" fmla="*/ 198865 w 198854"/>
                <a:gd name="connsiteY2" fmla="*/ 328217 h 328207"/>
                <a:gd name="connsiteX3" fmla="*/ 137085 w 198854"/>
                <a:gd name="connsiteY3" fmla="*/ 328217 h 328207"/>
                <a:gd name="connsiteX4" fmla="*/ 61790 w 198854"/>
                <a:gd name="connsiteY4" fmla="*/ 328217 h 328207"/>
                <a:gd name="connsiteX5" fmla="*/ 10 w 198854"/>
                <a:gd name="connsiteY5" fmla="*/ 328217 h 328207"/>
                <a:gd name="connsiteX6" fmla="*/ 10 w 198854"/>
                <a:gd name="connsiteY6" fmla="*/ 10 h 328207"/>
                <a:gd name="connsiteX7" fmla="*/ 61790 w 198854"/>
                <a:gd name="connsiteY7" fmla="*/ 10 h 3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854" h="328207">
                  <a:moveTo>
                    <a:pt x="137085" y="10"/>
                  </a:moveTo>
                  <a:cubicBezTo>
                    <a:pt x="171205" y="10"/>
                    <a:pt x="198865" y="10"/>
                    <a:pt x="198865" y="10"/>
                  </a:cubicBezTo>
                  <a:lnTo>
                    <a:pt x="198865" y="328217"/>
                  </a:lnTo>
                  <a:cubicBezTo>
                    <a:pt x="198865" y="328217"/>
                    <a:pt x="171205" y="328217"/>
                    <a:pt x="137085" y="328217"/>
                  </a:cubicBezTo>
                  <a:lnTo>
                    <a:pt x="61790" y="328217"/>
                  </a:lnTo>
                  <a:cubicBezTo>
                    <a:pt x="27670" y="328217"/>
                    <a:pt x="10" y="328217"/>
                    <a:pt x="10" y="328217"/>
                  </a:cubicBezTo>
                  <a:lnTo>
                    <a:pt x="10" y="10"/>
                  </a:lnTo>
                  <a:cubicBezTo>
                    <a:pt x="10" y="10"/>
                    <a:pt x="27670" y="10"/>
                    <a:pt x="61790" y="10"/>
                  </a:cubicBezTo>
                  <a:close/>
                </a:path>
              </a:pathLst>
            </a:custGeom>
            <a:solidFill>
              <a:srgbClr val="0D73FF">
                <a:alpha val="95000"/>
              </a:srgbClr>
            </a:solidFill>
            <a:ln w="1916" cap="flat">
              <a:noFill/>
              <a:prstDash val="solid"/>
              <a:miter/>
            </a:ln>
          </p:spPr>
          <p:txBody>
            <a:bodyPr rtlCol="0" anchor="ctr"/>
            <a:lstStyle/>
            <a:p>
              <a:endParaRPr lang="en-GB"/>
            </a:p>
          </p:txBody>
        </p:sp>
        <p:sp>
          <p:nvSpPr>
            <p:cNvPr id="995" name="Freeform: Shape 994">
              <a:extLst>
                <a:ext uri="{FF2B5EF4-FFF2-40B4-BE49-F238E27FC236}">
                  <a16:creationId xmlns:a16="http://schemas.microsoft.com/office/drawing/2014/main" id="{EDBFD289-61F7-9397-C2E1-A8708A04EF36}"/>
                </a:ext>
              </a:extLst>
            </p:cNvPr>
            <p:cNvSpPr/>
            <p:nvPr/>
          </p:nvSpPr>
          <p:spPr>
            <a:xfrm>
              <a:off x="923781" y="4649223"/>
              <a:ext cx="104363" cy="1013"/>
            </a:xfrm>
            <a:custGeom>
              <a:avLst/>
              <a:gdLst>
                <a:gd name="connsiteX0" fmla="*/ 0 w 198854"/>
                <a:gd name="connsiteY0" fmla="*/ 0 h 1930"/>
                <a:gd name="connsiteX1" fmla="*/ 198855 w 198854"/>
                <a:gd name="connsiteY1" fmla="*/ 0 h 1930"/>
              </a:gdLst>
              <a:ahLst/>
              <a:cxnLst>
                <a:cxn ang="0">
                  <a:pos x="connsiteX0" y="connsiteY0"/>
                </a:cxn>
                <a:cxn ang="0">
                  <a:pos x="connsiteX1" y="connsiteY1"/>
                </a:cxn>
              </a:cxnLst>
              <a:rect l="l" t="t" r="r" b="b"/>
              <a:pathLst>
                <a:path w="198854" h="1930">
                  <a:moveTo>
                    <a:pt x="0" y="0"/>
                  </a:moveTo>
                  <a:lnTo>
                    <a:pt x="198855" y="0"/>
                  </a:lnTo>
                </a:path>
              </a:pathLst>
            </a:custGeom>
            <a:ln w="15329" cap="rnd">
              <a:solidFill>
                <a:srgbClr val="06146B"/>
              </a:solidFill>
              <a:prstDash val="solid"/>
              <a:round/>
            </a:ln>
          </p:spPr>
          <p:txBody>
            <a:bodyPr rtlCol="0" anchor="ctr"/>
            <a:lstStyle/>
            <a:p>
              <a:endParaRPr lang="en-GB"/>
            </a:p>
          </p:txBody>
        </p:sp>
        <p:sp>
          <p:nvSpPr>
            <p:cNvPr id="996" name="Freeform: Shape 995">
              <a:extLst>
                <a:ext uri="{FF2B5EF4-FFF2-40B4-BE49-F238E27FC236}">
                  <a16:creationId xmlns:a16="http://schemas.microsoft.com/office/drawing/2014/main" id="{ED5B3E3A-E50D-7206-2A19-38D49BE8EF1E}"/>
                </a:ext>
              </a:extLst>
            </p:cNvPr>
            <p:cNvSpPr/>
            <p:nvPr/>
          </p:nvSpPr>
          <p:spPr>
            <a:xfrm>
              <a:off x="923781" y="4596535"/>
              <a:ext cx="104363" cy="172250"/>
            </a:xfrm>
            <a:custGeom>
              <a:avLst/>
              <a:gdLst>
                <a:gd name="connsiteX0" fmla="*/ 137075 w 198854"/>
                <a:gd name="connsiteY0" fmla="*/ 0 h 328207"/>
                <a:gd name="connsiteX1" fmla="*/ 198855 w 198854"/>
                <a:gd name="connsiteY1" fmla="*/ 0 h 328207"/>
                <a:gd name="connsiteX2" fmla="*/ 198855 w 198854"/>
                <a:gd name="connsiteY2" fmla="*/ 328207 h 328207"/>
                <a:gd name="connsiteX3" fmla="*/ 137075 w 198854"/>
                <a:gd name="connsiteY3" fmla="*/ 328207 h 328207"/>
                <a:gd name="connsiteX4" fmla="*/ 61780 w 198854"/>
                <a:gd name="connsiteY4" fmla="*/ 328207 h 328207"/>
                <a:gd name="connsiteX5" fmla="*/ 0 w 198854"/>
                <a:gd name="connsiteY5" fmla="*/ 328207 h 328207"/>
                <a:gd name="connsiteX6" fmla="*/ 0 w 198854"/>
                <a:gd name="connsiteY6" fmla="*/ 0 h 328207"/>
                <a:gd name="connsiteX7" fmla="*/ 61780 w 198854"/>
                <a:gd name="connsiteY7" fmla="*/ 0 h 3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854" h="328207">
                  <a:moveTo>
                    <a:pt x="137075" y="0"/>
                  </a:moveTo>
                  <a:cubicBezTo>
                    <a:pt x="171195" y="0"/>
                    <a:pt x="198855" y="0"/>
                    <a:pt x="198855" y="0"/>
                  </a:cubicBezTo>
                  <a:lnTo>
                    <a:pt x="198855" y="328207"/>
                  </a:lnTo>
                  <a:cubicBezTo>
                    <a:pt x="198855" y="328207"/>
                    <a:pt x="171195" y="328207"/>
                    <a:pt x="137075" y="328207"/>
                  </a:cubicBezTo>
                  <a:lnTo>
                    <a:pt x="61780" y="328207"/>
                  </a:lnTo>
                  <a:cubicBezTo>
                    <a:pt x="27660" y="328207"/>
                    <a:pt x="0" y="328207"/>
                    <a:pt x="0" y="328207"/>
                  </a:cubicBezTo>
                  <a:lnTo>
                    <a:pt x="0" y="0"/>
                  </a:lnTo>
                  <a:cubicBezTo>
                    <a:pt x="0" y="0"/>
                    <a:pt x="27660" y="0"/>
                    <a:pt x="61780" y="0"/>
                  </a:cubicBezTo>
                  <a:close/>
                </a:path>
              </a:pathLst>
            </a:custGeom>
            <a:noFill/>
            <a:ln w="15329" cap="rnd">
              <a:solidFill>
                <a:srgbClr val="06146B"/>
              </a:solidFill>
              <a:prstDash val="solid"/>
              <a:round/>
            </a:ln>
          </p:spPr>
          <p:txBody>
            <a:bodyPr rtlCol="0" anchor="ctr"/>
            <a:lstStyle/>
            <a:p>
              <a:endParaRPr lang="en-GB"/>
            </a:p>
          </p:txBody>
        </p:sp>
        <p:sp>
          <p:nvSpPr>
            <p:cNvPr id="997" name="Freeform: Shape 996">
              <a:extLst>
                <a:ext uri="{FF2B5EF4-FFF2-40B4-BE49-F238E27FC236}">
                  <a16:creationId xmlns:a16="http://schemas.microsoft.com/office/drawing/2014/main" id="{D46A1F23-F593-73E2-167D-BD056BF184D7}"/>
                </a:ext>
              </a:extLst>
            </p:cNvPr>
            <p:cNvSpPr/>
            <p:nvPr/>
          </p:nvSpPr>
          <p:spPr>
            <a:xfrm>
              <a:off x="944046" y="4768785"/>
              <a:ext cx="25331" cy="24318"/>
            </a:xfrm>
            <a:custGeom>
              <a:avLst/>
              <a:gdLst>
                <a:gd name="connsiteX0" fmla="*/ 0 w 48265"/>
                <a:gd name="connsiteY0" fmla="*/ 0 h 46335"/>
                <a:gd name="connsiteX1" fmla="*/ 48266 w 48265"/>
                <a:gd name="connsiteY1" fmla="*/ 0 h 46335"/>
                <a:gd name="connsiteX2" fmla="*/ 48266 w 48265"/>
                <a:gd name="connsiteY2" fmla="*/ 46335 h 46335"/>
                <a:gd name="connsiteX3" fmla="*/ 0 w 48265"/>
                <a:gd name="connsiteY3" fmla="*/ 46335 h 46335"/>
              </a:gdLst>
              <a:ahLst/>
              <a:cxnLst>
                <a:cxn ang="0">
                  <a:pos x="connsiteX0" y="connsiteY0"/>
                </a:cxn>
                <a:cxn ang="0">
                  <a:pos x="connsiteX1" y="connsiteY1"/>
                </a:cxn>
                <a:cxn ang="0">
                  <a:pos x="connsiteX2" y="connsiteY2"/>
                </a:cxn>
                <a:cxn ang="0">
                  <a:pos x="connsiteX3" y="connsiteY3"/>
                </a:cxn>
              </a:cxnLst>
              <a:rect l="l" t="t" r="r" b="b"/>
              <a:pathLst>
                <a:path w="48265" h="46335">
                  <a:moveTo>
                    <a:pt x="0" y="0"/>
                  </a:moveTo>
                  <a:lnTo>
                    <a:pt x="48266" y="0"/>
                  </a:lnTo>
                  <a:lnTo>
                    <a:pt x="48266" y="46335"/>
                  </a:lnTo>
                  <a:lnTo>
                    <a:pt x="0" y="46335"/>
                  </a:lnTo>
                  <a:close/>
                </a:path>
              </a:pathLst>
            </a:custGeom>
            <a:solidFill>
              <a:srgbClr val="FFFFFF"/>
            </a:solidFill>
            <a:ln w="1916" cap="flat">
              <a:noFill/>
              <a:prstDash val="solid"/>
              <a:miter/>
            </a:ln>
          </p:spPr>
          <p:txBody>
            <a:bodyPr rtlCol="0" anchor="ctr"/>
            <a:lstStyle/>
            <a:p>
              <a:endParaRPr lang="en-GB"/>
            </a:p>
          </p:txBody>
        </p:sp>
        <p:sp>
          <p:nvSpPr>
            <p:cNvPr id="998" name="Freeform: Shape 997">
              <a:extLst>
                <a:ext uri="{FF2B5EF4-FFF2-40B4-BE49-F238E27FC236}">
                  <a16:creationId xmlns:a16="http://schemas.microsoft.com/office/drawing/2014/main" id="{8EEE4939-D20C-A911-B332-612E60060D9C}"/>
                </a:ext>
              </a:extLst>
            </p:cNvPr>
            <p:cNvSpPr/>
            <p:nvPr/>
          </p:nvSpPr>
          <p:spPr>
            <a:xfrm>
              <a:off x="999775" y="4768785"/>
              <a:ext cx="25331" cy="24318"/>
            </a:xfrm>
            <a:custGeom>
              <a:avLst/>
              <a:gdLst>
                <a:gd name="connsiteX0" fmla="*/ 0 w 48265"/>
                <a:gd name="connsiteY0" fmla="*/ 0 h 46335"/>
                <a:gd name="connsiteX1" fmla="*/ 48266 w 48265"/>
                <a:gd name="connsiteY1" fmla="*/ 0 h 46335"/>
                <a:gd name="connsiteX2" fmla="*/ 48266 w 48265"/>
                <a:gd name="connsiteY2" fmla="*/ 46335 h 46335"/>
                <a:gd name="connsiteX3" fmla="*/ 0 w 48265"/>
                <a:gd name="connsiteY3" fmla="*/ 46335 h 46335"/>
              </a:gdLst>
              <a:ahLst/>
              <a:cxnLst>
                <a:cxn ang="0">
                  <a:pos x="connsiteX0" y="connsiteY0"/>
                </a:cxn>
                <a:cxn ang="0">
                  <a:pos x="connsiteX1" y="connsiteY1"/>
                </a:cxn>
                <a:cxn ang="0">
                  <a:pos x="connsiteX2" y="connsiteY2"/>
                </a:cxn>
                <a:cxn ang="0">
                  <a:pos x="connsiteX3" y="connsiteY3"/>
                </a:cxn>
              </a:cxnLst>
              <a:rect l="l" t="t" r="r" b="b"/>
              <a:pathLst>
                <a:path w="48265" h="46335">
                  <a:moveTo>
                    <a:pt x="0" y="0"/>
                  </a:moveTo>
                  <a:lnTo>
                    <a:pt x="48266" y="0"/>
                  </a:lnTo>
                  <a:lnTo>
                    <a:pt x="48266" y="46335"/>
                  </a:lnTo>
                  <a:lnTo>
                    <a:pt x="0" y="46335"/>
                  </a:lnTo>
                  <a:close/>
                </a:path>
              </a:pathLst>
            </a:custGeom>
            <a:solidFill>
              <a:srgbClr val="FFFFFF"/>
            </a:solidFill>
            <a:ln w="1916" cap="flat">
              <a:noFill/>
              <a:prstDash val="solid"/>
              <a:miter/>
            </a:ln>
          </p:spPr>
          <p:txBody>
            <a:bodyPr rtlCol="0" anchor="ctr"/>
            <a:lstStyle/>
            <a:p>
              <a:endParaRPr lang="en-GB"/>
            </a:p>
          </p:txBody>
        </p:sp>
        <p:sp>
          <p:nvSpPr>
            <p:cNvPr id="999" name="Freeform: Shape 998">
              <a:extLst>
                <a:ext uri="{FF2B5EF4-FFF2-40B4-BE49-F238E27FC236}">
                  <a16:creationId xmlns:a16="http://schemas.microsoft.com/office/drawing/2014/main" id="{9EC0E225-8F92-7B0B-A36B-A553C7482AAA}"/>
                </a:ext>
              </a:extLst>
            </p:cNvPr>
            <p:cNvSpPr/>
            <p:nvPr/>
          </p:nvSpPr>
          <p:spPr>
            <a:xfrm>
              <a:off x="944046" y="4768785"/>
              <a:ext cx="25331" cy="24318"/>
            </a:xfrm>
            <a:custGeom>
              <a:avLst/>
              <a:gdLst>
                <a:gd name="connsiteX0" fmla="*/ 0 w 48265"/>
                <a:gd name="connsiteY0" fmla="*/ 0 h 46335"/>
                <a:gd name="connsiteX1" fmla="*/ 0 w 48265"/>
                <a:gd name="connsiteY1" fmla="*/ 46335 h 46335"/>
                <a:gd name="connsiteX2" fmla="*/ 48266 w 48265"/>
                <a:gd name="connsiteY2" fmla="*/ 46335 h 46335"/>
                <a:gd name="connsiteX3" fmla="*/ 48266 w 48265"/>
                <a:gd name="connsiteY3" fmla="*/ 0 h 46335"/>
              </a:gdLst>
              <a:ahLst/>
              <a:cxnLst>
                <a:cxn ang="0">
                  <a:pos x="connsiteX0" y="connsiteY0"/>
                </a:cxn>
                <a:cxn ang="0">
                  <a:pos x="connsiteX1" y="connsiteY1"/>
                </a:cxn>
                <a:cxn ang="0">
                  <a:pos x="connsiteX2" y="connsiteY2"/>
                </a:cxn>
                <a:cxn ang="0">
                  <a:pos x="connsiteX3" y="connsiteY3"/>
                </a:cxn>
              </a:cxnLst>
              <a:rect l="l" t="t" r="r" b="b"/>
              <a:pathLst>
                <a:path w="48265" h="46335">
                  <a:moveTo>
                    <a:pt x="0" y="0"/>
                  </a:moveTo>
                  <a:lnTo>
                    <a:pt x="0" y="46335"/>
                  </a:lnTo>
                  <a:lnTo>
                    <a:pt x="48266" y="46335"/>
                  </a:lnTo>
                  <a:lnTo>
                    <a:pt x="48266" y="0"/>
                  </a:lnTo>
                </a:path>
              </a:pathLst>
            </a:custGeom>
            <a:noFill/>
            <a:ln w="15329" cap="rnd">
              <a:solidFill>
                <a:srgbClr val="06146B"/>
              </a:solidFill>
              <a:prstDash val="solid"/>
              <a:round/>
            </a:ln>
          </p:spPr>
          <p:txBody>
            <a:bodyPr rtlCol="0" anchor="ctr"/>
            <a:lstStyle/>
            <a:p>
              <a:endParaRPr lang="en-GB"/>
            </a:p>
          </p:txBody>
        </p:sp>
        <p:sp>
          <p:nvSpPr>
            <p:cNvPr id="1000" name="Freeform: Shape 999">
              <a:extLst>
                <a:ext uri="{FF2B5EF4-FFF2-40B4-BE49-F238E27FC236}">
                  <a16:creationId xmlns:a16="http://schemas.microsoft.com/office/drawing/2014/main" id="{61C7984A-ACD5-70C1-2122-6FF9DD26F29B}"/>
                </a:ext>
              </a:extLst>
            </p:cNvPr>
            <p:cNvSpPr/>
            <p:nvPr/>
          </p:nvSpPr>
          <p:spPr>
            <a:xfrm>
              <a:off x="999775" y="4768785"/>
              <a:ext cx="25331" cy="24318"/>
            </a:xfrm>
            <a:custGeom>
              <a:avLst/>
              <a:gdLst>
                <a:gd name="connsiteX0" fmla="*/ 0 w 48265"/>
                <a:gd name="connsiteY0" fmla="*/ 0 h 46335"/>
                <a:gd name="connsiteX1" fmla="*/ 0 w 48265"/>
                <a:gd name="connsiteY1" fmla="*/ 46335 h 46335"/>
                <a:gd name="connsiteX2" fmla="*/ 48266 w 48265"/>
                <a:gd name="connsiteY2" fmla="*/ 46335 h 46335"/>
                <a:gd name="connsiteX3" fmla="*/ 48266 w 48265"/>
                <a:gd name="connsiteY3" fmla="*/ 0 h 46335"/>
              </a:gdLst>
              <a:ahLst/>
              <a:cxnLst>
                <a:cxn ang="0">
                  <a:pos x="connsiteX0" y="connsiteY0"/>
                </a:cxn>
                <a:cxn ang="0">
                  <a:pos x="connsiteX1" y="connsiteY1"/>
                </a:cxn>
                <a:cxn ang="0">
                  <a:pos x="connsiteX2" y="connsiteY2"/>
                </a:cxn>
                <a:cxn ang="0">
                  <a:pos x="connsiteX3" y="connsiteY3"/>
                </a:cxn>
              </a:cxnLst>
              <a:rect l="l" t="t" r="r" b="b"/>
              <a:pathLst>
                <a:path w="48265" h="46335">
                  <a:moveTo>
                    <a:pt x="0" y="0"/>
                  </a:moveTo>
                  <a:lnTo>
                    <a:pt x="0" y="46335"/>
                  </a:lnTo>
                  <a:lnTo>
                    <a:pt x="48266" y="46335"/>
                  </a:lnTo>
                  <a:lnTo>
                    <a:pt x="48266" y="0"/>
                  </a:lnTo>
                </a:path>
              </a:pathLst>
            </a:custGeom>
            <a:noFill/>
            <a:ln w="15329" cap="rnd">
              <a:solidFill>
                <a:srgbClr val="06146B"/>
              </a:solidFill>
              <a:prstDash val="solid"/>
              <a:round/>
            </a:ln>
          </p:spPr>
          <p:txBody>
            <a:bodyPr rtlCol="0" anchor="ctr"/>
            <a:lstStyle/>
            <a:p>
              <a:endParaRPr lang="en-GB"/>
            </a:p>
          </p:txBody>
        </p:sp>
        <p:grpSp>
          <p:nvGrpSpPr>
            <p:cNvPr id="1001" name="Group 1000">
              <a:extLst>
                <a:ext uri="{FF2B5EF4-FFF2-40B4-BE49-F238E27FC236}">
                  <a16:creationId xmlns:a16="http://schemas.microsoft.com/office/drawing/2014/main" id="{0E00D9D2-EDB0-B153-537B-840429139926}"/>
                </a:ext>
              </a:extLst>
            </p:cNvPr>
            <p:cNvGrpSpPr/>
            <p:nvPr/>
          </p:nvGrpSpPr>
          <p:grpSpPr>
            <a:xfrm>
              <a:off x="785604" y="4681010"/>
              <a:ext cx="130409" cy="130409"/>
              <a:chOff x="802757" y="4832348"/>
              <a:chExt cx="115509" cy="115509"/>
            </a:xfrm>
          </p:grpSpPr>
          <p:sp>
            <p:nvSpPr>
              <p:cNvPr id="1003" name="Freeform: Shape 1002">
                <a:extLst>
                  <a:ext uri="{FF2B5EF4-FFF2-40B4-BE49-F238E27FC236}">
                    <a16:creationId xmlns:a16="http://schemas.microsoft.com/office/drawing/2014/main" id="{2C1C774E-1F3A-7B06-9AA5-3D1A184AD869}"/>
                  </a:ext>
                </a:extLst>
              </p:cNvPr>
              <p:cNvSpPr/>
              <p:nvPr/>
            </p:nvSpPr>
            <p:spPr>
              <a:xfrm>
                <a:off x="802757" y="4832348"/>
                <a:ext cx="115509" cy="115509"/>
              </a:xfrm>
              <a:custGeom>
                <a:avLst/>
                <a:gdLst>
                  <a:gd name="connsiteX0" fmla="*/ 220092 w 220091"/>
                  <a:gd name="connsiteY0" fmla="*/ 110046 h 220091"/>
                  <a:gd name="connsiteX1" fmla="*/ 110046 w 220091"/>
                  <a:gd name="connsiteY1" fmla="*/ 220092 h 220091"/>
                  <a:gd name="connsiteX2" fmla="*/ 0 w 220091"/>
                  <a:gd name="connsiteY2" fmla="*/ 110046 h 220091"/>
                  <a:gd name="connsiteX3" fmla="*/ 110046 w 220091"/>
                  <a:gd name="connsiteY3" fmla="*/ 0 h 220091"/>
                  <a:gd name="connsiteX4" fmla="*/ 220092 w 220091"/>
                  <a:gd name="connsiteY4" fmla="*/ 110046 h 220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091" h="220091">
                    <a:moveTo>
                      <a:pt x="220092" y="110046"/>
                    </a:moveTo>
                    <a:cubicBezTo>
                      <a:pt x="220092" y="170823"/>
                      <a:pt x="170823" y="220092"/>
                      <a:pt x="110046" y="220092"/>
                    </a:cubicBezTo>
                    <a:cubicBezTo>
                      <a:pt x="49269" y="220092"/>
                      <a:pt x="0" y="170823"/>
                      <a:pt x="0" y="110046"/>
                    </a:cubicBezTo>
                    <a:cubicBezTo>
                      <a:pt x="0" y="49269"/>
                      <a:pt x="49269" y="0"/>
                      <a:pt x="110046" y="0"/>
                    </a:cubicBezTo>
                    <a:cubicBezTo>
                      <a:pt x="170823" y="0"/>
                      <a:pt x="220092" y="49269"/>
                      <a:pt x="220092" y="110046"/>
                    </a:cubicBezTo>
                    <a:close/>
                  </a:path>
                </a:pathLst>
              </a:custGeom>
              <a:solidFill>
                <a:srgbClr val="0D73FF"/>
              </a:solidFill>
              <a:ln w="1916" cap="flat">
                <a:noFill/>
                <a:prstDash val="solid"/>
                <a:miter/>
              </a:ln>
            </p:spPr>
            <p:txBody>
              <a:bodyPr rtlCol="0" anchor="ctr"/>
              <a:lstStyle/>
              <a:p>
                <a:endParaRPr lang="en-GB"/>
              </a:p>
            </p:txBody>
          </p:sp>
          <p:sp>
            <p:nvSpPr>
              <p:cNvPr id="1004" name="Freeform: Shape 1003">
                <a:extLst>
                  <a:ext uri="{FF2B5EF4-FFF2-40B4-BE49-F238E27FC236}">
                    <a16:creationId xmlns:a16="http://schemas.microsoft.com/office/drawing/2014/main" id="{4695C5C5-0AC3-CFA5-C348-54578732023A}"/>
                  </a:ext>
                </a:extLst>
              </p:cNvPr>
              <p:cNvSpPr/>
              <p:nvPr/>
            </p:nvSpPr>
            <p:spPr>
              <a:xfrm>
                <a:off x="802757" y="4832348"/>
                <a:ext cx="115509" cy="115509"/>
              </a:xfrm>
              <a:custGeom>
                <a:avLst/>
                <a:gdLst>
                  <a:gd name="connsiteX0" fmla="*/ 220092 w 220091"/>
                  <a:gd name="connsiteY0" fmla="*/ 110046 h 220091"/>
                  <a:gd name="connsiteX1" fmla="*/ 110046 w 220091"/>
                  <a:gd name="connsiteY1" fmla="*/ 220092 h 220091"/>
                  <a:gd name="connsiteX2" fmla="*/ 0 w 220091"/>
                  <a:gd name="connsiteY2" fmla="*/ 110046 h 220091"/>
                  <a:gd name="connsiteX3" fmla="*/ 110046 w 220091"/>
                  <a:gd name="connsiteY3" fmla="*/ 0 h 220091"/>
                  <a:gd name="connsiteX4" fmla="*/ 220092 w 220091"/>
                  <a:gd name="connsiteY4" fmla="*/ 110046 h 220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091" h="220091">
                    <a:moveTo>
                      <a:pt x="220092" y="110046"/>
                    </a:moveTo>
                    <a:cubicBezTo>
                      <a:pt x="220092" y="170823"/>
                      <a:pt x="170823" y="220092"/>
                      <a:pt x="110046" y="220092"/>
                    </a:cubicBezTo>
                    <a:cubicBezTo>
                      <a:pt x="49269" y="220092"/>
                      <a:pt x="0" y="170823"/>
                      <a:pt x="0" y="110046"/>
                    </a:cubicBezTo>
                    <a:cubicBezTo>
                      <a:pt x="0" y="49269"/>
                      <a:pt x="49269" y="0"/>
                      <a:pt x="110046" y="0"/>
                    </a:cubicBezTo>
                    <a:cubicBezTo>
                      <a:pt x="170823" y="0"/>
                      <a:pt x="220092" y="49269"/>
                      <a:pt x="220092" y="110046"/>
                    </a:cubicBezTo>
                    <a:close/>
                  </a:path>
                </a:pathLst>
              </a:custGeom>
              <a:noFill/>
              <a:ln w="9525" cap="rnd">
                <a:solidFill>
                  <a:schemeClr val="bg1"/>
                </a:solidFill>
                <a:prstDash val="solid"/>
                <a:round/>
              </a:ln>
            </p:spPr>
            <p:txBody>
              <a:bodyPr rtlCol="0" anchor="ctr"/>
              <a:lstStyle/>
              <a:p>
                <a:endParaRPr lang="en-GB"/>
              </a:p>
            </p:txBody>
          </p:sp>
          <p:sp>
            <p:nvSpPr>
              <p:cNvPr id="1005" name="TextBox 1004">
                <a:extLst>
                  <a:ext uri="{FF2B5EF4-FFF2-40B4-BE49-F238E27FC236}">
                    <a16:creationId xmlns:a16="http://schemas.microsoft.com/office/drawing/2014/main" id="{AD6790A4-AA30-4E30-378A-18C74782C7CF}"/>
                  </a:ext>
                </a:extLst>
              </p:cNvPr>
              <p:cNvSpPr txBox="1"/>
              <p:nvPr/>
            </p:nvSpPr>
            <p:spPr>
              <a:xfrm>
                <a:off x="828615" y="4851784"/>
                <a:ext cx="88671" cy="79033"/>
              </a:xfrm>
              <a:prstGeom prst="rect">
                <a:avLst/>
              </a:prstGeom>
              <a:noFill/>
            </p:spPr>
            <p:txBody>
              <a:bodyPr wrap="none" lIns="0" tIns="0" rIns="0" bIns="0" rtlCol="0" anchor="t">
                <a:noAutofit/>
              </a:bodyPr>
              <a:lstStyle/>
              <a:p>
                <a:r>
                  <a:rPr lang="de-DE" sz="500">
                    <a:solidFill>
                      <a:schemeClr val="bg1"/>
                    </a:solidFill>
                  </a:rPr>
                  <a:t>H</a:t>
                </a:r>
                <a:r>
                  <a:rPr lang="de-DE" sz="500" baseline="-25000">
                    <a:solidFill>
                      <a:schemeClr val="bg1"/>
                    </a:solidFill>
                  </a:rPr>
                  <a:t>2</a:t>
                </a:r>
                <a:endParaRPr lang="en-GB" sz="500" baseline="-25000">
                  <a:solidFill>
                    <a:schemeClr val="bg1"/>
                  </a:solidFill>
                </a:endParaRPr>
              </a:p>
            </p:txBody>
          </p:sp>
        </p:grpSp>
        <p:sp>
          <p:nvSpPr>
            <p:cNvPr id="1002" name="TextBox 1001">
              <a:extLst>
                <a:ext uri="{FF2B5EF4-FFF2-40B4-BE49-F238E27FC236}">
                  <a16:creationId xmlns:a16="http://schemas.microsoft.com/office/drawing/2014/main" id="{F018E2AB-9549-342E-082E-C521FBCAE951}"/>
                </a:ext>
              </a:extLst>
            </p:cNvPr>
            <p:cNvSpPr txBox="1"/>
            <p:nvPr/>
          </p:nvSpPr>
          <p:spPr>
            <a:xfrm>
              <a:off x="948324" y="4654163"/>
              <a:ext cx="88671" cy="79033"/>
            </a:xfrm>
            <a:prstGeom prst="rect">
              <a:avLst/>
            </a:prstGeom>
            <a:noFill/>
          </p:spPr>
          <p:txBody>
            <a:bodyPr wrap="none" lIns="0" tIns="0" rIns="0" bIns="0" rtlCol="0" anchor="t">
              <a:noAutofit/>
            </a:bodyPr>
            <a:lstStyle/>
            <a:p>
              <a:endParaRPr lang="en-GB" sz="500" baseline="-25000">
                <a:solidFill>
                  <a:schemeClr val="bg1"/>
                </a:solidFill>
              </a:endParaRPr>
            </a:p>
          </p:txBody>
        </p:sp>
      </p:grpSp>
    </p:spTree>
    <p:extLst>
      <p:ext uri="{BB962C8B-B14F-4D97-AF65-F5344CB8AC3E}">
        <p14:creationId xmlns:p14="http://schemas.microsoft.com/office/powerpoint/2010/main" val="1837519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34969F-B043-A14F-BC5C-5CB96E06747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2DECA80-C655-830F-15DD-4F37194D0CF4}"/>
              </a:ext>
            </a:extLst>
          </p:cNvPr>
          <p:cNvSpPr>
            <a:spLocks noGrp="1"/>
          </p:cNvSpPr>
          <p:nvPr>
            <p:ph type="ctrTitle"/>
          </p:nvPr>
        </p:nvSpPr>
        <p:spPr/>
        <p:txBody>
          <a:bodyPr/>
          <a:lstStyle/>
          <a:p>
            <a:r>
              <a:rPr lang="de-DE"/>
              <a:t>Thementische</a:t>
            </a:r>
          </a:p>
        </p:txBody>
      </p:sp>
      <p:sp>
        <p:nvSpPr>
          <p:cNvPr id="3" name="Text Placeholder 2">
            <a:extLst>
              <a:ext uri="{FF2B5EF4-FFF2-40B4-BE49-F238E27FC236}">
                <a16:creationId xmlns:a16="http://schemas.microsoft.com/office/drawing/2014/main" id="{C5D1B154-AA31-714C-E520-C857536A5A35}"/>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15822944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571BFB-2095-100D-9E48-D4925B03FCCA}"/>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1BFA8E10-4775-D9CA-7C38-6007B28C4437}"/>
              </a:ext>
            </a:extLst>
          </p:cNvPr>
          <p:cNvSpPr/>
          <p:nvPr/>
        </p:nvSpPr>
        <p:spPr bwMode="gray">
          <a:xfrm>
            <a:off x="6714801" y="961298"/>
            <a:ext cx="2880000" cy="5075902"/>
          </a:xfrm>
          <a:prstGeom prst="roundRect">
            <a:avLst/>
          </a:prstGeom>
          <a:solidFill>
            <a:schemeClr val="accent5">
              <a:alpha val="50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6" name="Rectangle: Rounded Corners 5">
            <a:extLst>
              <a:ext uri="{FF2B5EF4-FFF2-40B4-BE49-F238E27FC236}">
                <a16:creationId xmlns:a16="http://schemas.microsoft.com/office/drawing/2014/main" id="{9BDE48E0-6913-30ED-8972-F876A97B0A44}"/>
              </a:ext>
            </a:extLst>
          </p:cNvPr>
          <p:cNvSpPr/>
          <p:nvPr/>
        </p:nvSpPr>
        <p:spPr bwMode="gray">
          <a:xfrm>
            <a:off x="3455316" y="961298"/>
            <a:ext cx="2880000" cy="5075902"/>
          </a:xfrm>
          <a:prstGeom prst="roundRect">
            <a:avLst/>
          </a:prstGeom>
          <a:solidFill>
            <a:schemeClr val="accent5">
              <a:alpha val="50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5" name="Rectangle: Rounded Corners 4">
            <a:extLst>
              <a:ext uri="{FF2B5EF4-FFF2-40B4-BE49-F238E27FC236}">
                <a16:creationId xmlns:a16="http://schemas.microsoft.com/office/drawing/2014/main" id="{543E34F5-1584-9B02-0F01-2226F6ED4568}"/>
              </a:ext>
            </a:extLst>
          </p:cNvPr>
          <p:cNvSpPr/>
          <p:nvPr/>
        </p:nvSpPr>
        <p:spPr bwMode="gray">
          <a:xfrm>
            <a:off x="209623" y="961298"/>
            <a:ext cx="2880000" cy="5075902"/>
          </a:xfrm>
          <a:prstGeom prst="roundRect">
            <a:avLst/>
          </a:prstGeom>
          <a:solidFill>
            <a:schemeClr val="accent5">
              <a:alpha val="50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12" name="Slide Number Placeholder 11">
            <a:extLst>
              <a:ext uri="{FF2B5EF4-FFF2-40B4-BE49-F238E27FC236}">
                <a16:creationId xmlns:a16="http://schemas.microsoft.com/office/drawing/2014/main" id="{994A8A9A-8111-CD3D-D059-4A561313E07A}"/>
              </a:ext>
            </a:extLst>
          </p:cNvPr>
          <p:cNvSpPr>
            <a:spLocks noGrp="1"/>
          </p:cNvSpPr>
          <p:nvPr>
            <p:ph type="sldNum" sz="quarter" idx="11"/>
          </p:nvPr>
        </p:nvSpPr>
        <p:spPr/>
        <p:txBody>
          <a:bodyPr/>
          <a:lstStyle/>
          <a:p>
            <a:endParaRPr lang="de-DE"/>
          </a:p>
          <a:p>
            <a:fld id="{7CE6DE57-4748-4B0A-B4DA-400072C379E5}" type="slidenum">
              <a:rPr lang="de-DE" smtClean="0"/>
              <a:t>59</a:t>
            </a:fld>
            <a:endParaRPr lang="de-DE"/>
          </a:p>
        </p:txBody>
      </p:sp>
      <p:sp>
        <p:nvSpPr>
          <p:cNvPr id="3" name="Title 2">
            <a:extLst>
              <a:ext uri="{FF2B5EF4-FFF2-40B4-BE49-F238E27FC236}">
                <a16:creationId xmlns:a16="http://schemas.microsoft.com/office/drawing/2014/main" id="{C0123BF3-0E3A-86EB-167F-34AA3EDF4355}"/>
              </a:ext>
            </a:extLst>
          </p:cNvPr>
          <p:cNvSpPr>
            <a:spLocks noGrp="1"/>
          </p:cNvSpPr>
          <p:nvPr>
            <p:ph type="title"/>
          </p:nvPr>
        </p:nvSpPr>
        <p:spPr/>
        <p:txBody>
          <a:bodyPr/>
          <a:lstStyle/>
          <a:p>
            <a:r>
              <a:rPr lang="de-DE" dirty="0"/>
              <a:t>Austausch an den Thementischen</a:t>
            </a:r>
          </a:p>
        </p:txBody>
      </p:sp>
      <p:sp>
        <p:nvSpPr>
          <p:cNvPr id="14" name="Footer Placeholder 13">
            <a:extLst>
              <a:ext uri="{FF2B5EF4-FFF2-40B4-BE49-F238E27FC236}">
                <a16:creationId xmlns:a16="http://schemas.microsoft.com/office/drawing/2014/main" id="{879435E4-B08C-D34A-6F52-52B030B00161}"/>
              </a:ext>
            </a:extLst>
          </p:cNvPr>
          <p:cNvSpPr>
            <a:spLocks noGrp="1"/>
          </p:cNvSpPr>
          <p:nvPr>
            <p:ph type="ftr" sz="quarter" idx="12"/>
          </p:nvPr>
        </p:nvSpPr>
        <p:spPr/>
        <p:txBody>
          <a:bodyPr anchor="ctr"/>
          <a:lstStyle/>
          <a:p>
            <a:r>
              <a:rPr lang="de-DE"/>
              <a:t>© 2026</a:t>
            </a:r>
          </a:p>
          <a:p>
            <a:r>
              <a:rPr lang="de-DE"/>
              <a:t>d-fine</a:t>
            </a:r>
          </a:p>
        </p:txBody>
      </p:sp>
      <p:sp>
        <p:nvSpPr>
          <p:cNvPr id="8" name="Textfeld 7">
            <a:extLst>
              <a:ext uri="{FF2B5EF4-FFF2-40B4-BE49-F238E27FC236}">
                <a16:creationId xmlns:a16="http://schemas.microsoft.com/office/drawing/2014/main" id="{F69C0876-C27C-5ADB-7626-390A82EC0BB8}"/>
              </a:ext>
            </a:extLst>
          </p:cNvPr>
          <p:cNvSpPr txBox="1"/>
          <p:nvPr/>
        </p:nvSpPr>
        <p:spPr>
          <a:xfrm>
            <a:off x="486311" y="2086237"/>
            <a:ext cx="2281806" cy="1352422"/>
          </a:xfrm>
          <a:prstGeom prst="rect">
            <a:avLst/>
          </a:prstGeom>
          <a:noFill/>
        </p:spPr>
        <p:txBody>
          <a:bodyPr wrap="none" lIns="0" tIns="0" rIns="0" bIns="0" rtlCol="0" anchor="t">
            <a:noAutofit/>
          </a:bodyPr>
          <a:lstStyle/>
          <a:p>
            <a:pPr algn="ctr"/>
            <a:r>
              <a:rPr lang="de-DE" sz="1600"/>
              <a:t>Thementisch 1</a:t>
            </a:r>
            <a:br>
              <a:rPr lang="de-DE" sz="1600"/>
            </a:br>
            <a:r>
              <a:rPr lang="de-DE" sz="1600"/>
              <a:t> </a:t>
            </a:r>
          </a:p>
          <a:p>
            <a:pPr algn="ctr"/>
            <a:r>
              <a:rPr lang="de-DE" sz="1600"/>
              <a:t>Fokusgebiet Rheda</a:t>
            </a:r>
          </a:p>
          <a:p>
            <a:pPr algn="ctr"/>
            <a:endParaRPr lang="de-DE" sz="1600" i="1"/>
          </a:p>
          <a:p>
            <a:pPr algn="ctr"/>
            <a:r>
              <a:rPr lang="de-DE" sz="1600"/>
              <a:t>Frau Holthaus &amp; d-fine</a:t>
            </a:r>
          </a:p>
        </p:txBody>
      </p:sp>
      <p:pic>
        <p:nvPicPr>
          <p:cNvPr id="9" name="Picture 19">
            <a:extLst>
              <a:ext uri="{FF2B5EF4-FFF2-40B4-BE49-F238E27FC236}">
                <a16:creationId xmlns:a16="http://schemas.microsoft.com/office/drawing/2014/main" id="{06B7F7FF-DC77-17C4-F09E-1EC994C3ECAE}"/>
              </a:ext>
            </a:extLst>
          </p:cNvPr>
          <p:cNvPicPr>
            <a:picLocks noChangeAspect="1"/>
          </p:cNvPicPr>
          <p:nvPr/>
        </p:nvPicPr>
        <p:blipFill>
          <a:blip r:embed="rId2" cstate="screen">
            <a:alphaModFix/>
            <a:extLst>
              <a:ext uri="{28A0092B-C50C-407E-A947-70E740481C1C}">
                <a14:useLocalDpi xmlns:a14="http://schemas.microsoft.com/office/drawing/2010/main"/>
              </a:ext>
            </a:extLst>
          </a:blip>
          <a:srcRect/>
          <a:stretch/>
        </p:blipFill>
        <p:spPr>
          <a:xfrm>
            <a:off x="452176" y="3788738"/>
            <a:ext cx="2281806" cy="1460360"/>
          </a:xfrm>
          <a:prstGeom prst="rect">
            <a:avLst/>
          </a:prstGeom>
          <a:ln w="22225">
            <a:solidFill>
              <a:srgbClr val="003C50"/>
            </a:solidFill>
          </a:ln>
        </p:spPr>
      </p:pic>
      <p:sp>
        <p:nvSpPr>
          <p:cNvPr id="10" name="Textfeld 9">
            <a:extLst>
              <a:ext uri="{FF2B5EF4-FFF2-40B4-BE49-F238E27FC236}">
                <a16:creationId xmlns:a16="http://schemas.microsoft.com/office/drawing/2014/main" id="{9B19FFE2-84B5-7D54-719C-0651FD681F04}"/>
              </a:ext>
            </a:extLst>
          </p:cNvPr>
          <p:cNvSpPr txBox="1"/>
          <p:nvPr/>
        </p:nvSpPr>
        <p:spPr>
          <a:xfrm>
            <a:off x="3652859" y="2086237"/>
            <a:ext cx="2485853" cy="1352422"/>
          </a:xfrm>
          <a:prstGeom prst="rect">
            <a:avLst/>
          </a:prstGeom>
          <a:noFill/>
        </p:spPr>
        <p:txBody>
          <a:bodyPr wrap="none" lIns="0" tIns="0" rIns="0" bIns="0" rtlCol="0" anchor="t">
            <a:noAutofit/>
          </a:bodyPr>
          <a:lstStyle/>
          <a:p>
            <a:pPr algn="ctr"/>
            <a:r>
              <a:rPr lang="de-DE" sz="1600"/>
              <a:t>Thementisch 2</a:t>
            </a:r>
            <a:br>
              <a:rPr lang="de-DE" sz="1600"/>
            </a:br>
            <a:endParaRPr lang="de-DE" sz="1600"/>
          </a:p>
          <a:p>
            <a:pPr algn="ctr"/>
            <a:r>
              <a:rPr lang="de-DE" sz="1600"/>
              <a:t>Fokusgebiet </a:t>
            </a:r>
            <a:r>
              <a:rPr lang="de-DE" sz="1600" err="1"/>
              <a:t>Nordrheda</a:t>
            </a:r>
            <a:r>
              <a:rPr lang="de-DE" sz="1600"/>
              <a:t>-Ems</a:t>
            </a:r>
          </a:p>
          <a:p>
            <a:pPr algn="ctr"/>
            <a:endParaRPr lang="de-DE" sz="1600" i="1"/>
          </a:p>
          <a:p>
            <a:pPr algn="ctr"/>
            <a:r>
              <a:rPr lang="de-DE" sz="1600"/>
              <a:t>Herr Heidfeld &amp; d-fine</a:t>
            </a:r>
          </a:p>
        </p:txBody>
      </p:sp>
      <p:grpSp>
        <p:nvGrpSpPr>
          <p:cNvPr id="11" name="Group 7">
            <a:extLst>
              <a:ext uri="{FF2B5EF4-FFF2-40B4-BE49-F238E27FC236}">
                <a16:creationId xmlns:a16="http://schemas.microsoft.com/office/drawing/2014/main" id="{52890E7B-4CF7-C4EC-196B-7DE464F2450A}"/>
              </a:ext>
            </a:extLst>
          </p:cNvPr>
          <p:cNvGrpSpPr>
            <a:grpSpLocks noChangeAspect="1"/>
          </p:cNvGrpSpPr>
          <p:nvPr/>
        </p:nvGrpSpPr>
        <p:grpSpPr>
          <a:xfrm>
            <a:off x="5098685" y="3642566"/>
            <a:ext cx="1113441" cy="1752704"/>
            <a:chOff x="5426326" y="3788380"/>
            <a:chExt cx="1489800" cy="2361341"/>
          </a:xfrm>
        </p:grpSpPr>
        <p:pic>
          <p:nvPicPr>
            <p:cNvPr id="15" name="Picture 8">
              <a:extLst>
                <a:ext uri="{FF2B5EF4-FFF2-40B4-BE49-F238E27FC236}">
                  <a16:creationId xmlns:a16="http://schemas.microsoft.com/office/drawing/2014/main" id="{255CC7BD-83F2-531A-7E6A-2FEE238D0012}"/>
                </a:ext>
              </a:extLst>
            </p:cNvPr>
            <p:cNvPicPr>
              <a:picLocks noChangeAspect="1"/>
            </p:cNvPicPr>
            <p:nvPr/>
          </p:nvPicPr>
          <p:blipFill>
            <a:blip r:embed="rId3" cstate="screen">
              <a:alphaModFix/>
              <a:extLst>
                <a:ext uri="{28A0092B-C50C-407E-A947-70E740481C1C}">
                  <a14:useLocalDpi xmlns:a14="http://schemas.microsoft.com/office/drawing/2010/main"/>
                </a:ext>
              </a:extLst>
            </a:blip>
            <a:srcRect/>
            <a:stretch/>
          </p:blipFill>
          <p:spPr>
            <a:xfrm>
              <a:off x="5426327" y="3788380"/>
              <a:ext cx="1489799" cy="2353735"/>
            </a:xfrm>
            <a:prstGeom prst="rect">
              <a:avLst/>
            </a:prstGeom>
          </p:spPr>
        </p:pic>
        <p:sp>
          <p:nvSpPr>
            <p:cNvPr id="16" name="Rectangle 9">
              <a:extLst>
                <a:ext uri="{FF2B5EF4-FFF2-40B4-BE49-F238E27FC236}">
                  <a16:creationId xmlns:a16="http://schemas.microsoft.com/office/drawing/2014/main" id="{A4FB085F-CA4D-8665-5DC5-A11B860527E2}"/>
                </a:ext>
              </a:extLst>
            </p:cNvPr>
            <p:cNvSpPr>
              <a:spLocks noChangeAspect="1"/>
            </p:cNvSpPr>
            <p:nvPr/>
          </p:nvSpPr>
          <p:spPr bwMode="gray">
            <a:xfrm>
              <a:off x="5426326" y="3788381"/>
              <a:ext cx="1484749" cy="2361340"/>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grpSp>
      <p:pic>
        <p:nvPicPr>
          <p:cNvPr id="17" name="Picture 40">
            <a:extLst>
              <a:ext uri="{FF2B5EF4-FFF2-40B4-BE49-F238E27FC236}">
                <a16:creationId xmlns:a16="http://schemas.microsoft.com/office/drawing/2014/main" id="{92A0B187-7452-AECB-5899-982A3B086818}"/>
              </a:ext>
            </a:extLst>
          </p:cNvPr>
          <p:cNvPicPr>
            <a:picLocks noChangeAspect="1"/>
          </p:cNvPicPr>
          <p:nvPr/>
        </p:nvPicPr>
        <p:blipFill>
          <a:blip r:embed="rId4" cstate="screen">
            <a:alphaModFix/>
            <a:extLst>
              <a:ext uri="{28A0092B-C50C-407E-A947-70E740481C1C}">
                <a14:useLocalDpi xmlns:a14="http://schemas.microsoft.com/office/drawing/2010/main"/>
              </a:ext>
            </a:extLst>
          </a:blip>
          <a:srcRect/>
          <a:stretch>
            <a:fillRect/>
          </a:stretch>
        </p:blipFill>
        <p:spPr>
          <a:xfrm>
            <a:off x="3578250" y="3666057"/>
            <a:ext cx="1409125" cy="1723567"/>
          </a:xfrm>
          <a:prstGeom prst="rect">
            <a:avLst/>
          </a:prstGeom>
          <a:ln w="19050">
            <a:solidFill>
              <a:srgbClr val="003C50"/>
            </a:solidFill>
          </a:ln>
        </p:spPr>
      </p:pic>
      <p:sp>
        <p:nvSpPr>
          <p:cNvPr id="18" name="Textfeld 17">
            <a:extLst>
              <a:ext uri="{FF2B5EF4-FFF2-40B4-BE49-F238E27FC236}">
                <a16:creationId xmlns:a16="http://schemas.microsoft.com/office/drawing/2014/main" id="{FA7B0F1E-0EE4-B803-C479-DF1E427E85C5}"/>
              </a:ext>
            </a:extLst>
          </p:cNvPr>
          <p:cNvSpPr txBox="1"/>
          <p:nvPr/>
        </p:nvSpPr>
        <p:spPr>
          <a:xfrm>
            <a:off x="6907504" y="2086237"/>
            <a:ext cx="2482713" cy="1352422"/>
          </a:xfrm>
          <a:prstGeom prst="rect">
            <a:avLst/>
          </a:prstGeom>
          <a:noFill/>
        </p:spPr>
        <p:txBody>
          <a:bodyPr wrap="none" lIns="0" tIns="0" rIns="0" bIns="0" rtlCol="0" anchor="t">
            <a:noAutofit/>
          </a:bodyPr>
          <a:lstStyle/>
          <a:p>
            <a:pPr algn="ctr"/>
            <a:r>
              <a:rPr lang="de-DE" sz="1600"/>
              <a:t>Thementisch 3</a:t>
            </a:r>
          </a:p>
          <a:p>
            <a:pPr algn="ctr"/>
            <a:endParaRPr lang="de-DE" sz="1600"/>
          </a:p>
          <a:p>
            <a:pPr algn="ctr"/>
            <a:r>
              <a:rPr lang="de-DE" sz="1600"/>
              <a:t>Fokusgebiet Wiedenbrück</a:t>
            </a:r>
          </a:p>
          <a:p>
            <a:pPr algn="ctr"/>
            <a:endParaRPr lang="de-DE" sz="1600" i="1"/>
          </a:p>
          <a:p>
            <a:pPr algn="ctr"/>
            <a:r>
              <a:rPr lang="de-DE" sz="1600"/>
              <a:t>Herr Groß &amp; d-fine</a:t>
            </a:r>
          </a:p>
        </p:txBody>
      </p:sp>
      <p:grpSp>
        <p:nvGrpSpPr>
          <p:cNvPr id="19" name="Group 39">
            <a:extLst>
              <a:ext uri="{FF2B5EF4-FFF2-40B4-BE49-F238E27FC236}">
                <a16:creationId xmlns:a16="http://schemas.microsoft.com/office/drawing/2014/main" id="{F9783C76-ADA9-49C5-16A8-C50921D6EA91}"/>
              </a:ext>
            </a:extLst>
          </p:cNvPr>
          <p:cNvGrpSpPr>
            <a:grpSpLocks noChangeAspect="1"/>
          </p:cNvGrpSpPr>
          <p:nvPr/>
        </p:nvGrpSpPr>
        <p:grpSpPr>
          <a:xfrm>
            <a:off x="7411487" y="3516905"/>
            <a:ext cx="1565316" cy="2004026"/>
            <a:chOff x="213821" y="2371514"/>
            <a:chExt cx="1799216" cy="2303481"/>
          </a:xfrm>
        </p:grpSpPr>
        <p:pic>
          <p:nvPicPr>
            <p:cNvPr id="20" name="Picture 13">
              <a:extLst>
                <a:ext uri="{FF2B5EF4-FFF2-40B4-BE49-F238E27FC236}">
                  <a16:creationId xmlns:a16="http://schemas.microsoft.com/office/drawing/2014/main" id="{A8D54A05-35EF-5C39-4E8D-108DAED4F1C7}"/>
                </a:ext>
              </a:extLst>
            </p:cNvPr>
            <p:cNvPicPr>
              <a:picLocks noChangeAspect="1"/>
            </p:cNvPicPr>
            <p:nvPr/>
          </p:nvPicPr>
          <p:blipFill>
            <a:blip r:embed="rId5" cstate="screen">
              <a:alphaModFix/>
              <a:extLst>
                <a:ext uri="{28A0092B-C50C-407E-A947-70E740481C1C}">
                  <a14:useLocalDpi xmlns:a14="http://schemas.microsoft.com/office/drawing/2010/main"/>
                </a:ext>
              </a:extLst>
            </a:blip>
            <a:srcRect/>
            <a:stretch>
              <a:fillRect/>
            </a:stretch>
          </p:blipFill>
          <p:spPr>
            <a:xfrm>
              <a:off x="213821" y="2376582"/>
              <a:ext cx="1799216" cy="2298411"/>
            </a:xfrm>
            <a:prstGeom prst="rect">
              <a:avLst/>
            </a:prstGeom>
          </p:spPr>
        </p:pic>
        <p:sp>
          <p:nvSpPr>
            <p:cNvPr id="21" name="Rectangle 16">
              <a:extLst>
                <a:ext uri="{FF2B5EF4-FFF2-40B4-BE49-F238E27FC236}">
                  <a16:creationId xmlns:a16="http://schemas.microsoft.com/office/drawing/2014/main" id="{F4741DEA-E990-7380-F305-FADFBD1EC027}"/>
                </a:ext>
              </a:extLst>
            </p:cNvPr>
            <p:cNvSpPr>
              <a:spLocks noChangeAspect="1"/>
            </p:cNvSpPr>
            <p:nvPr/>
          </p:nvSpPr>
          <p:spPr bwMode="gray">
            <a:xfrm>
              <a:off x="213823" y="2371514"/>
              <a:ext cx="1792766" cy="2303481"/>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defPPr>
                <a:defRPr lang="de-DE"/>
              </a:defPPr>
              <a:lvl1pPr marL="0" algn="l" defTabSz="914342" rtl="0" eaLnBrk="1" latinLnBrk="0" hangingPunct="1">
                <a:defRPr sz="1837" kern="1200">
                  <a:solidFill>
                    <a:schemeClr val="lt1"/>
                  </a:solidFill>
                  <a:latin typeface="+mn-lt"/>
                  <a:ea typeface="+mn-ea"/>
                  <a:cs typeface="+mn-cs"/>
                </a:defRPr>
              </a:lvl1pPr>
              <a:lvl2pPr marL="457171" algn="l" defTabSz="914342" rtl="0" eaLnBrk="1" latinLnBrk="0" hangingPunct="1">
                <a:defRPr sz="1837" kern="1200">
                  <a:solidFill>
                    <a:schemeClr val="lt1"/>
                  </a:solidFill>
                  <a:latin typeface="+mn-lt"/>
                  <a:ea typeface="+mn-ea"/>
                  <a:cs typeface="+mn-cs"/>
                </a:defRPr>
              </a:lvl2pPr>
              <a:lvl3pPr marL="914342" algn="l" defTabSz="914342" rtl="0" eaLnBrk="1" latinLnBrk="0" hangingPunct="1">
                <a:defRPr sz="1837" kern="1200">
                  <a:solidFill>
                    <a:schemeClr val="lt1"/>
                  </a:solidFill>
                  <a:latin typeface="+mn-lt"/>
                  <a:ea typeface="+mn-ea"/>
                  <a:cs typeface="+mn-cs"/>
                </a:defRPr>
              </a:lvl3pPr>
              <a:lvl4pPr marL="1371513" algn="l" defTabSz="914342" rtl="0" eaLnBrk="1" latinLnBrk="0" hangingPunct="1">
                <a:defRPr sz="1837" kern="1200">
                  <a:solidFill>
                    <a:schemeClr val="lt1"/>
                  </a:solidFill>
                  <a:latin typeface="+mn-lt"/>
                  <a:ea typeface="+mn-ea"/>
                  <a:cs typeface="+mn-cs"/>
                </a:defRPr>
              </a:lvl4pPr>
              <a:lvl5pPr marL="1828684" algn="l" defTabSz="914342" rtl="0" eaLnBrk="1" latinLnBrk="0" hangingPunct="1">
                <a:defRPr sz="1837" kern="1200">
                  <a:solidFill>
                    <a:schemeClr val="lt1"/>
                  </a:solidFill>
                  <a:latin typeface="+mn-lt"/>
                  <a:ea typeface="+mn-ea"/>
                  <a:cs typeface="+mn-cs"/>
                </a:defRPr>
              </a:lvl5pPr>
              <a:lvl6pPr marL="2285855" algn="l" defTabSz="914342" rtl="0" eaLnBrk="1" latinLnBrk="0" hangingPunct="1">
                <a:defRPr sz="1837" kern="1200">
                  <a:solidFill>
                    <a:schemeClr val="lt1"/>
                  </a:solidFill>
                  <a:latin typeface="+mn-lt"/>
                  <a:ea typeface="+mn-ea"/>
                  <a:cs typeface="+mn-cs"/>
                </a:defRPr>
              </a:lvl6pPr>
              <a:lvl7pPr marL="2743026" algn="l" defTabSz="914342" rtl="0" eaLnBrk="1" latinLnBrk="0" hangingPunct="1">
                <a:defRPr sz="1837" kern="1200">
                  <a:solidFill>
                    <a:schemeClr val="lt1"/>
                  </a:solidFill>
                  <a:latin typeface="+mn-lt"/>
                  <a:ea typeface="+mn-ea"/>
                  <a:cs typeface="+mn-cs"/>
                </a:defRPr>
              </a:lvl7pPr>
              <a:lvl8pPr marL="3200198" algn="l" defTabSz="914342" rtl="0" eaLnBrk="1" latinLnBrk="0" hangingPunct="1">
                <a:defRPr sz="1837" kern="1200">
                  <a:solidFill>
                    <a:schemeClr val="lt1"/>
                  </a:solidFill>
                  <a:latin typeface="+mn-lt"/>
                  <a:ea typeface="+mn-ea"/>
                  <a:cs typeface="+mn-cs"/>
                </a:defRPr>
              </a:lvl8pPr>
              <a:lvl9pPr marL="3657369" algn="l" defTabSz="914342" rtl="0" eaLnBrk="1" latinLnBrk="0" hangingPunct="1">
                <a:defRPr sz="1837" kern="1200">
                  <a:solidFill>
                    <a:schemeClr val="lt1"/>
                  </a:solidFill>
                  <a:latin typeface="+mn-lt"/>
                  <a:ea typeface="+mn-ea"/>
                  <a:cs typeface="+mn-cs"/>
                </a:defRPr>
              </a:lvl9pPr>
            </a:lstStyle>
            <a:p>
              <a:pPr algn="ctr"/>
              <a:endParaRPr lang="de-DE" sz="1400" err="1">
                <a:solidFill>
                  <a:schemeClr val="tx1"/>
                </a:solidFill>
              </a:endParaRPr>
            </a:p>
          </p:txBody>
        </p:sp>
      </p:grpSp>
      <p:pic>
        <p:nvPicPr>
          <p:cNvPr id="23" name="Grafik 22" descr="Besprechung mit einfarbiger Füllung">
            <a:extLst>
              <a:ext uri="{FF2B5EF4-FFF2-40B4-BE49-F238E27FC236}">
                <a16:creationId xmlns:a16="http://schemas.microsoft.com/office/drawing/2014/main" id="{52E30F12-4A9C-1602-7F34-A5CC7222E0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38759" y="1209588"/>
            <a:ext cx="914400" cy="914400"/>
          </a:xfrm>
          <a:prstGeom prst="rect">
            <a:avLst/>
          </a:prstGeom>
        </p:spPr>
      </p:pic>
      <p:pic>
        <p:nvPicPr>
          <p:cNvPr id="24" name="Grafik 23" descr="Besprechung mit einfarbiger Füllung">
            <a:extLst>
              <a:ext uri="{FF2B5EF4-FFF2-40B4-BE49-F238E27FC236}">
                <a16:creationId xmlns:a16="http://schemas.microsoft.com/office/drawing/2014/main" id="{3A0C5D75-090F-7C0B-516E-8FC259E2F04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99118" y="1221363"/>
            <a:ext cx="914400" cy="914400"/>
          </a:xfrm>
          <a:prstGeom prst="rect">
            <a:avLst/>
          </a:prstGeom>
        </p:spPr>
      </p:pic>
      <p:pic>
        <p:nvPicPr>
          <p:cNvPr id="25" name="Grafik 24" descr="Besprechung mit einfarbiger Füllung">
            <a:extLst>
              <a:ext uri="{FF2B5EF4-FFF2-40B4-BE49-F238E27FC236}">
                <a16:creationId xmlns:a16="http://schemas.microsoft.com/office/drawing/2014/main" id="{548AF8D9-4257-29E4-4995-D85827131D0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91661" y="1234763"/>
            <a:ext cx="914400" cy="914400"/>
          </a:xfrm>
          <a:prstGeom prst="rect">
            <a:avLst/>
          </a:prstGeom>
        </p:spPr>
      </p:pic>
    </p:spTree>
    <p:extLst>
      <p:ext uri="{BB962C8B-B14F-4D97-AF65-F5344CB8AC3E}">
        <p14:creationId xmlns:p14="http://schemas.microsoft.com/office/powerpoint/2010/main" val="25338514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feld 9">
            <a:extLst>
              <a:ext uri="{FF2B5EF4-FFF2-40B4-BE49-F238E27FC236}">
                <a16:creationId xmlns:a16="http://schemas.microsoft.com/office/drawing/2014/main" id="{9593DAE1-8D65-42FF-B28D-1C133FD9B898}"/>
              </a:ext>
            </a:extLst>
          </p:cNvPr>
          <p:cNvSpPr txBox="1"/>
          <p:nvPr/>
        </p:nvSpPr>
        <p:spPr>
          <a:xfrm>
            <a:off x="7266661" y="95255"/>
            <a:ext cx="2436715" cy="316112"/>
          </a:xfrm>
          <a:prstGeom prst="rect">
            <a:avLst/>
          </a:prstGeom>
          <a:solidFill>
            <a:schemeClr val="bg1"/>
          </a:solidFill>
        </p:spPr>
        <p:txBody>
          <a:bodyPr wrap="square" rtlCol="0">
            <a:spAutoFit/>
          </a:bodyPr>
          <a:lstStyle/>
          <a:p>
            <a:r>
              <a:rPr lang="de-DE" sz="1454" b="1">
                <a:solidFill>
                  <a:srgbClr val="02409C"/>
                </a:solidFill>
              </a:rPr>
              <a:t>       </a:t>
            </a:r>
          </a:p>
        </p:txBody>
      </p:sp>
      <p:pic>
        <p:nvPicPr>
          <p:cNvPr id="3" name="Grafik 2">
            <a:extLst>
              <a:ext uri="{FF2B5EF4-FFF2-40B4-BE49-F238E27FC236}">
                <a16:creationId xmlns:a16="http://schemas.microsoft.com/office/drawing/2014/main" id="{F20D82D2-EE6D-4E51-A5DE-34AD1C577CC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79789" y="171441"/>
            <a:ext cx="3169329" cy="650436"/>
          </a:xfrm>
          <a:prstGeom prst="rect">
            <a:avLst/>
          </a:prstGeom>
        </p:spPr>
      </p:pic>
      <p:sp>
        <p:nvSpPr>
          <p:cNvPr id="11" name="Textfeld 10">
            <a:extLst>
              <a:ext uri="{FF2B5EF4-FFF2-40B4-BE49-F238E27FC236}">
                <a16:creationId xmlns:a16="http://schemas.microsoft.com/office/drawing/2014/main" id="{59CBFC3A-5368-4D3D-9BFB-09154B2445B0}"/>
              </a:ext>
            </a:extLst>
          </p:cNvPr>
          <p:cNvSpPr txBox="1"/>
          <p:nvPr/>
        </p:nvSpPr>
        <p:spPr>
          <a:xfrm>
            <a:off x="441633" y="984289"/>
            <a:ext cx="10567841" cy="600164"/>
          </a:xfrm>
          <a:prstGeom prst="rect">
            <a:avLst/>
          </a:prstGeom>
          <a:noFill/>
        </p:spPr>
        <p:txBody>
          <a:bodyPr wrap="square" rtlCol="0">
            <a:spAutoFit/>
          </a:bodyPr>
          <a:lstStyle/>
          <a:p>
            <a:r>
              <a:rPr lang="de-DE" sz="3300" b="1">
                <a:solidFill>
                  <a:srgbClr val="336699"/>
                </a:solidFill>
              </a:rPr>
              <a:t>Rheda-Wiedenbrück ist Teil der regionalen Allianz</a:t>
            </a:r>
          </a:p>
        </p:txBody>
      </p:sp>
      <p:sp>
        <p:nvSpPr>
          <p:cNvPr id="14" name="Textfeld 13">
            <a:extLst>
              <a:ext uri="{FF2B5EF4-FFF2-40B4-BE49-F238E27FC236}">
                <a16:creationId xmlns:a16="http://schemas.microsoft.com/office/drawing/2014/main" id="{DC51E46B-BDE4-4B5D-8558-6FDAC9158DA1}"/>
              </a:ext>
            </a:extLst>
          </p:cNvPr>
          <p:cNvSpPr txBox="1"/>
          <p:nvPr/>
        </p:nvSpPr>
        <p:spPr>
          <a:xfrm>
            <a:off x="521635" y="5025107"/>
            <a:ext cx="9797451" cy="1363900"/>
          </a:xfrm>
          <a:prstGeom prst="rect">
            <a:avLst/>
          </a:prstGeom>
          <a:noFill/>
        </p:spPr>
        <p:txBody>
          <a:bodyPr wrap="square" rtlCol="0">
            <a:spAutoFit/>
          </a:bodyPr>
          <a:lstStyle/>
          <a:p>
            <a:r>
              <a:rPr lang="de-DE" sz="3300" b="1">
                <a:solidFill>
                  <a:srgbClr val="336699"/>
                </a:solidFill>
              </a:rPr>
              <a:t>7 Jahre Klimakampagne OWL</a:t>
            </a:r>
            <a:br>
              <a:rPr lang="de-DE" sz="3300" b="1">
                <a:solidFill>
                  <a:srgbClr val="336699"/>
                </a:solidFill>
              </a:rPr>
            </a:br>
            <a:r>
              <a:rPr lang="de-DE" sz="3300" b="1">
                <a:solidFill>
                  <a:srgbClr val="336699"/>
                </a:solidFill>
              </a:rPr>
              <a:t>Das komplexe Thema gemeinsam angehen</a:t>
            </a:r>
          </a:p>
          <a:p>
            <a:endParaRPr lang="de-DE" sz="1663" b="1">
              <a:solidFill>
                <a:srgbClr val="02409C"/>
              </a:solidFill>
            </a:endParaRPr>
          </a:p>
        </p:txBody>
      </p:sp>
      <p:pic>
        <p:nvPicPr>
          <p:cNvPr id="2" name="Grafik 1" descr="Ein Bild, das draußen, Gras, Himmel, Person enthält.&#10;&#10;Automatisch generierte Beschreibung">
            <a:extLst>
              <a:ext uri="{FF2B5EF4-FFF2-40B4-BE49-F238E27FC236}">
                <a16:creationId xmlns:a16="http://schemas.microsoft.com/office/drawing/2014/main" id="{FA1CC023-7320-8B6C-8E82-95D4E65AFBE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80611" y="1870226"/>
            <a:ext cx="5208814" cy="2788517"/>
          </a:xfrm>
          <a:prstGeom prst="rect">
            <a:avLst/>
          </a:prstGeom>
          <a:effectLst>
            <a:outerShdw blurRad="50800" dist="38100" dir="2700000" algn="tl" rotWithShape="0">
              <a:prstClr val="black">
                <a:alpha val="40000"/>
              </a:prstClr>
            </a:outerShdw>
          </a:effectLst>
        </p:spPr>
      </p:pic>
      <p:pic>
        <p:nvPicPr>
          <p:cNvPr id="5" name="Grafik 4">
            <a:extLst>
              <a:ext uri="{FF2B5EF4-FFF2-40B4-BE49-F238E27FC236}">
                <a16:creationId xmlns:a16="http://schemas.microsoft.com/office/drawing/2014/main" id="{BC700676-4CEB-4460-FABD-B8AFA6C5B399}"/>
              </a:ext>
            </a:extLst>
          </p:cNvPr>
          <p:cNvPicPr>
            <a:picLocks noChangeAspect="1"/>
          </p:cNvPicPr>
          <p:nvPr/>
        </p:nvPicPr>
        <p:blipFill>
          <a:blip r:embed="rId4"/>
          <a:stretch>
            <a:fillRect/>
          </a:stretch>
        </p:blipFill>
        <p:spPr>
          <a:xfrm>
            <a:off x="270753" y="1684383"/>
            <a:ext cx="4916452" cy="3129073"/>
          </a:xfrm>
          <a:prstGeom prst="rect">
            <a:avLst/>
          </a:prstGeom>
        </p:spPr>
      </p:pic>
    </p:spTree>
    <p:extLst>
      <p:ext uri="{BB962C8B-B14F-4D97-AF65-F5344CB8AC3E}">
        <p14:creationId xmlns:p14="http://schemas.microsoft.com/office/powerpoint/2010/main" val="446090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anim calcmode="lin" valueType="num">
                                      <p:cBhvr>
                                        <p:cTn id="13" dur="1000" fill="hold"/>
                                        <p:tgtEl>
                                          <p:spTgt spid="2"/>
                                        </p:tgtEl>
                                        <p:attrNameLst>
                                          <p:attrName>ppt_x</p:attrName>
                                        </p:attrNameLst>
                                      </p:cBhvr>
                                      <p:tavLst>
                                        <p:tav tm="0">
                                          <p:val>
                                            <p:strVal val="#ppt_x"/>
                                          </p:val>
                                        </p:tav>
                                        <p:tav tm="100000">
                                          <p:val>
                                            <p:strVal val="#ppt_x"/>
                                          </p:val>
                                        </p:tav>
                                      </p:tavLst>
                                    </p:anim>
                                    <p:anim calcmode="lin" valueType="num">
                                      <p:cBhvr>
                                        <p:cTn id="14"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8E7DC358-D208-8E1B-C5CF-3096DAD98D67}"/>
              </a:ext>
            </a:extLst>
          </p:cNvPr>
          <p:cNvSpPr>
            <a:spLocks noGrp="1"/>
          </p:cNvSpPr>
          <p:nvPr>
            <p:ph type="sldNum" sz="quarter" idx="11"/>
          </p:nvPr>
        </p:nvSpPr>
        <p:spPr/>
        <p:txBody>
          <a:bodyPr/>
          <a:lstStyle/>
          <a:p>
            <a:endParaRPr lang="de-DE"/>
          </a:p>
          <a:p>
            <a:fld id="{7DE5403F-F903-455B-B996-E21CCD7F1C5A}" type="slidenum">
              <a:rPr lang="de-DE" smtClean="0"/>
              <a:t>60</a:t>
            </a:fld>
            <a:endParaRPr lang="de-DE"/>
          </a:p>
        </p:txBody>
      </p:sp>
      <p:sp>
        <p:nvSpPr>
          <p:cNvPr id="3" name="Title 2">
            <a:extLst>
              <a:ext uri="{FF2B5EF4-FFF2-40B4-BE49-F238E27FC236}">
                <a16:creationId xmlns:a16="http://schemas.microsoft.com/office/drawing/2014/main" id="{A4E52279-AA59-72FF-B5CB-8884844C9D52}"/>
              </a:ext>
            </a:extLst>
          </p:cNvPr>
          <p:cNvSpPr>
            <a:spLocks noGrp="1"/>
          </p:cNvSpPr>
          <p:nvPr>
            <p:ph type="title"/>
          </p:nvPr>
        </p:nvSpPr>
        <p:spPr/>
        <p:txBody>
          <a:bodyPr/>
          <a:lstStyle/>
          <a:p>
            <a:r>
              <a:rPr lang="de-DE"/>
              <a:t>								Thementisch 4</a:t>
            </a:r>
          </a:p>
        </p:txBody>
      </p:sp>
      <p:sp>
        <p:nvSpPr>
          <p:cNvPr id="14" name="Footer Placeholder 13">
            <a:extLst>
              <a:ext uri="{FF2B5EF4-FFF2-40B4-BE49-F238E27FC236}">
                <a16:creationId xmlns:a16="http://schemas.microsoft.com/office/drawing/2014/main" id="{D2101C16-6BE5-D121-20D5-16CF51B126A4}"/>
              </a:ext>
            </a:extLst>
          </p:cNvPr>
          <p:cNvSpPr>
            <a:spLocks noGrp="1"/>
          </p:cNvSpPr>
          <p:nvPr>
            <p:ph type="ftr" sz="quarter" idx="12"/>
          </p:nvPr>
        </p:nvSpPr>
        <p:spPr/>
        <p:txBody>
          <a:bodyPr anchor="ctr"/>
          <a:lstStyle/>
          <a:p>
            <a:r>
              <a:rPr lang="de-DE"/>
              <a:t>© 2026</a:t>
            </a:r>
          </a:p>
          <a:p>
            <a:r>
              <a:rPr lang="de-DE"/>
              <a:t>d-fine</a:t>
            </a:r>
          </a:p>
        </p:txBody>
      </p:sp>
      <p:pic>
        <p:nvPicPr>
          <p:cNvPr id="15" name="Grafik 14" descr="Ein Bild, das Kleidung, Person, Lächeln, Menschliches Gesicht enthält.&#10;&#10;KI-generierte Inhalte können fehlerhaft sein.">
            <a:extLst>
              <a:ext uri="{FF2B5EF4-FFF2-40B4-BE49-F238E27FC236}">
                <a16:creationId xmlns:a16="http://schemas.microsoft.com/office/drawing/2014/main" id="{5238C709-436E-CA07-2A1F-7F8196FF64B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5486" y="1191237"/>
            <a:ext cx="4714291" cy="4426514"/>
          </a:xfrm>
          <a:prstGeom prst="rect">
            <a:avLst/>
          </a:prstGeom>
        </p:spPr>
      </p:pic>
      <p:sp>
        <p:nvSpPr>
          <p:cNvPr id="16" name="Textfeld 15">
            <a:extLst>
              <a:ext uri="{FF2B5EF4-FFF2-40B4-BE49-F238E27FC236}">
                <a16:creationId xmlns:a16="http://schemas.microsoft.com/office/drawing/2014/main" id="{6B9A6A42-9889-CEFE-1062-E98D7B5B9B45}"/>
              </a:ext>
            </a:extLst>
          </p:cNvPr>
          <p:cNvSpPr txBox="1"/>
          <p:nvPr/>
        </p:nvSpPr>
        <p:spPr>
          <a:xfrm>
            <a:off x="5044914" y="1191237"/>
            <a:ext cx="4389120" cy="553998"/>
          </a:xfrm>
          <a:prstGeom prst="rect">
            <a:avLst/>
          </a:prstGeom>
          <a:noFill/>
        </p:spPr>
        <p:txBody>
          <a:bodyPr wrap="square">
            <a:spAutoFit/>
          </a:bodyPr>
          <a:lstStyle/>
          <a:p>
            <a:r>
              <a:rPr lang="de-DE" sz="3000" b="1">
                <a:solidFill>
                  <a:schemeClr val="bg1">
                    <a:lumMod val="50000"/>
                  </a:schemeClr>
                </a:solidFill>
                <a:effectLst/>
                <a:latin typeface="Aptos" panose="020B0004020202020204" pitchFamily="34" charset="0"/>
                <a:ea typeface="Aptos" panose="020B0004020202020204" pitchFamily="34" charset="0"/>
                <a:cs typeface="Aptos" panose="020B0004020202020204" pitchFamily="34" charset="0"/>
              </a:rPr>
              <a:t>Energieberatung</a:t>
            </a:r>
            <a:endParaRPr lang="de-DE" sz="3000" b="1">
              <a:solidFill>
                <a:schemeClr val="bg1">
                  <a:lumMod val="50000"/>
                </a:schemeClr>
              </a:solidFill>
            </a:endParaRPr>
          </a:p>
        </p:txBody>
      </p:sp>
      <p:pic>
        <p:nvPicPr>
          <p:cNvPr id="17" name="Grafik 16" descr="Ein Bild, das Text, Schrift, Grafiken, Logo enthält.&#10;&#10;KI-generierte Inhalte können fehlerhaft sein.">
            <a:extLst>
              <a:ext uri="{FF2B5EF4-FFF2-40B4-BE49-F238E27FC236}">
                <a16:creationId xmlns:a16="http://schemas.microsoft.com/office/drawing/2014/main" id="{0A02078F-F484-8911-AE92-7EF078E26C2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54233" y="2267325"/>
            <a:ext cx="2203983" cy="993953"/>
          </a:xfrm>
          <a:prstGeom prst="rect">
            <a:avLst/>
          </a:prstGeom>
        </p:spPr>
      </p:pic>
      <p:pic>
        <p:nvPicPr>
          <p:cNvPr id="18" name="Grafik 17" descr="Ein Bild, das Text, Schrift, Logo, Grafiken enthält.&#10;&#10;KI-generierte Inhalte können fehlerhaft sein.">
            <a:extLst>
              <a:ext uri="{FF2B5EF4-FFF2-40B4-BE49-F238E27FC236}">
                <a16:creationId xmlns:a16="http://schemas.microsoft.com/office/drawing/2014/main" id="{57FF7318-8AB4-1B1E-DF38-4F1015DD453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26435" y="4347646"/>
            <a:ext cx="2723189" cy="630754"/>
          </a:xfrm>
          <a:prstGeom prst="rect">
            <a:avLst/>
          </a:prstGeom>
        </p:spPr>
      </p:pic>
      <p:sp>
        <p:nvSpPr>
          <p:cNvPr id="19" name="Textfeld 18">
            <a:extLst>
              <a:ext uri="{FF2B5EF4-FFF2-40B4-BE49-F238E27FC236}">
                <a16:creationId xmlns:a16="http://schemas.microsoft.com/office/drawing/2014/main" id="{00663771-2789-F686-EE3B-F0C731573A3D}"/>
              </a:ext>
            </a:extLst>
          </p:cNvPr>
          <p:cNvSpPr txBox="1"/>
          <p:nvPr/>
        </p:nvSpPr>
        <p:spPr>
          <a:xfrm flipH="1">
            <a:off x="5099573" y="3205455"/>
            <a:ext cx="4279801" cy="2554545"/>
          </a:xfrm>
          <a:prstGeom prst="rect">
            <a:avLst/>
          </a:prstGeom>
          <a:noFill/>
        </p:spPr>
        <p:txBody>
          <a:bodyPr wrap="square" rtlCol="0">
            <a:spAutoFit/>
          </a:bodyPr>
          <a:lstStyle/>
          <a:p>
            <a:r>
              <a:rPr lang="de-DE" sz="2000" b="1" dirty="0">
                <a:solidFill>
                  <a:srgbClr val="004D9F"/>
                </a:solidFill>
                <a:latin typeface="+mj-lt"/>
                <a:ea typeface="+mj-ea"/>
                <a:cs typeface="+mj-cs"/>
              </a:rPr>
              <a:t>Annika Holthaus &amp; Moritz Groß</a:t>
            </a:r>
          </a:p>
          <a:p>
            <a:r>
              <a:rPr lang="de-DE" sz="2000" b="1" dirty="0">
                <a:solidFill>
                  <a:srgbClr val="004D9F"/>
                </a:solidFill>
                <a:latin typeface="+mj-lt"/>
                <a:ea typeface="+mj-ea"/>
                <a:cs typeface="+mj-cs"/>
              </a:rPr>
              <a:t>Stadt Rheda-Wiedenbrück</a:t>
            </a:r>
          </a:p>
          <a:p>
            <a:endParaRPr lang="de-DE" sz="2000" b="1" dirty="0">
              <a:solidFill>
                <a:srgbClr val="004D9F"/>
              </a:solidFill>
              <a:latin typeface="+mj-lt"/>
              <a:ea typeface="+mj-ea"/>
              <a:cs typeface="+mj-cs"/>
            </a:endParaRPr>
          </a:p>
          <a:p>
            <a:endParaRPr lang="de-DE" sz="2000" b="1" dirty="0">
              <a:solidFill>
                <a:srgbClr val="004D9F"/>
              </a:solidFill>
              <a:latin typeface="+mj-lt"/>
              <a:ea typeface="+mj-ea"/>
              <a:cs typeface="+mj-cs"/>
            </a:endParaRPr>
          </a:p>
          <a:p>
            <a:endParaRPr lang="de-DE" sz="2000" b="1" dirty="0">
              <a:solidFill>
                <a:srgbClr val="004D9F"/>
              </a:solidFill>
              <a:latin typeface="+mj-lt"/>
              <a:ea typeface="+mj-ea"/>
              <a:cs typeface="+mj-cs"/>
            </a:endParaRPr>
          </a:p>
          <a:p>
            <a:endParaRPr lang="de-DE" sz="2000" b="1" dirty="0">
              <a:solidFill>
                <a:srgbClr val="004D9F"/>
              </a:solidFill>
              <a:latin typeface="+mj-lt"/>
              <a:ea typeface="+mj-ea"/>
              <a:cs typeface="+mj-cs"/>
            </a:endParaRPr>
          </a:p>
          <a:p>
            <a:r>
              <a:rPr lang="de-DE" sz="2000" b="1" dirty="0">
                <a:solidFill>
                  <a:srgbClr val="004D9F"/>
                </a:solidFill>
                <a:latin typeface="+mj-lt"/>
                <a:ea typeface="+mj-ea"/>
                <a:cs typeface="+mj-cs"/>
              </a:rPr>
              <a:t>Brigitte Topmöller</a:t>
            </a:r>
          </a:p>
          <a:p>
            <a:r>
              <a:rPr lang="de-DE" sz="2000" b="1" dirty="0">
                <a:solidFill>
                  <a:srgbClr val="004D9F"/>
                </a:solidFill>
                <a:latin typeface="+mj-lt"/>
                <a:ea typeface="+mj-ea"/>
                <a:cs typeface="+mj-cs"/>
              </a:rPr>
              <a:t>Verbraucherzentrale NRW</a:t>
            </a:r>
          </a:p>
        </p:txBody>
      </p:sp>
      <p:pic>
        <p:nvPicPr>
          <p:cNvPr id="22" name="Grafik 21" descr="Besprechung mit einfarbiger Füllung">
            <a:extLst>
              <a:ext uri="{FF2B5EF4-FFF2-40B4-BE49-F238E27FC236}">
                <a16:creationId xmlns:a16="http://schemas.microsoft.com/office/drawing/2014/main" id="{394EE519-1B61-A558-4FC3-C8D5AFFB170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5486" y="136779"/>
            <a:ext cx="914400" cy="914400"/>
          </a:xfrm>
          <a:prstGeom prst="rect">
            <a:avLst/>
          </a:prstGeom>
        </p:spPr>
      </p:pic>
    </p:spTree>
    <p:extLst>
      <p:ext uri="{BB962C8B-B14F-4D97-AF65-F5344CB8AC3E}">
        <p14:creationId xmlns:p14="http://schemas.microsoft.com/office/powerpoint/2010/main" val="184103055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5B8A02-7EB4-44A5-753F-B51F2F12CF2D}"/>
              </a:ext>
            </a:extLst>
          </p:cNvPr>
          <p:cNvSpPr>
            <a:spLocks noGrp="1"/>
          </p:cNvSpPr>
          <p:nvPr>
            <p:ph type="title"/>
          </p:nvPr>
        </p:nvSpPr>
        <p:spPr/>
        <p:txBody>
          <a:bodyPr/>
          <a:lstStyle/>
          <a:p>
            <a:r>
              <a:rPr lang="de-DE">
                <a:latin typeface="Roboto" panose="02000000000000000000" pitchFamily="2" charset="0"/>
              </a:rPr>
              <a:t>Vielen Dank für ihre </a:t>
            </a:r>
            <a:r>
              <a:rPr lang="de-DE"/>
              <a:t>Aufmerksamkeit</a:t>
            </a:r>
            <a:r>
              <a:rPr lang="de-DE">
                <a:latin typeface="Roboto" panose="02000000000000000000" pitchFamily="2" charset="0"/>
              </a:rPr>
              <a:t>!</a:t>
            </a:r>
            <a:br>
              <a:rPr lang="de-DE">
                <a:latin typeface="Roboto" panose="02000000000000000000" pitchFamily="2" charset="0"/>
              </a:rPr>
            </a:br>
            <a:br>
              <a:rPr lang="de-DE">
                <a:latin typeface="Roboto" panose="02000000000000000000" pitchFamily="2" charset="0"/>
              </a:rPr>
            </a:br>
            <a:br>
              <a:rPr lang="de-DE">
                <a:latin typeface="Roboto" panose="02000000000000000000" pitchFamily="2" charset="0"/>
              </a:rPr>
            </a:br>
            <a:r>
              <a:rPr lang="de-DE">
                <a:latin typeface="Roboto" panose="02000000000000000000" pitchFamily="2" charset="0"/>
              </a:rPr>
              <a:t>Unsere Kontaktdaten</a:t>
            </a:r>
          </a:p>
        </p:txBody>
      </p:sp>
      <p:grpSp>
        <p:nvGrpSpPr>
          <p:cNvPr id="33" name="Group 32">
            <a:extLst>
              <a:ext uri="{FF2B5EF4-FFF2-40B4-BE49-F238E27FC236}">
                <a16:creationId xmlns:a16="http://schemas.microsoft.com/office/drawing/2014/main" id="{210D98AA-D0DB-DADA-1DC5-1449CE7807A2}"/>
              </a:ext>
            </a:extLst>
          </p:cNvPr>
          <p:cNvGrpSpPr/>
          <p:nvPr/>
        </p:nvGrpSpPr>
        <p:grpSpPr>
          <a:xfrm>
            <a:off x="685800" y="5097483"/>
            <a:ext cx="3087667" cy="738000"/>
            <a:chOff x="685800" y="5097483"/>
            <a:chExt cx="3087667" cy="738000"/>
          </a:xfrm>
        </p:grpSpPr>
        <p:pic>
          <p:nvPicPr>
            <p:cNvPr id="15" name="Contact_picture_Lukasz_Brodecki">
              <a:extLst>
                <a:ext uri="{FF2B5EF4-FFF2-40B4-BE49-F238E27FC236}">
                  <a16:creationId xmlns:a16="http://schemas.microsoft.com/office/drawing/2014/main" id="{AAF335B1-F376-C26D-2B25-6BF60F54DAC6}"/>
                </a:ext>
              </a:extLst>
            </p:cNvPr>
            <p:cNvPicPr>
              <a:picLocks/>
            </p:cNvPicPr>
            <p:nvPr>
              <p:custDataLst>
                <p:tags r:id="rId6"/>
              </p:custDataLst>
            </p:nvPr>
          </p:nvPicPr>
          <p:blipFill>
            <a:blip r:embed="rId10" cstate="screen">
              <a:extLst>
                <a:ext uri="{28A0092B-C50C-407E-A947-70E740481C1C}">
                  <a14:useLocalDpi xmlns:a14="http://schemas.microsoft.com/office/drawing/2010/main"/>
                </a:ext>
              </a:extLst>
            </a:blip>
            <a:stretch>
              <a:fillRect/>
            </a:stretch>
          </p:blipFill>
          <p:spPr>
            <a:xfrm>
              <a:off x="685800" y="5097483"/>
              <a:ext cx="738000" cy="738000"/>
            </a:xfrm>
            <a:prstGeom prst="ellipse">
              <a:avLst/>
            </a:prstGeom>
          </p:spPr>
        </p:pic>
        <p:sp>
          <p:nvSpPr>
            <p:cNvPr id="16" name="Contact_Box 5">
              <a:extLst>
                <a:ext uri="{FF2B5EF4-FFF2-40B4-BE49-F238E27FC236}">
                  <a16:creationId xmlns:a16="http://schemas.microsoft.com/office/drawing/2014/main" id="{3DEDA046-F337-7D5C-5B2A-FBC92A615C53}"/>
                </a:ext>
              </a:extLst>
            </p:cNvPr>
            <p:cNvSpPr/>
            <p:nvPr>
              <p:custDataLst>
                <p:tags r:id="rId7"/>
              </p:custDataLst>
            </p:nvPr>
          </p:nvSpPr>
          <p:spPr bwMode="gray">
            <a:xfrm>
              <a:off x="1598303" y="5101192"/>
              <a:ext cx="2175164" cy="734291"/>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p>
              <a:r>
                <a:rPr lang="de-DE" sz="982" b="1" dirty="0">
                  <a:solidFill>
                    <a:srgbClr val="003C50"/>
                  </a:solidFill>
                  <a:latin typeface="Roboto"/>
                </a:rPr>
                <a:t>Dr.-Ing.</a:t>
              </a:r>
              <a:r>
                <a:rPr lang="de-DE" sz="980" b="1" dirty="0">
                  <a:solidFill>
                    <a:schemeClr val="tx1"/>
                  </a:solidFill>
                </a:rPr>
                <a:t> </a:t>
              </a:r>
              <a:r>
                <a:rPr lang="en-US" sz="980" b="1" dirty="0">
                  <a:solidFill>
                    <a:schemeClr val="tx1"/>
                  </a:solidFill>
                </a:rPr>
                <a:t>Lukasz Brodecki</a:t>
              </a:r>
              <a:r>
                <a:rPr lang="en-US" sz="980" dirty="0">
                  <a:solidFill>
                    <a:schemeClr val="tx1"/>
                  </a:solidFill>
                </a:rPr>
                <a:t>
Senior Consultant
Lukasz.Brodecki@d-fine.com</a:t>
              </a:r>
            </a:p>
          </p:txBody>
        </p:sp>
      </p:grpSp>
      <p:grpSp>
        <p:nvGrpSpPr>
          <p:cNvPr id="35" name="Group 34">
            <a:extLst>
              <a:ext uri="{FF2B5EF4-FFF2-40B4-BE49-F238E27FC236}">
                <a16:creationId xmlns:a16="http://schemas.microsoft.com/office/drawing/2014/main" id="{187985F5-4E57-2FC1-ECB3-44CE9E1FD815}"/>
              </a:ext>
            </a:extLst>
          </p:cNvPr>
          <p:cNvGrpSpPr/>
          <p:nvPr/>
        </p:nvGrpSpPr>
        <p:grpSpPr>
          <a:xfrm>
            <a:off x="725467" y="3347760"/>
            <a:ext cx="3049735" cy="738170"/>
            <a:chOff x="725467" y="3347760"/>
            <a:chExt cx="3049735" cy="738170"/>
          </a:xfrm>
        </p:grpSpPr>
        <p:sp>
          <p:nvSpPr>
            <p:cNvPr id="26" name="Contact_Box 2">
              <a:extLst>
                <a:ext uri="{FF2B5EF4-FFF2-40B4-BE49-F238E27FC236}">
                  <a16:creationId xmlns:a16="http://schemas.microsoft.com/office/drawing/2014/main" id="{4D38E2B2-940F-C550-CFA8-1DCAA9E6A302}"/>
                </a:ext>
              </a:extLst>
            </p:cNvPr>
            <p:cNvSpPr/>
            <p:nvPr>
              <p:custDataLst>
                <p:tags r:id="rId5"/>
              </p:custDataLst>
            </p:nvPr>
          </p:nvSpPr>
          <p:spPr bwMode="gray">
            <a:xfrm>
              <a:off x="1600038" y="3351639"/>
              <a:ext cx="2175164" cy="734291"/>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p>
              <a:pPr defTabSz="997456"/>
              <a:r>
                <a:rPr lang="de-DE" sz="982" b="1">
                  <a:solidFill>
                    <a:srgbClr val="003C50"/>
                  </a:solidFill>
                  <a:latin typeface="Roboto"/>
                </a:rPr>
                <a:t>Dr.-Ing. Robert </a:t>
              </a:r>
              <a:r>
                <a:rPr lang="de-DE" sz="982" b="1" err="1">
                  <a:solidFill>
                    <a:srgbClr val="003C50"/>
                  </a:solidFill>
                  <a:latin typeface="Roboto"/>
                </a:rPr>
                <a:t>Beestermöller</a:t>
              </a:r>
              <a:endParaRPr lang="de-DE" sz="982" b="1">
                <a:solidFill>
                  <a:srgbClr val="003C50"/>
                </a:solidFill>
                <a:latin typeface="Roboto"/>
              </a:endParaRPr>
            </a:p>
            <a:p>
              <a:pPr defTabSz="997456"/>
              <a:r>
                <a:rPr lang="de-DE" sz="982">
                  <a:solidFill>
                    <a:srgbClr val="003C50"/>
                  </a:solidFill>
                  <a:latin typeface="Roboto"/>
                </a:rPr>
                <a:t>Senior Manager
Robert.Beestermoeller@d-fine.com</a:t>
              </a:r>
            </a:p>
          </p:txBody>
        </p:sp>
        <p:pic>
          <p:nvPicPr>
            <p:cNvPr id="27" name="Picture 26">
              <a:extLst>
                <a:ext uri="{FF2B5EF4-FFF2-40B4-BE49-F238E27FC236}">
                  <a16:creationId xmlns:a16="http://schemas.microsoft.com/office/drawing/2014/main" id="{38EC6A0C-1DE0-E170-71D4-3F9535E4EEE8}"/>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725467" y="3347760"/>
              <a:ext cx="736026" cy="738170"/>
            </a:xfrm>
            <a:prstGeom prst="ellipse">
              <a:avLst/>
            </a:prstGeom>
          </p:spPr>
        </p:pic>
      </p:grpSp>
      <p:grpSp>
        <p:nvGrpSpPr>
          <p:cNvPr id="5" name="Group 4">
            <a:extLst>
              <a:ext uri="{FF2B5EF4-FFF2-40B4-BE49-F238E27FC236}">
                <a16:creationId xmlns:a16="http://schemas.microsoft.com/office/drawing/2014/main" id="{ABD5DA34-235E-22ED-CDCD-59EBC145E79C}"/>
              </a:ext>
            </a:extLst>
          </p:cNvPr>
          <p:cNvGrpSpPr/>
          <p:nvPr/>
        </p:nvGrpSpPr>
        <p:grpSpPr>
          <a:xfrm>
            <a:off x="4532480" y="4226416"/>
            <a:ext cx="3570739" cy="738170"/>
            <a:chOff x="684210" y="4136835"/>
            <a:chExt cx="3273177" cy="676656"/>
          </a:xfrm>
        </p:grpSpPr>
        <p:sp>
          <p:nvSpPr>
            <p:cNvPr id="6" name="Contact_Box 2">
              <a:extLst>
                <a:ext uri="{FF2B5EF4-FFF2-40B4-BE49-F238E27FC236}">
                  <a16:creationId xmlns:a16="http://schemas.microsoft.com/office/drawing/2014/main" id="{1ACC6DFF-0954-F920-FF50-C1021ED32E65}"/>
                </a:ext>
              </a:extLst>
            </p:cNvPr>
            <p:cNvSpPr/>
            <p:nvPr>
              <p:custDataLst>
                <p:tags r:id="rId4"/>
              </p:custDataLst>
            </p:nvPr>
          </p:nvSpPr>
          <p:spPr bwMode="gray">
            <a:xfrm>
              <a:off x="1485900" y="4136835"/>
              <a:ext cx="2471487" cy="673100"/>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p>
              <a:pPr defTabSz="997456"/>
              <a:endParaRPr lang="de-DE" sz="982" b="1">
                <a:solidFill>
                  <a:srgbClr val="003C50"/>
                </a:solidFill>
                <a:latin typeface="Roboto"/>
              </a:endParaRPr>
            </a:p>
            <a:p>
              <a:pPr defTabSz="997456"/>
              <a:r>
                <a:rPr lang="de-DE" sz="982" b="1">
                  <a:solidFill>
                    <a:srgbClr val="003C50"/>
                  </a:solidFill>
                  <a:latin typeface="Roboto"/>
                </a:rPr>
                <a:t>Annika Holthaus</a:t>
              </a:r>
            </a:p>
            <a:p>
              <a:pPr defTabSz="997456"/>
              <a:r>
                <a:rPr lang="de-DE" sz="982">
                  <a:solidFill>
                    <a:srgbClr val="003C50"/>
                  </a:solidFill>
                  <a:latin typeface="Roboto"/>
                </a:rPr>
                <a:t>Abteilung Klima, Mobilität und Stadterneuerung
Annika.Holthaus@rh-wd.de</a:t>
              </a:r>
            </a:p>
          </p:txBody>
        </p:sp>
        <p:pic>
          <p:nvPicPr>
            <p:cNvPr id="7" name="Picture 6">
              <a:extLst>
                <a:ext uri="{FF2B5EF4-FFF2-40B4-BE49-F238E27FC236}">
                  <a16:creationId xmlns:a16="http://schemas.microsoft.com/office/drawing/2014/main" id="{8D91DEF1-91A3-A27B-8461-769893C8718D}"/>
                </a:ext>
              </a:extLst>
            </p:cNvPr>
            <p:cNvPicPr>
              <a:picLocks noChangeAspect="1"/>
            </p:cNvPicPr>
            <p:nvPr/>
          </p:nvPicPr>
          <p:blipFill>
            <a:blip r:embed="rId12" cstate="screen">
              <a:extLst>
                <a:ext uri="{28A0092B-C50C-407E-A947-70E740481C1C}">
                  <a14:useLocalDpi xmlns:a14="http://schemas.microsoft.com/office/drawing/2010/main"/>
                </a:ext>
              </a:extLst>
            </a:blip>
            <a:srcRect/>
            <a:stretch/>
          </p:blipFill>
          <p:spPr>
            <a:xfrm>
              <a:off x="684210" y="4136835"/>
              <a:ext cx="674690" cy="676656"/>
            </a:xfrm>
            <a:prstGeom prst="ellipse">
              <a:avLst/>
            </a:prstGeom>
          </p:spPr>
        </p:pic>
      </p:grpSp>
      <p:grpSp>
        <p:nvGrpSpPr>
          <p:cNvPr id="8" name="Group 7">
            <a:extLst>
              <a:ext uri="{FF2B5EF4-FFF2-40B4-BE49-F238E27FC236}">
                <a16:creationId xmlns:a16="http://schemas.microsoft.com/office/drawing/2014/main" id="{F8B26E37-BFB4-4853-E952-3AD79DCF8DC5}"/>
              </a:ext>
            </a:extLst>
          </p:cNvPr>
          <p:cNvGrpSpPr/>
          <p:nvPr/>
        </p:nvGrpSpPr>
        <p:grpSpPr>
          <a:xfrm>
            <a:off x="4532480" y="5071424"/>
            <a:ext cx="3511265" cy="738170"/>
            <a:chOff x="684210" y="4133279"/>
            <a:chExt cx="3218659" cy="676656"/>
          </a:xfrm>
        </p:grpSpPr>
        <p:sp>
          <p:nvSpPr>
            <p:cNvPr id="9" name="Contact_Box 2">
              <a:extLst>
                <a:ext uri="{FF2B5EF4-FFF2-40B4-BE49-F238E27FC236}">
                  <a16:creationId xmlns:a16="http://schemas.microsoft.com/office/drawing/2014/main" id="{068B3326-7FD2-F989-95AB-E5B6A9E9B0AD}"/>
                </a:ext>
              </a:extLst>
            </p:cNvPr>
            <p:cNvSpPr/>
            <p:nvPr>
              <p:custDataLst>
                <p:tags r:id="rId3"/>
              </p:custDataLst>
            </p:nvPr>
          </p:nvSpPr>
          <p:spPr bwMode="gray">
            <a:xfrm>
              <a:off x="1485899" y="4136835"/>
              <a:ext cx="2416970" cy="673100"/>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p>
              <a:pPr defTabSz="997456"/>
              <a:endParaRPr lang="de-DE" sz="982" b="1">
                <a:solidFill>
                  <a:srgbClr val="003C50"/>
                </a:solidFill>
                <a:latin typeface="Roboto"/>
              </a:endParaRPr>
            </a:p>
            <a:p>
              <a:pPr defTabSz="997456"/>
              <a:r>
                <a:rPr lang="de-DE" sz="982" b="1">
                  <a:solidFill>
                    <a:srgbClr val="003C50"/>
                  </a:solidFill>
                  <a:latin typeface="Roboto"/>
                </a:rPr>
                <a:t>Moritz Groß</a:t>
              </a:r>
            </a:p>
            <a:p>
              <a:pPr defTabSz="997456"/>
              <a:r>
                <a:rPr lang="de-DE" sz="982">
                  <a:solidFill>
                    <a:srgbClr val="003C50"/>
                  </a:solidFill>
                  <a:latin typeface="Roboto"/>
                </a:rPr>
                <a:t>Abteilung Klima, Mobilität und Stadterneuerung
Moritz.Gross@rh-wd.de</a:t>
              </a:r>
            </a:p>
          </p:txBody>
        </p:sp>
        <p:pic>
          <p:nvPicPr>
            <p:cNvPr id="10" name="Picture 9">
              <a:extLst>
                <a:ext uri="{FF2B5EF4-FFF2-40B4-BE49-F238E27FC236}">
                  <a16:creationId xmlns:a16="http://schemas.microsoft.com/office/drawing/2014/main" id="{34AB1BAD-AE72-8236-A20F-D90B05053D3A}"/>
                </a:ext>
              </a:extLst>
            </p:cNvPr>
            <p:cNvPicPr>
              <a:picLocks noChangeAspect="1"/>
            </p:cNvPicPr>
            <p:nvPr/>
          </p:nvPicPr>
          <p:blipFill>
            <a:blip r:embed="rId13" cstate="screen">
              <a:extLst>
                <a:ext uri="{28A0092B-C50C-407E-A947-70E740481C1C}">
                  <a14:useLocalDpi xmlns:a14="http://schemas.microsoft.com/office/drawing/2010/main"/>
                </a:ext>
              </a:extLst>
            </a:blip>
            <a:srcRect/>
            <a:stretch/>
          </p:blipFill>
          <p:spPr>
            <a:xfrm>
              <a:off x="684210" y="4133279"/>
              <a:ext cx="674690" cy="676656"/>
            </a:xfrm>
            <a:prstGeom prst="ellipse">
              <a:avLst/>
            </a:prstGeom>
          </p:spPr>
        </p:pic>
      </p:grpSp>
      <p:grpSp>
        <p:nvGrpSpPr>
          <p:cNvPr id="11" name="Group 10">
            <a:extLst>
              <a:ext uri="{FF2B5EF4-FFF2-40B4-BE49-F238E27FC236}">
                <a16:creationId xmlns:a16="http://schemas.microsoft.com/office/drawing/2014/main" id="{D7C695BB-DDE6-BA3D-6927-F174336CC310}"/>
              </a:ext>
            </a:extLst>
          </p:cNvPr>
          <p:cNvGrpSpPr/>
          <p:nvPr/>
        </p:nvGrpSpPr>
        <p:grpSpPr>
          <a:xfrm>
            <a:off x="4532480" y="3347760"/>
            <a:ext cx="3570739" cy="738170"/>
            <a:chOff x="684210" y="4136835"/>
            <a:chExt cx="3273177" cy="676656"/>
          </a:xfrm>
        </p:grpSpPr>
        <p:sp>
          <p:nvSpPr>
            <p:cNvPr id="12" name="Contact_Box 2">
              <a:extLst>
                <a:ext uri="{FF2B5EF4-FFF2-40B4-BE49-F238E27FC236}">
                  <a16:creationId xmlns:a16="http://schemas.microsoft.com/office/drawing/2014/main" id="{D2A4E0BA-1461-DBFD-BD50-374368FFF232}"/>
                </a:ext>
              </a:extLst>
            </p:cNvPr>
            <p:cNvSpPr/>
            <p:nvPr>
              <p:custDataLst>
                <p:tags r:id="rId2"/>
              </p:custDataLst>
            </p:nvPr>
          </p:nvSpPr>
          <p:spPr bwMode="gray">
            <a:xfrm>
              <a:off x="1485900" y="4136835"/>
              <a:ext cx="2471487" cy="673100"/>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p>
              <a:pPr defTabSz="997456"/>
              <a:endParaRPr lang="de-DE" sz="982" b="1">
                <a:solidFill>
                  <a:srgbClr val="003C50"/>
                </a:solidFill>
                <a:latin typeface="Roboto"/>
              </a:endParaRPr>
            </a:p>
            <a:p>
              <a:pPr defTabSz="997456"/>
              <a:r>
                <a:rPr lang="de-DE" sz="982" b="1">
                  <a:solidFill>
                    <a:srgbClr val="003C50"/>
                  </a:solidFill>
                  <a:latin typeface="Roboto"/>
                </a:rPr>
                <a:t>Marc Heidfeld</a:t>
              </a:r>
            </a:p>
            <a:p>
              <a:pPr defTabSz="997456"/>
              <a:r>
                <a:rPr lang="de-DE" sz="982">
                  <a:solidFill>
                    <a:srgbClr val="003C50"/>
                  </a:solidFill>
                  <a:latin typeface="Roboto"/>
                </a:rPr>
                <a:t>Abteilung Klima, Mobilität und Stadterneuerung
Marc.Heidfeld@rh-wd.de</a:t>
              </a:r>
            </a:p>
          </p:txBody>
        </p:sp>
        <p:pic>
          <p:nvPicPr>
            <p:cNvPr id="17" name="Picture 16">
              <a:extLst>
                <a:ext uri="{FF2B5EF4-FFF2-40B4-BE49-F238E27FC236}">
                  <a16:creationId xmlns:a16="http://schemas.microsoft.com/office/drawing/2014/main" id="{CA115037-81FC-3CF6-CCA4-41B0B9B744AE}"/>
                </a:ext>
              </a:extLst>
            </p:cNvPr>
            <p:cNvPicPr>
              <a:picLocks noChangeAspect="1"/>
            </p:cNvPicPr>
            <p:nvPr/>
          </p:nvPicPr>
          <p:blipFill>
            <a:blip r:embed="rId14" cstate="screen">
              <a:extLst>
                <a:ext uri="{28A0092B-C50C-407E-A947-70E740481C1C}">
                  <a14:useLocalDpi xmlns:a14="http://schemas.microsoft.com/office/drawing/2010/main"/>
                </a:ext>
              </a:extLst>
            </a:blip>
            <a:srcRect/>
            <a:stretch/>
          </p:blipFill>
          <p:spPr>
            <a:xfrm>
              <a:off x="684210" y="4136835"/>
              <a:ext cx="674690" cy="676656"/>
            </a:xfrm>
            <a:prstGeom prst="ellipse">
              <a:avLst/>
            </a:prstGeom>
          </p:spPr>
        </p:pic>
      </p:grpSp>
      <p:sp>
        <p:nvSpPr>
          <p:cNvPr id="14" name="Contact_Box 2">
            <a:extLst>
              <a:ext uri="{FF2B5EF4-FFF2-40B4-BE49-F238E27FC236}">
                <a16:creationId xmlns:a16="http://schemas.microsoft.com/office/drawing/2014/main" id="{7DE6040F-46B5-8754-8EF7-29BE573F317C}"/>
              </a:ext>
            </a:extLst>
          </p:cNvPr>
          <p:cNvSpPr/>
          <p:nvPr>
            <p:custDataLst>
              <p:tags r:id="rId1"/>
            </p:custDataLst>
          </p:nvPr>
        </p:nvSpPr>
        <p:spPr bwMode="gray">
          <a:xfrm>
            <a:off x="1600038" y="4202717"/>
            <a:ext cx="2175164" cy="734291"/>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p>
            <a:r>
              <a:rPr lang="de-DE" sz="982" b="1" dirty="0">
                <a:solidFill>
                  <a:srgbClr val="003C50"/>
                </a:solidFill>
                <a:latin typeface="Roboto"/>
              </a:rPr>
              <a:t>Dr.-Ing.</a:t>
            </a:r>
            <a:r>
              <a:rPr lang="de-DE" sz="980" b="1" dirty="0">
                <a:solidFill>
                  <a:schemeClr val="tx1"/>
                </a:solidFill>
              </a:rPr>
              <a:t> Leonie Mester</a:t>
            </a:r>
            <a:r>
              <a:rPr lang="de-DE" sz="980" dirty="0">
                <a:solidFill>
                  <a:schemeClr val="tx1"/>
                </a:solidFill>
              </a:rPr>
              <a:t>
Consultant
Leonie.Mester@d-fine.com</a:t>
            </a:r>
            <a:endParaRPr lang="en-US" sz="980" dirty="0">
              <a:solidFill>
                <a:schemeClr val="tx1"/>
              </a:solidFill>
            </a:endParaRPr>
          </a:p>
        </p:txBody>
      </p:sp>
      <p:pic>
        <p:nvPicPr>
          <p:cNvPr id="3" name="Picture 2" descr="A person smiling for a picture&#10;&#10;AI-generated content may be incorrect.">
            <a:extLst>
              <a:ext uri="{FF2B5EF4-FFF2-40B4-BE49-F238E27FC236}">
                <a16:creationId xmlns:a16="http://schemas.microsoft.com/office/drawing/2014/main" id="{2036004E-4EC3-6E0E-0340-64218B270359}"/>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25467" y="4240707"/>
            <a:ext cx="720000" cy="7200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52441272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69469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descr="Ein Bild, das Straße, draußen, Schnellstraße, Weg enthält.&#10;&#10;KI-generierte Inhalte können fehlerhaft sein.">
            <a:extLst>
              <a:ext uri="{FF2B5EF4-FFF2-40B4-BE49-F238E27FC236}">
                <a16:creationId xmlns:a16="http://schemas.microsoft.com/office/drawing/2014/main" id="{44E01753-B250-BA9D-3150-97CEE86C2E57}"/>
              </a:ext>
            </a:extLst>
          </p:cNvPr>
          <p:cNvPicPr>
            <a:picLocks noChangeAspect="1"/>
          </p:cNvPicPr>
          <p:nvPr/>
        </p:nvPicPr>
        <p:blipFill>
          <a:blip r:embed="rId2"/>
          <a:stretch>
            <a:fillRect/>
          </a:stretch>
        </p:blipFill>
        <p:spPr>
          <a:xfrm>
            <a:off x="390477" y="0"/>
            <a:ext cx="10193878" cy="6286500"/>
          </a:xfrm>
          <a:prstGeom prst="rect">
            <a:avLst/>
          </a:prstGeom>
        </p:spPr>
      </p:pic>
      <p:sp>
        <p:nvSpPr>
          <p:cNvPr id="2" name="Textfeld 1">
            <a:extLst>
              <a:ext uri="{FF2B5EF4-FFF2-40B4-BE49-F238E27FC236}">
                <a16:creationId xmlns:a16="http://schemas.microsoft.com/office/drawing/2014/main" id="{DE10096A-50EA-ABEF-5B3D-100A47F34287}"/>
              </a:ext>
            </a:extLst>
          </p:cNvPr>
          <p:cNvSpPr txBox="1"/>
          <p:nvPr/>
        </p:nvSpPr>
        <p:spPr>
          <a:xfrm>
            <a:off x="4236429" y="2204466"/>
            <a:ext cx="1972015" cy="351506"/>
          </a:xfrm>
          <a:prstGeom prst="rect">
            <a:avLst/>
          </a:prstGeom>
          <a:noFill/>
        </p:spPr>
        <p:txBody>
          <a:bodyPr wrap="none" rtlCol="0">
            <a:spAutoFit/>
          </a:bodyPr>
          <a:lstStyle/>
          <a:p>
            <a:r>
              <a:rPr lang="de-DE" sz="1684" b="1" dirty="0">
                <a:solidFill>
                  <a:schemeClr val="bg1"/>
                </a:solidFill>
              </a:rPr>
              <a:t>1973 Erste Ölkrise</a:t>
            </a:r>
          </a:p>
        </p:txBody>
      </p:sp>
      <p:sp>
        <p:nvSpPr>
          <p:cNvPr id="3" name="Textfeld 2">
            <a:extLst>
              <a:ext uri="{FF2B5EF4-FFF2-40B4-BE49-F238E27FC236}">
                <a16:creationId xmlns:a16="http://schemas.microsoft.com/office/drawing/2014/main" id="{613C9BBF-ABC9-37A9-7779-39BFC7DE0747}"/>
              </a:ext>
            </a:extLst>
          </p:cNvPr>
          <p:cNvSpPr txBox="1"/>
          <p:nvPr/>
        </p:nvSpPr>
        <p:spPr>
          <a:xfrm>
            <a:off x="3721901" y="2744625"/>
            <a:ext cx="6837128" cy="351506"/>
          </a:xfrm>
          <a:prstGeom prst="rect">
            <a:avLst/>
          </a:prstGeom>
          <a:noFill/>
        </p:spPr>
        <p:txBody>
          <a:bodyPr wrap="none" rtlCol="0">
            <a:spAutoFit/>
          </a:bodyPr>
          <a:lstStyle/>
          <a:p>
            <a:r>
              <a:rPr lang="de-DE" sz="1684" b="1" dirty="0">
                <a:solidFill>
                  <a:schemeClr val="bg1"/>
                </a:solidFill>
              </a:rPr>
              <a:t>Lieferboykott der arabischen OPEC-Länder wegen Jom-Kippur-Krieg</a:t>
            </a:r>
          </a:p>
        </p:txBody>
      </p:sp>
      <p:sp>
        <p:nvSpPr>
          <p:cNvPr id="4" name="Textfeld 3">
            <a:extLst>
              <a:ext uri="{FF2B5EF4-FFF2-40B4-BE49-F238E27FC236}">
                <a16:creationId xmlns:a16="http://schemas.microsoft.com/office/drawing/2014/main" id="{00BE5859-B671-DC4D-5767-6FC30A2359BF}"/>
              </a:ext>
            </a:extLst>
          </p:cNvPr>
          <p:cNvSpPr txBox="1"/>
          <p:nvPr/>
        </p:nvSpPr>
        <p:spPr>
          <a:xfrm>
            <a:off x="2940012" y="3250819"/>
            <a:ext cx="6689652" cy="869854"/>
          </a:xfrm>
          <a:prstGeom prst="rect">
            <a:avLst/>
          </a:prstGeom>
          <a:noFill/>
        </p:spPr>
        <p:txBody>
          <a:bodyPr wrap="none" rtlCol="0">
            <a:spAutoFit/>
          </a:bodyPr>
          <a:lstStyle/>
          <a:p>
            <a:r>
              <a:rPr lang="de-DE" sz="1684" b="1" dirty="0">
                <a:solidFill>
                  <a:schemeClr val="bg1"/>
                </a:solidFill>
              </a:rPr>
              <a:t>akuter Rohölmangel</a:t>
            </a:r>
          </a:p>
          <a:p>
            <a:r>
              <a:rPr lang="de-DE" sz="1684" b="1" dirty="0">
                <a:solidFill>
                  <a:schemeClr val="bg1"/>
                </a:solidFill>
              </a:rPr>
              <a:t>explodierende Preise (4fach höher)</a:t>
            </a:r>
          </a:p>
          <a:p>
            <a:r>
              <a:rPr lang="de-DE" sz="1684" b="1" dirty="0">
                <a:solidFill>
                  <a:schemeClr val="bg1"/>
                </a:solidFill>
              </a:rPr>
              <a:t>machte die Abhängigkeit von Energieimporten schlagartig bewusst</a:t>
            </a:r>
          </a:p>
        </p:txBody>
      </p:sp>
      <p:sp>
        <p:nvSpPr>
          <p:cNvPr id="6" name="Textfeld 5">
            <a:extLst>
              <a:ext uri="{FF2B5EF4-FFF2-40B4-BE49-F238E27FC236}">
                <a16:creationId xmlns:a16="http://schemas.microsoft.com/office/drawing/2014/main" id="{79FE0631-FF1A-C308-C4F4-84F699A5C17E}"/>
              </a:ext>
            </a:extLst>
          </p:cNvPr>
          <p:cNvSpPr txBox="1"/>
          <p:nvPr/>
        </p:nvSpPr>
        <p:spPr>
          <a:xfrm>
            <a:off x="2203743" y="4326700"/>
            <a:ext cx="6734536" cy="610680"/>
          </a:xfrm>
          <a:prstGeom prst="rect">
            <a:avLst/>
          </a:prstGeom>
          <a:noFill/>
        </p:spPr>
        <p:txBody>
          <a:bodyPr wrap="none" rtlCol="0">
            <a:spAutoFit/>
          </a:bodyPr>
          <a:lstStyle/>
          <a:p>
            <a:r>
              <a:rPr lang="de-DE" sz="1684" b="1" dirty="0">
                <a:solidFill>
                  <a:schemeClr val="bg1"/>
                </a:solidFill>
              </a:rPr>
              <a:t>4 autofreie Sonntage</a:t>
            </a:r>
          </a:p>
          <a:p>
            <a:r>
              <a:rPr lang="de-DE" sz="1684" b="1" dirty="0">
                <a:solidFill>
                  <a:schemeClr val="bg1"/>
                </a:solidFill>
              </a:rPr>
              <a:t>Tempolimit auf Landstraßen (80 km/h) und Autobahnen (100 km/h)</a:t>
            </a:r>
          </a:p>
        </p:txBody>
      </p:sp>
      <p:pic>
        <p:nvPicPr>
          <p:cNvPr id="10" name="Grafik 9">
            <a:extLst>
              <a:ext uri="{FF2B5EF4-FFF2-40B4-BE49-F238E27FC236}">
                <a16:creationId xmlns:a16="http://schemas.microsoft.com/office/drawing/2014/main" id="{E8A35C91-7F2C-9021-B3F1-EAE68F896B0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95165" y="-167639"/>
            <a:ext cx="1889190" cy="733950"/>
          </a:xfrm>
          <a:prstGeom prst="rect">
            <a:avLst/>
          </a:prstGeom>
        </p:spPr>
      </p:pic>
    </p:spTree>
    <p:extLst>
      <p:ext uri="{BB962C8B-B14F-4D97-AF65-F5344CB8AC3E}">
        <p14:creationId xmlns:p14="http://schemas.microsoft.com/office/powerpoint/2010/main" val="2758450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anim calcmode="lin" valueType="num">
                                      <p:cBhvr>
                                        <p:cTn id="13" dur="1000" fill="hold"/>
                                        <p:tgtEl>
                                          <p:spTgt spid="2"/>
                                        </p:tgtEl>
                                        <p:attrNameLst>
                                          <p:attrName>ppt_x</p:attrName>
                                        </p:attrNameLst>
                                      </p:cBhvr>
                                      <p:tavLst>
                                        <p:tav tm="0">
                                          <p:val>
                                            <p:strVal val="#ppt_x"/>
                                          </p:val>
                                        </p:tav>
                                        <p:tav tm="100000">
                                          <p:val>
                                            <p:strVal val="#ppt_x"/>
                                          </p:val>
                                        </p:tav>
                                      </p:tavLst>
                                    </p:anim>
                                    <p:anim calcmode="lin" valueType="num">
                                      <p:cBhvr>
                                        <p:cTn id="14"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6" presetClass="entr" presetSubtype="21" fill="hold" grpId="0" nodeType="click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barn(inVertical)">
                                      <p:cBhvr>
                                        <p:cTn id="19" dur="500"/>
                                        <p:tgtEl>
                                          <p:spTgt spid="3"/>
                                        </p:tgtEl>
                                      </p:cBhvr>
                                    </p:animEffect>
                                  </p:childTnLst>
                                </p:cTn>
                              </p:par>
                            </p:childTnLst>
                          </p:cTn>
                        </p:par>
                      </p:childTnLst>
                    </p:cTn>
                  </p:par>
                  <p:par>
                    <p:cTn id="20" fill="hold">
                      <p:stCondLst>
                        <p:cond delay="indefinite"/>
                      </p:stCondLst>
                      <p:childTnLst>
                        <p:par>
                          <p:cTn id="21" fill="hold">
                            <p:stCondLst>
                              <p:cond delay="0"/>
                            </p:stCondLst>
                            <p:childTnLst>
                              <p:par>
                                <p:cTn id="22" presetID="16" presetClass="entr" presetSubtype="21" fill="hold" grpId="0" nodeType="click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barn(inVertical)">
                                      <p:cBhvr>
                                        <p:cTn id="24" dur="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grpId="0"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barn(inVertical)">
                                      <p:cBhvr>
                                        <p:cTn id="2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4" grpId="0"/>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5C4D7B20-91EF-484B-1308-C994C3829BF8}"/>
              </a:ext>
            </a:extLst>
          </p:cNvPr>
          <p:cNvPicPr>
            <a:picLocks noChangeAspect="1"/>
          </p:cNvPicPr>
          <p:nvPr/>
        </p:nvPicPr>
        <p:blipFill>
          <a:blip r:embed="rId2"/>
          <a:srcRect b="900"/>
          <a:stretch>
            <a:fillRect/>
          </a:stretch>
        </p:blipFill>
        <p:spPr>
          <a:xfrm>
            <a:off x="18" y="1175"/>
            <a:ext cx="11175982" cy="6285325"/>
          </a:xfrm>
          <a:prstGeom prst="rect">
            <a:avLst/>
          </a:prstGeom>
        </p:spPr>
      </p:pic>
      <p:sp>
        <p:nvSpPr>
          <p:cNvPr id="6" name="Textfeld 5">
            <a:extLst>
              <a:ext uri="{FF2B5EF4-FFF2-40B4-BE49-F238E27FC236}">
                <a16:creationId xmlns:a16="http://schemas.microsoft.com/office/drawing/2014/main" id="{0A2EA705-CA4F-F482-E793-7409FC1B4D60}"/>
              </a:ext>
            </a:extLst>
          </p:cNvPr>
          <p:cNvSpPr txBox="1"/>
          <p:nvPr/>
        </p:nvSpPr>
        <p:spPr>
          <a:xfrm>
            <a:off x="4494506" y="172164"/>
            <a:ext cx="6272871" cy="402739"/>
          </a:xfrm>
          <a:prstGeom prst="rect">
            <a:avLst/>
          </a:prstGeom>
          <a:noFill/>
        </p:spPr>
        <p:txBody>
          <a:bodyPr wrap="none" rtlCol="0">
            <a:spAutoFit/>
          </a:bodyPr>
          <a:lstStyle/>
          <a:p>
            <a:r>
              <a:rPr lang="de-DE" sz="2017" b="1" dirty="0">
                <a:solidFill>
                  <a:schemeClr val="tx1">
                    <a:lumMod val="65000"/>
                    <a:lumOff val="35000"/>
                  </a:schemeClr>
                </a:solidFill>
              </a:rPr>
              <a:t>2026 Öltanker stauen sich in der Straße von Hormus</a:t>
            </a:r>
            <a:endParaRPr lang="de-DE" sz="2017" b="1" dirty="0">
              <a:solidFill>
                <a:schemeClr val="bg1"/>
              </a:solidFill>
            </a:endParaRPr>
          </a:p>
        </p:txBody>
      </p:sp>
      <p:sp>
        <p:nvSpPr>
          <p:cNvPr id="7" name="Textfeld 6">
            <a:extLst>
              <a:ext uri="{FF2B5EF4-FFF2-40B4-BE49-F238E27FC236}">
                <a16:creationId xmlns:a16="http://schemas.microsoft.com/office/drawing/2014/main" id="{22E1E826-C7E0-2079-EEE8-7A407D9FA50B}"/>
              </a:ext>
            </a:extLst>
          </p:cNvPr>
          <p:cNvSpPr txBox="1"/>
          <p:nvPr/>
        </p:nvSpPr>
        <p:spPr>
          <a:xfrm>
            <a:off x="4494506" y="572691"/>
            <a:ext cx="3664786" cy="1107996"/>
          </a:xfrm>
          <a:prstGeom prst="rect">
            <a:avLst/>
          </a:prstGeom>
          <a:noFill/>
        </p:spPr>
        <p:txBody>
          <a:bodyPr wrap="none" rtlCol="0">
            <a:spAutoFit/>
          </a:bodyPr>
          <a:lstStyle/>
          <a:p>
            <a:r>
              <a:rPr lang="de-DE" sz="2017" b="1" dirty="0">
                <a:solidFill>
                  <a:schemeClr val="tx1">
                    <a:lumMod val="65000"/>
                    <a:lumOff val="35000"/>
                  </a:schemeClr>
                </a:solidFill>
              </a:rPr>
              <a:t>Größte Energiekrise seit 1973</a:t>
            </a:r>
          </a:p>
          <a:p>
            <a:pPr marL="314336" indent="-314336">
              <a:buFontTx/>
              <a:buChar char="-"/>
            </a:pPr>
            <a:r>
              <a:rPr lang="de-DE" sz="1283" dirty="0">
                <a:solidFill>
                  <a:schemeClr val="tx1">
                    <a:lumMod val="65000"/>
                    <a:lumOff val="35000"/>
                  </a:schemeClr>
                </a:solidFill>
              </a:rPr>
              <a:t>Auch Infrastruktur wird zerstört</a:t>
            </a:r>
          </a:p>
          <a:p>
            <a:pPr marL="314336" indent="-314336">
              <a:buFontTx/>
              <a:buChar char="-"/>
            </a:pPr>
            <a:r>
              <a:rPr lang="de-DE" sz="1283" dirty="0">
                <a:solidFill>
                  <a:schemeClr val="tx1">
                    <a:lumMod val="65000"/>
                    <a:lumOff val="35000"/>
                  </a:schemeClr>
                </a:solidFill>
              </a:rPr>
              <a:t>Verwundbarkeit der Weltwirtschaft</a:t>
            </a:r>
          </a:p>
          <a:p>
            <a:endParaRPr lang="de-DE" sz="2017" b="1" dirty="0">
              <a:solidFill>
                <a:schemeClr val="bg1"/>
              </a:solidFill>
            </a:endParaRPr>
          </a:p>
        </p:txBody>
      </p:sp>
      <p:sp>
        <p:nvSpPr>
          <p:cNvPr id="9" name="Textfeld 8">
            <a:extLst>
              <a:ext uri="{FF2B5EF4-FFF2-40B4-BE49-F238E27FC236}">
                <a16:creationId xmlns:a16="http://schemas.microsoft.com/office/drawing/2014/main" id="{1EB692E0-B5BA-52CA-29D3-4EB10A083C3F}"/>
              </a:ext>
            </a:extLst>
          </p:cNvPr>
          <p:cNvSpPr txBox="1"/>
          <p:nvPr/>
        </p:nvSpPr>
        <p:spPr>
          <a:xfrm>
            <a:off x="4494506" y="1432137"/>
            <a:ext cx="6837128" cy="1121974"/>
          </a:xfrm>
          <a:prstGeom prst="rect">
            <a:avLst/>
          </a:prstGeom>
          <a:noFill/>
        </p:spPr>
        <p:txBody>
          <a:bodyPr wrap="none" rtlCol="0">
            <a:spAutoFit/>
          </a:bodyPr>
          <a:lstStyle/>
          <a:p>
            <a:r>
              <a:rPr lang="de-DE" sz="2017" b="1" dirty="0">
                <a:solidFill>
                  <a:schemeClr val="tx1">
                    <a:lumMod val="65000"/>
                    <a:lumOff val="35000"/>
                  </a:schemeClr>
                </a:solidFill>
              </a:rPr>
              <a:t>Empfehlungen</a:t>
            </a:r>
            <a:r>
              <a:rPr lang="de-DE" sz="1283" dirty="0">
                <a:solidFill>
                  <a:schemeClr val="tx1">
                    <a:lumMod val="65000"/>
                    <a:lumOff val="35000"/>
                  </a:schemeClr>
                </a:solidFill>
              </a:rPr>
              <a:t> </a:t>
            </a:r>
            <a:r>
              <a:rPr lang="de-DE" sz="2017" b="1" dirty="0">
                <a:solidFill>
                  <a:schemeClr val="tx1">
                    <a:lumMod val="65000"/>
                    <a:lumOff val="35000"/>
                  </a:schemeClr>
                </a:solidFill>
              </a:rPr>
              <a:t>der IEA (Internationale Energie Agentur)</a:t>
            </a:r>
          </a:p>
          <a:p>
            <a:r>
              <a:rPr lang="de-DE" sz="1283" dirty="0">
                <a:solidFill>
                  <a:schemeClr val="tx1">
                    <a:lumMod val="65000"/>
                    <a:lumOff val="35000"/>
                  </a:schemeClr>
                </a:solidFill>
                <a:sym typeface="Wingdings" panose="05000000000000000000" pitchFamily="2" charset="2"/>
              </a:rPr>
              <a:t> </a:t>
            </a:r>
            <a:r>
              <a:rPr lang="de-DE" sz="1283" dirty="0">
                <a:solidFill>
                  <a:schemeClr val="tx1">
                    <a:lumMod val="65000"/>
                    <a:lumOff val="35000"/>
                  </a:schemeClr>
                </a:solidFill>
              </a:rPr>
              <a:t>Entscheidend ist die aktive Senkung der Nachfrage</a:t>
            </a:r>
          </a:p>
          <a:p>
            <a:r>
              <a:rPr lang="de-DE" sz="1283" dirty="0">
                <a:solidFill>
                  <a:schemeClr val="tx1">
                    <a:lumMod val="65000"/>
                    <a:lumOff val="35000"/>
                  </a:schemeClr>
                </a:solidFill>
              </a:rPr>
              <a:t>      u.a. Tempolimit, weniger Flugreisen, Fahrgemeinschaften, Fahrrad</a:t>
            </a:r>
          </a:p>
          <a:p>
            <a:r>
              <a:rPr lang="de-DE" sz="1100" dirty="0">
                <a:solidFill>
                  <a:schemeClr val="tx1">
                    <a:lumMod val="65000"/>
                    <a:lumOff val="35000"/>
                  </a:schemeClr>
                </a:solidFill>
                <a:hlinkClick r:id="rId3">
                  <a:extLst>
                    <a:ext uri="{A12FA001-AC4F-418D-AE19-62706E023703}">
                      <ahyp:hlinkClr xmlns:ahyp="http://schemas.microsoft.com/office/drawing/2018/hyperlinkcolor" val="tx"/>
                    </a:ext>
                  </a:extLst>
                </a:hlinkClick>
              </a:rPr>
              <a:t>https://www.tagesschau.de/wirtschaft/verbraucher/iea-oelkrise-tempolimit-homeoffice-reserven-100.html</a:t>
            </a:r>
            <a:endParaRPr lang="de-DE" sz="1100" dirty="0">
              <a:solidFill>
                <a:schemeClr val="tx1">
                  <a:lumMod val="65000"/>
                  <a:lumOff val="35000"/>
                </a:schemeClr>
              </a:solidFill>
            </a:endParaRPr>
          </a:p>
          <a:p>
            <a:endParaRPr lang="de-DE" sz="1008" b="1" dirty="0"/>
          </a:p>
        </p:txBody>
      </p:sp>
    </p:spTree>
    <p:extLst>
      <p:ext uri="{BB962C8B-B14F-4D97-AF65-F5344CB8AC3E}">
        <p14:creationId xmlns:p14="http://schemas.microsoft.com/office/powerpoint/2010/main" val="457343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6" presetClass="entr" presetSubtype="21"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barn(inVertical)">
                                      <p:cBhvr>
                                        <p:cTn id="14" dur="500"/>
                                        <p:tgtEl>
                                          <p:spTgt spid="7"/>
                                        </p:tgtEl>
                                      </p:cBhvr>
                                    </p:animEffect>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E775B766-B127-7090-29F9-EAE3443DAE53}"/>
              </a:ext>
            </a:extLst>
          </p:cNvPr>
          <p:cNvSpPr txBox="1"/>
          <p:nvPr/>
        </p:nvSpPr>
        <p:spPr>
          <a:xfrm>
            <a:off x="377533" y="92719"/>
            <a:ext cx="5707012" cy="713144"/>
          </a:xfrm>
          <a:prstGeom prst="rect">
            <a:avLst/>
          </a:prstGeom>
          <a:noFill/>
        </p:spPr>
        <p:txBody>
          <a:bodyPr wrap="none" rtlCol="0">
            <a:spAutoFit/>
          </a:bodyPr>
          <a:lstStyle/>
          <a:p>
            <a:r>
              <a:rPr lang="de-DE" sz="2017" b="1" dirty="0">
                <a:solidFill>
                  <a:schemeClr val="tx1">
                    <a:lumMod val="50000"/>
                    <a:lumOff val="50000"/>
                  </a:schemeClr>
                </a:solidFill>
              </a:rPr>
              <a:t>Besser abgeschirmt gegen die Abhängigkeit: </a:t>
            </a:r>
          </a:p>
          <a:p>
            <a:r>
              <a:rPr lang="de-DE" sz="2017" b="1" dirty="0">
                <a:solidFill>
                  <a:schemeClr val="tx1">
                    <a:lumMod val="50000"/>
                    <a:lumOff val="50000"/>
                  </a:schemeClr>
                </a:solidFill>
              </a:rPr>
              <a:t>Staaten mit hohem Anteil Erneuerbare Energien</a:t>
            </a:r>
            <a:endParaRPr lang="de-DE" sz="1238" dirty="0"/>
          </a:p>
        </p:txBody>
      </p:sp>
      <p:pic>
        <p:nvPicPr>
          <p:cNvPr id="7" name="Grafik 6" descr="Ein Bild, das Text, Schrift, Logo, Grafiken enthält.&#10;&#10;Automatisch generierte Beschreibung">
            <a:extLst>
              <a:ext uri="{FF2B5EF4-FFF2-40B4-BE49-F238E27FC236}">
                <a16:creationId xmlns:a16="http://schemas.microsoft.com/office/drawing/2014/main" id="{3D45A03C-F02E-939D-7AEA-F616E34EAE1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65270" y="111169"/>
            <a:ext cx="1958427" cy="761747"/>
          </a:xfrm>
          <a:prstGeom prst="rect">
            <a:avLst/>
          </a:prstGeom>
        </p:spPr>
      </p:pic>
      <p:pic>
        <p:nvPicPr>
          <p:cNvPr id="10" name="Grafik 9">
            <a:extLst>
              <a:ext uri="{FF2B5EF4-FFF2-40B4-BE49-F238E27FC236}">
                <a16:creationId xmlns:a16="http://schemas.microsoft.com/office/drawing/2014/main" id="{6C2A5209-BBE5-D365-4760-DD8908E22A31}"/>
              </a:ext>
            </a:extLst>
          </p:cNvPr>
          <p:cNvPicPr>
            <a:picLocks noChangeAspect="1"/>
          </p:cNvPicPr>
          <p:nvPr/>
        </p:nvPicPr>
        <p:blipFill>
          <a:blip r:embed="rId3"/>
          <a:stretch>
            <a:fillRect/>
          </a:stretch>
        </p:blipFill>
        <p:spPr>
          <a:xfrm>
            <a:off x="1883790" y="809386"/>
            <a:ext cx="4822289" cy="5283553"/>
          </a:xfrm>
          <a:prstGeom prst="rect">
            <a:avLst/>
          </a:prstGeom>
        </p:spPr>
      </p:pic>
      <p:sp>
        <p:nvSpPr>
          <p:cNvPr id="11" name="Ellipse 10">
            <a:extLst>
              <a:ext uri="{FF2B5EF4-FFF2-40B4-BE49-F238E27FC236}">
                <a16:creationId xmlns:a16="http://schemas.microsoft.com/office/drawing/2014/main" id="{D51557AE-B705-E719-9926-DCC43E937CB7}"/>
              </a:ext>
            </a:extLst>
          </p:cNvPr>
          <p:cNvSpPr/>
          <p:nvPr/>
        </p:nvSpPr>
        <p:spPr>
          <a:xfrm>
            <a:off x="1789873" y="5307690"/>
            <a:ext cx="838200" cy="344103"/>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4"/>
          </a:p>
        </p:txBody>
      </p:sp>
      <p:sp>
        <p:nvSpPr>
          <p:cNvPr id="2" name="Textfeld 1">
            <a:extLst>
              <a:ext uri="{FF2B5EF4-FFF2-40B4-BE49-F238E27FC236}">
                <a16:creationId xmlns:a16="http://schemas.microsoft.com/office/drawing/2014/main" id="{9FFE2894-6546-327B-11AF-D9A71861F296}"/>
              </a:ext>
            </a:extLst>
          </p:cNvPr>
          <p:cNvSpPr txBox="1"/>
          <p:nvPr/>
        </p:nvSpPr>
        <p:spPr>
          <a:xfrm rot="16200000">
            <a:off x="-1240631" y="4134565"/>
            <a:ext cx="3417923" cy="599972"/>
          </a:xfrm>
          <a:prstGeom prst="rect">
            <a:avLst/>
          </a:prstGeom>
          <a:noFill/>
        </p:spPr>
        <p:txBody>
          <a:bodyPr wrap="none" rtlCol="0">
            <a:spAutoFit/>
          </a:bodyPr>
          <a:lstStyle/>
          <a:p>
            <a:r>
              <a:rPr lang="de-DE" sz="1008" dirty="0"/>
              <a:t>Anteil Erneuerbarer Energien am Bruttoenergieverbrauch</a:t>
            </a:r>
          </a:p>
          <a:p>
            <a:r>
              <a:rPr lang="de-DE" sz="1008" dirty="0"/>
              <a:t>Quelle: statista 2023</a:t>
            </a:r>
          </a:p>
          <a:p>
            <a:pPr algn="ctr"/>
            <a:endParaRPr lang="de-DE" sz="1283" b="1" dirty="0">
              <a:solidFill>
                <a:schemeClr val="tx1">
                  <a:lumMod val="50000"/>
                  <a:lumOff val="50000"/>
                </a:schemeClr>
              </a:solidFill>
            </a:endParaRPr>
          </a:p>
        </p:txBody>
      </p:sp>
      <p:sp>
        <p:nvSpPr>
          <p:cNvPr id="3" name="Textfeld 2">
            <a:extLst>
              <a:ext uri="{FF2B5EF4-FFF2-40B4-BE49-F238E27FC236}">
                <a16:creationId xmlns:a16="http://schemas.microsoft.com/office/drawing/2014/main" id="{86A4D11B-114C-F2CE-05E1-D45AD8664C2B}"/>
              </a:ext>
            </a:extLst>
          </p:cNvPr>
          <p:cNvSpPr txBox="1"/>
          <p:nvPr/>
        </p:nvSpPr>
        <p:spPr>
          <a:xfrm>
            <a:off x="7393349" y="3288967"/>
            <a:ext cx="3623108" cy="1947649"/>
          </a:xfrm>
          <a:prstGeom prst="rect">
            <a:avLst/>
          </a:prstGeom>
          <a:noFill/>
        </p:spPr>
        <p:txBody>
          <a:bodyPr wrap="none" rtlCol="0">
            <a:spAutoFit/>
          </a:bodyPr>
          <a:lstStyle/>
          <a:p>
            <a:pPr marL="314336" indent="-314336">
              <a:buFont typeface="Arial" panose="020B0604020202020204" pitchFamily="34" charset="0"/>
              <a:buChar char="•"/>
            </a:pPr>
            <a:r>
              <a:rPr lang="de-DE" sz="2017" b="1" dirty="0">
                <a:solidFill>
                  <a:schemeClr val="tx1">
                    <a:lumMod val="50000"/>
                    <a:lumOff val="50000"/>
                  </a:schemeClr>
                </a:solidFill>
              </a:rPr>
              <a:t>Energiesicherheit</a:t>
            </a:r>
          </a:p>
          <a:p>
            <a:pPr marL="314336" indent="-314336">
              <a:buFont typeface="Arial" panose="020B0604020202020204" pitchFamily="34" charset="0"/>
              <a:buChar char="•"/>
            </a:pPr>
            <a:r>
              <a:rPr lang="de-DE" sz="2017" b="1" dirty="0">
                <a:solidFill>
                  <a:schemeClr val="tx1">
                    <a:lumMod val="50000"/>
                    <a:lumOff val="50000"/>
                  </a:schemeClr>
                </a:solidFill>
              </a:rPr>
              <a:t>Bezahlbarkeit</a:t>
            </a:r>
          </a:p>
          <a:p>
            <a:pPr marL="314336" indent="-314336">
              <a:buFont typeface="Arial" panose="020B0604020202020204" pitchFamily="34" charset="0"/>
              <a:buChar char="•"/>
            </a:pPr>
            <a:r>
              <a:rPr lang="de-DE" sz="2017" b="1" dirty="0">
                <a:solidFill>
                  <a:schemeClr val="tx1">
                    <a:lumMod val="50000"/>
                    <a:lumOff val="50000"/>
                  </a:schemeClr>
                </a:solidFill>
              </a:rPr>
              <a:t>Klimaschutz</a:t>
            </a:r>
          </a:p>
          <a:p>
            <a:r>
              <a:rPr lang="de-DE" sz="2017" b="1" dirty="0">
                <a:solidFill>
                  <a:schemeClr val="tx1">
                    <a:lumMod val="50000"/>
                    <a:lumOff val="50000"/>
                  </a:schemeClr>
                </a:solidFill>
                <a:sym typeface="Wingdings" panose="05000000000000000000" pitchFamily="2" charset="2"/>
              </a:rPr>
              <a:t> </a:t>
            </a:r>
            <a:r>
              <a:rPr lang="de-DE" sz="2017" b="1" dirty="0">
                <a:solidFill>
                  <a:schemeClr val="tx1">
                    <a:lumMod val="50000"/>
                    <a:lumOff val="50000"/>
                  </a:schemeClr>
                </a:solidFill>
              </a:rPr>
              <a:t>Das hängt alles zusammen</a:t>
            </a:r>
          </a:p>
          <a:p>
            <a:pPr algn="ctr"/>
            <a:endParaRPr lang="de-DE" sz="2750" b="1" dirty="0">
              <a:solidFill>
                <a:srgbClr val="336699"/>
              </a:solidFill>
            </a:endParaRPr>
          </a:p>
          <a:p>
            <a:pPr algn="ctr"/>
            <a:endParaRPr lang="de-DE" sz="1238" dirty="0"/>
          </a:p>
        </p:txBody>
      </p:sp>
      <p:sp>
        <p:nvSpPr>
          <p:cNvPr id="4" name="Textfeld 3">
            <a:extLst>
              <a:ext uri="{FF2B5EF4-FFF2-40B4-BE49-F238E27FC236}">
                <a16:creationId xmlns:a16="http://schemas.microsoft.com/office/drawing/2014/main" id="{F3A2403D-E5C8-0659-7F99-6288C54B2826}"/>
              </a:ext>
            </a:extLst>
          </p:cNvPr>
          <p:cNvSpPr txBox="1"/>
          <p:nvPr/>
        </p:nvSpPr>
        <p:spPr>
          <a:xfrm>
            <a:off x="7393349" y="1568622"/>
            <a:ext cx="2659702" cy="882036"/>
          </a:xfrm>
          <a:prstGeom prst="rect">
            <a:avLst/>
          </a:prstGeom>
          <a:noFill/>
        </p:spPr>
        <p:txBody>
          <a:bodyPr wrap="none" rtlCol="0">
            <a:spAutoFit/>
          </a:bodyPr>
          <a:lstStyle/>
          <a:p>
            <a:r>
              <a:rPr lang="de-DE" sz="1283" dirty="0">
                <a:solidFill>
                  <a:schemeClr val="tx1">
                    <a:lumMod val="50000"/>
                    <a:lumOff val="50000"/>
                  </a:schemeClr>
                </a:solidFill>
              </a:rPr>
              <a:t>Diese Erkenntnis hat Gültigkeit für</a:t>
            </a:r>
          </a:p>
          <a:p>
            <a:r>
              <a:rPr lang="de-DE" sz="1283" dirty="0">
                <a:solidFill>
                  <a:schemeClr val="tx1">
                    <a:lumMod val="50000"/>
                    <a:lumOff val="50000"/>
                  </a:schemeClr>
                </a:solidFill>
              </a:rPr>
              <a:t>- Staaten</a:t>
            </a:r>
          </a:p>
          <a:p>
            <a:r>
              <a:rPr lang="de-DE" sz="1283" dirty="0">
                <a:solidFill>
                  <a:schemeClr val="tx1">
                    <a:lumMod val="50000"/>
                    <a:lumOff val="50000"/>
                  </a:schemeClr>
                </a:solidFill>
              </a:rPr>
              <a:t>- Unternehmen</a:t>
            </a:r>
          </a:p>
          <a:p>
            <a:r>
              <a:rPr lang="de-DE" sz="1283" dirty="0">
                <a:solidFill>
                  <a:schemeClr val="tx1">
                    <a:lumMod val="50000"/>
                    <a:lumOff val="50000"/>
                  </a:schemeClr>
                </a:solidFill>
              </a:rPr>
              <a:t>- Privathaushalte</a:t>
            </a:r>
            <a:endParaRPr lang="de-DE" sz="1283" dirty="0"/>
          </a:p>
        </p:txBody>
      </p:sp>
      <p:sp>
        <p:nvSpPr>
          <p:cNvPr id="5" name="Textfeld 4">
            <a:extLst>
              <a:ext uri="{FF2B5EF4-FFF2-40B4-BE49-F238E27FC236}">
                <a16:creationId xmlns:a16="http://schemas.microsoft.com/office/drawing/2014/main" id="{A0C5F1D2-C2D0-DABA-27C8-DF9B32F6326B}"/>
              </a:ext>
            </a:extLst>
          </p:cNvPr>
          <p:cNvSpPr txBox="1"/>
          <p:nvPr/>
        </p:nvSpPr>
        <p:spPr>
          <a:xfrm>
            <a:off x="3934405" y="5228600"/>
            <a:ext cx="4095993" cy="430887"/>
          </a:xfrm>
          <a:prstGeom prst="rect">
            <a:avLst/>
          </a:prstGeom>
          <a:noFill/>
        </p:spPr>
        <p:txBody>
          <a:bodyPr wrap="none" rtlCol="0">
            <a:spAutoFit/>
          </a:bodyPr>
          <a:lstStyle/>
          <a:p>
            <a:r>
              <a:rPr lang="de-DE" sz="1100" dirty="0"/>
              <a:t>Sehr gut im Stromsektor</a:t>
            </a:r>
          </a:p>
          <a:p>
            <a:r>
              <a:rPr lang="de-DE" sz="1100" dirty="0"/>
              <a:t>Sehr schlecht in den Sektoren Wärmeversorgung und Mobilität</a:t>
            </a:r>
          </a:p>
        </p:txBody>
      </p:sp>
    </p:spTree>
    <p:extLst>
      <p:ext uri="{BB962C8B-B14F-4D97-AF65-F5344CB8AC3E}">
        <p14:creationId xmlns:p14="http://schemas.microsoft.com/office/powerpoint/2010/main" val="579750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par>
                                <p:cTn id="10" presetID="22" presetClass="entr" presetSubtype="4"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down)">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1000"/>
                                        <p:tgtEl>
                                          <p:spTgt spid="3"/>
                                        </p:tgtEl>
                                      </p:cBhvr>
                                    </p:animEffect>
                                    <p:anim calcmode="lin" valueType="num">
                                      <p:cBhvr>
                                        <p:cTn id="18" dur="1000" fill="hold"/>
                                        <p:tgtEl>
                                          <p:spTgt spid="3"/>
                                        </p:tgtEl>
                                        <p:attrNameLst>
                                          <p:attrName>ppt_x</p:attrName>
                                        </p:attrNameLst>
                                      </p:cBhvr>
                                      <p:tavLst>
                                        <p:tav tm="0">
                                          <p:val>
                                            <p:strVal val="#ppt_x"/>
                                          </p:val>
                                        </p:tav>
                                        <p:tav tm="100000">
                                          <p:val>
                                            <p:strVal val="#ppt_x"/>
                                          </p:val>
                                        </p:tav>
                                      </p:tavLst>
                                    </p:anim>
                                    <p:anim calcmode="lin" valueType="num">
                                      <p:cBhvr>
                                        <p:cTn id="1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MASTERSTYLE" val="d-fine"/>
  <p:tag name="MASTERSIZE" val="A4"/>
  <p:tag name="DISCLAIMER" val="This presentation utilizes Google Fonts - for licensing details, please cf. http://www.apache.org/licenses/LICENSE-2.0."/>
  <p:tag name="THINKCELLUNDODONOTDELETE" val="0"/>
  <p:tag name="ROMAN_USED" val="false"/>
  <p:tag name="MASTERVERSION" val="2.7"/>
  <p:tag name="MASTEROFFICE" val="Frankfurt"/>
  <p:tag name="PREVIOUS_SLIDE_RATIO" val="16:9_big"/>
  <p:tag name="SLIDE_RATIO" val="16:9"/>
  <p:tag name="MASTERLANGUAGE" val="German"/>
  <p:tag name="MASTERCOLOR" val="activating_colors"/>
  <p:tag name="MASTERLAYOUT" val="short_title"/>
  <p:tag name="MASTERFINISHLAYOUT" val="original_offices_layout"/>
  <p:tag name="APPENDIXNUMBERING" val="False"/>
  <p:tag name="NUMBER_OF_ALL_SLIDES" val="60"/>
  <p:tag name="COPYRIGHT" val="© 2026&#10;d-fine"/>
  <p:tag name="INFOPANELSETTINGS" val="{&#10; &quot;SLIDE_RATIO&quot;: &quot;16:9&quot;,&#10; &quot;setup&quot;: {&#10;  &quot;cb_display_title&quot;: {&#10;   &quot;Enabled&quot;: &quot;True&quot;,&#10;   &quot;Value&quot;: &quot;False&quot;&#10;  },&#10;  &quot;cb_show_year_of_copyright&quot;: {&#10;   &quot;Enabled&quot;: &quot;True&quot;,&#10;   &quot;Value&quot;: &quot;True&quot;&#10;  },&#10;  &quot;tb_year_of_copyright&quot;: {&#10;   &quot;Enabled&quot;: &quot;True&quot;,&#10;   &quot;Value&quot;: &quot; 2026&quot;&#10;  },&#10;  &quot;cb_show_curr_chapter&quot;: {&#10;   &quot;Enabled&quot;: &quot;True&quot;,&#10;   &quot;Value&quot;: &quot;True&quot;&#10;  },&#10;  &quot;cb_show_curr_section&quot;: {&#10;   &quot;Enabled&quot;: &quot;True&quot;,&#10;   &quot;Value&quot;: &quot;True&quot;&#10;  },&#10;  &quot;cb_chapter_section_numbering&quot;: {&#10;   &quot;Enabled&quot;: &quot;True&quot;,&#10;   &quot;Value&quot;: &quot;True&quot;&#10;  },&#10;  &quot;cb_show_total_number&quot;: {&#10;   &quot;Enabled&quot;: &quot;True&quot;,&#10;   &quot;Value&quot;: &quot;False&quot;&#10;  },&#10;  &quot;tb_total_number_of_slides&quot;: {&#10;   &quot;Enabled&quot;: &quot;False&quot;,&#10;   &quot;Value&quot;: &quot;58&quot;&#10;  },&#10;  &quot;cb_page_label&quot;: {&#10;   &quot;Enabled&quot;: &quot;False&quot;,&#10;   &quot;Value&quot;: &quot;True&quot;&#10;  },&#10;  &quot;ob_english&quot;: {&#10;   &quot;Enabled&quot;: &quot;False&quot;,&#10;   &quot;Value&quot;: &quot;False&quot;&#10;  },&#10;  &quot;ob_german&quot;: {&#10;   &quot;Enabled&quot;: &quot;False&quot;,&#10;   &quot;Value&quot;: &quot;True&quot;&#10;  },&#10;  &quot;ob_no_slide_number&quot;: {&#10;   &quot;Enabled&quot;: &quot;False&quot;,&#10;   &quot;Value&quot;: &quot;False&quot;&#10;  },&#10;  &quot;ob_roman_numerals&quot;: {&#10;   &quot;Enabled&quot;: &quot;False&quot;,&#10;   &quot;Value&quot;: &quot;True&quot;&#10;  },&#10;  &quot;cb_count_content_only&quot;: {&#10;   &quot;Enabled&quot;: &quot;True&quot;,&#10;   &quot;Value&quot;: &quot;False&quot;&#10;  },&#10;  &quot;ob_only_bullets&quot;: {&#10;   &quot;Enabled&quot;: &quot;False&quot;,&#10;   &quot;Value&quot;: &quot;True&quot;&#10;  },&#10;  &quot;ob_bullets_and_numbers&quot;: {&#10;   &quot;Enabled&quot;: &quot;False&quot;,&#10;   &quot;Value&quot;: &quot;False&quot;&#10;  },&#10;  &quot;cb_show_chapter_bullets&quot;: {&#10;   &quot;Enabled&quot;: &quot;True&quot;,&#10;   &quot;Value&quot;: &quot;False&quot;&#10;  },&#10;  &quot;cb_adapt_copyright_text&quot;: {&#10;   &quot;Enabled&quot;: &quot;True&quot;,&#10;   &quot;Value&quot;: &quot;False&quot;&#10;  },&#10;  &quot;tb_copyright_text&quot;: {&#10;   &quot;Enabled&quot;: &quot;False&quot;,&#10;   &quot;Value&quot;: &quot;d-fine&quot;&#10;  }&#10; }&#1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ICON" val="true"/>
</p:tagLst>
</file>

<file path=ppt/tags/tag101.xml><?xml version="1.0" encoding="utf-8"?>
<p:tagLst xmlns:a="http://schemas.openxmlformats.org/drawingml/2006/main" xmlns:r="http://schemas.openxmlformats.org/officeDocument/2006/relationships" xmlns:p="http://schemas.openxmlformats.org/presentationml/2006/main">
  <p:tag name="ICON" val="true"/>
</p:tagLst>
</file>

<file path=ppt/tags/tag102.xml><?xml version="1.0" encoding="utf-8"?>
<p:tagLst xmlns:a="http://schemas.openxmlformats.org/drawingml/2006/main" xmlns:r="http://schemas.openxmlformats.org/officeDocument/2006/relationships" xmlns:p="http://schemas.openxmlformats.org/presentationml/2006/main">
  <p:tag name="ICON" val="true"/>
</p:tagLst>
</file>

<file path=ppt/tags/tag103.xml><?xml version="1.0" encoding="utf-8"?>
<p:tagLst xmlns:a="http://schemas.openxmlformats.org/drawingml/2006/main" xmlns:r="http://schemas.openxmlformats.org/officeDocument/2006/relationships" xmlns:p="http://schemas.openxmlformats.org/presentationml/2006/main">
  <p:tag name="ICON" val="true"/>
</p:tagLst>
</file>

<file path=ppt/tags/tag104.xml><?xml version="1.0" encoding="utf-8"?>
<p:tagLst xmlns:a="http://schemas.openxmlformats.org/drawingml/2006/main" xmlns:r="http://schemas.openxmlformats.org/officeDocument/2006/relationships" xmlns:p="http://schemas.openxmlformats.org/presentationml/2006/main">
  <p:tag name="ICON" val="true"/>
</p:tagLst>
</file>

<file path=ppt/tags/tag105.xml><?xml version="1.0" encoding="utf-8"?>
<p:tagLst xmlns:a="http://schemas.openxmlformats.org/drawingml/2006/main" xmlns:r="http://schemas.openxmlformats.org/officeDocument/2006/relationships" xmlns:p="http://schemas.openxmlformats.org/presentationml/2006/main">
  <p:tag name="ICON" val="true"/>
</p:tagLst>
</file>

<file path=ppt/tags/tag106.xml><?xml version="1.0" encoding="utf-8"?>
<p:tagLst xmlns:a="http://schemas.openxmlformats.org/drawingml/2006/main" xmlns:r="http://schemas.openxmlformats.org/officeDocument/2006/relationships" xmlns:p="http://schemas.openxmlformats.org/presentationml/2006/main">
  <p:tag name="ICON" val="true"/>
</p:tagLst>
</file>

<file path=ppt/tags/tag107.xml><?xml version="1.0" encoding="utf-8"?>
<p:tagLst xmlns:a="http://schemas.openxmlformats.org/drawingml/2006/main" xmlns:r="http://schemas.openxmlformats.org/officeDocument/2006/relationships" xmlns:p="http://schemas.openxmlformats.org/presentationml/2006/main">
  <p:tag name="ICON" val="true"/>
</p:tagLst>
</file>

<file path=ppt/tags/tag108.xml><?xml version="1.0" encoding="utf-8"?>
<p:tagLst xmlns:a="http://schemas.openxmlformats.org/drawingml/2006/main" xmlns:r="http://schemas.openxmlformats.org/officeDocument/2006/relationships" xmlns:p="http://schemas.openxmlformats.org/presentationml/2006/main">
  <p:tag name="ICON" val="true"/>
</p:tagLst>
</file>

<file path=ppt/tags/tag109.xml><?xml version="1.0" encoding="utf-8"?>
<p:tagLst xmlns:a="http://schemas.openxmlformats.org/drawingml/2006/main" xmlns:r="http://schemas.openxmlformats.org/officeDocument/2006/relationships" xmlns:p="http://schemas.openxmlformats.org/presentationml/2006/main">
  <p:tag name="ICONFRAME" val="0,75"/>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aIVDXKPXfPar1rdOB2G6A"/>
</p:tagLst>
</file>

<file path=ppt/tags/tag110.xml><?xml version="1.0" encoding="utf-8"?>
<p:tagLst xmlns:a="http://schemas.openxmlformats.org/drawingml/2006/main" xmlns:r="http://schemas.openxmlformats.org/officeDocument/2006/relationships" xmlns:p="http://schemas.openxmlformats.org/presentationml/2006/main">
  <p:tag name="ICON" val="true"/>
</p:tagLst>
</file>

<file path=ppt/tags/tag111.xml><?xml version="1.0" encoding="utf-8"?>
<p:tagLst xmlns:a="http://schemas.openxmlformats.org/drawingml/2006/main" xmlns:r="http://schemas.openxmlformats.org/officeDocument/2006/relationships" xmlns:p="http://schemas.openxmlformats.org/presentationml/2006/main">
  <p:tag name="ICON" val="true"/>
</p:tagLst>
</file>

<file path=ppt/tags/tag112.xml><?xml version="1.0" encoding="utf-8"?>
<p:tagLst xmlns:a="http://schemas.openxmlformats.org/drawingml/2006/main" xmlns:r="http://schemas.openxmlformats.org/officeDocument/2006/relationships" xmlns:p="http://schemas.openxmlformats.org/presentationml/2006/main">
  <p:tag name="ICONFRAME" val="0,75"/>
</p:tagLst>
</file>

<file path=ppt/tags/tag113.xml><?xml version="1.0" encoding="utf-8"?>
<p:tagLst xmlns:a="http://schemas.openxmlformats.org/drawingml/2006/main" xmlns:r="http://schemas.openxmlformats.org/officeDocument/2006/relationships" xmlns:p="http://schemas.openxmlformats.org/presentationml/2006/main">
  <p:tag name="ICONFRAME" val="0,75"/>
</p:tagLst>
</file>

<file path=ppt/tags/tag114.xml><?xml version="1.0" encoding="utf-8"?>
<p:tagLst xmlns:a="http://schemas.openxmlformats.org/drawingml/2006/main" xmlns:r="http://schemas.openxmlformats.org/officeDocument/2006/relationships" xmlns:p="http://schemas.openxmlformats.org/presentationml/2006/main">
  <p:tag name="ICON" val="true"/>
</p:tagLst>
</file>

<file path=ppt/tags/tag115.xml><?xml version="1.0" encoding="utf-8"?>
<p:tagLst xmlns:a="http://schemas.openxmlformats.org/drawingml/2006/main" xmlns:r="http://schemas.openxmlformats.org/officeDocument/2006/relationships" xmlns:p="http://schemas.openxmlformats.org/presentationml/2006/main">
  <p:tag name="ICON" val="true"/>
</p:tagLst>
</file>

<file path=ppt/tags/tag116.xml><?xml version="1.0" encoding="utf-8"?>
<p:tagLst xmlns:a="http://schemas.openxmlformats.org/drawingml/2006/main" xmlns:r="http://schemas.openxmlformats.org/officeDocument/2006/relationships" xmlns:p="http://schemas.openxmlformats.org/presentationml/2006/main">
  <p:tag name="ICON" val="true"/>
</p:tagLst>
</file>

<file path=ppt/tags/tag117.xml><?xml version="1.0" encoding="utf-8"?>
<p:tagLst xmlns:a="http://schemas.openxmlformats.org/drawingml/2006/main" xmlns:r="http://schemas.openxmlformats.org/officeDocument/2006/relationships" xmlns:p="http://schemas.openxmlformats.org/presentationml/2006/main">
  <p:tag name="ICON" val="true"/>
</p:tagLst>
</file>

<file path=ppt/tags/tag118.xml><?xml version="1.0" encoding="utf-8"?>
<p:tagLst xmlns:a="http://schemas.openxmlformats.org/drawingml/2006/main" xmlns:r="http://schemas.openxmlformats.org/officeDocument/2006/relationships" xmlns:p="http://schemas.openxmlformats.org/presentationml/2006/main">
  <p:tag name="ICON" val="true"/>
</p:tagLst>
</file>

<file path=ppt/tags/tag119.xml><?xml version="1.0" encoding="utf-8"?>
<p:tagLst xmlns:a="http://schemas.openxmlformats.org/drawingml/2006/main" xmlns:r="http://schemas.openxmlformats.org/officeDocument/2006/relationships" xmlns:p="http://schemas.openxmlformats.org/presentationml/2006/main">
  <p:tag name="ICON" val="true"/>
</p:tagLst>
</file>

<file path=ppt/tags/tag12.xml><?xml version="1.0" encoding="utf-8"?>
<p:tagLst xmlns:a="http://schemas.openxmlformats.org/drawingml/2006/main" xmlns:r="http://schemas.openxmlformats.org/officeDocument/2006/relationships" xmlns:p="http://schemas.openxmlformats.org/presentationml/2006/main">
  <p:tag name="TAG_CONTACT_PICTURE" val="Hanno_Mueller"/>
  <p:tag name="USER_ID" val="Hanno.Mueller@d-fine.com"/>
</p:tagLst>
</file>

<file path=ppt/tags/tag120.xml><?xml version="1.0" encoding="utf-8"?>
<p:tagLst xmlns:a="http://schemas.openxmlformats.org/drawingml/2006/main" xmlns:r="http://schemas.openxmlformats.org/officeDocument/2006/relationships" xmlns:p="http://schemas.openxmlformats.org/presentationml/2006/main">
  <p:tag name="ICON" val="true"/>
</p:tagLst>
</file>

<file path=ppt/tags/tag121.xml><?xml version="1.0" encoding="utf-8"?>
<p:tagLst xmlns:a="http://schemas.openxmlformats.org/drawingml/2006/main" xmlns:r="http://schemas.openxmlformats.org/officeDocument/2006/relationships" xmlns:p="http://schemas.openxmlformats.org/presentationml/2006/main">
  <p:tag name="ICON" val="true"/>
</p:tagLst>
</file>

<file path=ppt/tags/tag122.xml><?xml version="1.0" encoding="utf-8"?>
<p:tagLst xmlns:a="http://schemas.openxmlformats.org/drawingml/2006/main" xmlns:r="http://schemas.openxmlformats.org/officeDocument/2006/relationships" xmlns:p="http://schemas.openxmlformats.org/presentationml/2006/main">
  <p:tag name="ICON" val="true"/>
</p:tagLst>
</file>

<file path=ppt/tags/tag123.xml><?xml version="1.0" encoding="utf-8"?>
<p:tagLst xmlns:a="http://schemas.openxmlformats.org/drawingml/2006/main" xmlns:r="http://schemas.openxmlformats.org/officeDocument/2006/relationships" xmlns:p="http://schemas.openxmlformats.org/presentationml/2006/main">
  <p:tag name="ICON" val="true"/>
</p:tagLst>
</file>

<file path=ppt/tags/tag124.xml><?xml version="1.0" encoding="utf-8"?>
<p:tagLst xmlns:a="http://schemas.openxmlformats.org/drawingml/2006/main" xmlns:r="http://schemas.openxmlformats.org/officeDocument/2006/relationships" xmlns:p="http://schemas.openxmlformats.org/presentationml/2006/main">
  <p:tag name="ICON" val="true"/>
</p:tagLst>
</file>

<file path=ppt/tags/tag125.xml><?xml version="1.0" encoding="utf-8"?>
<p:tagLst xmlns:a="http://schemas.openxmlformats.org/drawingml/2006/main" xmlns:r="http://schemas.openxmlformats.org/officeDocument/2006/relationships" xmlns:p="http://schemas.openxmlformats.org/presentationml/2006/main">
  <p:tag name="ICON" val="true"/>
</p:tagLst>
</file>

<file path=ppt/tags/tag126.xml><?xml version="1.0" encoding="utf-8"?>
<p:tagLst xmlns:a="http://schemas.openxmlformats.org/drawingml/2006/main" xmlns:r="http://schemas.openxmlformats.org/officeDocument/2006/relationships" xmlns:p="http://schemas.openxmlformats.org/presentationml/2006/main">
  <p:tag name="ICON" val="true"/>
</p:tagLst>
</file>

<file path=ppt/tags/tag127.xml><?xml version="1.0" encoding="utf-8"?>
<p:tagLst xmlns:a="http://schemas.openxmlformats.org/drawingml/2006/main" xmlns:r="http://schemas.openxmlformats.org/officeDocument/2006/relationships" xmlns:p="http://schemas.openxmlformats.org/presentationml/2006/main">
  <p:tag name="ICON" val="true"/>
</p:tagLst>
</file>

<file path=ppt/tags/tag128.xml><?xml version="1.0" encoding="utf-8"?>
<p:tagLst xmlns:a="http://schemas.openxmlformats.org/drawingml/2006/main" xmlns:r="http://schemas.openxmlformats.org/officeDocument/2006/relationships" xmlns:p="http://schemas.openxmlformats.org/presentationml/2006/main">
  <p:tag name="ICONFRAME" val="0,75"/>
</p:tagLst>
</file>

<file path=ppt/tags/tag129.xml><?xml version="1.0" encoding="utf-8"?>
<p:tagLst xmlns:a="http://schemas.openxmlformats.org/drawingml/2006/main" xmlns:r="http://schemas.openxmlformats.org/officeDocument/2006/relationships" xmlns:p="http://schemas.openxmlformats.org/presentationml/2006/main">
  <p:tag name="ICON" val="true"/>
</p:tagLst>
</file>

<file path=ppt/tags/tag13.xml><?xml version="1.0" encoding="utf-8"?>
<p:tagLst xmlns:a="http://schemas.openxmlformats.org/drawingml/2006/main" xmlns:r="http://schemas.openxmlformats.org/officeDocument/2006/relationships" xmlns:p="http://schemas.openxmlformats.org/presentationml/2006/main">
  <p:tag name="TAG_CONTACT_PICTURE" val="Maximilian_Frenzel"/>
  <p:tag name="USER_ID" val="Maximilian.Frenzel@d-fine.com"/>
</p:tagLst>
</file>

<file path=ppt/tags/tag130.xml><?xml version="1.0" encoding="utf-8"?>
<p:tagLst xmlns:a="http://schemas.openxmlformats.org/drawingml/2006/main" xmlns:r="http://schemas.openxmlformats.org/officeDocument/2006/relationships" xmlns:p="http://schemas.openxmlformats.org/presentationml/2006/main">
  <p:tag name="ICON" val="true"/>
</p:tagLst>
</file>

<file path=ppt/tags/tag131.xml><?xml version="1.0" encoding="utf-8"?>
<p:tagLst xmlns:a="http://schemas.openxmlformats.org/drawingml/2006/main" xmlns:r="http://schemas.openxmlformats.org/officeDocument/2006/relationships" xmlns:p="http://schemas.openxmlformats.org/presentationml/2006/main">
  <p:tag name="ICONFRAME" val="0,75"/>
</p:tagLst>
</file>

<file path=ppt/tags/tag132.xml><?xml version="1.0" encoding="utf-8"?>
<p:tagLst xmlns:a="http://schemas.openxmlformats.org/drawingml/2006/main" xmlns:r="http://schemas.openxmlformats.org/officeDocument/2006/relationships" xmlns:p="http://schemas.openxmlformats.org/presentationml/2006/main">
  <p:tag name="ICONFRAME" val="0,75"/>
</p:tagLst>
</file>

<file path=ppt/tags/tag133.xml><?xml version="1.0" encoding="utf-8"?>
<p:tagLst xmlns:a="http://schemas.openxmlformats.org/drawingml/2006/main" xmlns:r="http://schemas.openxmlformats.org/officeDocument/2006/relationships" xmlns:p="http://schemas.openxmlformats.org/presentationml/2006/main">
  <p:tag name="ICON" val="true"/>
</p:tagLst>
</file>

<file path=ppt/tags/tag134.xml><?xml version="1.0" encoding="utf-8"?>
<p:tagLst xmlns:a="http://schemas.openxmlformats.org/drawingml/2006/main" xmlns:r="http://schemas.openxmlformats.org/officeDocument/2006/relationships" xmlns:p="http://schemas.openxmlformats.org/presentationml/2006/main">
  <p:tag name="ICON" val="true"/>
</p:tagLst>
</file>

<file path=ppt/tags/tag135.xml><?xml version="1.0" encoding="utf-8"?>
<p:tagLst xmlns:a="http://schemas.openxmlformats.org/drawingml/2006/main" xmlns:r="http://schemas.openxmlformats.org/officeDocument/2006/relationships" xmlns:p="http://schemas.openxmlformats.org/presentationml/2006/main">
  <p:tag name="ICON" val="true"/>
</p:tagLst>
</file>

<file path=ppt/tags/tag136.xml><?xml version="1.0" encoding="utf-8"?>
<p:tagLst xmlns:a="http://schemas.openxmlformats.org/drawingml/2006/main" xmlns:r="http://schemas.openxmlformats.org/officeDocument/2006/relationships" xmlns:p="http://schemas.openxmlformats.org/presentationml/2006/main">
  <p:tag name="ICON" val="true"/>
</p:tagLst>
</file>

<file path=ppt/tags/tag137.xml><?xml version="1.0" encoding="utf-8"?>
<p:tagLst xmlns:a="http://schemas.openxmlformats.org/drawingml/2006/main" xmlns:r="http://schemas.openxmlformats.org/officeDocument/2006/relationships" xmlns:p="http://schemas.openxmlformats.org/presentationml/2006/main">
  <p:tag name="ICON" val="true"/>
</p:tagLst>
</file>

<file path=ppt/tags/tag138.xml><?xml version="1.0" encoding="utf-8"?>
<p:tagLst xmlns:a="http://schemas.openxmlformats.org/drawingml/2006/main" xmlns:r="http://schemas.openxmlformats.org/officeDocument/2006/relationships" xmlns:p="http://schemas.openxmlformats.org/presentationml/2006/main">
  <p:tag name="ICON" val="true"/>
</p:tagLst>
</file>

<file path=ppt/tags/tag139.xml><?xml version="1.0" encoding="utf-8"?>
<p:tagLst xmlns:a="http://schemas.openxmlformats.org/drawingml/2006/main" xmlns:r="http://schemas.openxmlformats.org/officeDocument/2006/relationships" xmlns:p="http://schemas.openxmlformats.org/presentationml/2006/main">
  <p:tag name="ICON" val="true"/>
</p:tagLst>
</file>

<file path=ppt/tags/tag14.xml><?xml version="1.0" encoding="utf-8"?>
<p:tagLst xmlns:a="http://schemas.openxmlformats.org/drawingml/2006/main" xmlns:r="http://schemas.openxmlformats.org/officeDocument/2006/relationships" xmlns:p="http://schemas.openxmlformats.org/presentationml/2006/main">
  <p:tag name="TAG_CONTACT" val="Florian_Kowarschik"/>
  <p:tag name="USER_ID" val="Florian.Kowarschik@d-fine.de"/>
  <p:tag name="ICONFRAME" val="0,75"/>
</p:tagLst>
</file>

<file path=ppt/tags/tag140.xml><?xml version="1.0" encoding="utf-8"?>
<p:tagLst xmlns:a="http://schemas.openxmlformats.org/drawingml/2006/main" xmlns:r="http://schemas.openxmlformats.org/officeDocument/2006/relationships" xmlns:p="http://schemas.openxmlformats.org/presentationml/2006/main">
  <p:tag name="ICON" val="true"/>
</p:tagLst>
</file>

<file path=ppt/tags/tag141.xml><?xml version="1.0" encoding="utf-8"?>
<p:tagLst xmlns:a="http://schemas.openxmlformats.org/drawingml/2006/main" xmlns:r="http://schemas.openxmlformats.org/officeDocument/2006/relationships" xmlns:p="http://schemas.openxmlformats.org/presentationml/2006/main">
  <p:tag name="ICON" val="true"/>
</p:tagLst>
</file>

<file path=ppt/tags/tag142.xml><?xml version="1.0" encoding="utf-8"?>
<p:tagLst xmlns:a="http://schemas.openxmlformats.org/drawingml/2006/main" xmlns:r="http://schemas.openxmlformats.org/officeDocument/2006/relationships" xmlns:p="http://schemas.openxmlformats.org/presentationml/2006/main">
  <p:tag name="ICON" val="true"/>
</p:tagLst>
</file>

<file path=ppt/tags/tag143.xml><?xml version="1.0" encoding="utf-8"?>
<p:tagLst xmlns:a="http://schemas.openxmlformats.org/drawingml/2006/main" xmlns:r="http://schemas.openxmlformats.org/officeDocument/2006/relationships" xmlns:p="http://schemas.openxmlformats.org/presentationml/2006/main">
  <p:tag name="ICON" val="true"/>
</p:tagLst>
</file>

<file path=ppt/tags/tag144.xml><?xml version="1.0" encoding="utf-8"?>
<p:tagLst xmlns:a="http://schemas.openxmlformats.org/drawingml/2006/main" xmlns:r="http://schemas.openxmlformats.org/officeDocument/2006/relationships" xmlns:p="http://schemas.openxmlformats.org/presentationml/2006/main">
  <p:tag name="ICON" val="true"/>
</p:tagLst>
</file>

<file path=ppt/tags/tag145.xml><?xml version="1.0" encoding="utf-8"?>
<p:tagLst xmlns:a="http://schemas.openxmlformats.org/drawingml/2006/main" xmlns:r="http://schemas.openxmlformats.org/officeDocument/2006/relationships" xmlns:p="http://schemas.openxmlformats.org/presentationml/2006/main">
  <p:tag name="ICON" val="true"/>
</p:tagLst>
</file>

<file path=ppt/tags/tag146.xml><?xml version="1.0" encoding="utf-8"?>
<p:tagLst xmlns:a="http://schemas.openxmlformats.org/drawingml/2006/main" xmlns:r="http://schemas.openxmlformats.org/officeDocument/2006/relationships" xmlns:p="http://schemas.openxmlformats.org/presentationml/2006/main">
  <p:tag name="ICON" val="true"/>
</p:tagLst>
</file>

<file path=ppt/tags/tag147.xml><?xml version="1.0" encoding="utf-8"?>
<p:tagLst xmlns:a="http://schemas.openxmlformats.org/drawingml/2006/main" xmlns:r="http://schemas.openxmlformats.org/officeDocument/2006/relationships" xmlns:p="http://schemas.openxmlformats.org/presentationml/2006/main">
  <p:tag name="ICONFRAME" val="0,75"/>
</p:tagLst>
</file>

<file path=ppt/tags/tag148.xml><?xml version="1.0" encoding="utf-8"?>
<p:tagLst xmlns:a="http://schemas.openxmlformats.org/drawingml/2006/main" xmlns:r="http://schemas.openxmlformats.org/officeDocument/2006/relationships" xmlns:p="http://schemas.openxmlformats.org/presentationml/2006/main">
  <p:tag name="ICON" val="true"/>
</p:tagLst>
</file>

<file path=ppt/tags/tag149.xml><?xml version="1.0" encoding="utf-8"?>
<p:tagLst xmlns:a="http://schemas.openxmlformats.org/drawingml/2006/main" xmlns:r="http://schemas.openxmlformats.org/officeDocument/2006/relationships" xmlns:p="http://schemas.openxmlformats.org/presentationml/2006/main">
  <p:tag name="ICON" val="true"/>
</p:tagLst>
</file>

<file path=ppt/tags/tag15.xml><?xml version="1.0" encoding="utf-8"?>
<p:tagLst xmlns:a="http://schemas.openxmlformats.org/drawingml/2006/main" xmlns:r="http://schemas.openxmlformats.org/officeDocument/2006/relationships" xmlns:p="http://schemas.openxmlformats.org/presentationml/2006/main">
  <p:tag name="TAG_CONTACT" val="Florian_Kowarschik"/>
  <p:tag name="USER_ID" val="Florian.Kowarschik@d-fine.de"/>
  <p:tag name="ICONFRAME" val="0,75"/>
</p:tagLst>
</file>

<file path=ppt/tags/tag150.xml><?xml version="1.0" encoding="utf-8"?>
<p:tagLst xmlns:a="http://schemas.openxmlformats.org/drawingml/2006/main" xmlns:r="http://schemas.openxmlformats.org/officeDocument/2006/relationships" xmlns:p="http://schemas.openxmlformats.org/presentationml/2006/main">
  <p:tag name="ICONFRAME" val="0,75"/>
</p:tagLst>
</file>

<file path=ppt/tags/tag151.xml><?xml version="1.0" encoding="utf-8"?>
<p:tagLst xmlns:a="http://schemas.openxmlformats.org/drawingml/2006/main" xmlns:r="http://schemas.openxmlformats.org/officeDocument/2006/relationships" xmlns:p="http://schemas.openxmlformats.org/presentationml/2006/main">
  <p:tag name="ICONFRAME" val="0,75"/>
</p:tagLst>
</file>

<file path=ppt/tags/tag152.xml><?xml version="1.0" encoding="utf-8"?>
<p:tagLst xmlns:a="http://schemas.openxmlformats.org/drawingml/2006/main" xmlns:r="http://schemas.openxmlformats.org/officeDocument/2006/relationships" xmlns:p="http://schemas.openxmlformats.org/presentationml/2006/main">
  <p:tag name="ICON" val="true"/>
</p:tagLst>
</file>

<file path=ppt/tags/tag153.xml><?xml version="1.0" encoding="utf-8"?>
<p:tagLst xmlns:a="http://schemas.openxmlformats.org/drawingml/2006/main" xmlns:r="http://schemas.openxmlformats.org/officeDocument/2006/relationships" xmlns:p="http://schemas.openxmlformats.org/presentationml/2006/main">
  <p:tag name="ICON" val="true"/>
</p:tagLst>
</file>

<file path=ppt/tags/tag154.xml><?xml version="1.0" encoding="utf-8"?>
<p:tagLst xmlns:a="http://schemas.openxmlformats.org/drawingml/2006/main" xmlns:r="http://schemas.openxmlformats.org/officeDocument/2006/relationships" xmlns:p="http://schemas.openxmlformats.org/presentationml/2006/main">
  <p:tag name="ICON" val="true"/>
</p:tagLst>
</file>

<file path=ppt/tags/tag155.xml><?xml version="1.0" encoding="utf-8"?>
<p:tagLst xmlns:a="http://schemas.openxmlformats.org/drawingml/2006/main" xmlns:r="http://schemas.openxmlformats.org/officeDocument/2006/relationships" xmlns:p="http://schemas.openxmlformats.org/presentationml/2006/main">
  <p:tag name="ICON" val="true"/>
</p:tagLst>
</file>

<file path=ppt/tags/tag156.xml><?xml version="1.0" encoding="utf-8"?>
<p:tagLst xmlns:a="http://schemas.openxmlformats.org/drawingml/2006/main" xmlns:r="http://schemas.openxmlformats.org/officeDocument/2006/relationships" xmlns:p="http://schemas.openxmlformats.org/presentationml/2006/main">
  <p:tag name="ICON" val="true"/>
</p:tagLst>
</file>

<file path=ppt/tags/tag157.xml><?xml version="1.0" encoding="utf-8"?>
<p:tagLst xmlns:a="http://schemas.openxmlformats.org/drawingml/2006/main" xmlns:r="http://schemas.openxmlformats.org/officeDocument/2006/relationships" xmlns:p="http://schemas.openxmlformats.org/presentationml/2006/main">
  <p:tag name="ICON" val="true"/>
</p:tagLst>
</file>

<file path=ppt/tags/tag158.xml><?xml version="1.0" encoding="utf-8"?>
<p:tagLst xmlns:a="http://schemas.openxmlformats.org/drawingml/2006/main" xmlns:r="http://schemas.openxmlformats.org/officeDocument/2006/relationships" xmlns:p="http://schemas.openxmlformats.org/presentationml/2006/main">
  <p:tag name="ICON" val="true"/>
</p:tagLst>
</file>

<file path=ppt/tags/tag159.xml><?xml version="1.0" encoding="utf-8"?>
<p:tagLst xmlns:a="http://schemas.openxmlformats.org/drawingml/2006/main" xmlns:r="http://schemas.openxmlformats.org/officeDocument/2006/relationships" xmlns:p="http://schemas.openxmlformats.org/presentationml/2006/main">
  <p:tag name="ICON" val="true"/>
</p:tagLst>
</file>

<file path=ppt/tags/tag16.xml><?xml version="1.0" encoding="utf-8"?>
<p:tagLst xmlns:a="http://schemas.openxmlformats.org/drawingml/2006/main" xmlns:r="http://schemas.openxmlformats.org/officeDocument/2006/relationships" xmlns:p="http://schemas.openxmlformats.org/presentationml/2006/main">
  <p:tag name="TAG_CONTACT" val="Florian_Kowarschik"/>
  <p:tag name="USER_ID" val="Florian.Kowarschik@d-fine.de"/>
  <p:tag name="ICONFRAME" val="0,75"/>
</p:tagLst>
</file>

<file path=ppt/tags/tag160.xml><?xml version="1.0" encoding="utf-8"?>
<p:tagLst xmlns:a="http://schemas.openxmlformats.org/drawingml/2006/main" xmlns:r="http://schemas.openxmlformats.org/officeDocument/2006/relationships" xmlns:p="http://schemas.openxmlformats.org/presentationml/2006/main">
  <p:tag name="ICON" val="true"/>
</p:tagLst>
</file>

<file path=ppt/tags/tag161.xml><?xml version="1.0" encoding="utf-8"?>
<p:tagLst xmlns:a="http://schemas.openxmlformats.org/drawingml/2006/main" xmlns:r="http://schemas.openxmlformats.org/officeDocument/2006/relationships" xmlns:p="http://schemas.openxmlformats.org/presentationml/2006/main">
  <p:tag name="ICON" val="true"/>
</p:tagLst>
</file>

<file path=ppt/tags/tag162.xml><?xml version="1.0" encoding="utf-8"?>
<p:tagLst xmlns:a="http://schemas.openxmlformats.org/drawingml/2006/main" xmlns:r="http://schemas.openxmlformats.org/officeDocument/2006/relationships" xmlns:p="http://schemas.openxmlformats.org/presentationml/2006/main">
  <p:tag name="ICONFRAME" val="0,75"/>
</p:tagLst>
</file>

<file path=ppt/tags/tag163.xml><?xml version="1.0" encoding="utf-8"?>
<p:tagLst xmlns:a="http://schemas.openxmlformats.org/drawingml/2006/main" xmlns:r="http://schemas.openxmlformats.org/officeDocument/2006/relationships" xmlns:p="http://schemas.openxmlformats.org/presentationml/2006/main">
  <p:tag name="ICON" val="true"/>
</p:tagLst>
</file>

<file path=ppt/tags/tag164.xml><?xml version="1.0" encoding="utf-8"?>
<p:tagLst xmlns:a="http://schemas.openxmlformats.org/drawingml/2006/main" xmlns:r="http://schemas.openxmlformats.org/officeDocument/2006/relationships" xmlns:p="http://schemas.openxmlformats.org/presentationml/2006/main">
  <p:tag name="ICON" val="true"/>
</p:tagLst>
</file>

<file path=ppt/tags/tag165.xml><?xml version="1.0" encoding="utf-8"?>
<p:tagLst xmlns:a="http://schemas.openxmlformats.org/drawingml/2006/main" xmlns:r="http://schemas.openxmlformats.org/officeDocument/2006/relationships" xmlns:p="http://schemas.openxmlformats.org/presentationml/2006/main">
  <p:tag name="ICONFRAME" val="0,75"/>
</p:tagLst>
</file>

<file path=ppt/tags/tag166.xml><?xml version="1.0" encoding="utf-8"?>
<p:tagLst xmlns:a="http://schemas.openxmlformats.org/drawingml/2006/main" xmlns:r="http://schemas.openxmlformats.org/officeDocument/2006/relationships" xmlns:p="http://schemas.openxmlformats.org/presentationml/2006/main">
  <p:tag name="ICONFRAME" val="0,75"/>
</p:tagLst>
</file>

<file path=ppt/tags/tag167.xml><?xml version="1.0" encoding="utf-8"?>
<p:tagLst xmlns:a="http://schemas.openxmlformats.org/drawingml/2006/main" xmlns:r="http://schemas.openxmlformats.org/officeDocument/2006/relationships" xmlns:p="http://schemas.openxmlformats.org/presentationml/2006/main">
  <p:tag name="ICON" val="true"/>
</p:tagLst>
</file>

<file path=ppt/tags/tag168.xml><?xml version="1.0" encoding="utf-8"?>
<p:tagLst xmlns:a="http://schemas.openxmlformats.org/drawingml/2006/main" xmlns:r="http://schemas.openxmlformats.org/officeDocument/2006/relationships" xmlns:p="http://schemas.openxmlformats.org/presentationml/2006/main">
  <p:tag name="ICON" val="true"/>
</p:tagLst>
</file>

<file path=ppt/tags/tag169.xml><?xml version="1.0" encoding="utf-8"?>
<p:tagLst xmlns:a="http://schemas.openxmlformats.org/drawingml/2006/main" xmlns:r="http://schemas.openxmlformats.org/officeDocument/2006/relationships" xmlns:p="http://schemas.openxmlformats.org/presentationml/2006/main">
  <p:tag name="ICON" val="true"/>
</p:tagLst>
</file>

<file path=ppt/tags/tag17.xml><?xml version="1.0" encoding="utf-8"?>
<p:tagLst xmlns:a="http://schemas.openxmlformats.org/drawingml/2006/main" xmlns:r="http://schemas.openxmlformats.org/officeDocument/2006/relationships" xmlns:p="http://schemas.openxmlformats.org/presentationml/2006/main">
  <p:tag name="UNDERLINE_BOX_NEW_VERSION" val="true"/>
</p:tagLst>
</file>

<file path=ppt/tags/tag170.xml><?xml version="1.0" encoding="utf-8"?>
<p:tagLst xmlns:a="http://schemas.openxmlformats.org/drawingml/2006/main" xmlns:r="http://schemas.openxmlformats.org/officeDocument/2006/relationships" xmlns:p="http://schemas.openxmlformats.org/presentationml/2006/main">
  <p:tag name="ICON" val="true"/>
</p:tagLst>
</file>

<file path=ppt/tags/tag171.xml><?xml version="1.0" encoding="utf-8"?>
<p:tagLst xmlns:a="http://schemas.openxmlformats.org/drawingml/2006/main" xmlns:r="http://schemas.openxmlformats.org/officeDocument/2006/relationships" xmlns:p="http://schemas.openxmlformats.org/presentationml/2006/main">
  <p:tag name="ICON" val="true"/>
</p:tagLst>
</file>

<file path=ppt/tags/tag172.xml><?xml version="1.0" encoding="utf-8"?>
<p:tagLst xmlns:a="http://schemas.openxmlformats.org/drawingml/2006/main" xmlns:r="http://schemas.openxmlformats.org/officeDocument/2006/relationships" xmlns:p="http://schemas.openxmlformats.org/presentationml/2006/main">
  <p:tag name="HEADER_BOX" val="true"/>
  <p:tag name="HEADER_BOX_LOCATION" val="top"/>
</p:tagLst>
</file>

<file path=ppt/tags/tag173.xml><?xml version="1.0" encoding="utf-8"?>
<p:tagLst xmlns:a="http://schemas.openxmlformats.org/drawingml/2006/main" xmlns:r="http://schemas.openxmlformats.org/officeDocument/2006/relationships" xmlns:p="http://schemas.openxmlformats.org/presentationml/2006/main">
  <p:tag name="HEADER_BOX" val="true"/>
  <p:tag name="HEADER_BOX_LOCATION" val="top"/>
</p:tagLst>
</file>

<file path=ppt/tags/tag174.xml><?xml version="1.0" encoding="utf-8"?>
<p:tagLst xmlns:a="http://schemas.openxmlformats.org/drawingml/2006/main" xmlns:r="http://schemas.openxmlformats.org/officeDocument/2006/relationships" xmlns:p="http://schemas.openxmlformats.org/presentationml/2006/main">
  <p:tag name="BOX_TEXT" val="true"/>
</p:tagLst>
</file>

<file path=ppt/tags/tag175.xml><?xml version="1.0" encoding="utf-8"?>
<p:tagLst xmlns:a="http://schemas.openxmlformats.org/drawingml/2006/main" xmlns:r="http://schemas.openxmlformats.org/officeDocument/2006/relationships" xmlns:p="http://schemas.openxmlformats.org/presentationml/2006/main">
  <p:tag name="BOX_HEADER" val="true"/>
  <p:tag name="HEADER_ORIENTATION" val="top"/>
</p:tagLst>
</file>

<file path=ppt/tags/tag176.xml><?xml version="1.0" encoding="utf-8"?>
<p:tagLst xmlns:a="http://schemas.openxmlformats.org/drawingml/2006/main" xmlns:r="http://schemas.openxmlformats.org/officeDocument/2006/relationships" xmlns:p="http://schemas.openxmlformats.org/presentationml/2006/main">
  <p:tag name="BOX_HEADER_TEXT" val="true"/>
</p:tagLst>
</file>

<file path=ppt/tags/tag177.xml><?xml version="1.0" encoding="utf-8"?>
<p:tagLst xmlns:a="http://schemas.openxmlformats.org/drawingml/2006/main" xmlns:r="http://schemas.openxmlformats.org/officeDocument/2006/relationships" xmlns:p="http://schemas.openxmlformats.org/presentationml/2006/main">
  <p:tag name="ICONFRAME" val="0,75"/>
</p:tagLst>
</file>

<file path=ppt/tags/tag178.xml><?xml version="1.0" encoding="utf-8"?>
<p:tagLst xmlns:a="http://schemas.openxmlformats.org/drawingml/2006/main" xmlns:r="http://schemas.openxmlformats.org/officeDocument/2006/relationships" xmlns:p="http://schemas.openxmlformats.org/presentationml/2006/main">
  <p:tag name="HEADER_TEXT_ICON_BOX" val="true"/>
  <p:tag name="ICONFRAME" val="0,75"/>
</p:tagLst>
</file>

<file path=ppt/tags/tag179.xml><?xml version="1.0" encoding="utf-8"?>
<p:tagLst xmlns:a="http://schemas.openxmlformats.org/drawingml/2006/main" xmlns:r="http://schemas.openxmlformats.org/officeDocument/2006/relationships" xmlns:p="http://schemas.openxmlformats.org/presentationml/2006/main">
  <p:tag name="HEADER_LINE_ICON_BOX" val="true"/>
</p:tagLst>
</file>

<file path=ppt/tags/tag18.xml><?xml version="1.0" encoding="utf-8"?>
<p:tagLst xmlns:a="http://schemas.openxmlformats.org/drawingml/2006/main" xmlns:r="http://schemas.openxmlformats.org/officeDocument/2006/relationships" xmlns:p="http://schemas.openxmlformats.org/presentationml/2006/main">
  <p:tag name="UNDERLINE_BOX_NEW_VERSION" val="true"/>
</p:tagLst>
</file>

<file path=ppt/tags/tag180.xml><?xml version="1.0" encoding="utf-8"?>
<p:tagLst xmlns:a="http://schemas.openxmlformats.org/drawingml/2006/main" xmlns:r="http://schemas.openxmlformats.org/officeDocument/2006/relationships" xmlns:p="http://schemas.openxmlformats.org/presentationml/2006/main">
  <p:tag name="QUAD_ICON" val="true"/>
  <p:tag name="ICONFRAME" val="0,75"/>
</p:tagLst>
</file>

<file path=ppt/tags/tag181.xml><?xml version="1.0" encoding="utf-8"?>
<p:tagLst xmlns:a="http://schemas.openxmlformats.org/drawingml/2006/main" xmlns:r="http://schemas.openxmlformats.org/officeDocument/2006/relationships" xmlns:p="http://schemas.openxmlformats.org/presentationml/2006/main">
  <p:tag name="ICON" val="true"/>
</p:tagLst>
</file>

<file path=ppt/tags/tag182.xml><?xml version="1.0" encoding="utf-8"?>
<p:tagLst xmlns:a="http://schemas.openxmlformats.org/drawingml/2006/main" xmlns:r="http://schemas.openxmlformats.org/officeDocument/2006/relationships" xmlns:p="http://schemas.openxmlformats.org/presentationml/2006/main">
  <p:tag name="ICONFRAME" val="0,75"/>
</p:tagLst>
</file>

<file path=ppt/tags/tag183.xml><?xml version="1.0" encoding="utf-8"?>
<p:tagLst xmlns:a="http://schemas.openxmlformats.org/drawingml/2006/main" xmlns:r="http://schemas.openxmlformats.org/officeDocument/2006/relationships" xmlns:p="http://schemas.openxmlformats.org/presentationml/2006/main">
  <p:tag name="BOX_TEXT" val="true"/>
</p:tagLst>
</file>

<file path=ppt/tags/tag184.xml><?xml version="1.0" encoding="utf-8"?>
<p:tagLst xmlns:a="http://schemas.openxmlformats.org/drawingml/2006/main" xmlns:r="http://schemas.openxmlformats.org/officeDocument/2006/relationships" xmlns:p="http://schemas.openxmlformats.org/presentationml/2006/main">
  <p:tag name="BOX_HEADER" val="true"/>
  <p:tag name="HEADER_ORIENTATION" val="top"/>
</p:tagLst>
</file>

<file path=ppt/tags/tag185.xml><?xml version="1.0" encoding="utf-8"?>
<p:tagLst xmlns:a="http://schemas.openxmlformats.org/drawingml/2006/main" xmlns:r="http://schemas.openxmlformats.org/officeDocument/2006/relationships" xmlns:p="http://schemas.openxmlformats.org/presentationml/2006/main">
  <p:tag name="BOX_HEADER_TEXT" val="true"/>
</p:tagLst>
</file>

<file path=ppt/tags/tag186.xml><?xml version="1.0" encoding="utf-8"?>
<p:tagLst xmlns:a="http://schemas.openxmlformats.org/drawingml/2006/main" xmlns:r="http://schemas.openxmlformats.org/officeDocument/2006/relationships" xmlns:p="http://schemas.openxmlformats.org/presentationml/2006/main">
  <p:tag name="ICON" val="true"/>
</p:tagLst>
</file>

<file path=ppt/tags/tag187.xml><?xml version="1.0" encoding="utf-8"?>
<p:tagLst xmlns:a="http://schemas.openxmlformats.org/drawingml/2006/main" xmlns:r="http://schemas.openxmlformats.org/officeDocument/2006/relationships" xmlns:p="http://schemas.openxmlformats.org/presentationml/2006/main">
  <p:tag name="ICON" val="true"/>
</p:tagLst>
</file>

<file path=ppt/tags/tag188.xml><?xml version="1.0" encoding="utf-8"?>
<p:tagLst xmlns:a="http://schemas.openxmlformats.org/drawingml/2006/main" xmlns:r="http://schemas.openxmlformats.org/officeDocument/2006/relationships" xmlns:p="http://schemas.openxmlformats.org/presentationml/2006/main">
  <p:tag name="ICONFRAME" val="0.75"/>
</p:tagLst>
</file>

<file path=ppt/tags/tag189.xml><?xml version="1.0" encoding="utf-8"?>
<p:tagLst xmlns:a="http://schemas.openxmlformats.org/drawingml/2006/main" xmlns:r="http://schemas.openxmlformats.org/officeDocument/2006/relationships" xmlns:p="http://schemas.openxmlformats.org/presentationml/2006/main">
  <p:tag name="ICON" val="true"/>
</p:tagLst>
</file>

<file path=ppt/tags/tag19.xml><?xml version="1.0" encoding="utf-8"?>
<p:tagLst xmlns:a="http://schemas.openxmlformats.org/drawingml/2006/main" xmlns:r="http://schemas.openxmlformats.org/officeDocument/2006/relationships" xmlns:p="http://schemas.openxmlformats.org/presentationml/2006/main">
  <p:tag name="THM_STYLE" val="0"/>
</p:tagLst>
</file>

<file path=ppt/tags/tag190.xml><?xml version="1.0" encoding="utf-8"?>
<p:tagLst xmlns:a="http://schemas.openxmlformats.org/drawingml/2006/main" xmlns:r="http://schemas.openxmlformats.org/officeDocument/2006/relationships" xmlns:p="http://schemas.openxmlformats.org/presentationml/2006/main">
  <p:tag name="BOX_TEXT" val="true"/>
</p:tagLst>
</file>

<file path=ppt/tags/tag191.xml><?xml version="1.0" encoding="utf-8"?>
<p:tagLst xmlns:a="http://schemas.openxmlformats.org/drawingml/2006/main" xmlns:r="http://schemas.openxmlformats.org/officeDocument/2006/relationships" xmlns:p="http://schemas.openxmlformats.org/presentationml/2006/main">
  <p:tag name="BOX_HEADER" val="true"/>
  <p:tag name="HEADER_ORIENTATION" val="top"/>
</p:tagLst>
</file>

<file path=ppt/tags/tag192.xml><?xml version="1.0" encoding="utf-8"?>
<p:tagLst xmlns:a="http://schemas.openxmlformats.org/drawingml/2006/main" xmlns:r="http://schemas.openxmlformats.org/officeDocument/2006/relationships" xmlns:p="http://schemas.openxmlformats.org/presentationml/2006/main">
  <p:tag name="BOX_HEADER_TEXT" val="true"/>
</p:tagLst>
</file>

<file path=ppt/tags/tag193.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194.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195.xml><?xml version="1.0" encoding="utf-8"?>
<p:tagLst xmlns:a="http://schemas.openxmlformats.org/drawingml/2006/main" xmlns:r="http://schemas.openxmlformats.org/officeDocument/2006/relationships" xmlns:p="http://schemas.openxmlformats.org/presentationml/2006/main">
  <p:tag name="HEADERBOX_TEXTBOX" val="horizontal"/>
</p:tagLst>
</file>

<file path=ppt/tags/tag196.xml><?xml version="1.0" encoding="utf-8"?>
<p:tagLst xmlns:a="http://schemas.openxmlformats.org/drawingml/2006/main" xmlns:r="http://schemas.openxmlformats.org/officeDocument/2006/relationships" xmlns:p="http://schemas.openxmlformats.org/presentationml/2006/main">
  <p:tag name="ICON" val="true"/>
</p:tagLst>
</file>

<file path=ppt/tags/tag197.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198.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199.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UNDERLINE_BOX_NEW_VERSION" val="true"/>
</p:tagLst>
</file>

<file path=ppt/tags/tag200.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201.xml><?xml version="1.0" encoding="utf-8"?>
<p:tagLst xmlns:a="http://schemas.openxmlformats.org/drawingml/2006/main" xmlns:r="http://schemas.openxmlformats.org/officeDocument/2006/relationships" xmlns:p="http://schemas.openxmlformats.org/presentationml/2006/main">
  <p:tag name="HEADERBOX_TEXTBOX" val="horizontal"/>
</p:tagLst>
</file>

<file path=ppt/tags/tag202.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203.xml><?xml version="1.0" encoding="utf-8"?>
<p:tagLst xmlns:a="http://schemas.openxmlformats.org/drawingml/2006/main" xmlns:r="http://schemas.openxmlformats.org/officeDocument/2006/relationships" xmlns:p="http://schemas.openxmlformats.org/presentationml/2006/main">
  <p:tag name="ICON" val="true"/>
</p:tagLst>
</file>

<file path=ppt/tags/tag204.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205.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206.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207.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208.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209.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21.xml><?xml version="1.0" encoding="utf-8"?>
<p:tagLst xmlns:a="http://schemas.openxmlformats.org/drawingml/2006/main" xmlns:r="http://schemas.openxmlformats.org/officeDocument/2006/relationships" xmlns:p="http://schemas.openxmlformats.org/presentationml/2006/main">
  <p:tag name="ICONFRAME" val="0,75"/>
</p:tagLst>
</file>

<file path=ppt/tags/tag210.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211.xml><?xml version="1.0" encoding="utf-8"?>
<p:tagLst xmlns:a="http://schemas.openxmlformats.org/drawingml/2006/main" xmlns:r="http://schemas.openxmlformats.org/officeDocument/2006/relationships" xmlns:p="http://schemas.openxmlformats.org/presentationml/2006/main">
  <p:tag name="THM_STYLE" val="0"/>
</p:tagLst>
</file>

<file path=ppt/tags/tag212.xml><?xml version="1.0" encoding="utf-8"?>
<p:tagLst xmlns:a="http://schemas.openxmlformats.org/drawingml/2006/main" xmlns:r="http://schemas.openxmlformats.org/officeDocument/2006/relationships" xmlns:p="http://schemas.openxmlformats.org/presentationml/2006/main">
  <p:tag name="ICON" val="true"/>
</p:tagLst>
</file>

<file path=ppt/tags/tag213.xml><?xml version="1.0" encoding="utf-8"?>
<p:tagLst xmlns:a="http://schemas.openxmlformats.org/drawingml/2006/main" xmlns:r="http://schemas.openxmlformats.org/officeDocument/2006/relationships" xmlns:p="http://schemas.openxmlformats.org/presentationml/2006/main">
  <p:tag name="ICON" val="true"/>
</p:tagLst>
</file>

<file path=ppt/tags/tag214.xml><?xml version="1.0" encoding="utf-8"?>
<p:tagLst xmlns:a="http://schemas.openxmlformats.org/drawingml/2006/main" xmlns:r="http://schemas.openxmlformats.org/officeDocument/2006/relationships" xmlns:p="http://schemas.openxmlformats.org/presentationml/2006/main">
  <p:tag name="ICON" val="true"/>
</p:tagLst>
</file>

<file path=ppt/tags/tag215.xml><?xml version="1.0" encoding="utf-8"?>
<p:tagLst xmlns:a="http://schemas.openxmlformats.org/drawingml/2006/main" xmlns:r="http://schemas.openxmlformats.org/officeDocument/2006/relationships" xmlns:p="http://schemas.openxmlformats.org/presentationml/2006/main">
  <p:tag name="ICON" val="true"/>
</p:tagLst>
</file>

<file path=ppt/tags/tag216.xml><?xml version="1.0" encoding="utf-8"?>
<p:tagLst xmlns:a="http://schemas.openxmlformats.org/drawingml/2006/main" xmlns:r="http://schemas.openxmlformats.org/officeDocument/2006/relationships" xmlns:p="http://schemas.openxmlformats.org/presentationml/2006/main">
  <p:tag name="THM_STYLE" val="0"/>
</p:tagLst>
</file>

<file path=ppt/tags/tag217.xml><?xml version="1.0" encoding="utf-8"?>
<p:tagLst xmlns:a="http://schemas.openxmlformats.org/drawingml/2006/main" xmlns:r="http://schemas.openxmlformats.org/officeDocument/2006/relationships" xmlns:p="http://schemas.openxmlformats.org/presentationml/2006/main">
  <p:tag name="HEADERBOX_TEXTBOX" val="horizontal"/>
</p:tagLst>
</file>

<file path=ppt/tags/tag218.xml><?xml version="1.0" encoding="utf-8"?>
<p:tagLst xmlns:a="http://schemas.openxmlformats.org/drawingml/2006/main" xmlns:r="http://schemas.openxmlformats.org/officeDocument/2006/relationships" xmlns:p="http://schemas.openxmlformats.org/presentationml/2006/main">
  <p:tag name="ICON" val="true"/>
</p:tagLst>
</file>

<file path=ppt/tags/tag219.xml><?xml version="1.0" encoding="utf-8"?>
<p:tagLst xmlns:a="http://schemas.openxmlformats.org/drawingml/2006/main" xmlns:r="http://schemas.openxmlformats.org/officeDocument/2006/relationships" xmlns:p="http://schemas.openxmlformats.org/presentationml/2006/main">
  <p:tag name="ICON" val="true"/>
</p:tagLst>
</file>

<file path=ppt/tags/tag22.xml><?xml version="1.0" encoding="utf-8"?>
<p:tagLst xmlns:a="http://schemas.openxmlformats.org/drawingml/2006/main" xmlns:r="http://schemas.openxmlformats.org/officeDocument/2006/relationships" xmlns:p="http://schemas.openxmlformats.org/presentationml/2006/main">
  <p:tag name="ICONFRAME" val="0,75"/>
</p:tagLst>
</file>

<file path=ppt/tags/tag220.xml><?xml version="1.0" encoding="utf-8"?>
<p:tagLst xmlns:a="http://schemas.openxmlformats.org/drawingml/2006/main" xmlns:r="http://schemas.openxmlformats.org/officeDocument/2006/relationships" xmlns:p="http://schemas.openxmlformats.org/presentationml/2006/main">
  <p:tag name="ICON" val="true"/>
</p:tagLst>
</file>

<file path=ppt/tags/tag221.xml><?xml version="1.0" encoding="utf-8"?>
<p:tagLst xmlns:a="http://schemas.openxmlformats.org/drawingml/2006/main" xmlns:r="http://schemas.openxmlformats.org/officeDocument/2006/relationships" xmlns:p="http://schemas.openxmlformats.org/presentationml/2006/main">
  <p:tag name="ICON" val="true"/>
</p:tagLst>
</file>

<file path=ppt/tags/tag222.xml><?xml version="1.0" encoding="utf-8"?>
<p:tagLst xmlns:a="http://schemas.openxmlformats.org/drawingml/2006/main" xmlns:r="http://schemas.openxmlformats.org/officeDocument/2006/relationships" xmlns:p="http://schemas.openxmlformats.org/presentationml/2006/main">
  <p:tag name="ICONFRAME" val="0,75"/>
</p:tagLst>
</file>

<file path=ppt/tags/tag223.xml><?xml version="1.0" encoding="utf-8"?>
<p:tagLst xmlns:a="http://schemas.openxmlformats.org/drawingml/2006/main" xmlns:r="http://schemas.openxmlformats.org/officeDocument/2006/relationships" xmlns:p="http://schemas.openxmlformats.org/presentationml/2006/main">
  <p:tag name="ICONFRAME" val="0,75"/>
</p:tagLst>
</file>

<file path=ppt/tags/tag224.xml><?xml version="1.0" encoding="utf-8"?>
<p:tagLst xmlns:a="http://schemas.openxmlformats.org/drawingml/2006/main" xmlns:r="http://schemas.openxmlformats.org/officeDocument/2006/relationships" xmlns:p="http://schemas.openxmlformats.org/presentationml/2006/main">
  <p:tag name="ICONFRAME" val="0,75"/>
</p:tagLst>
</file>

<file path=ppt/tags/tag225.xml><?xml version="1.0" encoding="utf-8"?>
<p:tagLst xmlns:a="http://schemas.openxmlformats.org/drawingml/2006/main" xmlns:r="http://schemas.openxmlformats.org/officeDocument/2006/relationships" xmlns:p="http://schemas.openxmlformats.org/presentationml/2006/main">
  <p:tag name="THM_STYLE" val="0"/>
</p:tagLst>
</file>

<file path=ppt/tags/tag226.xml><?xml version="1.0" encoding="utf-8"?>
<p:tagLst xmlns:a="http://schemas.openxmlformats.org/drawingml/2006/main" xmlns:r="http://schemas.openxmlformats.org/officeDocument/2006/relationships" xmlns:p="http://schemas.openxmlformats.org/presentationml/2006/main">
  <p:tag name="ICONFRAME" val="0,75"/>
</p:tagLst>
</file>

<file path=ppt/tags/tag227.xml><?xml version="1.0" encoding="utf-8"?>
<p:tagLst xmlns:a="http://schemas.openxmlformats.org/drawingml/2006/main" xmlns:r="http://schemas.openxmlformats.org/officeDocument/2006/relationships" xmlns:p="http://schemas.openxmlformats.org/presentationml/2006/main">
  <p:tag name="ICON" val="true"/>
</p:tagLst>
</file>

<file path=ppt/tags/tag228.xml><?xml version="1.0" encoding="utf-8"?>
<p:tagLst xmlns:a="http://schemas.openxmlformats.org/drawingml/2006/main" xmlns:r="http://schemas.openxmlformats.org/officeDocument/2006/relationships" xmlns:p="http://schemas.openxmlformats.org/presentationml/2006/main">
  <p:tag name="ICON" val="true"/>
</p:tagLst>
</file>

<file path=ppt/tags/tag229.xml><?xml version="1.0" encoding="utf-8"?>
<p:tagLst xmlns:a="http://schemas.openxmlformats.org/drawingml/2006/main" xmlns:r="http://schemas.openxmlformats.org/officeDocument/2006/relationships" xmlns:p="http://schemas.openxmlformats.org/presentationml/2006/main">
  <p:tag name="ICONFRAME" val="0,75"/>
</p:tagLst>
</file>

<file path=ppt/tags/tag23.xml><?xml version="1.0" encoding="utf-8"?>
<p:tagLst xmlns:a="http://schemas.openxmlformats.org/drawingml/2006/main" xmlns:r="http://schemas.openxmlformats.org/officeDocument/2006/relationships" xmlns:p="http://schemas.openxmlformats.org/presentationml/2006/main">
  <p:tag name="ICONFRAME" val="0,75"/>
</p:tagLst>
</file>

<file path=ppt/tags/tag230.xml><?xml version="1.0" encoding="utf-8"?>
<p:tagLst xmlns:a="http://schemas.openxmlformats.org/drawingml/2006/main" xmlns:r="http://schemas.openxmlformats.org/officeDocument/2006/relationships" xmlns:p="http://schemas.openxmlformats.org/presentationml/2006/main">
  <p:tag name="ICON" val="true"/>
</p:tagLst>
</file>

<file path=ppt/tags/tag231.xml><?xml version="1.0" encoding="utf-8"?>
<p:tagLst xmlns:a="http://schemas.openxmlformats.org/drawingml/2006/main" xmlns:r="http://schemas.openxmlformats.org/officeDocument/2006/relationships" xmlns:p="http://schemas.openxmlformats.org/presentationml/2006/main">
  <p:tag name="ICONFRAME" val="0,75"/>
</p:tagLst>
</file>

<file path=ppt/tags/tag232.xml><?xml version="1.0" encoding="utf-8"?>
<p:tagLst xmlns:a="http://schemas.openxmlformats.org/drawingml/2006/main" xmlns:r="http://schemas.openxmlformats.org/officeDocument/2006/relationships" xmlns:p="http://schemas.openxmlformats.org/presentationml/2006/main">
  <p:tag name="THM_STYLE" val="0"/>
</p:tagLst>
</file>

<file path=ppt/tags/tag233.xml><?xml version="1.0" encoding="utf-8"?>
<p:tagLst xmlns:a="http://schemas.openxmlformats.org/drawingml/2006/main" xmlns:r="http://schemas.openxmlformats.org/officeDocument/2006/relationships" xmlns:p="http://schemas.openxmlformats.org/presentationml/2006/main">
  <p:tag name="ICONFRAME" val="0,75"/>
</p:tagLst>
</file>

<file path=ppt/tags/tag234.xml><?xml version="1.0" encoding="utf-8"?>
<p:tagLst xmlns:a="http://schemas.openxmlformats.org/drawingml/2006/main" xmlns:r="http://schemas.openxmlformats.org/officeDocument/2006/relationships" xmlns:p="http://schemas.openxmlformats.org/presentationml/2006/main">
  <p:tag name="ICON" val="true"/>
</p:tagLst>
</file>

<file path=ppt/tags/tag235.xml><?xml version="1.0" encoding="utf-8"?>
<p:tagLst xmlns:a="http://schemas.openxmlformats.org/drawingml/2006/main" xmlns:r="http://schemas.openxmlformats.org/officeDocument/2006/relationships" xmlns:p="http://schemas.openxmlformats.org/presentationml/2006/main">
  <p:tag name="ICONFRAME" val="0,75"/>
</p:tagLst>
</file>

<file path=ppt/tags/tag236.xml><?xml version="1.0" encoding="utf-8"?>
<p:tagLst xmlns:a="http://schemas.openxmlformats.org/drawingml/2006/main" xmlns:r="http://schemas.openxmlformats.org/officeDocument/2006/relationships" xmlns:p="http://schemas.openxmlformats.org/presentationml/2006/main">
  <p:tag name="ICON" val="true"/>
</p:tagLst>
</file>

<file path=ppt/tags/tag237.xml><?xml version="1.0" encoding="utf-8"?>
<p:tagLst xmlns:a="http://schemas.openxmlformats.org/drawingml/2006/main" xmlns:r="http://schemas.openxmlformats.org/officeDocument/2006/relationships" xmlns:p="http://schemas.openxmlformats.org/presentationml/2006/main">
  <p:tag name="THM_STYLE" val="0"/>
</p:tagLst>
</file>

<file path=ppt/tags/tag238.xml><?xml version="1.0" encoding="utf-8"?>
<p:tagLst xmlns:a="http://schemas.openxmlformats.org/drawingml/2006/main" xmlns:r="http://schemas.openxmlformats.org/officeDocument/2006/relationships" xmlns:p="http://schemas.openxmlformats.org/presentationml/2006/main">
  <p:tag name="FORM_PARAMETERS_I19499" val="combo_scheme=!d-fine=!True=!-2147483643=!-2147483640=!!=?color=!=!True=!14344160=!5258240=!!=?color_text=!9=!True=!14344160=!5258240=!!=?Label15=!Textbox color=!True=!-2147483633=!-2147483630=!!=?opt_hor=!False=!True=!-2147483633=!-2147483630=!!=?opt_ver=!True=!True=!-2147483633=!-2147483630=!!=?Label17=!Number rows=!True=!-2147483633=!-2147483630=!!=?box_numbering=!True=!True=!-2147483633=!-2147483630=!!=?box_no_elements_ver=!1=!True=!-2147483643=!-2147483640=!!=?color_number=!=!True=!12169625=!5258240=!!=?color_text_number=!10=!True=!12169625=!5258240=!!=?label_number=!Numbering color=!True=!-2147483633=!-2147483630=!!=?Label19=!Left [cm]=!True=!-2147483633=!-2147483630=!!=?text_left=!0=!True=!-2147483643=!-2147483640=!!=?Label20=!Width [cm]=!True=!-2147483633=!-2147483630=!!=?text_width=!26,032=!True=!-2147483643=!-2147483640=!!=?label_height=!Height [cm]=!True=!-2147483633=!-2147483630=!!=?text_height=!13,9683=!True=!-2147483643=!-2147483640=!!=?Label22=!Top [cm]=!True=!-2147483633=!-2147483630=!!=?text_top=!0=!True=!-2147483643=!-2147483640=!!=?Label18=!Distance [cm]=!True=!-2147483633=!-2147483630=!!=?box_no_elements_hor=!3=!True=!-2147483643=!-2147483640=!!=?Label24=!Number columns=!True=!-2147483633=!-2147483630=!!=?box_distance=!0,3=!True=!-2147483643=!-2147483640=!!=?insert_bullets=!True=!True=!-2147483633=!-2147483630=!!=?insert_leading_zeros=!True=!True=!-2147483633=!-2147483630=!!=?Label25=!Scheme=!True=!-2147483633=!-2147483630=!!=?header_height=!1=!True=!-2147483643=!-2147483640=!!=?Label26=!Header height [cm]=!True=!-2147483633=!-2147483630=!!=?Label27=!Width [%]=!True=!-2147483633=!-2147483630=!!=?Label28=!Height [%]=!True=!-2147483633=!-2147483630=!!=?text_height_percent=!100=!True=!-2147483643=!-2147483640=!!=?text_width_percent=!100=!True=!-2147483643=!-2147483640=!!=?"/>
</p:tagLst>
</file>

<file path=ppt/tags/tag239.xml><?xml version="1.0" encoding="utf-8"?>
<p:tagLst xmlns:a="http://schemas.openxmlformats.org/drawingml/2006/main" xmlns:r="http://schemas.openxmlformats.org/officeDocument/2006/relationships" xmlns:p="http://schemas.openxmlformats.org/presentationml/2006/main">
  <p:tag name="ICON_BOX" val="true"/>
</p:tagLst>
</file>

<file path=ppt/tags/tag24.xml><?xml version="1.0" encoding="utf-8"?>
<p:tagLst xmlns:a="http://schemas.openxmlformats.org/drawingml/2006/main" xmlns:r="http://schemas.openxmlformats.org/officeDocument/2006/relationships" xmlns:p="http://schemas.openxmlformats.org/presentationml/2006/main">
  <p:tag name="ICONFRAME" val="0,75"/>
</p:tagLst>
</file>

<file path=ppt/tags/tag240.xml><?xml version="1.0" encoding="utf-8"?>
<p:tagLst xmlns:a="http://schemas.openxmlformats.org/drawingml/2006/main" xmlns:r="http://schemas.openxmlformats.org/officeDocument/2006/relationships" xmlns:p="http://schemas.openxmlformats.org/presentationml/2006/main">
  <p:tag name="ICON_BOX" val="true"/>
</p:tagLst>
</file>

<file path=ppt/tags/tag241.xml><?xml version="1.0" encoding="utf-8"?>
<p:tagLst xmlns:a="http://schemas.openxmlformats.org/drawingml/2006/main" xmlns:r="http://schemas.openxmlformats.org/officeDocument/2006/relationships" xmlns:p="http://schemas.openxmlformats.org/presentationml/2006/main">
  <p:tag name="ICON_BOX" val="true"/>
</p:tagLst>
</file>

<file path=ppt/tags/tag242.xml><?xml version="1.0" encoding="utf-8"?>
<p:tagLst xmlns:a="http://schemas.openxmlformats.org/drawingml/2006/main" xmlns:r="http://schemas.openxmlformats.org/officeDocument/2006/relationships" xmlns:p="http://schemas.openxmlformats.org/presentationml/2006/main">
  <p:tag name="UNDERLINE_TRIANGLE" val="true"/>
</p:tagLst>
</file>

<file path=ppt/tags/tag243.xml><?xml version="1.0" encoding="utf-8"?>
<p:tagLst xmlns:a="http://schemas.openxmlformats.org/drawingml/2006/main" xmlns:r="http://schemas.openxmlformats.org/officeDocument/2006/relationships" xmlns:p="http://schemas.openxmlformats.org/presentationml/2006/main">
  <p:tag name="THM_STYLE" val="0"/>
</p:tagLst>
</file>

<file path=ppt/tags/tag244.xml><?xml version="1.0" encoding="utf-8"?>
<p:tagLst xmlns:a="http://schemas.openxmlformats.org/drawingml/2006/main" xmlns:r="http://schemas.openxmlformats.org/officeDocument/2006/relationships" xmlns:p="http://schemas.openxmlformats.org/presentationml/2006/main">
  <p:tag name="ICON_BOX" val="true"/>
</p:tagLst>
</file>

<file path=ppt/tags/tag245.xml><?xml version="1.0" encoding="utf-8"?>
<p:tagLst xmlns:a="http://schemas.openxmlformats.org/drawingml/2006/main" xmlns:r="http://schemas.openxmlformats.org/officeDocument/2006/relationships" xmlns:p="http://schemas.openxmlformats.org/presentationml/2006/main">
  <p:tag name="ICON" val="true"/>
</p:tagLst>
</file>

<file path=ppt/tags/tag246.xml><?xml version="1.0" encoding="utf-8"?>
<p:tagLst xmlns:a="http://schemas.openxmlformats.org/drawingml/2006/main" xmlns:r="http://schemas.openxmlformats.org/officeDocument/2006/relationships" xmlns:p="http://schemas.openxmlformats.org/presentationml/2006/main">
  <p:tag name="ICONFRAME" val="0,75"/>
  <p:tag name="ICON" val="true"/>
</p:tagLst>
</file>

<file path=ppt/tags/tag247.xml><?xml version="1.0" encoding="utf-8"?>
<p:tagLst xmlns:a="http://schemas.openxmlformats.org/drawingml/2006/main" xmlns:r="http://schemas.openxmlformats.org/officeDocument/2006/relationships" xmlns:p="http://schemas.openxmlformats.org/presentationml/2006/main">
  <p:tag name="ICON" val="true"/>
</p:tagLst>
</file>

<file path=ppt/tags/tag248.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249.xml><?xml version="1.0" encoding="utf-8"?>
<p:tagLst xmlns:a="http://schemas.openxmlformats.org/drawingml/2006/main" xmlns:r="http://schemas.openxmlformats.org/officeDocument/2006/relationships" xmlns:p="http://schemas.openxmlformats.org/presentationml/2006/main">
  <p:tag name="HEADER_LINE_ICON_BOX" val="true"/>
</p:tagLst>
</file>

<file path=ppt/tags/tag25.xml><?xml version="1.0" encoding="utf-8"?>
<p:tagLst xmlns:a="http://schemas.openxmlformats.org/drawingml/2006/main" xmlns:r="http://schemas.openxmlformats.org/officeDocument/2006/relationships" xmlns:p="http://schemas.openxmlformats.org/presentationml/2006/main">
  <p:tag name="ICONFRAME" val="0,75"/>
</p:tagLst>
</file>

<file path=ppt/tags/tag250.xml><?xml version="1.0" encoding="utf-8"?>
<p:tagLst xmlns:a="http://schemas.openxmlformats.org/drawingml/2006/main" xmlns:r="http://schemas.openxmlformats.org/officeDocument/2006/relationships" xmlns:p="http://schemas.openxmlformats.org/presentationml/2006/main">
  <p:tag name="QUAD_ICON" val="true"/>
</p:tagLst>
</file>

<file path=ppt/tags/tag251.xml><?xml version="1.0" encoding="utf-8"?>
<p:tagLst xmlns:a="http://schemas.openxmlformats.org/drawingml/2006/main" xmlns:r="http://schemas.openxmlformats.org/officeDocument/2006/relationships" xmlns:p="http://schemas.openxmlformats.org/presentationml/2006/main">
  <p:tag name="ICON_BOX" val="true"/>
</p:tagLst>
</file>

<file path=ppt/tags/tag252.xml><?xml version="1.0" encoding="utf-8"?>
<p:tagLst xmlns:a="http://schemas.openxmlformats.org/drawingml/2006/main" xmlns:r="http://schemas.openxmlformats.org/officeDocument/2006/relationships" xmlns:p="http://schemas.openxmlformats.org/presentationml/2006/main">
  <p:tag name="ICON" val="true"/>
</p:tagLst>
</file>

<file path=ppt/tags/tag253.xml><?xml version="1.0" encoding="utf-8"?>
<p:tagLst xmlns:a="http://schemas.openxmlformats.org/drawingml/2006/main" xmlns:r="http://schemas.openxmlformats.org/officeDocument/2006/relationships" xmlns:p="http://schemas.openxmlformats.org/presentationml/2006/main">
  <p:tag name="ICONFRAME" val="0,75"/>
  <p:tag name="ICON" val="true"/>
</p:tagLst>
</file>

<file path=ppt/tags/tag254.xml><?xml version="1.0" encoding="utf-8"?>
<p:tagLst xmlns:a="http://schemas.openxmlformats.org/drawingml/2006/main" xmlns:r="http://schemas.openxmlformats.org/officeDocument/2006/relationships" xmlns:p="http://schemas.openxmlformats.org/presentationml/2006/main">
  <p:tag name="ICON" val="true"/>
</p:tagLst>
</file>

<file path=ppt/tags/tag255.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256.xml><?xml version="1.0" encoding="utf-8"?>
<p:tagLst xmlns:a="http://schemas.openxmlformats.org/drawingml/2006/main" xmlns:r="http://schemas.openxmlformats.org/officeDocument/2006/relationships" xmlns:p="http://schemas.openxmlformats.org/presentationml/2006/main">
  <p:tag name="HEADER_LINE_ICON_BOX" val="true"/>
</p:tagLst>
</file>

<file path=ppt/tags/tag257.xml><?xml version="1.0" encoding="utf-8"?>
<p:tagLst xmlns:a="http://schemas.openxmlformats.org/drawingml/2006/main" xmlns:r="http://schemas.openxmlformats.org/officeDocument/2006/relationships" xmlns:p="http://schemas.openxmlformats.org/presentationml/2006/main">
  <p:tag name="QUAD_ICON" val="true"/>
</p:tagLst>
</file>

<file path=ppt/tags/tag258.xml><?xml version="1.0" encoding="utf-8"?>
<p:tagLst xmlns:a="http://schemas.openxmlformats.org/drawingml/2006/main" xmlns:r="http://schemas.openxmlformats.org/officeDocument/2006/relationships" xmlns:p="http://schemas.openxmlformats.org/presentationml/2006/main">
  <p:tag name="ICON_BOX" val="true"/>
</p:tagLst>
</file>

<file path=ppt/tags/tag259.xml><?xml version="1.0" encoding="utf-8"?>
<p:tagLst xmlns:a="http://schemas.openxmlformats.org/drawingml/2006/main" xmlns:r="http://schemas.openxmlformats.org/officeDocument/2006/relationships" xmlns:p="http://schemas.openxmlformats.org/presentationml/2006/main">
  <p:tag name="ICON" val="true"/>
</p:tagLst>
</file>

<file path=ppt/tags/tag26.xml><?xml version="1.0" encoding="utf-8"?>
<p:tagLst xmlns:a="http://schemas.openxmlformats.org/drawingml/2006/main" xmlns:r="http://schemas.openxmlformats.org/officeDocument/2006/relationships" xmlns:p="http://schemas.openxmlformats.org/presentationml/2006/main">
  <p:tag name="ICONFRAME" val="0,75"/>
</p:tagLst>
</file>

<file path=ppt/tags/tag260.xml><?xml version="1.0" encoding="utf-8"?>
<p:tagLst xmlns:a="http://schemas.openxmlformats.org/drawingml/2006/main" xmlns:r="http://schemas.openxmlformats.org/officeDocument/2006/relationships" xmlns:p="http://schemas.openxmlformats.org/presentationml/2006/main">
  <p:tag name="ICONFRAME" val="0,75"/>
  <p:tag name="ICON" val="true"/>
</p:tagLst>
</file>

<file path=ppt/tags/tag261.xml><?xml version="1.0" encoding="utf-8"?>
<p:tagLst xmlns:a="http://schemas.openxmlformats.org/drawingml/2006/main" xmlns:r="http://schemas.openxmlformats.org/officeDocument/2006/relationships" xmlns:p="http://schemas.openxmlformats.org/presentationml/2006/main">
  <p:tag name="ICON" val="true"/>
</p:tagLst>
</file>

<file path=ppt/tags/tag262.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263.xml><?xml version="1.0" encoding="utf-8"?>
<p:tagLst xmlns:a="http://schemas.openxmlformats.org/drawingml/2006/main" xmlns:r="http://schemas.openxmlformats.org/officeDocument/2006/relationships" xmlns:p="http://schemas.openxmlformats.org/presentationml/2006/main">
  <p:tag name="HEADER_LINE_ICON_BOX" val="true"/>
</p:tagLst>
</file>

<file path=ppt/tags/tag264.xml><?xml version="1.0" encoding="utf-8"?>
<p:tagLst xmlns:a="http://schemas.openxmlformats.org/drawingml/2006/main" xmlns:r="http://schemas.openxmlformats.org/officeDocument/2006/relationships" xmlns:p="http://schemas.openxmlformats.org/presentationml/2006/main">
  <p:tag name="QUAD_ICON" val="true"/>
</p:tagLst>
</file>

<file path=ppt/tags/tag265.xml><?xml version="1.0" encoding="utf-8"?>
<p:tagLst xmlns:a="http://schemas.openxmlformats.org/drawingml/2006/main" xmlns:r="http://schemas.openxmlformats.org/officeDocument/2006/relationships" xmlns:p="http://schemas.openxmlformats.org/presentationml/2006/main">
  <p:tag name="THM_STYLE" val="0"/>
</p:tagLst>
</file>

<file path=ppt/tags/tag266.xml><?xml version="1.0" encoding="utf-8"?>
<p:tagLst xmlns:a="http://schemas.openxmlformats.org/drawingml/2006/main" xmlns:r="http://schemas.openxmlformats.org/officeDocument/2006/relationships" xmlns:p="http://schemas.openxmlformats.org/presentationml/2006/main">
  <p:tag name="HEADERBOX_TEXTBOX" val="horizontal"/>
</p:tagLst>
</file>

<file path=ppt/tags/tag267.xml><?xml version="1.0" encoding="utf-8"?>
<p:tagLst xmlns:a="http://schemas.openxmlformats.org/drawingml/2006/main" xmlns:r="http://schemas.openxmlformats.org/officeDocument/2006/relationships" xmlns:p="http://schemas.openxmlformats.org/presentationml/2006/main">
  <p:tag name="ICON" val="true"/>
</p:tagLst>
</file>

<file path=ppt/tags/tag268.xml><?xml version="1.0" encoding="utf-8"?>
<p:tagLst xmlns:a="http://schemas.openxmlformats.org/drawingml/2006/main" xmlns:r="http://schemas.openxmlformats.org/officeDocument/2006/relationships" xmlns:p="http://schemas.openxmlformats.org/presentationml/2006/main">
  <p:tag name="ICON" val="true"/>
</p:tagLst>
</file>

<file path=ppt/tags/tag269.xml><?xml version="1.0" encoding="utf-8"?>
<p:tagLst xmlns:a="http://schemas.openxmlformats.org/drawingml/2006/main" xmlns:r="http://schemas.openxmlformats.org/officeDocument/2006/relationships" xmlns:p="http://schemas.openxmlformats.org/presentationml/2006/main">
  <p:tag name="ICON" val="true"/>
</p:tagLst>
</file>

<file path=ppt/tags/tag27.xml><?xml version="1.0" encoding="utf-8"?>
<p:tagLst xmlns:a="http://schemas.openxmlformats.org/drawingml/2006/main" xmlns:r="http://schemas.openxmlformats.org/officeDocument/2006/relationships" xmlns:p="http://schemas.openxmlformats.org/presentationml/2006/main">
  <p:tag name="ICONFRAME" val="0,75"/>
</p:tagLst>
</file>

<file path=ppt/tags/tag270.xml><?xml version="1.0" encoding="utf-8"?>
<p:tagLst xmlns:a="http://schemas.openxmlformats.org/drawingml/2006/main" xmlns:r="http://schemas.openxmlformats.org/officeDocument/2006/relationships" xmlns:p="http://schemas.openxmlformats.org/presentationml/2006/main">
  <p:tag name="ICON" val="true"/>
</p:tagLst>
</file>

<file path=ppt/tags/tag271.xml><?xml version="1.0" encoding="utf-8"?>
<p:tagLst xmlns:a="http://schemas.openxmlformats.org/drawingml/2006/main" xmlns:r="http://schemas.openxmlformats.org/officeDocument/2006/relationships" xmlns:p="http://schemas.openxmlformats.org/presentationml/2006/main">
  <p:tag name="ICONFRAME" val="0,75"/>
</p:tagLst>
</file>

<file path=ppt/tags/tag272.xml><?xml version="1.0" encoding="utf-8"?>
<p:tagLst xmlns:a="http://schemas.openxmlformats.org/drawingml/2006/main" xmlns:r="http://schemas.openxmlformats.org/officeDocument/2006/relationships" xmlns:p="http://schemas.openxmlformats.org/presentationml/2006/main">
  <p:tag name="ICON" val="true"/>
</p:tagLst>
</file>

<file path=ppt/tags/tag273.xml><?xml version="1.0" encoding="utf-8"?>
<p:tagLst xmlns:a="http://schemas.openxmlformats.org/drawingml/2006/main" xmlns:r="http://schemas.openxmlformats.org/officeDocument/2006/relationships" xmlns:p="http://schemas.openxmlformats.org/presentationml/2006/main">
  <p:tag name="ICON" val="true"/>
</p:tagLst>
</file>

<file path=ppt/tags/tag274.xml><?xml version="1.0" encoding="utf-8"?>
<p:tagLst xmlns:a="http://schemas.openxmlformats.org/drawingml/2006/main" xmlns:r="http://schemas.openxmlformats.org/officeDocument/2006/relationships" xmlns:p="http://schemas.openxmlformats.org/presentationml/2006/main">
  <p:tag name="ICONFRAME" val="0,75"/>
</p:tagLst>
</file>

<file path=ppt/tags/tag275.xml><?xml version="1.0" encoding="utf-8"?>
<p:tagLst xmlns:a="http://schemas.openxmlformats.org/drawingml/2006/main" xmlns:r="http://schemas.openxmlformats.org/officeDocument/2006/relationships" xmlns:p="http://schemas.openxmlformats.org/presentationml/2006/main">
  <p:tag name="THM_STYLE" val="0"/>
</p:tagLst>
</file>

<file path=ppt/tags/tag276.xml><?xml version="1.0" encoding="utf-8"?>
<p:tagLst xmlns:a="http://schemas.openxmlformats.org/drawingml/2006/main" xmlns:r="http://schemas.openxmlformats.org/officeDocument/2006/relationships" xmlns:p="http://schemas.openxmlformats.org/presentationml/2006/main">
  <p:tag name="ICONFRAME" val="0,75"/>
</p:tagLst>
</file>

<file path=ppt/tags/tag277.xml><?xml version="1.0" encoding="utf-8"?>
<p:tagLst xmlns:a="http://schemas.openxmlformats.org/drawingml/2006/main" xmlns:r="http://schemas.openxmlformats.org/officeDocument/2006/relationships" xmlns:p="http://schemas.openxmlformats.org/presentationml/2006/main">
  <p:tag name="ICONFRAME" val="0,75"/>
</p:tagLst>
</file>

<file path=ppt/tags/tag278.xml><?xml version="1.0" encoding="utf-8"?>
<p:tagLst xmlns:a="http://schemas.openxmlformats.org/drawingml/2006/main" xmlns:r="http://schemas.openxmlformats.org/officeDocument/2006/relationships" xmlns:p="http://schemas.openxmlformats.org/presentationml/2006/main">
  <p:tag name="THM_STYLE" val="0"/>
</p:tagLst>
</file>

<file path=ppt/tags/tag279.xml><?xml version="1.0" encoding="utf-8"?>
<p:tagLst xmlns:a="http://schemas.openxmlformats.org/drawingml/2006/main" xmlns:r="http://schemas.openxmlformats.org/officeDocument/2006/relationships" xmlns:p="http://schemas.openxmlformats.org/presentationml/2006/main">
  <p:tag name="HEADERBOX_TEXTBOX" val="horizontal"/>
</p:tagLst>
</file>

<file path=ppt/tags/tag28.xml><?xml version="1.0" encoding="utf-8"?>
<p:tagLst xmlns:a="http://schemas.openxmlformats.org/drawingml/2006/main" xmlns:r="http://schemas.openxmlformats.org/officeDocument/2006/relationships" xmlns:p="http://schemas.openxmlformats.org/presentationml/2006/main">
  <p:tag name="ICONFRAME" val="0,75"/>
</p:tagLst>
</file>

<file path=ppt/tags/tag280.xml><?xml version="1.0" encoding="utf-8"?>
<p:tagLst xmlns:a="http://schemas.openxmlformats.org/drawingml/2006/main" xmlns:r="http://schemas.openxmlformats.org/officeDocument/2006/relationships" xmlns:p="http://schemas.openxmlformats.org/presentationml/2006/main">
  <p:tag name="ICON" val="true"/>
</p:tagLst>
</file>

<file path=ppt/tags/tag281.xml><?xml version="1.0" encoding="utf-8"?>
<p:tagLst xmlns:a="http://schemas.openxmlformats.org/drawingml/2006/main" xmlns:r="http://schemas.openxmlformats.org/officeDocument/2006/relationships" xmlns:p="http://schemas.openxmlformats.org/presentationml/2006/main">
  <p:tag name="ICON" val="true"/>
</p:tagLst>
</file>

<file path=ppt/tags/tag282.xml><?xml version="1.0" encoding="utf-8"?>
<p:tagLst xmlns:a="http://schemas.openxmlformats.org/drawingml/2006/main" xmlns:r="http://schemas.openxmlformats.org/officeDocument/2006/relationships" xmlns:p="http://schemas.openxmlformats.org/presentationml/2006/main">
  <p:tag name="ICONFRAME" val="0,75"/>
</p:tagLst>
</file>

<file path=ppt/tags/tag283.xml><?xml version="1.0" encoding="utf-8"?>
<p:tagLst xmlns:a="http://schemas.openxmlformats.org/drawingml/2006/main" xmlns:r="http://schemas.openxmlformats.org/officeDocument/2006/relationships" xmlns:p="http://schemas.openxmlformats.org/presentationml/2006/main">
  <p:tag name="ICON" val="true"/>
</p:tagLst>
</file>

<file path=ppt/tags/tag284.xml><?xml version="1.0" encoding="utf-8"?>
<p:tagLst xmlns:a="http://schemas.openxmlformats.org/drawingml/2006/main" xmlns:r="http://schemas.openxmlformats.org/officeDocument/2006/relationships" xmlns:p="http://schemas.openxmlformats.org/presentationml/2006/main">
  <p:tag name="ICONFRAME" val="0,75"/>
</p:tagLst>
</file>

<file path=ppt/tags/tag285.xml><?xml version="1.0" encoding="utf-8"?>
<p:tagLst xmlns:a="http://schemas.openxmlformats.org/drawingml/2006/main" xmlns:r="http://schemas.openxmlformats.org/officeDocument/2006/relationships" xmlns:p="http://schemas.openxmlformats.org/presentationml/2006/main">
  <p:tag name="ICONFRAME" val="0,75"/>
</p:tagLst>
</file>

<file path=ppt/tags/tag286.xml><?xml version="1.0" encoding="utf-8"?>
<p:tagLst xmlns:a="http://schemas.openxmlformats.org/drawingml/2006/main" xmlns:r="http://schemas.openxmlformats.org/officeDocument/2006/relationships" xmlns:p="http://schemas.openxmlformats.org/presentationml/2006/main">
  <p:tag name="ICONFRAME" val="0,75"/>
</p:tagLst>
</file>

<file path=ppt/tags/tag287.xml><?xml version="1.0" encoding="utf-8"?>
<p:tagLst xmlns:a="http://schemas.openxmlformats.org/drawingml/2006/main" xmlns:r="http://schemas.openxmlformats.org/officeDocument/2006/relationships" xmlns:p="http://schemas.openxmlformats.org/presentationml/2006/main">
  <p:tag name="ICON" val="true"/>
</p:tagLst>
</file>

<file path=ppt/tags/tag288.xml><?xml version="1.0" encoding="utf-8"?>
<p:tagLst xmlns:a="http://schemas.openxmlformats.org/drawingml/2006/main" xmlns:r="http://schemas.openxmlformats.org/officeDocument/2006/relationships" xmlns:p="http://schemas.openxmlformats.org/presentationml/2006/main">
  <p:tag name="ICONFRAME" val="0,75"/>
</p:tagLst>
</file>

<file path=ppt/tags/tag289.xml><?xml version="1.0" encoding="utf-8"?>
<p:tagLst xmlns:a="http://schemas.openxmlformats.org/drawingml/2006/main" xmlns:r="http://schemas.openxmlformats.org/officeDocument/2006/relationships" xmlns:p="http://schemas.openxmlformats.org/presentationml/2006/main">
  <p:tag name="ICON" val="true"/>
</p:tagLst>
</file>

<file path=ppt/tags/tag29.xml><?xml version="1.0" encoding="utf-8"?>
<p:tagLst xmlns:a="http://schemas.openxmlformats.org/drawingml/2006/main" xmlns:r="http://schemas.openxmlformats.org/officeDocument/2006/relationships" xmlns:p="http://schemas.openxmlformats.org/presentationml/2006/main">
  <p:tag name="ICONFRAME" val="0,75"/>
</p:tagLst>
</file>

<file path=ppt/tags/tag290.xml><?xml version="1.0" encoding="utf-8"?>
<p:tagLst xmlns:a="http://schemas.openxmlformats.org/drawingml/2006/main" xmlns:r="http://schemas.openxmlformats.org/officeDocument/2006/relationships" xmlns:p="http://schemas.openxmlformats.org/presentationml/2006/main">
  <p:tag name="ICON" val="true"/>
</p:tagLst>
</file>

<file path=ppt/tags/tag291.xml><?xml version="1.0" encoding="utf-8"?>
<p:tagLst xmlns:a="http://schemas.openxmlformats.org/drawingml/2006/main" xmlns:r="http://schemas.openxmlformats.org/officeDocument/2006/relationships" xmlns:p="http://schemas.openxmlformats.org/presentationml/2006/main">
  <p:tag name="ICON" val="true"/>
</p:tagLst>
</file>

<file path=ppt/tags/tag292.xml><?xml version="1.0" encoding="utf-8"?>
<p:tagLst xmlns:a="http://schemas.openxmlformats.org/drawingml/2006/main" xmlns:r="http://schemas.openxmlformats.org/officeDocument/2006/relationships" xmlns:p="http://schemas.openxmlformats.org/presentationml/2006/main">
  <p:tag name="ICON" val="true"/>
</p:tagLst>
</file>

<file path=ppt/tags/tag293.xml><?xml version="1.0" encoding="utf-8"?>
<p:tagLst xmlns:a="http://schemas.openxmlformats.org/drawingml/2006/main" xmlns:r="http://schemas.openxmlformats.org/officeDocument/2006/relationships" xmlns:p="http://schemas.openxmlformats.org/presentationml/2006/main">
  <p:tag name="ICON" val="true"/>
</p:tagLst>
</file>

<file path=ppt/tags/tag294.xml><?xml version="1.0" encoding="utf-8"?>
<p:tagLst xmlns:a="http://schemas.openxmlformats.org/drawingml/2006/main" xmlns:r="http://schemas.openxmlformats.org/officeDocument/2006/relationships" xmlns:p="http://schemas.openxmlformats.org/presentationml/2006/main">
  <p:tag name="ICON" val="true"/>
</p:tagLst>
</file>

<file path=ppt/tags/tag295.xml><?xml version="1.0" encoding="utf-8"?>
<p:tagLst xmlns:a="http://schemas.openxmlformats.org/drawingml/2006/main" xmlns:r="http://schemas.openxmlformats.org/officeDocument/2006/relationships" xmlns:p="http://schemas.openxmlformats.org/presentationml/2006/main">
  <p:tag name="ICON" val="true"/>
</p:tagLst>
</file>

<file path=ppt/tags/tag296.xml><?xml version="1.0" encoding="utf-8"?>
<p:tagLst xmlns:a="http://schemas.openxmlformats.org/drawingml/2006/main" xmlns:r="http://schemas.openxmlformats.org/officeDocument/2006/relationships" xmlns:p="http://schemas.openxmlformats.org/presentationml/2006/main">
  <p:tag name="ICON" val="true"/>
</p:tagLst>
</file>

<file path=ppt/tags/tag297.xml><?xml version="1.0" encoding="utf-8"?>
<p:tagLst xmlns:a="http://schemas.openxmlformats.org/drawingml/2006/main" xmlns:r="http://schemas.openxmlformats.org/officeDocument/2006/relationships" xmlns:p="http://schemas.openxmlformats.org/presentationml/2006/main">
  <p:tag name="THM_STYLE" val="0"/>
</p:tagLst>
</file>

<file path=ppt/tags/tag298.xml><?xml version="1.0" encoding="utf-8"?>
<p:tagLst xmlns:a="http://schemas.openxmlformats.org/drawingml/2006/main" xmlns:r="http://schemas.openxmlformats.org/officeDocument/2006/relationships" xmlns:p="http://schemas.openxmlformats.org/presentationml/2006/main">
  <p:tag name="ICON" val="true"/>
</p:tagLst>
</file>

<file path=ppt/tags/tag299.xml><?xml version="1.0" encoding="utf-8"?>
<p:tagLst xmlns:a="http://schemas.openxmlformats.org/drawingml/2006/main" xmlns:r="http://schemas.openxmlformats.org/officeDocument/2006/relationships" xmlns:p="http://schemas.openxmlformats.org/presentationml/2006/main">
  <p:tag name="ICON" val="tr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ICONFRAME" val="0,75"/>
</p:tagLst>
</file>

<file path=ppt/tags/tag300.xml><?xml version="1.0" encoding="utf-8"?>
<p:tagLst xmlns:a="http://schemas.openxmlformats.org/drawingml/2006/main" xmlns:r="http://schemas.openxmlformats.org/officeDocument/2006/relationships" xmlns:p="http://schemas.openxmlformats.org/presentationml/2006/main">
  <p:tag name="ICON" val="true"/>
</p:tagLst>
</file>

<file path=ppt/tags/tag301.xml><?xml version="1.0" encoding="utf-8"?>
<p:tagLst xmlns:a="http://schemas.openxmlformats.org/drawingml/2006/main" xmlns:r="http://schemas.openxmlformats.org/officeDocument/2006/relationships" xmlns:p="http://schemas.openxmlformats.org/presentationml/2006/main">
  <p:tag name="ICON" val="true"/>
</p:tagLst>
</file>

<file path=ppt/tags/tag302.xml><?xml version="1.0" encoding="utf-8"?>
<p:tagLst xmlns:a="http://schemas.openxmlformats.org/drawingml/2006/main" xmlns:r="http://schemas.openxmlformats.org/officeDocument/2006/relationships" xmlns:p="http://schemas.openxmlformats.org/presentationml/2006/main">
  <p:tag name="THM_STYLE" val="0"/>
</p:tagLst>
</file>

<file path=ppt/tags/tag303.xml><?xml version="1.0" encoding="utf-8"?>
<p:tagLst xmlns:a="http://schemas.openxmlformats.org/drawingml/2006/main" xmlns:r="http://schemas.openxmlformats.org/officeDocument/2006/relationships" xmlns:p="http://schemas.openxmlformats.org/presentationml/2006/main">
  <p:tag name="ICON" val="true"/>
</p:tagLst>
</file>

<file path=ppt/tags/tag304.xml><?xml version="1.0" encoding="utf-8"?>
<p:tagLst xmlns:a="http://schemas.openxmlformats.org/drawingml/2006/main" xmlns:r="http://schemas.openxmlformats.org/officeDocument/2006/relationships" xmlns:p="http://schemas.openxmlformats.org/presentationml/2006/main">
  <p:tag name="ICONFRAME" val="0,75"/>
</p:tagLst>
</file>

<file path=ppt/tags/tag305.xml><?xml version="1.0" encoding="utf-8"?>
<p:tagLst xmlns:a="http://schemas.openxmlformats.org/drawingml/2006/main" xmlns:r="http://schemas.openxmlformats.org/officeDocument/2006/relationships" xmlns:p="http://schemas.openxmlformats.org/presentationml/2006/main">
  <p:tag name="ICONFRAME" val="0,75"/>
</p:tagLst>
</file>

<file path=ppt/tags/tag306.xml><?xml version="1.0" encoding="utf-8"?>
<p:tagLst xmlns:a="http://schemas.openxmlformats.org/drawingml/2006/main" xmlns:r="http://schemas.openxmlformats.org/officeDocument/2006/relationships" xmlns:p="http://schemas.openxmlformats.org/presentationml/2006/main">
  <p:tag name="THM_STYLE" val="0"/>
</p:tagLst>
</file>

<file path=ppt/tags/tag307.xml><?xml version="1.0" encoding="utf-8"?>
<p:tagLst xmlns:a="http://schemas.openxmlformats.org/drawingml/2006/main" xmlns:r="http://schemas.openxmlformats.org/officeDocument/2006/relationships" xmlns:p="http://schemas.openxmlformats.org/presentationml/2006/main">
  <p:tag name="ICON" val="true"/>
</p:tagLst>
</file>

<file path=ppt/tags/tag308.xml><?xml version="1.0" encoding="utf-8"?>
<p:tagLst xmlns:a="http://schemas.openxmlformats.org/drawingml/2006/main" xmlns:r="http://schemas.openxmlformats.org/officeDocument/2006/relationships" xmlns:p="http://schemas.openxmlformats.org/presentationml/2006/main">
  <p:tag name="ICONFRAME" val="0,75"/>
</p:tagLst>
</file>

<file path=ppt/tags/tag309.xml><?xml version="1.0" encoding="utf-8"?>
<p:tagLst xmlns:a="http://schemas.openxmlformats.org/drawingml/2006/main" xmlns:r="http://schemas.openxmlformats.org/officeDocument/2006/relationships" xmlns:p="http://schemas.openxmlformats.org/presentationml/2006/main">
  <p:tag name="ICONFRAME" val="0,75"/>
</p:tagLst>
</file>

<file path=ppt/tags/tag31.xml><?xml version="1.0" encoding="utf-8"?>
<p:tagLst xmlns:a="http://schemas.openxmlformats.org/drawingml/2006/main" xmlns:r="http://schemas.openxmlformats.org/officeDocument/2006/relationships" xmlns:p="http://schemas.openxmlformats.org/presentationml/2006/main">
  <p:tag name="ICONFRAME" val="0,75"/>
</p:tagLst>
</file>

<file path=ppt/tags/tag310.xml><?xml version="1.0" encoding="utf-8"?>
<p:tagLst xmlns:a="http://schemas.openxmlformats.org/drawingml/2006/main" xmlns:r="http://schemas.openxmlformats.org/officeDocument/2006/relationships" xmlns:p="http://schemas.openxmlformats.org/presentationml/2006/main">
  <p:tag name="ICON_BOX" val="true"/>
</p:tagLst>
</file>

<file path=ppt/tags/tag311.xml><?xml version="1.0" encoding="utf-8"?>
<p:tagLst xmlns:a="http://schemas.openxmlformats.org/drawingml/2006/main" xmlns:r="http://schemas.openxmlformats.org/officeDocument/2006/relationships" xmlns:p="http://schemas.openxmlformats.org/presentationml/2006/main">
  <p:tag name="ICON_BOX" val="true"/>
</p:tagLst>
</file>

<file path=ppt/tags/tag312.xml><?xml version="1.0" encoding="utf-8"?>
<p:tagLst xmlns:a="http://schemas.openxmlformats.org/drawingml/2006/main" xmlns:r="http://schemas.openxmlformats.org/officeDocument/2006/relationships" xmlns:p="http://schemas.openxmlformats.org/presentationml/2006/main">
  <p:tag name="ICON" val="true"/>
</p:tagLst>
</file>

<file path=ppt/tags/tag313.xml><?xml version="1.0" encoding="utf-8"?>
<p:tagLst xmlns:a="http://schemas.openxmlformats.org/drawingml/2006/main" xmlns:r="http://schemas.openxmlformats.org/officeDocument/2006/relationships" xmlns:p="http://schemas.openxmlformats.org/presentationml/2006/main">
  <p:tag name="TEXT_BOX_ICON_BOX" val="true"/>
</p:tagLst>
</file>

<file path=ppt/tags/tag314.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315.xml><?xml version="1.0" encoding="utf-8"?>
<p:tagLst xmlns:a="http://schemas.openxmlformats.org/drawingml/2006/main" xmlns:r="http://schemas.openxmlformats.org/officeDocument/2006/relationships" xmlns:p="http://schemas.openxmlformats.org/presentationml/2006/main">
  <p:tag name="HEADER_LINE_ICON_BOX" val="true"/>
</p:tagLst>
</file>

<file path=ppt/tags/tag316.xml><?xml version="1.0" encoding="utf-8"?>
<p:tagLst xmlns:a="http://schemas.openxmlformats.org/drawingml/2006/main" xmlns:r="http://schemas.openxmlformats.org/officeDocument/2006/relationships" xmlns:p="http://schemas.openxmlformats.org/presentationml/2006/main">
  <p:tag name="QUAD_ICON" val="true"/>
</p:tagLst>
</file>

<file path=ppt/tags/tag317.xml><?xml version="1.0" encoding="utf-8"?>
<p:tagLst xmlns:a="http://schemas.openxmlformats.org/drawingml/2006/main" xmlns:r="http://schemas.openxmlformats.org/officeDocument/2006/relationships" xmlns:p="http://schemas.openxmlformats.org/presentationml/2006/main">
  <p:tag name="TEXT_BOX_ICON_BOX" val="true"/>
</p:tagLst>
</file>

<file path=ppt/tags/tag318.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319.xml><?xml version="1.0" encoding="utf-8"?>
<p:tagLst xmlns:a="http://schemas.openxmlformats.org/drawingml/2006/main" xmlns:r="http://schemas.openxmlformats.org/officeDocument/2006/relationships" xmlns:p="http://schemas.openxmlformats.org/presentationml/2006/main">
  <p:tag name="HEADER_LINE_ICON_BOX" val="true"/>
</p:tagLst>
</file>

<file path=ppt/tags/tag32.xml><?xml version="1.0" encoding="utf-8"?>
<p:tagLst xmlns:a="http://schemas.openxmlformats.org/drawingml/2006/main" xmlns:r="http://schemas.openxmlformats.org/officeDocument/2006/relationships" xmlns:p="http://schemas.openxmlformats.org/presentationml/2006/main">
  <p:tag name="ICONFRAME" val="0,75"/>
</p:tagLst>
</file>

<file path=ppt/tags/tag320.xml><?xml version="1.0" encoding="utf-8"?>
<p:tagLst xmlns:a="http://schemas.openxmlformats.org/drawingml/2006/main" xmlns:r="http://schemas.openxmlformats.org/officeDocument/2006/relationships" xmlns:p="http://schemas.openxmlformats.org/presentationml/2006/main">
  <p:tag name="QUAD_ICON" val="true"/>
</p:tagLst>
</file>

<file path=ppt/tags/tag321.xml><?xml version="1.0" encoding="utf-8"?>
<p:tagLst xmlns:a="http://schemas.openxmlformats.org/drawingml/2006/main" xmlns:r="http://schemas.openxmlformats.org/officeDocument/2006/relationships" xmlns:p="http://schemas.openxmlformats.org/presentationml/2006/main">
  <p:tag name="BOX_TEXT" val="true"/>
</p:tagLst>
</file>

<file path=ppt/tags/tag322.xml><?xml version="1.0" encoding="utf-8"?>
<p:tagLst xmlns:a="http://schemas.openxmlformats.org/drawingml/2006/main" xmlns:r="http://schemas.openxmlformats.org/officeDocument/2006/relationships" xmlns:p="http://schemas.openxmlformats.org/presentationml/2006/main">
  <p:tag name="BOX_HEADER" val="true"/>
  <p:tag name="HEADER_ORIENTATION" val="left"/>
</p:tagLst>
</file>

<file path=ppt/tags/tag323.xml><?xml version="1.0" encoding="utf-8"?>
<p:tagLst xmlns:a="http://schemas.openxmlformats.org/drawingml/2006/main" xmlns:r="http://schemas.openxmlformats.org/officeDocument/2006/relationships" xmlns:p="http://schemas.openxmlformats.org/presentationml/2006/main">
  <p:tag name="BOX_TEXT" val="true"/>
</p:tagLst>
</file>

<file path=ppt/tags/tag324.xml><?xml version="1.0" encoding="utf-8"?>
<p:tagLst xmlns:a="http://schemas.openxmlformats.org/drawingml/2006/main" xmlns:r="http://schemas.openxmlformats.org/officeDocument/2006/relationships" xmlns:p="http://schemas.openxmlformats.org/presentationml/2006/main">
  <p:tag name="BOX_HEADER" val="true"/>
  <p:tag name="HEADER_ORIENTATION" val="left"/>
</p:tagLst>
</file>

<file path=ppt/tags/tag325.xml><?xml version="1.0" encoding="utf-8"?>
<p:tagLst xmlns:a="http://schemas.openxmlformats.org/drawingml/2006/main" xmlns:r="http://schemas.openxmlformats.org/officeDocument/2006/relationships" xmlns:p="http://schemas.openxmlformats.org/presentationml/2006/main">
  <p:tag name="BOX_TEXT" val="true"/>
</p:tagLst>
</file>

<file path=ppt/tags/tag326.xml><?xml version="1.0" encoding="utf-8"?>
<p:tagLst xmlns:a="http://schemas.openxmlformats.org/drawingml/2006/main" xmlns:r="http://schemas.openxmlformats.org/officeDocument/2006/relationships" xmlns:p="http://schemas.openxmlformats.org/presentationml/2006/main">
  <p:tag name="ICON" val="true"/>
</p:tagLst>
</file>

<file path=ppt/tags/tag327.xml><?xml version="1.0" encoding="utf-8"?>
<p:tagLst xmlns:a="http://schemas.openxmlformats.org/drawingml/2006/main" xmlns:r="http://schemas.openxmlformats.org/officeDocument/2006/relationships" xmlns:p="http://schemas.openxmlformats.org/presentationml/2006/main">
  <p:tag name="ICONFRAME" val="0,75"/>
</p:tagLst>
</file>

<file path=ppt/tags/tag328.xml><?xml version="1.0" encoding="utf-8"?>
<p:tagLst xmlns:a="http://schemas.openxmlformats.org/drawingml/2006/main" xmlns:r="http://schemas.openxmlformats.org/officeDocument/2006/relationships" xmlns:p="http://schemas.openxmlformats.org/presentationml/2006/main">
  <p:tag name="BOX_HEADER" val="true"/>
  <p:tag name="HEADER_ORIENTATION" val="left"/>
</p:tagLst>
</file>

<file path=ppt/tags/tag329.xml><?xml version="1.0" encoding="utf-8"?>
<p:tagLst xmlns:a="http://schemas.openxmlformats.org/drawingml/2006/main" xmlns:r="http://schemas.openxmlformats.org/officeDocument/2006/relationships" xmlns:p="http://schemas.openxmlformats.org/presentationml/2006/main">
  <p:tag name="BOX_TEXT" val="true"/>
  <p:tag name="ICONFRAME" val="0,75"/>
</p:tagLst>
</file>

<file path=ppt/tags/tag33.xml><?xml version="1.0" encoding="utf-8"?>
<p:tagLst xmlns:a="http://schemas.openxmlformats.org/drawingml/2006/main" xmlns:r="http://schemas.openxmlformats.org/officeDocument/2006/relationships" xmlns:p="http://schemas.openxmlformats.org/presentationml/2006/main">
  <p:tag name="ICONFRAME" val="0,75"/>
</p:tagLst>
</file>

<file path=ppt/tags/tag330.xml><?xml version="1.0" encoding="utf-8"?>
<p:tagLst xmlns:a="http://schemas.openxmlformats.org/drawingml/2006/main" xmlns:r="http://schemas.openxmlformats.org/officeDocument/2006/relationships" xmlns:p="http://schemas.openxmlformats.org/presentationml/2006/main">
  <p:tag name="BOX_HEADER" val="true"/>
  <p:tag name="HEADER_ORIENTATION" val="left"/>
</p:tagLst>
</file>

<file path=ppt/tags/tag331.xml><?xml version="1.0" encoding="utf-8"?>
<p:tagLst xmlns:a="http://schemas.openxmlformats.org/drawingml/2006/main" xmlns:r="http://schemas.openxmlformats.org/officeDocument/2006/relationships" xmlns:p="http://schemas.openxmlformats.org/presentationml/2006/main">
  <p:tag name="BOX_TEXT" val="true"/>
</p:tagLst>
</file>

<file path=ppt/tags/tag332.xml><?xml version="1.0" encoding="utf-8"?>
<p:tagLst xmlns:a="http://schemas.openxmlformats.org/drawingml/2006/main" xmlns:r="http://schemas.openxmlformats.org/officeDocument/2006/relationships" xmlns:p="http://schemas.openxmlformats.org/presentationml/2006/main">
  <p:tag name="ICON" val="true"/>
</p:tagLst>
</file>

<file path=ppt/tags/tag333.xml><?xml version="1.0" encoding="utf-8"?>
<p:tagLst xmlns:a="http://schemas.openxmlformats.org/drawingml/2006/main" xmlns:r="http://schemas.openxmlformats.org/officeDocument/2006/relationships" xmlns:p="http://schemas.openxmlformats.org/presentationml/2006/main">
  <p:tag name="BOX_HEADER" val="true"/>
  <p:tag name="HEADER_ORIENTATION" val="left"/>
</p:tagLst>
</file>

<file path=ppt/tags/tag334.xml><?xml version="1.0" encoding="utf-8"?>
<p:tagLst xmlns:a="http://schemas.openxmlformats.org/drawingml/2006/main" xmlns:r="http://schemas.openxmlformats.org/officeDocument/2006/relationships" xmlns:p="http://schemas.openxmlformats.org/presentationml/2006/main">
  <p:tag name="BOX_TEXT" val="true"/>
</p:tagLst>
</file>

<file path=ppt/tags/tag335.xml><?xml version="1.0" encoding="utf-8"?>
<p:tagLst xmlns:a="http://schemas.openxmlformats.org/drawingml/2006/main" xmlns:r="http://schemas.openxmlformats.org/officeDocument/2006/relationships" xmlns:p="http://schemas.openxmlformats.org/presentationml/2006/main">
  <p:tag name="ICON" val="true"/>
</p:tagLst>
</file>

<file path=ppt/tags/tag336.xml><?xml version="1.0" encoding="utf-8"?>
<p:tagLst xmlns:a="http://schemas.openxmlformats.org/drawingml/2006/main" xmlns:r="http://schemas.openxmlformats.org/officeDocument/2006/relationships" xmlns:p="http://schemas.openxmlformats.org/presentationml/2006/main">
  <p:tag name="BOX_HEADER" val="true"/>
  <p:tag name="HEADER_ORIENTATION" val="left"/>
</p:tagLst>
</file>

<file path=ppt/tags/tag337.xml><?xml version="1.0" encoding="utf-8"?>
<p:tagLst xmlns:a="http://schemas.openxmlformats.org/drawingml/2006/main" xmlns:r="http://schemas.openxmlformats.org/officeDocument/2006/relationships" xmlns:p="http://schemas.openxmlformats.org/presentationml/2006/main">
  <p:tag name="BOX_TEXT" val="true"/>
</p:tagLst>
</file>

<file path=ppt/tags/tag338.xml><?xml version="1.0" encoding="utf-8"?>
<p:tagLst xmlns:a="http://schemas.openxmlformats.org/drawingml/2006/main" xmlns:r="http://schemas.openxmlformats.org/officeDocument/2006/relationships" xmlns:p="http://schemas.openxmlformats.org/presentationml/2006/main">
  <p:tag name="ICON" val="true"/>
</p:tagLst>
</file>

<file path=ppt/tags/tag339.xml><?xml version="1.0" encoding="utf-8"?>
<p:tagLst xmlns:a="http://schemas.openxmlformats.org/drawingml/2006/main" xmlns:r="http://schemas.openxmlformats.org/officeDocument/2006/relationships" xmlns:p="http://schemas.openxmlformats.org/presentationml/2006/main">
  <p:tag name="BOX_HEADER" val="true"/>
  <p:tag name="HEADER_ORIENTATION" val="left"/>
</p:tagLst>
</file>

<file path=ppt/tags/tag34.xml><?xml version="1.0" encoding="utf-8"?>
<p:tagLst xmlns:a="http://schemas.openxmlformats.org/drawingml/2006/main" xmlns:r="http://schemas.openxmlformats.org/officeDocument/2006/relationships" xmlns:p="http://schemas.openxmlformats.org/presentationml/2006/main">
  <p:tag name="ICONFRAME" val="0,75"/>
</p:tagLst>
</file>

<file path=ppt/tags/tag340.xml><?xml version="1.0" encoding="utf-8"?>
<p:tagLst xmlns:a="http://schemas.openxmlformats.org/drawingml/2006/main" xmlns:r="http://schemas.openxmlformats.org/officeDocument/2006/relationships" xmlns:p="http://schemas.openxmlformats.org/presentationml/2006/main">
  <p:tag name="BOX_TEXT" val="true"/>
</p:tagLst>
</file>

<file path=ppt/tags/tag341.xml><?xml version="1.0" encoding="utf-8"?>
<p:tagLst xmlns:a="http://schemas.openxmlformats.org/drawingml/2006/main" xmlns:r="http://schemas.openxmlformats.org/officeDocument/2006/relationships" xmlns:p="http://schemas.openxmlformats.org/presentationml/2006/main">
  <p:tag name="ICON" val="true"/>
</p:tagLst>
</file>

<file path=ppt/tags/tag342.xml><?xml version="1.0" encoding="utf-8"?>
<p:tagLst xmlns:a="http://schemas.openxmlformats.org/drawingml/2006/main" xmlns:r="http://schemas.openxmlformats.org/officeDocument/2006/relationships" xmlns:p="http://schemas.openxmlformats.org/presentationml/2006/main">
  <p:tag name="THM_STYLE" val="0"/>
</p:tagLst>
</file>

<file path=ppt/tags/tag343.xml><?xml version="1.0" encoding="utf-8"?>
<p:tagLst xmlns:a="http://schemas.openxmlformats.org/drawingml/2006/main" xmlns:r="http://schemas.openxmlformats.org/officeDocument/2006/relationships" xmlns:p="http://schemas.openxmlformats.org/presentationml/2006/main">
  <p:tag name="BOX_TEXT" val="true"/>
  <p:tag name="STRUCTURE_SHAPE" val="column_structure_i20339"/>
</p:tagLst>
</file>

<file path=ppt/tags/tag344.xml><?xml version="1.0" encoding="utf-8"?>
<p:tagLst xmlns:a="http://schemas.openxmlformats.org/drawingml/2006/main" xmlns:r="http://schemas.openxmlformats.org/officeDocument/2006/relationships" xmlns:p="http://schemas.openxmlformats.org/presentationml/2006/main">
  <p:tag name="BOX_HEADER" val="true"/>
  <p:tag name="HEADER_ORIENTATION" val="top"/>
  <p:tag name="STRUCTURE_SHAPE" val="column_structure_i20339"/>
</p:tagLst>
</file>

<file path=ppt/tags/tag345.xml><?xml version="1.0" encoding="utf-8"?>
<p:tagLst xmlns:a="http://schemas.openxmlformats.org/drawingml/2006/main" xmlns:r="http://schemas.openxmlformats.org/officeDocument/2006/relationships" xmlns:p="http://schemas.openxmlformats.org/presentationml/2006/main">
  <p:tag name="BOX_HEADER_TEXT" val="true"/>
  <p:tag name="STRUCTURE_SHAPE" val="column_structure_i20339"/>
</p:tagLst>
</file>

<file path=ppt/tags/tag346.xml><?xml version="1.0" encoding="utf-8"?>
<p:tagLst xmlns:a="http://schemas.openxmlformats.org/drawingml/2006/main" xmlns:r="http://schemas.openxmlformats.org/officeDocument/2006/relationships" xmlns:p="http://schemas.openxmlformats.org/presentationml/2006/main">
  <p:tag name="BOX_TEXT" val="true"/>
  <p:tag name="STRUCTURE_SHAPE" val="column_structure_i20339"/>
</p:tagLst>
</file>

<file path=ppt/tags/tag347.xml><?xml version="1.0" encoding="utf-8"?>
<p:tagLst xmlns:a="http://schemas.openxmlformats.org/drawingml/2006/main" xmlns:r="http://schemas.openxmlformats.org/officeDocument/2006/relationships" xmlns:p="http://schemas.openxmlformats.org/presentationml/2006/main">
  <p:tag name="BOX_HEADER" val="true"/>
  <p:tag name="HEADER_ORIENTATION" val="top"/>
  <p:tag name="STRUCTURE_SHAPE" val="column_structure_i20339"/>
</p:tagLst>
</file>

<file path=ppt/tags/tag348.xml><?xml version="1.0" encoding="utf-8"?>
<p:tagLst xmlns:a="http://schemas.openxmlformats.org/drawingml/2006/main" xmlns:r="http://schemas.openxmlformats.org/officeDocument/2006/relationships" xmlns:p="http://schemas.openxmlformats.org/presentationml/2006/main">
  <p:tag name="BOX_HEADER_TEXT" val="true"/>
  <p:tag name="STRUCTURE_SHAPE" val="column_structure_i20339"/>
</p:tagLst>
</file>

<file path=ppt/tags/tag349.xml><?xml version="1.0" encoding="utf-8"?>
<p:tagLst xmlns:a="http://schemas.openxmlformats.org/drawingml/2006/main" xmlns:r="http://schemas.openxmlformats.org/officeDocument/2006/relationships" xmlns:p="http://schemas.openxmlformats.org/presentationml/2006/main">
  <p:tag name="ICON" val="true"/>
</p:tagLst>
</file>

<file path=ppt/tags/tag35.xml><?xml version="1.0" encoding="utf-8"?>
<p:tagLst xmlns:a="http://schemas.openxmlformats.org/drawingml/2006/main" xmlns:r="http://schemas.openxmlformats.org/officeDocument/2006/relationships" xmlns:p="http://schemas.openxmlformats.org/presentationml/2006/main">
  <p:tag name="ICONFRAME" val="0,75"/>
</p:tagLst>
</file>

<file path=ppt/tags/tag350.xml><?xml version="1.0" encoding="utf-8"?>
<p:tagLst xmlns:a="http://schemas.openxmlformats.org/drawingml/2006/main" xmlns:r="http://schemas.openxmlformats.org/officeDocument/2006/relationships" xmlns:p="http://schemas.openxmlformats.org/presentationml/2006/main">
  <p:tag name="ICON" val="true"/>
</p:tagLst>
</file>

<file path=ppt/tags/tag351.xml><?xml version="1.0" encoding="utf-8"?>
<p:tagLst xmlns:a="http://schemas.openxmlformats.org/drawingml/2006/main" xmlns:r="http://schemas.openxmlformats.org/officeDocument/2006/relationships" xmlns:p="http://schemas.openxmlformats.org/presentationml/2006/main">
  <p:tag name="ICON" val="true"/>
</p:tagLst>
</file>

<file path=ppt/tags/tag352.xml><?xml version="1.0" encoding="utf-8"?>
<p:tagLst xmlns:a="http://schemas.openxmlformats.org/drawingml/2006/main" xmlns:r="http://schemas.openxmlformats.org/officeDocument/2006/relationships" xmlns:p="http://schemas.openxmlformats.org/presentationml/2006/main">
  <p:tag name="ICON" val="true"/>
</p:tagLst>
</file>

<file path=ppt/tags/tag353.xml><?xml version="1.0" encoding="utf-8"?>
<p:tagLst xmlns:a="http://schemas.openxmlformats.org/drawingml/2006/main" xmlns:r="http://schemas.openxmlformats.org/officeDocument/2006/relationships" xmlns:p="http://schemas.openxmlformats.org/presentationml/2006/main">
  <p:tag name="TAG_CONTACT" val="Anna_Kutsch"/>
  <p:tag name="USER_ID" val="Anna.Kutsch@d-fine.com"/>
  <p:tag name="LANGUAGE" val="German"/>
  <p:tag name="ICONFRAME" val="0,75"/>
</p:tagLst>
</file>

<file path=ppt/tags/tag354.xml><?xml version="1.0" encoding="utf-8"?>
<p:tagLst xmlns:a="http://schemas.openxmlformats.org/drawingml/2006/main" xmlns:r="http://schemas.openxmlformats.org/officeDocument/2006/relationships" xmlns:p="http://schemas.openxmlformats.org/presentationml/2006/main">
  <p:tag name="TAG_CONTACT" val="Patrick_Woerner"/>
  <p:tag name="USER_ID" val="Patrick.Woerner@d-fine.com"/>
</p:tagLst>
</file>

<file path=ppt/tags/tag355.xml><?xml version="1.0" encoding="utf-8"?>
<p:tagLst xmlns:a="http://schemas.openxmlformats.org/drawingml/2006/main" xmlns:r="http://schemas.openxmlformats.org/officeDocument/2006/relationships" xmlns:p="http://schemas.openxmlformats.org/presentationml/2006/main">
  <p:tag name="TAG_CONTACT" val="Patrick_Woerner"/>
  <p:tag name="USER_ID" val="Patrick.Woerner@d-fine.com"/>
</p:tagLst>
</file>

<file path=ppt/tags/tag356.xml><?xml version="1.0" encoding="utf-8"?>
<p:tagLst xmlns:a="http://schemas.openxmlformats.org/drawingml/2006/main" xmlns:r="http://schemas.openxmlformats.org/officeDocument/2006/relationships" xmlns:p="http://schemas.openxmlformats.org/presentationml/2006/main">
  <p:tag name="TAG_CONTACT" val="Patrick_Woerner"/>
  <p:tag name="USER_ID" val="Patrick.Woerner@d-fine.com"/>
</p:tagLst>
</file>

<file path=ppt/tags/tag357.xml><?xml version="1.0" encoding="utf-8"?>
<p:tagLst xmlns:a="http://schemas.openxmlformats.org/drawingml/2006/main" xmlns:r="http://schemas.openxmlformats.org/officeDocument/2006/relationships" xmlns:p="http://schemas.openxmlformats.org/presentationml/2006/main">
  <p:tag name="TAG_CONTACT" val="Patrick_Woerner"/>
  <p:tag name="USER_ID" val="Patrick.Woerner@d-fine.com"/>
  <p:tag name="ICONFRAME" val="0,75"/>
</p:tagLst>
</file>

<file path=ppt/tags/tag358.xml><?xml version="1.0" encoding="utf-8"?>
<p:tagLst xmlns:a="http://schemas.openxmlformats.org/drawingml/2006/main" xmlns:r="http://schemas.openxmlformats.org/officeDocument/2006/relationships" xmlns:p="http://schemas.openxmlformats.org/presentationml/2006/main">
  <p:tag name="TAG_CONTACT_PICTURE" val="Lukasz_Brodecki"/>
  <p:tag name="USER_ID" val="Christina.Dindic@d-fine.com"/>
</p:tagLst>
</file>

<file path=ppt/tags/tag359.xml><?xml version="1.0" encoding="utf-8"?>
<p:tagLst xmlns:a="http://schemas.openxmlformats.org/drawingml/2006/main" xmlns:r="http://schemas.openxmlformats.org/officeDocument/2006/relationships" xmlns:p="http://schemas.openxmlformats.org/presentationml/2006/main">
  <p:tag name="TAG_CONTACT" val="Lukasz_Brodecki"/>
  <p:tag name="USER_ID" val="Lukasz.Brodecki@d-fine.com"/>
  <p:tag name="LANGUAGE" val="German"/>
  <p:tag name="ICONFRAME" val="0,75"/>
</p:tagLst>
</file>

<file path=ppt/tags/tag36.xml><?xml version="1.0" encoding="utf-8"?>
<p:tagLst xmlns:a="http://schemas.openxmlformats.org/drawingml/2006/main" xmlns:r="http://schemas.openxmlformats.org/officeDocument/2006/relationships" xmlns:p="http://schemas.openxmlformats.org/presentationml/2006/main">
  <p:tag name="ICONFRAME" val="0,75"/>
</p:tagLst>
</file>

<file path=ppt/tags/tag37.xml><?xml version="1.0" encoding="utf-8"?>
<p:tagLst xmlns:a="http://schemas.openxmlformats.org/drawingml/2006/main" xmlns:r="http://schemas.openxmlformats.org/officeDocument/2006/relationships" xmlns:p="http://schemas.openxmlformats.org/presentationml/2006/main">
  <p:tag name="ICONFRAME" val="0,75"/>
</p:tagLst>
</file>

<file path=ppt/tags/tag38.xml><?xml version="1.0" encoding="utf-8"?>
<p:tagLst xmlns:a="http://schemas.openxmlformats.org/drawingml/2006/main" xmlns:r="http://schemas.openxmlformats.org/officeDocument/2006/relationships" xmlns:p="http://schemas.openxmlformats.org/presentationml/2006/main">
  <p:tag name="ICONFRAME" val="0,75"/>
</p:tagLst>
</file>

<file path=ppt/tags/tag39.xml><?xml version="1.0" encoding="utf-8"?>
<p:tagLst xmlns:a="http://schemas.openxmlformats.org/drawingml/2006/main" xmlns:r="http://schemas.openxmlformats.org/officeDocument/2006/relationships" xmlns:p="http://schemas.openxmlformats.org/presentationml/2006/main">
  <p:tag name="ICONFRAME" val="0,7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ICONFRAME" val="0,75"/>
</p:tagLst>
</file>

<file path=ppt/tags/tag41.xml><?xml version="1.0" encoding="utf-8"?>
<p:tagLst xmlns:a="http://schemas.openxmlformats.org/drawingml/2006/main" xmlns:r="http://schemas.openxmlformats.org/officeDocument/2006/relationships" xmlns:p="http://schemas.openxmlformats.org/presentationml/2006/main">
  <p:tag name="ICONFRAME" val="0,75"/>
</p:tagLst>
</file>

<file path=ppt/tags/tag42.xml><?xml version="1.0" encoding="utf-8"?>
<p:tagLst xmlns:a="http://schemas.openxmlformats.org/drawingml/2006/main" xmlns:r="http://schemas.openxmlformats.org/officeDocument/2006/relationships" xmlns:p="http://schemas.openxmlformats.org/presentationml/2006/main">
  <p:tag name="ICONFRAME" val="0,75"/>
</p:tagLst>
</file>

<file path=ppt/tags/tag43.xml><?xml version="1.0" encoding="utf-8"?>
<p:tagLst xmlns:a="http://schemas.openxmlformats.org/drawingml/2006/main" xmlns:r="http://schemas.openxmlformats.org/officeDocument/2006/relationships" xmlns:p="http://schemas.openxmlformats.org/presentationml/2006/main">
  <p:tag name="ICONFRAME" val="0,75"/>
</p:tagLst>
</file>

<file path=ppt/tags/tag44.xml><?xml version="1.0" encoding="utf-8"?>
<p:tagLst xmlns:a="http://schemas.openxmlformats.org/drawingml/2006/main" xmlns:r="http://schemas.openxmlformats.org/officeDocument/2006/relationships" xmlns:p="http://schemas.openxmlformats.org/presentationml/2006/main">
  <p:tag name="ICONFRAME" val="0,75"/>
</p:tagLst>
</file>

<file path=ppt/tags/tag45.xml><?xml version="1.0" encoding="utf-8"?>
<p:tagLst xmlns:a="http://schemas.openxmlformats.org/drawingml/2006/main" xmlns:r="http://schemas.openxmlformats.org/officeDocument/2006/relationships" xmlns:p="http://schemas.openxmlformats.org/presentationml/2006/main">
  <p:tag name="ICONFRAME" val="0,75"/>
</p:tagLst>
</file>

<file path=ppt/tags/tag46.xml><?xml version="1.0" encoding="utf-8"?>
<p:tagLst xmlns:a="http://schemas.openxmlformats.org/drawingml/2006/main" xmlns:r="http://schemas.openxmlformats.org/officeDocument/2006/relationships" xmlns:p="http://schemas.openxmlformats.org/presentationml/2006/main">
  <p:tag name="ICONFRAME" val="0,75"/>
</p:tagLst>
</file>

<file path=ppt/tags/tag47.xml><?xml version="1.0" encoding="utf-8"?>
<p:tagLst xmlns:a="http://schemas.openxmlformats.org/drawingml/2006/main" xmlns:r="http://schemas.openxmlformats.org/officeDocument/2006/relationships" xmlns:p="http://schemas.openxmlformats.org/presentationml/2006/main">
  <p:tag name="ICONFRAME" val="0,75"/>
</p:tagLst>
</file>

<file path=ppt/tags/tag48.xml><?xml version="1.0" encoding="utf-8"?>
<p:tagLst xmlns:a="http://schemas.openxmlformats.org/drawingml/2006/main" xmlns:r="http://schemas.openxmlformats.org/officeDocument/2006/relationships" xmlns:p="http://schemas.openxmlformats.org/presentationml/2006/main">
  <p:tag name="ICONFRAME" val="0,75"/>
</p:tagLst>
</file>

<file path=ppt/tags/tag49.xml><?xml version="1.0" encoding="utf-8"?>
<p:tagLst xmlns:a="http://schemas.openxmlformats.org/drawingml/2006/main" xmlns:r="http://schemas.openxmlformats.org/officeDocument/2006/relationships" xmlns:p="http://schemas.openxmlformats.org/presentationml/2006/main">
  <p:tag name="ICONFRAME" val="0,7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aIVDXKPXfPar1rdOB2G6A"/>
</p:tagLst>
</file>

<file path=ppt/tags/tag50.xml><?xml version="1.0" encoding="utf-8"?>
<p:tagLst xmlns:a="http://schemas.openxmlformats.org/drawingml/2006/main" xmlns:r="http://schemas.openxmlformats.org/officeDocument/2006/relationships" xmlns:p="http://schemas.openxmlformats.org/presentationml/2006/main">
  <p:tag name="ICONFRAME" val="0,75"/>
</p:tagLst>
</file>

<file path=ppt/tags/tag51.xml><?xml version="1.0" encoding="utf-8"?>
<p:tagLst xmlns:a="http://schemas.openxmlformats.org/drawingml/2006/main" xmlns:r="http://schemas.openxmlformats.org/officeDocument/2006/relationships" xmlns:p="http://schemas.openxmlformats.org/presentationml/2006/main">
  <p:tag name="ICONFRAME" val="0,75"/>
</p:tagLst>
</file>

<file path=ppt/tags/tag52.xml><?xml version="1.0" encoding="utf-8"?>
<p:tagLst xmlns:a="http://schemas.openxmlformats.org/drawingml/2006/main" xmlns:r="http://schemas.openxmlformats.org/officeDocument/2006/relationships" xmlns:p="http://schemas.openxmlformats.org/presentationml/2006/main">
  <p:tag name="ICONFRAME" val="0,75"/>
</p:tagLst>
</file>

<file path=ppt/tags/tag53.xml><?xml version="1.0" encoding="utf-8"?>
<p:tagLst xmlns:a="http://schemas.openxmlformats.org/drawingml/2006/main" xmlns:r="http://schemas.openxmlformats.org/officeDocument/2006/relationships" xmlns:p="http://schemas.openxmlformats.org/presentationml/2006/main">
  <p:tag name="ICONFRAME" val="0,75"/>
</p:tagLst>
</file>

<file path=ppt/tags/tag54.xml><?xml version="1.0" encoding="utf-8"?>
<p:tagLst xmlns:a="http://schemas.openxmlformats.org/drawingml/2006/main" xmlns:r="http://schemas.openxmlformats.org/officeDocument/2006/relationships" xmlns:p="http://schemas.openxmlformats.org/presentationml/2006/main">
  <p:tag name="ICONFRAME" val="0,75"/>
</p:tagLst>
</file>

<file path=ppt/tags/tag55.xml><?xml version="1.0" encoding="utf-8"?>
<p:tagLst xmlns:a="http://schemas.openxmlformats.org/drawingml/2006/main" xmlns:r="http://schemas.openxmlformats.org/officeDocument/2006/relationships" xmlns:p="http://schemas.openxmlformats.org/presentationml/2006/main">
  <p:tag name="ICONFRAME" val="0,75"/>
</p:tagLst>
</file>

<file path=ppt/tags/tag56.xml><?xml version="1.0" encoding="utf-8"?>
<p:tagLst xmlns:a="http://schemas.openxmlformats.org/drawingml/2006/main" xmlns:r="http://schemas.openxmlformats.org/officeDocument/2006/relationships" xmlns:p="http://schemas.openxmlformats.org/presentationml/2006/main">
  <p:tag name="ICONFRAME" val="0,75"/>
</p:tagLst>
</file>

<file path=ppt/tags/tag57.xml><?xml version="1.0" encoding="utf-8"?>
<p:tagLst xmlns:a="http://schemas.openxmlformats.org/drawingml/2006/main" xmlns:r="http://schemas.openxmlformats.org/officeDocument/2006/relationships" xmlns:p="http://schemas.openxmlformats.org/presentationml/2006/main">
  <p:tag name="UNDERLINE_TRIANGLE" val="true"/>
</p:tagLst>
</file>

<file path=ppt/tags/tag58.xml><?xml version="1.0" encoding="utf-8"?>
<p:tagLst xmlns:a="http://schemas.openxmlformats.org/drawingml/2006/main" xmlns:r="http://schemas.openxmlformats.org/officeDocument/2006/relationships" xmlns:p="http://schemas.openxmlformats.org/presentationml/2006/main">
  <p:tag name="ICONFRAME" val="0,75"/>
</p:tagLst>
</file>

<file path=ppt/tags/tag59.xml><?xml version="1.0" encoding="utf-8"?>
<p:tagLst xmlns:a="http://schemas.openxmlformats.org/drawingml/2006/main" xmlns:r="http://schemas.openxmlformats.org/officeDocument/2006/relationships" xmlns:p="http://schemas.openxmlformats.org/presentationml/2006/main">
  <p:tag name="ICON" val="true"/>
  <p:tag name="ICONFILENAME" val="environment.emf"/>
  <p:tag name="ICONTYPE" val="plain"/>
  <p:tag name="ICONCOLLECTION" val="i_collec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ICONFRAME" val="0,75"/>
</p:tagLst>
</file>

<file path=ppt/tags/tag61.xml><?xml version="1.0" encoding="utf-8"?>
<p:tagLst xmlns:a="http://schemas.openxmlformats.org/drawingml/2006/main" xmlns:r="http://schemas.openxmlformats.org/officeDocument/2006/relationships" xmlns:p="http://schemas.openxmlformats.org/presentationml/2006/main">
  <p:tag name="ICONFRAME" val="0,75"/>
</p:tagLst>
</file>

<file path=ppt/tags/tag62.xml><?xml version="1.0" encoding="utf-8"?>
<p:tagLst xmlns:a="http://schemas.openxmlformats.org/drawingml/2006/main" xmlns:r="http://schemas.openxmlformats.org/officeDocument/2006/relationships" xmlns:p="http://schemas.openxmlformats.org/presentationml/2006/main">
  <p:tag name="ICON" val="true"/>
  <p:tag name="ICONFILENAME" val="users_crowd.emf"/>
  <p:tag name="ICONTYPE" val="plain"/>
  <p:tag name="ICONCOLLECTION" val="i_collection"/>
</p:tagLst>
</file>

<file path=ppt/tags/tag63.xml><?xml version="1.0" encoding="utf-8"?>
<p:tagLst xmlns:a="http://schemas.openxmlformats.org/drawingml/2006/main" xmlns:r="http://schemas.openxmlformats.org/officeDocument/2006/relationships" xmlns:p="http://schemas.openxmlformats.org/presentationml/2006/main">
  <p:tag name="ICON" val="true"/>
  <p:tag name="ICONFILENAME" val="firewall2.emf"/>
  <p:tag name="ICONTYPE" val="plain"/>
  <p:tag name="ICONCOLLECTION" val="i_collection"/>
</p:tagLst>
</file>

<file path=ppt/tags/tag64.xml><?xml version="1.0" encoding="utf-8"?>
<p:tagLst xmlns:a="http://schemas.openxmlformats.org/drawingml/2006/main" xmlns:r="http://schemas.openxmlformats.org/officeDocument/2006/relationships" xmlns:p="http://schemas.openxmlformats.org/presentationml/2006/main">
  <p:tag name="ICON" val="true"/>
  <p:tag name="ICONFILENAME" val="pill.emf"/>
  <p:tag name="ICONTYPE" val="plain"/>
  <p:tag name="ICONCOLLECTION" val="i_collection"/>
</p:tagLst>
</file>

<file path=ppt/tags/tag65.xml><?xml version="1.0" encoding="utf-8"?>
<p:tagLst xmlns:a="http://schemas.openxmlformats.org/drawingml/2006/main" xmlns:r="http://schemas.openxmlformats.org/officeDocument/2006/relationships" xmlns:p="http://schemas.openxmlformats.org/presentationml/2006/main">
  <p:tag name="ICON" val="true"/>
  <p:tag name="ICONFILENAME" val="paper_jet2.emf"/>
  <p:tag name="ICONTYPE" val="plain"/>
  <p:tag name="ICONCOLLECTION" val="i_collection"/>
</p:tagLst>
</file>

<file path=ppt/tags/tag66.xml><?xml version="1.0" encoding="utf-8"?>
<p:tagLst xmlns:a="http://schemas.openxmlformats.org/drawingml/2006/main" xmlns:r="http://schemas.openxmlformats.org/officeDocument/2006/relationships" xmlns:p="http://schemas.openxmlformats.org/presentationml/2006/main">
  <p:tag name="ICON" val="true"/>
  <p:tag name="ICONFILENAME" val="wind_engine.emf"/>
  <p:tag name="ICONTYPE" val="plain"/>
  <p:tag name="ICONCOLLECTION" val="i_collection"/>
</p:tagLst>
</file>

<file path=ppt/tags/tag67.xml><?xml version="1.0" encoding="utf-8"?>
<p:tagLst xmlns:a="http://schemas.openxmlformats.org/drawingml/2006/main" xmlns:r="http://schemas.openxmlformats.org/officeDocument/2006/relationships" xmlns:p="http://schemas.openxmlformats.org/presentationml/2006/main">
  <p:tag name="ICON" val="true"/>
  <p:tag name="ICONFILENAME" val="bank_building.emf"/>
  <p:tag name="ICONTYPE" val="plain"/>
  <p:tag name="ICONCOLLECTION" val="i_collection"/>
</p:tagLst>
</file>

<file path=ppt/tags/tag68.xml><?xml version="1.0" encoding="utf-8"?>
<p:tagLst xmlns:a="http://schemas.openxmlformats.org/drawingml/2006/main" xmlns:r="http://schemas.openxmlformats.org/officeDocument/2006/relationships" xmlns:p="http://schemas.openxmlformats.org/presentationml/2006/main">
  <p:tag name="ICONFRAME" val="0,75"/>
</p:tagLst>
</file>

<file path=ppt/tags/tag69.xml><?xml version="1.0" encoding="utf-8"?>
<p:tagLst xmlns:a="http://schemas.openxmlformats.org/drawingml/2006/main" xmlns:r="http://schemas.openxmlformats.org/officeDocument/2006/relationships" xmlns:p="http://schemas.openxmlformats.org/presentationml/2006/main">
  <p:tag name="UNDERLINE_TRIANGLE" val="tru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aIVDXKPXfPar1rdOB2G6A"/>
</p:tagLst>
</file>

<file path=ppt/tags/tag70.xml><?xml version="1.0" encoding="utf-8"?>
<p:tagLst xmlns:a="http://schemas.openxmlformats.org/drawingml/2006/main" xmlns:r="http://schemas.openxmlformats.org/officeDocument/2006/relationships" xmlns:p="http://schemas.openxmlformats.org/presentationml/2006/main">
  <p:tag name="UNDERLINE_TRIANGLE" val="true"/>
</p:tagLst>
</file>

<file path=ppt/tags/tag71.xml><?xml version="1.0" encoding="utf-8"?>
<p:tagLst xmlns:a="http://schemas.openxmlformats.org/drawingml/2006/main" xmlns:r="http://schemas.openxmlformats.org/officeDocument/2006/relationships" xmlns:p="http://schemas.openxmlformats.org/presentationml/2006/main">
  <p:tag name="ICONFRAME" val="0,75"/>
</p:tagLst>
</file>

<file path=ppt/tags/tag72.xml><?xml version="1.0" encoding="utf-8"?>
<p:tagLst xmlns:a="http://schemas.openxmlformats.org/drawingml/2006/main" xmlns:r="http://schemas.openxmlformats.org/officeDocument/2006/relationships" xmlns:p="http://schemas.openxmlformats.org/presentationml/2006/main">
  <p:tag name="ICONFRAME" val="0,75"/>
</p:tagLst>
</file>

<file path=ppt/tags/tag73.xml><?xml version="1.0" encoding="utf-8"?>
<p:tagLst xmlns:a="http://schemas.openxmlformats.org/drawingml/2006/main" xmlns:r="http://schemas.openxmlformats.org/officeDocument/2006/relationships" xmlns:p="http://schemas.openxmlformats.org/presentationml/2006/main">
  <p:tag name="ICONFRAME" val="0,75"/>
</p:tagLst>
</file>

<file path=ppt/tags/tag74.xml><?xml version="1.0" encoding="utf-8"?>
<p:tagLst xmlns:a="http://schemas.openxmlformats.org/drawingml/2006/main" xmlns:r="http://schemas.openxmlformats.org/officeDocument/2006/relationships" xmlns:p="http://schemas.openxmlformats.org/presentationml/2006/main">
  <p:tag name="ICONFRAME" val="0,75"/>
</p:tagLst>
</file>

<file path=ppt/tags/tag75.xml><?xml version="1.0" encoding="utf-8"?>
<p:tagLst xmlns:a="http://schemas.openxmlformats.org/drawingml/2006/main" xmlns:r="http://schemas.openxmlformats.org/officeDocument/2006/relationships" xmlns:p="http://schemas.openxmlformats.org/presentationml/2006/main">
  <p:tag name="ICONFRAME" val="0,75"/>
</p:tagLst>
</file>

<file path=ppt/tags/tag76.xml><?xml version="1.0" encoding="utf-8"?>
<p:tagLst xmlns:a="http://schemas.openxmlformats.org/drawingml/2006/main" xmlns:r="http://schemas.openxmlformats.org/officeDocument/2006/relationships" xmlns:p="http://schemas.openxmlformats.org/presentationml/2006/main">
  <p:tag name="ICONFRAME" val="0,75"/>
</p:tagLst>
</file>

<file path=ppt/tags/tag77.xml><?xml version="1.0" encoding="utf-8"?>
<p:tagLst xmlns:a="http://schemas.openxmlformats.org/drawingml/2006/main" xmlns:r="http://schemas.openxmlformats.org/officeDocument/2006/relationships" xmlns:p="http://schemas.openxmlformats.org/presentationml/2006/main">
  <p:tag name="ICONFRAME" val="0,75"/>
</p:tagLst>
</file>

<file path=ppt/tags/tag78.xml><?xml version="1.0" encoding="utf-8"?>
<p:tagLst xmlns:a="http://schemas.openxmlformats.org/drawingml/2006/main" xmlns:r="http://schemas.openxmlformats.org/officeDocument/2006/relationships" xmlns:p="http://schemas.openxmlformats.org/presentationml/2006/main">
  <p:tag name="ICONFRAME" val="0,75"/>
</p:tagLst>
</file>

<file path=ppt/tags/tag79.xml><?xml version="1.0" encoding="utf-8"?>
<p:tagLst xmlns:a="http://schemas.openxmlformats.org/drawingml/2006/main" xmlns:r="http://schemas.openxmlformats.org/officeDocument/2006/relationships" xmlns:p="http://schemas.openxmlformats.org/presentationml/2006/main">
  <p:tag name="ICONFRAME" val="0,75"/>
</p:tagLst>
</file>

<file path=ppt/tags/tag8.xml><?xml version="1.0" encoding="utf-8"?>
<p:tagLst xmlns:a="http://schemas.openxmlformats.org/drawingml/2006/main" xmlns:r="http://schemas.openxmlformats.org/officeDocument/2006/relationships" xmlns:p="http://schemas.openxmlformats.org/presentationml/2006/main">
  <p:tag name="TYPE" val="marker"/>
  <p:tag name="STYLE" val="default"/>
</p:tagLst>
</file>

<file path=ppt/tags/tag80.xml><?xml version="1.0" encoding="utf-8"?>
<p:tagLst xmlns:a="http://schemas.openxmlformats.org/drawingml/2006/main" xmlns:r="http://schemas.openxmlformats.org/officeDocument/2006/relationships" xmlns:p="http://schemas.openxmlformats.org/presentationml/2006/main">
  <p:tag name="ICONFRAME" val="0,75"/>
</p:tagLst>
</file>

<file path=ppt/tags/tag81.xml><?xml version="1.0" encoding="utf-8"?>
<p:tagLst xmlns:a="http://schemas.openxmlformats.org/drawingml/2006/main" xmlns:r="http://schemas.openxmlformats.org/officeDocument/2006/relationships" xmlns:p="http://schemas.openxmlformats.org/presentationml/2006/main">
  <p:tag name="ICONFRAME" val="0,75"/>
</p:tagLst>
</file>

<file path=ppt/tags/tag82.xml><?xml version="1.0" encoding="utf-8"?>
<p:tagLst xmlns:a="http://schemas.openxmlformats.org/drawingml/2006/main" xmlns:r="http://schemas.openxmlformats.org/officeDocument/2006/relationships" xmlns:p="http://schemas.openxmlformats.org/presentationml/2006/main">
  <p:tag name="ICONFRAME" val="0,75"/>
</p:tagLst>
</file>

<file path=ppt/tags/tag83.xml><?xml version="1.0" encoding="utf-8"?>
<p:tagLst xmlns:a="http://schemas.openxmlformats.org/drawingml/2006/main" xmlns:r="http://schemas.openxmlformats.org/officeDocument/2006/relationships" xmlns:p="http://schemas.openxmlformats.org/presentationml/2006/main">
  <p:tag name="ICONFRAME" val="0,75"/>
</p:tagLst>
</file>

<file path=ppt/tags/tag84.xml><?xml version="1.0" encoding="utf-8"?>
<p:tagLst xmlns:a="http://schemas.openxmlformats.org/drawingml/2006/main" xmlns:r="http://schemas.openxmlformats.org/officeDocument/2006/relationships" xmlns:p="http://schemas.openxmlformats.org/presentationml/2006/main">
  <p:tag name="ICONFRAME" val="0,75"/>
</p:tagLst>
</file>

<file path=ppt/tags/tag85.xml><?xml version="1.0" encoding="utf-8"?>
<p:tagLst xmlns:a="http://schemas.openxmlformats.org/drawingml/2006/main" xmlns:r="http://schemas.openxmlformats.org/officeDocument/2006/relationships" xmlns:p="http://schemas.openxmlformats.org/presentationml/2006/main">
  <p:tag name="ICONFRAME" val="0,75"/>
</p:tagLst>
</file>

<file path=ppt/tags/tag86.xml><?xml version="1.0" encoding="utf-8"?>
<p:tagLst xmlns:a="http://schemas.openxmlformats.org/drawingml/2006/main" xmlns:r="http://schemas.openxmlformats.org/officeDocument/2006/relationships" xmlns:p="http://schemas.openxmlformats.org/presentationml/2006/main">
  <p:tag name="ICONFRAME" val="0,75"/>
</p:tagLst>
</file>

<file path=ppt/tags/tag87.xml><?xml version="1.0" encoding="utf-8"?>
<p:tagLst xmlns:a="http://schemas.openxmlformats.org/drawingml/2006/main" xmlns:r="http://schemas.openxmlformats.org/officeDocument/2006/relationships" xmlns:p="http://schemas.openxmlformats.org/presentationml/2006/main">
  <p:tag name="ICONFRAME" val="0,75"/>
</p:tagLst>
</file>

<file path=ppt/tags/tag88.xml><?xml version="1.0" encoding="utf-8"?>
<p:tagLst xmlns:a="http://schemas.openxmlformats.org/drawingml/2006/main" xmlns:r="http://schemas.openxmlformats.org/officeDocument/2006/relationships" xmlns:p="http://schemas.openxmlformats.org/presentationml/2006/main">
  <p:tag name="ICONFRAME" val="0,75"/>
</p:tagLst>
</file>

<file path=ppt/tags/tag89.xml><?xml version="1.0" encoding="utf-8"?>
<p:tagLst xmlns:a="http://schemas.openxmlformats.org/drawingml/2006/main" xmlns:r="http://schemas.openxmlformats.org/officeDocument/2006/relationships" xmlns:p="http://schemas.openxmlformats.org/presentationml/2006/main">
  <p:tag name="ICONFRAME" val="0,75"/>
</p:tagLst>
</file>

<file path=ppt/tags/tag9.xml><?xml version="1.0" encoding="utf-8"?>
<p:tagLst xmlns:a="http://schemas.openxmlformats.org/drawingml/2006/main" xmlns:r="http://schemas.openxmlformats.org/officeDocument/2006/relationships" xmlns:p="http://schemas.openxmlformats.org/presentationml/2006/main">
  <p:tag name="TYPE" val="marker"/>
  <p:tag name="STYLE" val="default"/>
</p:tagLst>
</file>

<file path=ppt/tags/tag90.xml><?xml version="1.0" encoding="utf-8"?>
<p:tagLst xmlns:a="http://schemas.openxmlformats.org/drawingml/2006/main" xmlns:r="http://schemas.openxmlformats.org/officeDocument/2006/relationships" xmlns:p="http://schemas.openxmlformats.org/presentationml/2006/main">
  <p:tag name="ICONFRAME" val="0,75"/>
</p:tagLst>
</file>

<file path=ppt/tags/tag91.xml><?xml version="1.0" encoding="utf-8"?>
<p:tagLst xmlns:a="http://schemas.openxmlformats.org/drawingml/2006/main" xmlns:r="http://schemas.openxmlformats.org/officeDocument/2006/relationships" xmlns:p="http://schemas.openxmlformats.org/presentationml/2006/main">
  <p:tag name="ICONFRAME" val="0,75"/>
</p:tagLst>
</file>

<file path=ppt/tags/tag92.xml><?xml version="1.0" encoding="utf-8"?>
<p:tagLst xmlns:a="http://schemas.openxmlformats.org/drawingml/2006/main" xmlns:r="http://schemas.openxmlformats.org/officeDocument/2006/relationships" xmlns:p="http://schemas.openxmlformats.org/presentationml/2006/main">
  <p:tag name="ICONFRAME" val="0,75"/>
</p:tagLst>
</file>

<file path=ppt/tags/tag93.xml><?xml version="1.0" encoding="utf-8"?>
<p:tagLst xmlns:a="http://schemas.openxmlformats.org/drawingml/2006/main" xmlns:r="http://schemas.openxmlformats.org/officeDocument/2006/relationships" xmlns:p="http://schemas.openxmlformats.org/presentationml/2006/main">
  <p:tag name="ICONFRAME" val="0,75"/>
</p:tagLst>
</file>

<file path=ppt/tags/tag94.xml><?xml version="1.0" encoding="utf-8"?>
<p:tagLst xmlns:a="http://schemas.openxmlformats.org/drawingml/2006/main" xmlns:r="http://schemas.openxmlformats.org/officeDocument/2006/relationships" xmlns:p="http://schemas.openxmlformats.org/presentationml/2006/main">
  <p:tag name="ICONFRAME" val="0,75"/>
</p:tagLst>
</file>

<file path=ppt/tags/tag95.xml><?xml version="1.0" encoding="utf-8"?>
<p:tagLst xmlns:a="http://schemas.openxmlformats.org/drawingml/2006/main" xmlns:r="http://schemas.openxmlformats.org/officeDocument/2006/relationships" xmlns:p="http://schemas.openxmlformats.org/presentationml/2006/main">
  <p:tag name="ICONFRAME" val="0,75"/>
</p:tagLst>
</file>

<file path=ppt/tags/tag96.xml><?xml version="1.0" encoding="utf-8"?>
<p:tagLst xmlns:a="http://schemas.openxmlformats.org/drawingml/2006/main" xmlns:r="http://schemas.openxmlformats.org/officeDocument/2006/relationships" xmlns:p="http://schemas.openxmlformats.org/presentationml/2006/main">
  <p:tag name="ICONFRAME" val="0,75"/>
</p:tagLst>
</file>

<file path=ppt/tags/tag97.xml><?xml version="1.0" encoding="utf-8"?>
<p:tagLst xmlns:a="http://schemas.openxmlformats.org/drawingml/2006/main" xmlns:r="http://schemas.openxmlformats.org/officeDocument/2006/relationships" xmlns:p="http://schemas.openxmlformats.org/presentationml/2006/main">
  <p:tag name="ICONFRAME" val="0,75"/>
</p:tagLst>
</file>

<file path=ppt/tags/tag98.xml><?xml version="1.0" encoding="utf-8"?>
<p:tagLst xmlns:a="http://schemas.openxmlformats.org/drawingml/2006/main" xmlns:r="http://schemas.openxmlformats.org/officeDocument/2006/relationships" xmlns:p="http://schemas.openxmlformats.org/presentationml/2006/main">
  <p:tag name="ICONFRAME" val="0,75"/>
</p:tagLst>
</file>

<file path=ppt/tags/tag99.xml><?xml version="1.0" encoding="utf-8"?>
<p:tagLst xmlns:a="http://schemas.openxmlformats.org/drawingml/2006/main" xmlns:r="http://schemas.openxmlformats.org/officeDocument/2006/relationships" xmlns:p="http://schemas.openxmlformats.org/presentationml/2006/main">
  <p:tag name="ICONFRAME" val="0,75"/>
</p:tagLst>
</file>

<file path=ppt/theme/theme1.xml><?xml version="1.0" encoding="utf-8"?>
<a:theme xmlns:a="http://schemas.openxmlformats.org/drawingml/2006/main" name="d_fine_2025_12_i71180">
  <a:themeElements>
    <a:clrScheme name="d_fine_2025_12">
      <a:dk1>
        <a:srgbClr val="003C50"/>
      </a:dk1>
      <a:lt1>
        <a:srgbClr val="FFFFFF"/>
      </a:lt1>
      <a:dk2>
        <a:srgbClr val="0072A4"/>
      </a:dk2>
      <a:lt2>
        <a:srgbClr val="F07D00"/>
      </a:lt2>
      <a:accent1>
        <a:srgbClr val="1E9BD7"/>
      </a:accent1>
      <a:accent2>
        <a:srgbClr val="BE5A19"/>
      </a:accent2>
      <a:accent3>
        <a:srgbClr val="F9B122"/>
      </a:accent3>
      <a:accent4>
        <a:srgbClr val="F0EEEB"/>
      </a:accent4>
      <a:accent5>
        <a:srgbClr val="CBDBE1"/>
      </a:accent5>
      <a:accent6>
        <a:srgbClr val="7DA5B4"/>
      </a:accent6>
      <a:hlink>
        <a:srgbClr val="1E9BD7"/>
      </a:hlink>
      <a:folHlink>
        <a:srgbClr val="BE5A19"/>
      </a:folHlink>
    </a:clrScheme>
    <a:fontScheme name="d-fine Font Theme">
      <a:majorFont>
        <a:latin typeface="Roboto"/>
        <a:ea typeface=""/>
        <a:cs typeface=""/>
      </a:majorFont>
      <a:minorFont>
        <a:latin typeface="Robot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w="9525">
          <a:solidFill>
            <a:schemeClr val="accent5"/>
          </a:solidFill>
        </a:ln>
      </a:spPr>
      <a:bodyPr lIns="36000" tIns="36000" rIns="36000" bIns="36000" rtlCol="0" anchor="ctr">
        <a:noAutofit/>
      </a:bodyP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chor="t">
        <a:noAutofit/>
      </a:bodyPr>
      <a:lstStyle>
        <a:defPPr>
          <a:defRPr sz="1400" dirty="0" smtClean="0"/>
        </a:defPPr>
      </a:lstStyle>
    </a:txDef>
  </a:objectDefaults>
  <a:extraClrSchemeLst/>
  <a:extLst>
    <a:ext uri="{05A4C25C-085E-4340-85A3-A5531E510DB2}">
      <thm15:themeFamily xmlns:thm15="http://schemas.microsoft.com/office/thememl/2012/main" name="blank_20260410_110217_39737852.potx" id="{FF07EB21-B9E7-47E0-87EE-9010E664E159}" vid="{2D6500B9-AC8A-470D-90BA-AF178D52C328}"/>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_fine_2025_12">
    <a:dk1>
      <a:srgbClr val="003C50"/>
    </a:dk1>
    <a:lt1>
      <a:srgbClr val="FFFFFF"/>
    </a:lt1>
    <a:dk2>
      <a:srgbClr val="0072A4"/>
    </a:dk2>
    <a:lt2>
      <a:srgbClr val="F07D00"/>
    </a:lt2>
    <a:accent1>
      <a:srgbClr val="1E9BD7"/>
    </a:accent1>
    <a:accent2>
      <a:srgbClr val="BE5A19"/>
    </a:accent2>
    <a:accent3>
      <a:srgbClr val="F9B122"/>
    </a:accent3>
    <a:accent4>
      <a:srgbClr val="F0EEEB"/>
    </a:accent4>
    <a:accent5>
      <a:srgbClr val="CBDBE1"/>
    </a:accent5>
    <a:accent6>
      <a:srgbClr val="7DA5B4"/>
    </a:accent6>
    <a:hlink>
      <a:srgbClr val="1E9BD7"/>
    </a:hlink>
    <a:folHlink>
      <a:srgbClr val="BE5A1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327ed36e-3f62-40da-b020-1fab56237462" xsi:nil="true"/>
    <lcf76f155ced4ddcb4097134ff3c332f xmlns="d82a4cac-6fc6-45c1-9fca-adceb338eb77">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ECDE0843596D8542BDD9A060BE2141F3" ma:contentTypeVersion="11" ma:contentTypeDescription="Ein neues Dokument erstellen." ma:contentTypeScope="" ma:versionID="755106a081aa1ee4dfc5209a81782d1e">
  <xsd:schema xmlns:xsd="http://www.w3.org/2001/XMLSchema" xmlns:xs="http://www.w3.org/2001/XMLSchema" xmlns:p="http://schemas.microsoft.com/office/2006/metadata/properties" xmlns:ns2="d82a4cac-6fc6-45c1-9fca-adceb338eb77" xmlns:ns3="327ed36e-3f62-40da-b020-1fab56237462" targetNamespace="http://schemas.microsoft.com/office/2006/metadata/properties" ma:root="true" ma:fieldsID="cb4504059476cb094abd7779999f1f72" ns2:_="" ns3:_="">
    <xsd:import namespace="d82a4cac-6fc6-45c1-9fca-adceb338eb77"/>
    <xsd:import namespace="327ed36e-3f62-40da-b020-1fab5623746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2a4cac-6fc6-45c1-9fca-adceb338eb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cf26c3c7-8586-4ce3-bb0d-66a1bbea792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7ed36e-3f62-40da-b020-1fab56237462"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aa5c8c0-4745-4dfa-9ab5-a1b5abf1a2df}" ma:internalName="TaxCatchAll" ma:showField="CatchAllData" ma:web="327ed36e-3f62-40da-b020-1fab5623746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A402F4F-4752-44F3-914A-DB6C1B3987C0}">
  <ds:schemaRefs>
    <ds:schemaRef ds:uri="http://schemas.microsoft.com/sharepoint/v3/contenttype/forms"/>
  </ds:schemaRefs>
</ds:datastoreItem>
</file>

<file path=customXml/itemProps2.xml><?xml version="1.0" encoding="utf-8"?>
<ds:datastoreItem xmlns:ds="http://schemas.openxmlformats.org/officeDocument/2006/customXml" ds:itemID="{7DF9FA82-5C46-4937-98A6-920BB8E42B98}">
  <ds:schemaRefs>
    <ds:schemaRef ds:uri="http://purl.org/dc/terms/"/>
    <ds:schemaRef ds:uri="http://schemas.openxmlformats.org/package/2006/metadata/core-properties"/>
    <ds:schemaRef ds:uri="http://schemas.microsoft.com/office/2006/documentManagement/types"/>
    <ds:schemaRef ds:uri="http://schemas.microsoft.com/office/2006/metadata/properties"/>
    <ds:schemaRef ds:uri="327ed36e-3f62-40da-b020-1fab56237462"/>
    <ds:schemaRef ds:uri="http://purl.org/dc/elements/1.1/"/>
    <ds:schemaRef ds:uri="http://schemas.microsoft.com/office/infopath/2007/PartnerControls"/>
    <ds:schemaRef ds:uri="d82a4cac-6fc6-45c1-9fca-adceb338eb77"/>
    <ds:schemaRef ds:uri="http://www.w3.org/XML/1998/namespace"/>
    <ds:schemaRef ds:uri="http://purl.org/dc/dcmitype/"/>
  </ds:schemaRefs>
</ds:datastoreItem>
</file>

<file path=customXml/itemProps3.xml><?xml version="1.0" encoding="utf-8"?>
<ds:datastoreItem xmlns:ds="http://schemas.openxmlformats.org/officeDocument/2006/customXml" ds:itemID="{A387205A-80B3-4024-9650-37064CEBFA8E}">
  <ds:schemaRefs>
    <ds:schemaRef ds:uri="327ed36e-3f62-40da-b020-1fab56237462"/>
    <ds:schemaRef ds:uri="d82a4cac-6fc6-45c1-9fca-adceb338eb7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ldblank</Template>
  <TotalTime>0</TotalTime>
  <Words>3918</Words>
  <Application>Microsoft Office PowerPoint</Application>
  <PresentationFormat>Benutzerdefiniert</PresentationFormat>
  <Paragraphs>922</Paragraphs>
  <Slides>62</Slides>
  <Notes>19</Notes>
  <HiddenSlides>1</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62</vt:i4>
      </vt:variant>
    </vt:vector>
  </HeadingPairs>
  <TitlesOfParts>
    <vt:vector size="72" baseType="lpstr">
      <vt:lpstr>Aptos</vt:lpstr>
      <vt:lpstr>Arial</vt:lpstr>
      <vt:lpstr>Calibri</vt:lpstr>
      <vt:lpstr>Flexo</vt:lpstr>
      <vt:lpstr>Roboto</vt:lpstr>
      <vt:lpstr>Roboto Light</vt:lpstr>
      <vt:lpstr>Roboto Slab</vt:lpstr>
      <vt:lpstr>Wingdings</vt:lpstr>
      <vt:lpstr>d_fine_2025_12_i71180</vt:lpstr>
      <vt:lpstr>think-cell Slide</vt:lpstr>
      <vt:lpstr>Informationsveranstaltung zur Kommunalen Wärmeplanung in  Rheda-Wiedenbrück</vt:lpstr>
      <vt:lpstr>PowerPoint-Präsentation</vt:lpstr>
      <vt:lpstr>PowerPoint-Präsentation</vt:lpstr>
      <vt:lpstr>Impulsvortrag: Hintergründe und Ziele der Kommunalen Wärmeplanung​</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Unser Team für Ihre Kommunale Wärmeplanung</vt:lpstr>
      <vt:lpstr>d-fine ist ein europäisches Beratungsunternehmen mit Fokus auf analytische, technologische und quantitative Projektvorhaben</vt:lpstr>
      <vt:lpstr>Was ist die Kommunale Wärmeplanung (KWP)?​</vt:lpstr>
      <vt:lpstr>Phasen und Vorgehensweise in der KWP</vt:lpstr>
      <vt:lpstr>Der Digitale Zwilling dient als zentrales Planungselement für die Bestands- und Potenzialanalyse sowie die Definition eines Zielszenarios</vt:lpstr>
      <vt:lpstr>Der Digitale Zwilling dient als zentrales Planungselement für die Bestands- und Potenzialanalyse sowie die Definition eines Zielszenarios</vt:lpstr>
      <vt:lpstr>Der Digitale Zwilling dient als zentrales Planungselement für die Bestands- und Potenzialanalyse sowie die Definition eines Zielszenarios</vt:lpstr>
      <vt:lpstr>Der Digitale Zwilling dient als zentrales Planungselement für die Bestands- und Potenzialanalyse sowie die Definition eines Zielszenarios</vt:lpstr>
      <vt:lpstr>Gesetzliche Grundlage der KWP</vt:lpstr>
      <vt:lpstr> Aktuell geltende gesetzliche Grundlage der Kommunalen Wärmeplanung (27.04.2026)</vt:lpstr>
      <vt:lpstr> Ziel der Kommunalen Wärmeplanung</vt:lpstr>
      <vt:lpstr>Vorstellung der Kommunalen Wärmeplanung Fazit und Zusammenfassung</vt:lpstr>
      <vt:lpstr>PowerPoint-Präsentation</vt:lpstr>
      <vt:lpstr>Rückblick: Ergebnisse der Bestands- und Potenzialanalyse der KWP in Rheda-Wiedenbrück​ </vt:lpstr>
      <vt:lpstr>Rückblick / Zusammenfassung Bestandsanalyse</vt:lpstr>
      <vt:lpstr> Ergebnisse der Kommunalen Wärmeplanung - Bestandsanalyse </vt:lpstr>
      <vt:lpstr>Ergebnisse der Kommunalen Wärmeplanung - Bestandsanalyse Welche Gebäude- und Heizungsstruktur weist Rheda-Wiedenbrück auf?</vt:lpstr>
      <vt:lpstr>Ergebnisse der Kommunalen Wärmeplanung - Bestandsanalyse Wie viel Wärme benötigt Rheda-Wiedenbrück?</vt:lpstr>
      <vt:lpstr>Ergebnisse der Kommunalen Wärmeplanung - Bestandsanalyse Spezifische Steckbriefe für alle Stadtteile/Gemarkungen in Rheda-Wiedenbrück</vt:lpstr>
      <vt:lpstr>Ergebnisse der Kommunalen Wärmeplanung - Bestandsanalyse Ein öffentlich einsehbarer digitaler Zwilling Ihrer Stadt</vt:lpstr>
      <vt:lpstr>Rückblick / Zusammenfassung Potenzialanalyse</vt:lpstr>
      <vt:lpstr>Ergebnisse der Kommunalen Wärmeplanung - Potenzialanalyse </vt:lpstr>
      <vt:lpstr>Ergebnisse der Kommunalen Wärmeplanung - Potenzialanalyse Welche Potenziale können in Rheda-Wiedenbrück realisiert werden?</vt:lpstr>
      <vt:lpstr>Ergebnisse der Kommunalen Wärmeplanung - Bestands- und Potenzialanalyse Übersicht</vt:lpstr>
      <vt:lpstr>PowerPoint-Präsentation</vt:lpstr>
      <vt:lpstr>Zielszenario und Maßnahmen</vt:lpstr>
      <vt:lpstr>Wie sieht eine mögliche Zukunft von  Rheda-Wiedenbrück aus?</vt:lpstr>
      <vt:lpstr>Erkenntnisse der Kommunalen Wärmeplanung - Zielszenario </vt:lpstr>
      <vt:lpstr>Methodik der Kommunalen Wärmeplanung - Zielszenario Technische, ökonomische &amp; soziale Faktoren entscheiden über Wärmenetzeignung</vt:lpstr>
      <vt:lpstr>Erkenntnisse der Kommunalen Wärmeplanung - Zielszenario Definition von Wärmenetzeignungsgebieten</vt:lpstr>
      <vt:lpstr>Erkenntnisse der Kommunalen Wärmeplanung - Zielszenario Fokusgebiet Rheda zeichnet sich durch Biogasanlage und Schulzentrum aus</vt:lpstr>
      <vt:lpstr>Erkenntnisse der Kommunalen Wärmeplanung - Zielszenario Fokusgebiete Nordrheda-Ems sind maßgeblich von Tönnies und Klärwerk geprägt</vt:lpstr>
      <vt:lpstr>Erkenntnisse der Kommunalen Wärmeplanung - Zielszenario Fokusgebiete Wiedenbrück haben hohe Wärmenachfrage durch Industrie</vt:lpstr>
      <vt:lpstr>Erkenntnisse der Kommunalen Wärmeplanung - Zielszenario Wie kann eine zukünftige Wärmeversorgung in Rheda-Wiedenbrück aussehen?</vt:lpstr>
      <vt:lpstr>Erkenntnisse der Kommunalen Wärmeplanung - Zielszenario Wie kann eine zukünftige Wärmeversorgung in Rheda-Wiedenbrück aussehen?</vt:lpstr>
      <vt:lpstr>Wie kann diese Zukunft erreicht werden?  Wie sehen mögliche Maßnahmen aus?</vt:lpstr>
      <vt:lpstr>Erkenntnisse der Kommunalen Wärmeplanung – Maßnahmen Maßnahmen-Beispiele für den Wärmenetzausbau</vt:lpstr>
      <vt:lpstr>PowerPoint-Präsentation</vt:lpstr>
      <vt:lpstr>Zusammenfassung und Fazit​ </vt:lpstr>
      <vt:lpstr>Zusammenfassung und Ausblick</vt:lpstr>
      <vt:lpstr>GEG und GMG im Vergleich: was kann sich zukünftig ändern für den Bürger?</vt:lpstr>
      <vt:lpstr>Thementische</vt:lpstr>
      <vt:lpstr>Austausch an den Thementischen</vt:lpstr>
      <vt:lpstr>        Thementisch 4</vt:lpstr>
      <vt:lpstr>Vielen Dank für ihre Aufmerksamkeit!   Unsere Kontaktdate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ommunale Wärmeplanung in Rheda-Wiedenbrück</dc:title>
  <dc:creator>Lukasz.Brodecki@d-fine.com</dc:creator>
  <cp:lastModifiedBy>Gross, Moritz</cp:lastModifiedBy>
  <cp:revision>9</cp:revision>
  <cp:lastPrinted>2025-06-24T12:44:44Z</cp:lastPrinted>
  <dcterms:created xsi:type="dcterms:W3CDTF">2025-06-11T12:55:31Z</dcterms:created>
  <dcterms:modified xsi:type="dcterms:W3CDTF">2026-05-04T08:1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DE0843596D8542BDD9A060BE2141F3</vt:lpwstr>
  </property>
  <property fmtid="{D5CDD505-2E9C-101B-9397-08002B2CF9AE}" pid="3" name="_dlc_DocIdItemGuid">
    <vt:lpwstr>3e4a3a88-f8b0-47a8-9bcc-2aa8e89b0ccc</vt:lpwstr>
  </property>
  <property fmtid="{D5CDD505-2E9C-101B-9397-08002B2CF9AE}" pid="4" name="MediaServiceImageTags">
    <vt:lpwstr/>
  </property>
</Properties>
</file>